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drawings/drawing2.xml" ContentType="application/vnd.openxmlformats-officedocument.drawingml.chartshapes+xml"/>
  <Override PartName="/ppt/charts/chart6.xml" ContentType="application/vnd.openxmlformats-officedocument.drawingml.chart+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85"/>
  </p:sldMasterIdLst>
  <p:notesMasterIdLst>
    <p:notesMasterId r:id="rId106"/>
  </p:notesMasterIdLst>
  <p:handoutMasterIdLst>
    <p:handoutMasterId r:id="rId107"/>
  </p:handoutMasterIdLst>
  <p:sldIdLst>
    <p:sldId id="471" r:id="rId86"/>
    <p:sldId id="392" r:id="rId87"/>
    <p:sldId id="751" r:id="rId88"/>
    <p:sldId id="267" r:id="rId89"/>
    <p:sldId id="459" r:id="rId90"/>
    <p:sldId id="350" r:id="rId91"/>
    <p:sldId id="342" r:id="rId92"/>
    <p:sldId id="2076138619" r:id="rId93"/>
    <p:sldId id="2076138620" r:id="rId94"/>
    <p:sldId id="2076138615" r:id="rId95"/>
    <p:sldId id="755" r:id="rId96"/>
    <p:sldId id="932" r:id="rId97"/>
    <p:sldId id="444" r:id="rId98"/>
    <p:sldId id="752" r:id="rId99"/>
    <p:sldId id="933" r:id="rId100"/>
    <p:sldId id="285" r:id="rId101"/>
    <p:sldId id="351" r:id="rId102"/>
    <p:sldId id="2076138621" r:id="rId103"/>
    <p:sldId id="552" r:id="rId104"/>
    <p:sldId id="445" r:id="rId105"/>
  </p:sldIdLst>
  <p:sldSz cx="12192000" cy="6858000"/>
  <p:notesSz cx="6858000" cy="9144000"/>
  <p:custDataLst>
    <p:custData r:id="rId31"/>
    <p:tags r:id="rId108"/>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A9A862-FB01-8DD5-151F-F7C52E01619C}" name="Busenhart, Samantha" initials="SB" userId="S::Samantha.Busenhart@guycarp.com::a7e9b513-bbe2-46de-88b5-1c96255494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 id="2" name="Busenhart, Samantha" initials="BS [2]" lastIdx="73" clrIdx="1">
    <p:extLst>
      <p:ext uri="{19B8F6BF-5375-455C-9EA6-DF929625EA0E}">
        <p15:presenceInfo xmlns:p15="http://schemas.microsoft.com/office/powerpoint/2012/main" userId="S::samantha.busenhart@guycarp.com::a7e9b513-bbe2-46de-88b5-1c9625549419" providerId="AD"/>
      </p:ext>
    </p:extLst>
  </p:cmAuthor>
  <p:cmAuthor id="3" name="Rooney, Michael" initials="RM" lastIdx="9" clrIdx="2">
    <p:extLst>
      <p:ext uri="{19B8F6BF-5375-455C-9EA6-DF929625EA0E}">
        <p15:presenceInfo xmlns:p15="http://schemas.microsoft.com/office/powerpoint/2012/main" userId="S::Michael.Rooney@guycarp.com::59d3c57c-1bdb-4e29-bea7-6a032eb60c98" providerId="AD"/>
      </p:ext>
    </p:extLst>
  </p:cmAuthor>
  <p:cmAuthor id="4" name="Landolfi, Denise" initials="LD" lastIdx="12" clrIdx="3">
    <p:extLst>
      <p:ext uri="{19B8F6BF-5375-455C-9EA6-DF929625EA0E}">
        <p15:presenceInfo xmlns:p15="http://schemas.microsoft.com/office/powerpoint/2012/main" userId="S::denise.engel-landolfi@guycarp.com::e676af30-6730-417b-8da9-82f712540c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108" d="100"/>
          <a:sy n="108" d="100"/>
        </p:scale>
        <p:origin x="678" y="78"/>
      </p:cViewPr>
      <p:guideLst>
        <p:guide orient="horz" pos="2184"/>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slide" Target="slides/slide4.xml"/><Relationship Id="rId112" Type="http://schemas.openxmlformats.org/officeDocument/2006/relationships/theme" Target="theme/theme1.xml"/><Relationship Id="rId16" Type="http://schemas.openxmlformats.org/officeDocument/2006/relationships/customXml" Target="../customXml/item16.xml"/><Relationship Id="rId107" Type="http://schemas.openxmlformats.org/officeDocument/2006/relationships/handoutMaster" Target="handoutMasters/handoutMaster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17.xml"/><Relationship Id="rId5" Type="http://schemas.openxmlformats.org/officeDocument/2006/relationships/customXml" Target="../customXml/item5.xml"/><Relationship Id="rId90" Type="http://schemas.openxmlformats.org/officeDocument/2006/relationships/slide" Target="slides/slide5.xml"/><Relationship Id="rId95" Type="http://schemas.openxmlformats.org/officeDocument/2006/relationships/slide" Target="slides/slide10.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tableStyles" Target="tableStyles.xml"/><Relationship Id="rId80" Type="http://schemas.openxmlformats.org/officeDocument/2006/relationships/customXml" Target="../customXml/item80.xml"/><Relationship Id="rId85" Type="http://schemas.openxmlformats.org/officeDocument/2006/relationships/slideMaster" Target="slideMasters/slideMaster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18.xml"/><Relationship Id="rId108" Type="http://schemas.openxmlformats.org/officeDocument/2006/relationships/tags" Target="tags/tag1.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slide" Target="slides/slide6.xml"/><Relationship Id="rId96"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notesMaster" Target="notesMasters/notesMaster1.xml"/><Relationship Id="rId114" Type="http://schemas.microsoft.com/office/2018/10/relationships/authors" Target="authors.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slide" Target="slides/slide1.xml"/><Relationship Id="rId94" Type="http://schemas.openxmlformats.org/officeDocument/2006/relationships/slide" Target="slides/slide9.xml"/><Relationship Id="rId99" Type="http://schemas.openxmlformats.org/officeDocument/2006/relationships/slide" Target="slides/slide14.xml"/><Relationship Id="rId101" Type="http://schemas.openxmlformats.org/officeDocument/2006/relationships/slide" Target="slides/slide16.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ommentAuthors" Target="commentAuthors.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2.xml"/><Relationship Id="rId104" Type="http://schemas.openxmlformats.org/officeDocument/2006/relationships/slide" Target="slides/slide19.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7.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2.xml"/><Relationship Id="rId110" Type="http://schemas.openxmlformats.org/officeDocument/2006/relationships/presProps" Target="presProps.xml"/><Relationship Id="rId61" Type="http://schemas.openxmlformats.org/officeDocument/2006/relationships/customXml" Target="../customXml/item61.xml"/><Relationship Id="rId82" Type="http://schemas.openxmlformats.org/officeDocument/2006/relationships/customXml" Target="../customXml/item8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15.xml"/><Relationship Id="rId105" Type="http://schemas.openxmlformats.org/officeDocument/2006/relationships/slide" Target="slides/slide20.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 Target="slides/slide8.xml"/><Relationship Id="rId98" Type="http://schemas.openxmlformats.org/officeDocument/2006/relationships/slide" Target="slides/slide13.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slide" Target="slides/slide3.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mmcglobal.sharepoint.com/teams/GCRFP/Shared%20Documents/2024%20GC%20Pursuits/BD-2390-PRE-SAL_2024%20Mid-Year%20Slide%20Deck/Supporting%20Docs/July1RatesV7.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mmcglobal.sharepoint.com/teams/GCRFP/Shared%20Documents/2024%20GC%20Pursuits/BD-2390-PRE-SAL_2024%20Mid-Year%20Slide%20Deck/Supporting%20Docs/Insured%20Loss%20Data%202Q20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U1297217\AppData\Local\Microsoft\Windows\INetCache\Content.Outlook\NVACUAUY\Insured%20Loss%20Data_G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U1297217\AppData\Local\Microsoft\Windows\INetCache\Content.Outlook\NVACUAUY\Insured%20Loss%20Data_G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https://mmcglobal.sharepoint.com/teams/GCRFP/Shared%20Documents/2024%20GC%20Pursuits/BD-2390-PRE-SAL_2024%20Mid-Year%20Slide%20Deck/Supporting%20Docs/GC%20Mid-Year%20Reinsurance%20Briefing_June%202024_BI%20Data.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78898751991726"/>
          <c:y val="3.2640957181466201E-2"/>
          <c:w val="0.70724956732950484"/>
          <c:h val="0.88678517880912611"/>
        </c:manualLayout>
      </c:layout>
      <c:barChart>
        <c:barDir val="bar"/>
        <c:grouping val="stacked"/>
        <c:varyColors val="0"/>
        <c:ser>
          <c:idx val="0"/>
          <c:order val="0"/>
          <c:spPr>
            <a:solidFill>
              <a:schemeClr val="accent1"/>
            </a:solidFill>
            <a:ln>
              <a:noFill/>
            </a:ln>
            <a:effectLst/>
          </c:spPr>
          <c:invertIfNegative val="0"/>
          <c:dPt>
            <c:idx val="2"/>
            <c:invertIfNegative val="0"/>
            <c:bubble3D val="0"/>
            <c:spPr>
              <a:solidFill>
                <a:srgbClr val="002C77"/>
              </a:solidFill>
              <a:ln>
                <a:noFill/>
              </a:ln>
              <a:effectLst/>
            </c:spPr>
            <c:extLst>
              <c:ext xmlns:c16="http://schemas.microsoft.com/office/drawing/2014/chart" uri="{C3380CC4-5D6E-409C-BE32-E72D297353CC}">
                <c16:uniqueId val="{00000001-781A-45FF-84CA-80E66CFD39DF}"/>
              </c:ext>
            </c:extLst>
          </c:dPt>
          <c:dPt>
            <c:idx val="4"/>
            <c:invertIfNegative val="0"/>
            <c:bubble3D val="0"/>
            <c:spPr>
              <a:solidFill>
                <a:srgbClr val="002C77"/>
              </a:solidFill>
              <a:ln>
                <a:noFill/>
              </a:ln>
              <a:effectLst/>
            </c:spPr>
            <c:extLst>
              <c:ext xmlns:c16="http://schemas.microsoft.com/office/drawing/2014/chart" uri="{C3380CC4-5D6E-409C-BE32-E72D297353CC}">
                <c16:uniqueId val="{00000003-781A-45FF-84CA-80E66CFD39DF}"/>
              </c:ext>
            </c:extLst>
          </c:dPt>
          <c:dPt>
            <c:idx val="5"/>
            <c:invertIfNegative val="0"/>
            <c:bubble3D val="0"/>
            <c:spPr>
              <a:solidFill>
                <a:srgbClr val="002C77"/>
              </a:solidFill>
              <a:ln>
                <a:noFill/>
              </a:ln>
              <a:effectLst/>
            </c:spPr>
            <c:extLst>
              <c:ext xmlns:c16="http://schemas.microsoft.com/office/drawing/2014/chart" uri="{C3380CC4-5D6E-409C-BE32-E72D297353CC}">
                <c16:uniqueId val="{00000005-781A-45FF-84CA-80E66CFD39DF}"/>
              </c:ext>
            </c:extLst>
          </c:dPt>
          <c:dPt>
            <c:idx val="7"/>
            <c:invertIfNegative val="0"/>
            <c:bubble3D val="0"/>
            <c:spPr>
              <a:noFill/>
              <a:ln>
                <a:noFill/>
              </a:ln>
              <a:effectLst/>
            </c:spPr>
            <c:extLst>
              <c:ext xmlns:c16="http://schemas.microsoft.com/office/drawing/2014/chart" uri="{C3380CC4-5D6E-409C-BE32-E72D297353CC}">
                <c16:uniqueId val="{00000007-781A-45FF-84CA-80E66CFD39DF}"/>
              </c:ext>
            </c:extLst>
          </c:dPt>
          <c:dPt>
            <c:idx val="8"/>
            <c:invertIfNegative val="0"/>
            <c:bubble3D val="0"/>
            <c:spPr>
              <a:solidFill>
                <a:srgbClr val="002C77"/>
              </a:solidFill>
              <a:ln>
                <a:noFill/>
              </a:ln>
              <a:effectLst/>
            </c:spPr>
            <c:extLst>
              <c:ext xmlns:c16="http://schemas.microsoft.com/office/drawing/2014/chart" uri="{C3380CC4-5D6E-409C-BE32-E72D297353CC}">
                <c16:uniqueId val="{00000009-781A-45FF-84CA-80E66CFD39DF}"/>
              </c:ext>
            </c:extLst>
          </c:dPt>
          <c:dPt>
            <c:idx val="10"/>
            <c:invertIfNegative val="0"/>
            <c:bubble3D val="0"/>
            <c:spPr>
              <a:solidFill>
                <a:srgbClr val="002C77"/>
              </a:solidFill>
              <a:ln>
                <a:noFill/>
              </a:ln>
              <a:effectLst/>
            </c:spPr>
            <c:extLst>
              <c:ext xmlns:c16="http://schemas.microsoft.com/office/drawing/2014/chart" uri="{C3380CC4-5D6E-409C-BE32-E72D297353CC}">
                <c16:uniqueId val="{0000000B-781A-45FF-84CA-80E66CFD39DF}"/>
              </c:ext>
            </c:extLst>
          </c:dPt>
          <c:dPt>
            <c:idx val="11"/>
            <c:invertIfNegative val="0"/>
            <c:bubble3D val="0"/>
            <c:spPr>
              <a:solidFill>
                <a:srgbClr val="002C77"/>
              </a:solidFill>
              <a:ln>
                <a:noFill/>
              </a:ln>
              <a:effectLst/>
            </c:spPr>
            <c:extLst>
              <c:ext xmlns:c16="http://schemas.microsoft.com/office/drawing/2014/chart" uri="{C3380CC4-5D6E-409C-BE32-E72D297353CC}">
                <c16:uniqueId val="{0000000D-781A-45FF-84CA-80E66CFD39DF}"/>
              </c:ext>
            </c:extLst>
          </c:dPt>
          <c:dPt>
            <c:idx val="13"/>
            <c:invertIfNegative val="0"/>
            <c:bubble3D val="0"/>
            <c:spPr>
              <a:solidFill>
                <a:srgbClr val="002C77"/>
              </a:solidFill>
              <a:ln>
                <a:noFill/>
              </a:ln>
              <a:effectLst/>
            </c:spPr>
            <c:extLst>
              <c:ext xmlns:c16="http://schemas.microsoft.com/office/drawing/2014/chart" uri="{C3380CC4-5D6E-409C-BE32-E72D297353CC}">
                <c16:uniqueId val="{0000000F-781A-45FF-84CA-80E66CFD39DF}"/>
              </c:ext>
            </c:extLst>
          </c:dPt>
          <c:dPt>
            <c:idx val="15"/>
            <c:invertIfNegative val="0"/>
            <c:bubble3D val="0"/>
            <c:spPr>
              <a:solidFill>
                <a:srgbClr val="002C77"/>
              </a:solidFill>
              <a:ln>
                <a:noFill/>
              </a:ln>
              <a:effectLst/>
            </c:spPr>
            <c:extLst>
              <c:ext xmlns:c16="http://schemas.microsoft.com/office/drawing/2014/chart" uri="{C3380CC4-5D6E-409C-BE32-E72D297353CC}">
                <c16:uniqueId val="{00000011-781A-45FF-84CA-80E66CFD39DF}"/>
              </c:ext>
            </c:extLst>
          </c:dPt>
          <c:dPt>
            <c:idx val="16"/>
            <c:invertIfNegative val="0"/>
            <c:bubble3D val="0"/>
            <c:spPr>
              <a:solidFill>
                <a:srgbClr val="002C77"/>
              </a:solidFill>
              <a:ln>
                <a:noFill/>
              </a:ln>
              <a:effectLst/>
            </c:spPr>
            <c:extLst>
              <c:ext xmlns:c16="http://schemas.microsoft.com/office/drawing/2014/chart" uri="{C3380CC4-5D6E-409C-BE32-E72D297353CC}">
                <c16:uniqueId val="{00000013-781A-45FF-84CA-80E66CFD39DF}"/>
              </c:ext>
            </c:extLst>
          </c:dPt>
          <c:cat>
            <c:strRef>
              <c:f>Property!$F$3:$F$19</c:f>
              <c:strCache>
                <c:ptCount val="17"/>
                <c:pt idx="1">
                  <c:v>Per Risk</c:v>
                </c:pt>
                <c:pt idx="2">
                  <c:v> Catastrophe</c:v>
                </c:pt>
                <c:pt idx="4">
                  <c:v>Combined Cat &amp; Risk</c:v>
                </c:pt>
                <c:pt idx="5">
                  <c:v>Catastrophe</c:v>
                </c:pt>
                <c:pt idx="7">
                  <c:v>Per Risk</c:v>
                </c:pt>
                <c:pt idx="8">
                  <c:v>Catastrophe</c:v>
                </c:pt>
                <c:pt idx="10">
                  <c:v>South Africa</c:v>
                </c:pt>
                <c:pt idx="11">
                  <c:v>Middle East**</c:v>
                </c:pt>
                <c:pt idx="12">
                  <c:v>Per Risk</c:v>
                </c:pt>
                <c:pt idx="13">
                  <c:v>Catastrophe</c:v>
                </c:pt>
                <c:pt idx="15">
                  <c:v>Per Risk</c:v>
                </c:pt>
                <c:pt idx="16">
                  <c:v>Catastrophe</c:v>
                </c:pt>
              </c:strCache>
            </c:strRef>
          </c:cat>
          <c:val>
            <c:numRef>
              <c:f>Property!$G$3:$G$19</c:f>
              <c:numCache>
                <c:formatCode>General</c:formatCode>
                <c:ptCount val="17"/>
                <c:pt idx="2">
                  <c:v>-1.5</c:v>
                </c:pt>
                <c:pt idx="4">
                  <c:v>-5</c:v>
                </c:pt>
                <c:pt idx="5">
                  <c:v>-10</c:v>
                </c:pt>
                <c:pt idx="7">
                  <c:v>1</c:v>
                </c:pt>
                <c:pt idx="8">
                  <c:v>-5</c:v>
                </c:pt>
                <c:pt idx="10">
                  <c:v>-4</c:v>
                </c:pt>
                <c:pt idx="11">
                  <c:v>-5</c:v>
                </c:pt>
                <c:pt idx="13">
                  <c:v>-2.5</c:v>
                </c:pt>
                <c:pt idx="15">
                  <c:v>-5</c:v>
                </c:pt>
                <c:pt idx="16">
                  <c:v>-10</c:v>
                </c:pt>
              </c:numCache>
            </c:numRef>
          </c:val>
          <c:extLst>
            <c:ext xmlns:c16="http://schemas.microsoft.com/office/drawing/2014/chart" uri="{C3380CC4-5D6E-409C-BE32-E72D297353CC}">
              <c16:uniqueId val="{00000014-781A-45FF-84CA-80E66CFD39DF}"/>
            </c:ext>
          </c:extLst>
        </c:ser>
        <c:ser>
          <c:idx val="1"/>
          <c:order val="1"/>
          <c:spPr>
            <a:solidFill>
              <a:schemeClr val="accent2"/>
            </a:solidFill>
            <a:ln>
              <a:noFill/>
            </a:ln>
            <a:effectLst/>
          </c:spPr>
          <c:invertIfNegative val="0"/>
          <c:dPt>
            <c:idx val="4"/>
            <c:invertIfNegative val="0"/>
            <c:bubble3D val="0"/>
            <c:spPr>
              <a:solidFill>
                <a:srgbClr val="002C77"/>
              </a:solidFill>
              <a:ln>
                <a:noFill/>
              </a:ln>
              <a:effectLst/>
            </c:spPr>
            <c:extLst>
              <c:ext xmlns:c16="http://schemas.microsoft.com/office/drawing/2014/chart" uri="{C3380CC4-5D6E-409C-BE32-E72D297353CC}">
                <c16:uniqueId val="{00000016-781A-45FF-84CA-80E66CFD39DF}"/>
              </c:ext>
            </c:extLst>
          </c:dPt>
          <c:dPt>
            <c:idx val="5"/>
            <c:invertIfNegative val="0"/>
            <c:bubble3D val="0"/>
            <c:spPr>
              <a:solidFill>
                <a:srgbClr val="002C77"/>
              </a:solidFill>
              <a:ln>
                <a:noFill/>
              </a:ln>
              <a:effectLst/>
            </c:spPr>
            <c:extLst>
              <c:ext xmlns:c16="http://schemas.microsoft.com/office/drawing/2014/chart" uri="{C3380CC4-5D6E-409C-BE32-E72D297353CC}">
                <c16:uniqueId val="{00000018-781A-45FF-84CA-80E66CFD39DF}"/>
              </c:ext>
            </c:extLst>
          </c:dPt>
          <c:dPt>
            <c:idx val="7"/>
            <c:invertIfNegative val="0"/>
            <c:bubble3D val="0"/>
            <c:spPr>
              <a:solidFill>
                <a:srgbClr val="002C77"/>
              </a:solidFill>
              <a:ln>
                <a:noFill/>
              </a:ln>
              <a:effectLst/>
            </c:spPr>
            <c:extLst>
              <c:ext xmlns:c16="http://schemas.microsoft.com/office/drawing/2014/chart" uri="{C3380CC4-5D6E-409C-BE32-E72D297353CC}">
                <c16:uniqueId val="{0000001A-781A-45FF-84CA-80E66CFD39DF}"/>
              </c:ext>
            </c:extLst>
          </c:dPt>
          <c:dPt>
            <c:idx val="8"/>
            <c:invertIfNegative val="0"/>
            <c:bubble3D val="0"/>
            <c:spPr>
              <a:pattFill prst="wdUpDiag">
                <a:fgClr>
                  <a:srgbClr val="002C77"/>
                </a:fgClr>
                <a:bgClr>
                  <a:srgbClr val="009DE0"/>
                </a:bgClr>
              </a:pattFill>
              <a:ln>
                <a:noFill/>
              </a:ln>
              <a:effectLst/>
            </c:spPr>
            <c:extLst>
              <c:ext xmlns:c16="http://schemas.microsoft.com/office/drawing/2014/chart" uri="{C3380CC4-5D6E-409C-BE32-E72D297353CC}">
                <c16:uniqueId val="{0000001C-781A-45FF-84CA-80E66CFD39DF}"/>
              </c:ext>
            </c:extLst>
          </c:dPt>
          <c:dPt>
            <c:idx val="10"/>
            <c:invertIfNegative val="0"/>
            <c:bubble3D val="0"/>
            <c:spPr>
              <a:solidFill>
                <a:srgbClr val="009DE0"/>
              </a:solidFill>
              <a:ln>
                <a:noFill/>
              </a:ln>
              <a:effectLst/>
            </c:spPr>
            <c:extLst>
              <c:ext xmlns:c16="http://schemas.microsoft.com/office/drawing/2014/chart" uri="{C3380CC4-5D6E-409C-BE32-E72D297353CC}">
                <c16:uniqueId val="{0000001E-781A-45FF-84CA-80E66CFD39DF}"/>
              </c:ext>
            </c:extLst>
          </c:dPt>
          <c:dPt>
            <c:idx val="11"/>
            <c:invertIfNegative val="0"/>
            <c:bubble3D val="0"/>
            <c:spPr>
              <a:pattFill prst="wdUpDiag">
                <a:fgClr>
                  <a:srgbClr val="002C77"/>
                </a:fgClr>
                <a:bgClr>
                  <a:srgbClr val="009DE0"/>
                </a:bgClr>
              </a:pattFill>
              <a:ln>
                <a:noFill/>
              </a:ln>
              <a:effectLst/>
            </c:spPr>
            <c:extLst>
              <c:ext xmlns:c16="http://schemas.microsoft.com/office/drawing/2014/chart" uri="{C3380CC4-5D6E-409C-BE32-E72D297353CC}">
                <c16:uniqueId val="{00000020-781A-45FF-84CA-80E66CFD39DF}"/>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22-781A-45FF-84CA-80E66CFD39DF}"/>
              </c:ext>
            </c:extLst>
          </c:dPt>
          <c:dPt>
            <c:idx val="13"/>
            <c:invertIfNegative val="0"/>
            <c:bubble3D val="0"/>
            <c:spPr>
              <a:solidFill>
                <a:srgbClr val="002C77"/>
              </a:solidFill>
              <a:ln>
                <a:noFill/>
              </a:ln>
              <a:effectLst/>
            </c:spPr>
            <c:extLst>
              <c:ext xmlns:c16="http://schemas.microsoft.com/office/drawing/2014/chart" uri="{C3380CC4-5D6E-409C-BE32-E72D297353CC}">
                <c16:uniqueId val="{00000024-781A-45FF-84CA-80E66CFD39DF}"/>
              </c:ext>
            </c:extLst>
          </c:dPt>
          <c:cat>
            <c:strRef>
              <c:f>Property!$F$3:$F$19</c:f>
              <c:strCache>
                <c:ptCount val="17"/>
                <c:pt idx="1">
                  <c:v>Per Risk</c:v>
                </c:pt>
                <c:pt idx="2">
                  <c:v> Catastrophe</c:v>
                </c:pt>
                <c:pt idx="4">
                  <c:v>Combined Cat &amp; Risk</c:v>
                </c:pt>
                <c:pt idx="5">
                  <c:v>Catastrophe</c:v>
                </c:pt>
                <c:pt idx="7">
                  <c:v>Per Risk</c:v>
                </c:pt>
                <c:pt idx="8">
                  <c:v>Catastrophe</c:v>
                </c:pt>
                <c:pt idx="10">
                  <c:v>South Africa</c:v>
                </c:pt>
                <c:pt idx="11">
                  <c:v>Middle East**</c:v>
                </c:pt>
                <c:pt idx="12">
                  <c:v>Per Risk</c:v>
                </c:pt>
                <c:pt idx="13">
                  <c:v>Catastrophe</c:v>
                </c:pt>
                <c:pt idx="15">
                  <c:v>Per Risk</c:v>
                </c:pt>
                <c:pt idx="16">
                  <c:v>Catastrophe</c:v>
                </c:pt>
              </c:strCache>
            </c:strRef>
          </c:cat>
          <c:val>
            <c:numRef>
              <c:f>Property!$H$3:$H$19</c:f>
              <c:numCache>
                <c:formatCode>General</c:formatCode>
                <c:ptCount val="17"/>
                <c:pt idx="2">
                  <c:v>0</c:v>
                </c:pt>
                <c:pt idx="4">
                  <c:v>5</c:v>
                </c:pt>
                <c:pt idx="5">
                  <c:v>5</c:v>
                </c:pt>
                <c:pt idx="7">
                  <c:v>4</c:v>
                </c:pt>
                <c:pt idx="8">
                  <c:v>0</c:v>
                </c:pt>
                <c:pt idx="10">
                  <c:v>0</c:v>
                </c:pt>
                <c:pt idx="11">
                  <c:v>5</c:v>
                </c:pt>
                <c:pt idx="12">
                  <c:v>-5</c:v>
                </c:pt>
                <c:pt idx="13">
                  <c:v>7.5</c:v>
                </c:pt>
                <c:pt idx="15">
                  <c:v>0</c:v>
                </c:pt>
                <c:pt idx="16">
                  <c:v>0</c:v>
                </c:pt>
              </c:numCache>
            </c:numRef>
          </c:val>
          <c:extLst>
            <c:ext xmlns:c16="http://schemas.microsoft.com/office/drawing/2014/chart" uri="{C3380CC4-5D6E-409C-BE32-E72D297353CC}">
              <c16:uniqueId val="{00000025-781A-45FF-84CA-80E66CFD39DF}"/>
            </c:ext>
          </c:extLst>
        </c:ser>
        <c:ser>
          <c:idx val="2"/>
          <c:order val="2"/>
          <c:spPr>
            <a:solidFill>
              <a:schemeClr val="accent3"/>
            </a:solidFill>
            <a:ln>
              <a:noFill/>
            </a:ln>
            <a:effectLst/>
          </c:spPr>
          <c:invertIfNegative val="0"/>
          <c:dPt>
            <c:idx val="13"/>
            <c:invertIfNegative val="0"/>
            <c:bubble3D val="0"/>
            <c:spPr>
              <a:solidFill>
                <a:srgbClr val="009DE0"/>
              </a:solidFill>
              <a:ln>
                <a:noFill/>
              </a:ln>
              <a:effectLst/>
            </c:spPr>
            <c:extLst>
              <c:ext xmlns:c16="http://schemas.microsoft.com/office/drawing/2014/chart" uri="{C3380CC4-5D6E-409C-BE32-E72D297353CC}">
                <c16:uniqueId val="{00000027-781A-45FF-84CA-80E66CFD39DF}"/>
              </c:ext>
            </c:extLst>
          </c:dPt>
          <c:cat>
            <c:strRef>
              <c:f>Property!$F$3:$F$19</c:f>
              <c:strCache>
                <c:ptCount val="17"/>
                <c:pt idx="1">
                  <c:v>Per Risk</c:v>
                </c:pt>
                <c:pt idx="2">
                  <c:v> Catastrophe</c:v>
                </c:pt>
                <c:pt idx="4">
                  <c:v>Combined Cat &amp; Risk</c:v>
                </c:pt>
                <c:pt idx="5">
                  <c:v>Catastrophe</c:v>
                </c:pt>
                <c:pt idx="7">
                  <c:v>Per Risk</c:v>
                </c:pt>
                <c:pt idx="8">
                  <c:v>Catastrophe</c:v>
                </c:pt>
                <c:pt idx="10">
                  <c:v>South Africa</c:v>
                </c:pt>
                <c:pt idx="11">
                  <c:v>Middle East**</c:v>
                </c:pt>
                <c:pt idx="12">
                  <c:v>Per Risk</c:v>
                </c:pt>
                <c:pt idx="13">
                  <c:v>Catastrophe</c:v>
                </c:pt>
                <c:pt idx="15">
                  <c:v>Per Risk</c:v>
                </c:pt>
                <c:pt idx="16">
                  <c:v>Catastrophe</c:v>
                </c:pt>
              </c:strCache>
            </c:strRef>
          </c:cat>
          <c:val>
            <c:numRef>
              <c:f>Property!$I$3:$I$19</c:f>
              <c:numCache>
                <c:formatCode>General</c:formatCode>
                <c:ptCount val="17"/>
                <c:pt idx="8">
                  <c:v>0</c:v>
                </c:pt>
                <c:pt idx="11">
                  <c:v>0</c:v>
                </c:pt>
                <c:pt idx="12">
                  <c:v>0</c:v>
                </c:pt>
                <c:pt idx="13">
                  <c:v>7.5</c:v>
                </c:pt>
                <c:pt idx="15">
                  <c:v>0</c:v>
                </c:pt>
              </c:numCache>
            </c:numRef>
          </c:val>
          <c:extLst>
            <c:ext xmlns:c16="http://schemas.microsoft.com/office/drawing/2014/chart" uri="{C3380CC4-5D6E-409C-BE32-E72D297353CC}">
              <c16:uniqueId val="{00000028-781A-45FF-84CA-80E66CFD39DF}"/>
            </c:ext>
          </c:extLst>
        </c:ser>
        <c:ser>
          <c:idx val="3"/>
          <c:order val="3"/>
          <c:spPr>
            <a:solidFill>
              <a:schemeClr val="accent2"/>
            </a:solidFill>
            <a:ln>
              <a:noFill/>
            </a:ln>
            <a:effectLst/>
          </c:spPr>
          <c:invertIfNegative val="0"/>
          <c:cat>
            <c:strRef>
              <c:f>Property!$F$3:$F$19</c:f>
              <c:strCache>
                <c:ptCount val="17"/>
                <c:pt idx="1">
                  <c:v>Per Risk</c:v>
                </c:pt>
                <c:pt idx="2">
                  <c:v> Catastrophe</c:v>
                </c:pt>
                <c:pt idx="4">
                  <c:v>Combined Cat &amp; Risk</c:v>
                </c:pt>
                <c:pt idx="5">
                  <c:v>Catastrophe</c:v>
                </c:pt>
                <c:pt idx="7">
                  <c:v>Per Risk</c:v>
                </c:pt>
                <c:pt idx="8">
                  <c:v>Catastrophe</c:v>
                </c:pt>
                <c:pt idx="10">
                  <c:v>South Africa</c:v>
                </c:pt>
                <c:pt idx="11">
                  <c:v>Middle East**</c:v>
                </c:pt>
                <c:pt idx="12">
                  <c:v>Per Risk</c:v>
                </c:pt>
                <c:pt idx="13">
                  <c:v>Catastrophe</c:v>
                </c:pt>
                <c:pt idx="15">
                  <c:v>Per Risk</c:v>
                </c:pt>
                <c:pt idx="16">
                  <c:v>Catastrophe</c:v>
                </c:pt>
              </c:strCache>
            </c:strRef>
          </c:cat>
          <c:val>
            <c:numRef>
              <c:f>Property!$J$3:$J$19</c:f>
              <c:numCache>
                <c:formatCode>General</c:formatCode>
                <c:ptCount val="17"/>
                <c:pt idx="5">
                  <c:v>30</c:v>
                </c:pt>
                <c:pt idx="8">
                  <c:v>10</c:v>
                </c:pt>
                <c:pt idx="11">
                  <c:v>12.5</c:v>
                </c:pt>
                <c:pt idx="15">
                  <c:v>20</c:v>
                </c:pt>
              </c:numCache>
            </c:numRef>
          </c:val>
          <c:extLst>
            <c:ext xmlns:c16="http://schemas.microsoft.com/office/drawing/2014/chart" uri="{C3380CC4-5D6E-409C-BE32-E72D297353CC}">
              <c16:uniqueId val="{00000029-781A-45FF-84CA-80E66CFD39DF}"/>
            </c:ext>
          </c:extLst>
        </c:ser>
        <c:dLbls>
          <c:showLegendKey val="0"/>
          <c:showVal val="0"/>
          <c:showCatName val="0"/>
          <c:showSerName val="0"/>
          <c:showPercent val="0"/>
          <c:showBubbleSize val="0"/>
        </c:dLbls>
        <c:gapWidth val="150"/>
        <c:overlap val="100"/>
        <c:axId val="5892575"/>
        <c:axId val="5890175"/>
      </c:barChart>
      <c:catAx>
        <c:axId val="5892575"/>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890175"/>
        <c:crosses val="autoZero"/>
        <c:auto val="1"/>
        <c:lblAlgn val="ctr"/>
        <c:lblOffset val="100"/>
        <c:noMultiLvlLbl val="0"/>
      </c:catAx>
      <c:valAx>
        <c:axId val="589017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8925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588624109267386E-2"/>
          <c:y val="0.10121984910214279"/>
          <c:w val="0.84959440460099578"/>
          <c:h val="0.77509955967347011"/>
        </c:manualLayout>
      </c:layout>
      <c:barChart>
        <c:barDir val="col"/>
        <c:grouping val="stacked"/>
        <c:varyColors val="0"/>
        <c:ser>
          <c:idx val="0"/>
          <c:order val="0"/>
          <c:tx>
            <c:strRef>
              <c:f>'[Insured Loss Data 2Q2024.xlsx]Significant Insured Losses 2024'!$X$83</c:f>
              <c:strCache>
                <c:ptCount val="1"/>
                <c:pt idx="0">
                  <c:v>Q1</c:v>
                </c:pt>
              </c:strCache>
            </c:strRef>
          </c:tx>
          <c:spPr>
            <a:solidFill>
              <a:schemeClr val="accent1"/>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X$84:$X$95</c:f>
              <c:numCache>
                <c:formatCode>"$"#,##0</c:formatCode>
                <c:ptCount val="12"/>
                <c:pt idx="0">
                  <c:v>4960</c:v>
                </c:pt>
                <c:pt idx="1">
                  <c:v>9291</c:v>
                </c:pt>
                <c:pt idx="2">
                  <c:v>6621.5160999999998</c:v>
                </c:pt>
                <c:pt idx="3">
                  <c:v>7022.8550000000014</c:v>
                </c:pt>
                <c:pt idx="4">
                  <c:v>11960.886999999999</c:v>
                </c:pt>
                <c:pt idx="5">
                  <c:v>9181.57</c:v>
                </c:pt>
                <c:pt idx="6">
                  <c:v>10465.852000000001</c:v>
                </c:pt>
                <c:pt idx="7">
                  <c:v>11568.2598</c:v>
                </c:pt>
                <c:pt idx="8">
                  <c:v>24256.901724999996</c:v>
                </c:pt>
                <c:pt idx="9">
                  <c:v>19711.28585</c:v>
                </c:pt>
                <c:pt idx="10">
                  <c:v>26565.399799999999</c:v>
                </c:pt>
                <c:pt idx="11">
                  <c:v>22725.388866666664</c:v>
                </c:pt>
              </c:numCache>
            </c:numRef>
          </c:val>
          <c:extLst>
            <c:ext xmlns:c16="http://schemas.microsoft.com/office/drawing/2014/chart" uri="{C3380CC4-5D6E-409C-BE32-E72D297353CC}">
              <c16:uniqueId val="{00000000-7386-4476-B7B6-94E7E4D5AD83}"/>
            </c:ext>
          </c:extLst>
        </c:ser>
        <c:ser>
          <c:idx val="1"/>
          <c:order val="1"/>
          <c:tx>
            <c:strRef>
              <c:f>'[Insured Loss Data 2Q2024.xlsx]Significant Insured Losses 2024'!$Y$83</c:f>
              <c:strCache>
                <c:ptCount val="1"/>
                <c:pt idx="0">
                  <c:v>Q2</c:v>
                </c:pt>
              </c:strCache>
            </c:strRef>
          </c:tx>
          <c:spPr>
            <a:solidFill>
              <a:schemeClr val="accent2"/>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Y$84:$Y$95</c:f>
              <c:numCache>
                <c:formatCode>"$"#,##0</c:formatCode>
                <c:ptCount val="12"/>
                <c:pt idx="0">
                  <c:v>17244</c:v>
                </c:pt>
                <c:pt idx="1">
                  <c:v>15137.4</c:v>
                </c:pt>
                <c:pt idx="2">
                  <c:v>10370.242000000002</c:v>
                </c:pt>
                <c:pt idx="3">
                  <c:v>21842.843000000001</c:v>
                </c:pt>
                <c:pt idx="4">
                  <c:v>10692.19</c:v>
                </c:pt>
                <c:pt idx="5">
                  <c:v>15731.654999999999</c:v>
                </c:pt>
                <c:pt idx="6">
                  <c:v>11956.949999999999</c:v>
                </c:pt>
                <c:pt idx="7">
                  <c:v>20846.515950000001</c:v>
                </c:pt>
                <c:pt idx="8">
                  <c:v>19007.296699999999</c:v>
                </c:pt>
                <c:pt idx="9">
                  <c:v>31759.768000000004</c:v>
                </c:pt>
                <c:pt idx="10">
                  <c:v>30859.4486</c:v>
                </c:pt>
                <c:pt idx="11">
                  <c:v>29750.679399999994</c:v>
                </c:pt>
              </c:numCache>
            </c:numRef>
          </c:val>
          <c:extLst>
            <c:ext xmlns:c16="http://schemas.microsoft.com/office/drawing/2014/chart" uri="{C3380CC4-5D6E-409C-BE32-E72D297353CC}">
              <c16:uniqueId val="{00000001-7386-4476-B7B6-94E7E4D5AD83}"/>
            </c:ext>
          </c:extLst>
        </c:ser>
        <c:ser>
          <c:idx val="2"/>
          <c:order val="2"/>
          <c:tx>
            <c:strRef>
              <c:f>'[Insured Loss Data 2Q2024.xlsx]Significant Insured Losses 2024'!$Z$83</c:f>
              <c:strCache>
                <c:ptCount val="1"/>
                <c:pt idx="0">
                  <c:v>Q3</c:v>
                </c:pt>
              </c:strCache>
            </c:strRef>
          </c:tx>
          <c:spPr>
            <a:solidFill>
              <a:schemeClr val="accent3"/>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Z$84:$Z$95</c:f>
              <c:numCache>
                <c:formatCode>"$"#,##0</c:formatCode>
                <c:ptCount val="12"/>
                <c:pt idx="0">
                  <c:v>10711</c:v>
                </c:pt>
                <c:pt idx="1">
                  <c:v>5640.5</c:v>
                </c:pt>
                <c:pt idx="2">
                  <c:v>9266.9600000000009</c:v>
                </c:pt>
                <c:pt idx="3">
                  <c:v>12955.246999999999</c:v>
                </c:pt>
                <c:pt idx="4">
                  <c:v>78953.260000000009</c:v>
                </c:pt>
                <c:pt idx="5">
                  <c:v>35111.032999999996</c:v>
                </c:pt>
                <c:pt idx="6">
                  <c:v>22040.896000000001</c:v>
                </c:pt>
                <c:pt idx="7">
                  <c:v>46559.181500000013</c:v>
                </c:pt>
                <c:pt idx="8">
                  <c:v>54573.321999999986</c:v>
                </c:pt>
                <c:pt idx="9">
                  <c:v>60416.451999999997</c:v>
                </c:pt>
                <c:pt idx="10">
                  <c:v>34515.564449999998</c:v>
                </c:pt>
              </c:numCache>
            </c:numRef>
          </c:val>
          <c:extLst>
            <c:ext xmlns:c16="http://schemas.microsoft.com/office/drawing/2014/chart" uri="{C3380CC4-5D6E-409C-BE32-E72D297353CC}">
              <c16:uniqueId val="{00000002-7386-4476-B7B6-94E7E4D5AD83}"/>
            </c:ext>
          </c:extLst>
        </c:ser>
        <c:ser>
          <c:idx val="3"/>
          <c:order val="3"/>
          <c:tx>
            <c:strRef>
              <c:f>'[Insured Loss Data 2Q2024.xlsx]Significant Insured Losses 2024'!$AA$83</c:f>
              <c:strCache>
                <c:ptCount val="1"/>
                <c:pt idx="0">
                  <c:v>Q4</c:v>
                </c:pt>
              </c:strCache>
            </c:strRef>
          </c:tx>
          <c:spPr>
            <a:solidFill>
              <a:schemeClr val="accent4"/>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AA$84:$AA$95</c:f>
              <c:numCache>
                <c:formatCode>"$"#,##0</c:formatCode>
                <c:ptCount val="12"/>
                <c:pt idx="0">
                  <c:v>6910</c:v>
                </c:pt>
                <c:pt idx="1">
                  <c:v>2960.25</c:v>
                </c:pt>
                <c:pt idx="2">
                  <c:v>6074.9699999999993</c:v>
                </c:pt>
                <c:pt idx="3">
                  <c:v>10961.732</c:v>
                </c:pt>
                <c:pt idx="4">
                  <c:v>18173.256999999998</c:v>
                </c:pt>
                <c:pt idx="5">
                  <c:v>29447.294999999995</c:v>
                </c:pt>
                <c:pt idx="6">
                  <c:v>20864.729999999996</c:v>
                </c:pt>
                <c:pt idx="7">
                  <c:v>9149.6649999999991</c:v>
                </c:pt>
                <c:pt idx="8">
                  <c:v>13816.264999999999</c:v>
                </c:pt>
                <c:pt idx="9">
                  <c:v>11819.763874999999</c:v>
                </c:pt>
                <c:pt idx="10">
                  <c:v>11269.259499999998</c:v>
                </c:pt>
              </c:numCache>
            </c:numRef>
          </c:val>
          <c:extLst>
            <c:ext xmlns:c16="http://schemas.microsoft.com/office/drawing/2014/chart" uri="{C3380CC4-5D6E-409C-BE32-E72D297353CC}">
              <c16:uniqueId val="{00000003-7386-4476-B7B6-94E7E4D5AD83}"/>
            </c:ext>
          </c:extLst>
        </c:ser>
        <c:ser>
          <c:idx val="4"/>
          <c:order val="4"/>
          <c:tx>
            <c:strRef>
              <c:f>'[Insured Loss Data 2Q2024.xlsx]Significant Insured Losses 2024'!$AC$83</c:f>
              <c:strCache>
                <c:ptCount val="1"/>
                <c:pt idx="0">
                  <c:v>Reported COVID-19 losses</c:v>
                </c:pt>
              </c:strCache>
            </c:strRef>
          </c:tx>
          <c:spPr>
            <a:solidFill>
              <a:schemeClr val="accent6"/>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AC$84:$AC$94</c:f>
              <c:numCache>
                <c:formatCode>General</c:formatCode>
                <c:ptCount val="11"/>
                <c:pt idx="7" formatCode="&quot;$&quot;#,##0">
                  <c:v>38085.221706000004</c:v>
                </c:pt>
                <c:pt idx="8" formatCode="&quot;$&quot;#,##0">
                  <c:v>15598.199999999999</c:v>
                </c:pt>
                <c:pt idx="9" formatCode="&quot;$&quot;#,##0">
                  <c:v>2942</c:v>
                </c:pt>
              </c:numCache>
            </c:numRef>
          </c:val>
          <c:extLst>
            <c:ext xmlns:c16="http://schemas.microsoft.com/office/drawing/2014/chart" uri="{C3380CC4-5D6E-409C-BE32-E72D297353CC}">
              <c16:uniqueId val="{00000004-7386-4476-B7B6-94E7E4D5AD83}"/>
            </c:ext>
          </c:extLst>
        </c:ser>
        <c:ser>
          <c:idx val="5"/>
          <c:order val="5"/>
          <c:tx>
            <c:strRef>
              <c:f>'[Insured Loss Data 2Q2024.xlsx]Significant Insured Losses 2024'!$AD$83</c:f>
              <c:strCache>
                <c:ptCount val="1"/>
                <c:pt idx="0">
                  <c:v>Losses from Russia-Ukraine conflict</c:v>
                </c:pt>
              </c:strCache>
            </c:strRef>
          </c:tx>
          <c:spPr>
            <a:solidFill>
              <a:srgbClr val="FF8C00"/>
            </a:solidFill>
            <a:ln>
              <a:noFill/>
            </a:ln>
            <a:effectLst/>
          </c:spPr>
          <c:invertIfNegative val="0"/>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AD$84:$AD$94</c:f>
              <c:numCache>
                <c:formatCode>General</c:formatCode>
                <c:ptCount val="11"/>
                <c:pt idx="9" formatCode="&quot;$&quot;#,##0">
                  <c:v>16000</c:v>
                </c:pt>
              </c:numCache>
            </c:numRef>
          </c:val>
          <c:extLst>
            <c:ext xmlns:c16="http://schemas.microsoft.com/office/drawing/2014/chart" uri="{C3380CC4-5D6E-409C-BE32-E72D297353CC}">
              <c16:uniqueId val="{00000005-7386-4476-B7B6-94E7E4D5AD83}"/>
            </c:ext>
          </c:extLst>
        </c:ser>
        <c:dLbls>
          <c:showLegendKey val="0"/>
          <c:showVal val="0"/>
          <c:showCatName val="0"/>
          <c:showSerName val="0"/>
          <c:showPercent val="0"/>
          <c:showBubbleSize val="0"/>
        </c:dLbls>
        <c:gapWidth val="150"/>
        <c:overlap val="100"/>
        <c:axId val="1137674128"/>
        <c:axId val="1137671504"/>
      </c:barChart>
      <c:lineChart>
        <c:grouping val="standard"/>
        <c:varyColors val="0"/>
        <c:ser>
          <c:idx val="7"/>
          <c:order val="6"/>
          <c:spPr>
            <a:ln w="28575" cap="rnd">
              <a:noFill/>
              <a:round/>
            </a:ln>
            <a:effectLst/>
          </c:spPr>
          <c:marker>
            <c:symbol val="none"/>
          </c:marker>
          <c:dLbls>
            <c:dLbl>
              <c:idx val="3"/>
              <c:layout>
                <c:manualLayout>
                  <c:x val="-3.8996906068576226E-2"/>
                  <c:y val="-5.0418035934235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386-4476-B7B6-94E7E4D5AD83}"/>
                </c:ext>
              </c:extLst>
            </c:dLbl>
            <c:dLbl>
              <c:idx val="4"/>
              <c:layout>
                <c:manualLayout>
                  <c:x val="-4.3793309294955556E-2"/>
                  <c:y val="-6.3084280392753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86-4476-B7B6-94E7E4D5AD83}"/>
                </c:ext>
              </c:extLst>
            </c:dLbl>
            <c:dLbl>
              <c:idx val="5"/>
              <c:layout>
                <c:manualLayout>
                  <c:x val="-3.8996906068576226E-2"/>
                  <c:y val="-5.0418035934235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386-4476-B7B6-94E7E4D5AD83}"/>
                </c:ext>
              </c:extLst>
            </c:dLbl>
            <c:dLbl>
              <c:idx val="6"/>
              <c:layout>
                <c:manualLayout>
                  <c:x val="-3.8996906068576226E-2"/>
                  <c:y val="-5.29512848259388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386-4476-B7B6-94E7E4D5AD83}"/>
                </c:ext>
              </c:extLst>
            </c:dLbl>
            <c:dLbl>
              <c:idx val="7"/>
              <c:layout>
                <c:manualLayout>
                  <c:x val="-4.453127774562924E-2"/>
                  <c:y val="-7.06840270678641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86-4476-B7B6-94E7E4D5AD83}"/>
                </c:ext>
              </c:extLst>
            </c:dLbl>
            <c:dLbl>
              <c:idx val="8"/>
              <c:layout>
                <c:manualLayout>
                  <c:x val="-4.4531277745629115E-2"/>
                  <c:y val="-7.06840270678641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386-4476-B7B6-94E7E4D5AD83}"/>
                </c:ext>
              </c:extLst>
            </c:dLbl>
            <c:dLbl>
              <c:idx val="9"/>
              <c:layout>
                <c:manualLayout>
                  <c:x val="-4.5416265388705288E-2"/>
                  <c:y val="-7.04177367316102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386-4476-B7B6-94E7E4D5AD83}"/>
                </c:ext>
              </c:extLst>
            </c:dLbl>
            <c:dLbl>
              <c:idx val="10"/>
              <c:layout>
                <c:manualLayout>
                  <c:x val="-4.4531277745629115E-2"/>
                  <c:y val="-6.56175292844569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386-4476-B7B6-94E7E4D5AD83}"/>
                </c:ext>
              </c:extLst>
            </c:dLbl>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numRef>
              <c:f>'[Insured Loss Data 2Q2024.xlsx]Significant Insured Losses 2024'!$W$84:$W$95</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Insured Loss Data 2Q2024.xlsx]Significant Insured Losses 2024'!$AF$84:$AF$95</c:f>
              <c:numCache>
                <c:formatCode>"$"#,##0</c:formatCode>
                <c:ptCount val="12"/>
                <c:pt idx="0">
                  <c:v>39.825000000000003</c:v>
                </c:pt>
                <c:pt idx="1">
                  <c:v>33.029150000000001</c:v>
                </c:pt>
                <c:pt idx="2">
                  <c:v>32.333688100000003</c:v>
                </c:pt>
                <c:pt idx="3">
                  <c:v>52.782677000000014</c:v>
                </c:pt>
                <c:pt idx="4">
                  <c:v>119.779594</c:v>
                </c:pt>
                <c:pt idx="5">
                  <c:v>89.471552999999986</c:v>
                </c:pt>
                <c:pt idx="6">
                  <c:v>65.328428000000002</c:v>
                </c:pt>
                <c:pt idx="7">
                  <c:v>126.208843956</c:v>
                </c:pt>
                <c:pt idx="8">
                  <c:v>127.25198542499997</c:v>
                </c:pt>
                <c:pt idx="9">
                  <c:v>142.64926972500001</c:v>
                </c:pt>
                <c:pt idx="10">
                  <c:v>103.20967234999999</c:v>
                </c:pt>
                <c:pt idx="11">
                  <c:v>52.476068266666651</c:v>
                </c:pt>
              </c:numCache>
            </c:numRef>
          </c:val>
          <c:smooth val="0"/>
          <c:extLst>
            <c:ext xmlns:c16="http://schemas.microsoft.com/office/drawing/2014/chart" uri="{C3380CC4-5D6E-409C-BE32-E72D297353CC}">
              <c16:uniqueId val="{00000007-7386-4476-B7B6-94E7E4D5AD83}"/>
            </c:ext>
          </c:extLst>
        </c:ser>
        <c:dLbls>
          <c:showLegendKey val="0"/>
          <c:showVal val="0"/>
          <c:showCatName val="0"/>
          <c:showSerName val="0"/>
          <c:showPercent val="0"/>
          <c:showBubbleSize val="0"/>
        </c:dLbls>
        <c:marker val="1"/>
        <c:smooth val="0"/>
        <c:axId val="1102253896"/>
        <c:axId val="1102250944"/>
      </c:lineChart>
      <c:catAx>
        <c:axId val="1137674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7671504"/>
        <c:crosses val="autoZero"/>
        <c:auto val="1"/>
        <c:lblAlgn val="ctr"/>
        <c:lblOffset val="100"/>
        <c:noMultiLvlLbl val="0"/>
      </c:catAx>
      <c:valAx>
        <c:axId val="1137671504"/>
        <c:scaling>
          <c:orientation val="minMax"/>
          <c:max val="150000"/>
          <c:min val="0"/>
        </c:scaling>
        <c:delete val="0"/>
        <c:axPos val="l"/>
        <c:majorGridlines>
          <c:spPr>
            <a:ln w="9525" cap="flat" cmpd="sng" algn="ctr">
              <a:solidFill>
                <a:schemeClr val="tx2"/>
              </a:solidFill>
              <a:round/>
            </a:ln>
            <a:effectLst/>
          </c:spPr>
        </c:majorGridlines>
        <c:title>
          <c:tx>
            <c:rich>
              <a:bodyPr rot="-5400000" spcFirstLastPara="1" vertOverflow="ellipsis" vert="horz" wrap="square" anchor="ctr" anchorCtr="1"/>
              <a:lstStyle/>
              <a:p>
                <a:pPr>
                  <a:defRPr lang="es-CO" sz="1200" b="0" i="0" u="none" strike="noStrike" kern="1200" baseline="0" noProof="0">
                    <a:solidFill>
                      <a:schemeClr val="tx1"/>
                    </a:solidFill>
                    <a:latin typeface="+mn-lt"/>
                    <a:ea typeface="+mn-ea"/>
                    <a:cs typeface="+mn-cs"/>
                  </a:defRPr>
                </a:pPr>
                <a:r>
                  <a:rPr lang="es-CO" noProof="0" dirty="0"/>
                  <a:t>Mil millones USD</a:t>
                </a:r>
              </a:p>
            </c:rich>
          </c:tx>
          <c:layout>
            <c:manualLayout>
              <c:xMode val="edge"/>
              <c:yMode val="edge"/>
              <c:x val="3.2328554208561514E-4"/>
              <c:y val="0.4296372168171822"/>
            </c:manualLayout>
          </c:layout>
          <c:overlay val="0"/>
          <c:spPr>
            <a:noFill/>
            <a:ln>
              <a:noFill/>
            </a:ln>
            <a:effectLst/>
          </c:spPr>
          <c:txPr>
            <a:bodyPr rot="-5400000" spcFirstLastPara="1" vertOverflow="ellipsis" vert="horz" wrap="square" anchor="ctr" anchorCtr="1"/>
            <a:lstStyle/>
            <a:p>
              <a:pPr>
                <a:defRPr lang="es-CO" sz="1200" b="0" i="0" u="none" strike="noStrike" kern="1200" baseline="0" noProof="0">
                  <a:solidFill>
                    <a:schemeClr val="tx1"/>
                  </a:solidFill>
                  <a:latin typeface="+mn-lt"/>
                  <a:ea typeface="+mn-ea"/>
                  <a:cs typeface="+mn-cs"/>
                </a:defRPr>
              </a:pPr>
              <a:endParaRPr lang="en-US"/>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7674128"/>
        <c:crosses val="autoZero"/>
        <c:crossBetween val="between"/>
        <c:dispUnits>
          <c:builtInUnit val="thousands"/>
        </c:dispUnits>
      </c:valAx>
      <c:valAx>
        <c:axId val="1102250944"/>
        <c:scaling>
          <c:orientation val="minMax"/>
        </c:scaling>
        <c:delete val="0"/>
        <c:axPos val="r"/>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02253896"/>
        <c:crosses val="max"/>
        <c:crossBetween val="between"/>
      </c:valAx>
      <c:catAx>
        <c:axId val="1102253896"/>
        <c:scaling>
          <c:orientation val="minMax"/>
        </c:scaling>
        <c:delete val="1"/>
        <c:axPos val="b"/>
        <c:numFmt formatCode="General" sourceLinked="1"/>
        <c:majorTickMark val="out"/>
        <c:minorTickMark val="none"/>
        <c:tickLblPos val="nextTo"/>
        <c:crossAx val="1102250944"/>
        <c:crosses val="autoZero"/>
        <c:auto val="1"/>
        <c:lblAlgn val="ctr"/>
        <c:lblOffset val="100"/>
        <c:noMultiLvlLbl val="0"/>
      </c:catAx>
      <c:spPr>
        <a:noFill/>
        <a:ln>
          <a:noFill/>
        </a:ln>
        <a:effectLst/>
      </c:spPr>
    </c:plotArea>
    <c:legend>
      <c:legendPos val="b"/>
      <c:legendEntry>
        <c:idx val="6"/>
        <c:delete val="1"/>
      </c:legendEntry>
      <c:layout>
        <c:manualLayout>
          <c:xMode val="edge"/>
          <c:yMode val="edge"/>
          <c:x val="5.1404490274275662E-2"/>
          <c:y val="0.96832481436970474"/>
          <c:w val="0.89666208983473283"/>
          <c:h val="3.131733929079004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1"/>
          <c:order val="0"/>
          <c:tx>
            <c:strRef>
              <c:f>Split!$AF$2</c:f>
              <c:strCache>
                <c:ptCount val="1"/>
                <c:pt idx="0">
                  <c:v>Earthquake</c:v>
                </c:pt>
              </c:strCache>
            </c:strRef>
          </c:tx>
          <c:spPr>
            <a:solidFill>
              <a:schemeClr val="accent1"/>
            </a:solidFill>
            <a:ln>
              <a:noFill/>
            </a:ln>
            <a:effectLst/>
          </c:spPr>
          <c:invertIfNegative val="0"/>
          <c:cat>
            <c:strRef>
              <c:f>Split!$AD$52:$AD$54</c:f>
              <c:strCache>
                <c:ptCount val="3"/>
                <c:pt idx="0">
                  <c:v>1H 2024</c:v>
                </c:pt>
                <c:pt idx="1">
                  <c:v>5Y Avg</c:v>
                </c:pt>
                <c:pt idx="2">
                  <c:v>10Y Avg</c:v>
                </c:pt>
              </c:strCache>
            </c:strRef>
          </c:cat>
          <c:val>
            <c:numRef>
              <c:f>Split!$AF$52:$AF$54</c:f>
              <c:numCache>
                <c:formatCode>"$"#,##0</c:formatCode>
                <c:ptCount val="3"/>
                <c:pt idx="0">
                  <c:v>4223</c:v>
                </c:pt>
                <c:pt idx="1">
                  <c:v>2576.81</c:v>
                </c:pt>
                <c:pt idx="2">
                  <c:v>2004.405</c:v>
                </c:pt>
              </c:numCache>
            </c:numRef>
          </c:val>
          <c:extLst>
            <c:ext xmlns:c16="http://schemas.microsoft.com/office/drawing/2014/chart" uri="{C3380CC4-5D6E-409C-BE32-E72D297353CC}">
              <c16:uniqueId val="{00000000-777F-484F-B110-A3FD2068FD34}"/>
            </c:ext>
          </c:extLst>
        </c:ser>
        <c:ser>
          <c:idx val="2"/>
          <c:order val="1"/>
          <c:tx>
            <c:strRef>
              <c:f>Split!$AG$2</c:f>
              <c:strCache>
                <c:ptCount val="1"/>
                <c:pt idx="0">
                  <c:v>Flooding</c:v>
                </c:pt>
              </c:strCache>
            </c:strRef>
          </c:tx>
          <c:spPr>
            <a:solidFill>
              <a:schemeClr val="accent2"/>
            </a:solidFill>
            <a:ln>
              <a:noFill/>
            </a:ln>
            <a:effectLst/>
          </c:spPr>
          <c:invertIfNegative val="0"/>
          <c:cat>
            <c:strRef>
              <c:f>Split!$AD$52:$AD$54</c:f>
              <c:strCache>
                <c:ptCount val="3"/>
                <c:pt idx="0">
                  <c:v>1H 2024</c:v>
                </c:pt>
                <c:pt idx="1">
                  <c:v>5Y Avg</c:v>
                </c:pt>
                <c:pt idx="2">
                  <c:v>10Y Avg</c:v>
                </c:pt>
              </c:strCache>
            </c:strRef>
          </c:cat>
          <c:val>
            <c:numRef>
              <c:f>Split!$AG$52:$AG$54</c:f>
              <c:numCache>
                <c:formatCode>"$"#,##0</c:formatCode>
                <c:ptCount val="3"/>
                <c:pt idx="0">
                  <c:v>6700</c:v>
                </c:pt>
                <c:pt idx="1">
                  <c:v>2293.1060000000002</c:v>
                </c:pt>
                <c:pt idx="2">
                  <c:v>2103.6752000000001</c:v>
                </c:pt>
              </c:numCache>
            </c:numRef>
          </c:val>
          <c:extLst>
            <c:ext xmlns:c16="http://schemas.microsoft.com/office/drawing/2014/chart" uri="{C3380CC4-5D6E-409C-BE32-E72D297353CC}">
              <c16:uniqueId val="{00000001-777F-484F-B110-A3FD2068FD34}"/>
            </c:ext>
          </c:extLst>
        </c:ser>
        <c:ser>
          <c:idx val="7"/>
          <c:order val="2"/>
          <c:tx>
            <c:strRef>
              <c:f>Split!$AL$2</c:f>
              <c:strCache>
                <c:ptCount val="1"/>
                <c:pt idx="0">
                  <c:v>Tropical Cyclone</c:v>
                </c:pt>
              </c:strCache>
            </c:strRef>
          </c:tx>
          <c:spPr>
            <a:solidFill>
              <a:schemeClr val="accent3"/>
            </a:solidFill>
            <a:ln>
              <a:noFill/>
            </a:ln>
            <a:effectLst/>
          </c:spPr>
          <c:invertIfNegative val="0"/>
          <c:cat>
            <c:strRef>
              <c:f>Split!$AD$52:$AD$54</c:f>
              <c:strCache>
                <c:ptCount val="3"/>
                <c:pt idx="0">
                  <c:v>1H 2024</c:v>
                </c:pt>
                <c:pt idx="1">
                  <c:v>5Y Avg</c:v>
                </c:pt>
                <c:pt idx="2">
                  <c:v>10Y Avg</c:v>
                </c:pt>
              </c:strCache>
            </c:strRef>
          </c:cat>
          <c:val>
            <c:numRef>
              <c:f>Split!$AL$52:$AL$54</c:f>
              <c:numCache>
                <c:formatCode>"$"#,##0</c:formatCode>
                <c:ptCount val="3"/>
                <c:pt idx="0">
                  <c:v>299</c:v>
                </c:pt>
                <c:pt idx="1">
                  <c:v>1293.4000000000001</c:v>
                </c:pt>
                <c:pt idx="2">
                  <c:v>1066.5122000000001</c:v>
                </c:pt>
              </c:numCache>
            </c:numRef>
          </c:val>
          <c:extLst>
            <c:ext xmlns:c16="http://schemas.microsoft.com/office/drawing/2014/chart" uri="{C3380CC4-5D6E-409C-BE32-E72D297353CC}">
              <c16:uniqueId val="{00000002-777F-484F-B110-A3FD2068FD34}"/>
            </c:ext>
          </c:extLst>
        </c:ser>
        <c:ser>
          <c:idx val="5"/>
          <c:order val="3"/>
          <c:tx>
            <c:strRef>
              <c:f>Split!$AJ$2</c:f>
              <c:strCache>
                <c:ptCount val="1"/>
                <c:pt idx="0">
                  <c:v>Riots</c:v>
                </c:pt>
              </c:strCache>
            </c:strRef>
          </c:tx>
          <c:spPr>
            <a:solidFill>
              <a:schemeClr val="accent4"/>
            </a:solidFill>
            <a:ln>
              <a:noFill/>
            </a:ln>
            <a:effectLst/>
          </c:spPr>
          <c:invertIfNegative val="0"/>
          <c:cat>
            <c:strRef>
              <c:f>Split!$AD$52:$AD$54</c:f>
              <c:strCache>
                <c:ptCount val="3"/>
                <c:pt idx="0">
                  <c:v>1H 2024</c:v>
                </c:pt>
                <c:pt idx="1">
                  <c:v>5Y Avg</c:v>
                </c:pt>
                <c:pt idx="2">
                  <c:v>10Y Avg</c:v>
                </c:pt>
              </c:strCache>
            </c:strRef>
          </c:cat>
          <c:val>
            <c:numRef>
              <c:f>Split!$AJ$52:$AJ$54</c:f>
              <c:numCache>
                <c:formatCode>"$"#,##0</c:formatCode>
                <c:ptCount val="3"/>
                <c:pt idx="0">
                  <c:v>1000</c:v>
                </c:pt>
                <c:pt idx="1">
                  <c:v>635.84399000000008</c:v>
                </c:pt>
                <c:pt idx="2">
                  <c:v>342.92199500000004</c:v>
                </c:pt>
              </c:numCache>
            </c:numRef>
          </c:val>
          <c:extLst>
            <c:ext xmlns:c16="http://schemas.microsoft.com/office/drawing/2014/chart" uri="{C3380CC4-5D6E-409C-BE32-E72D297353CC}">
              <c16:uniqueId val="{00000003-777F-484F-B110-A3FD2068FD34}"/>
            </c:ext>
          </c:extLst>
        </c:ser>
        <c:ser>
          <c:idx val="3"/>
          <c:order val="4"/>
          <c:tx>
            <c:strRef>
              <c:f>Split!$AH$2</c:f>
              <c:strCache>
                <c:ptCount val="1"/>
                <c:pt idx="0">
                  <c:v>Other</c:v>
                </c:pt>
              </c:strCache>
            </c:strRef>
          </c:tx>
          <c:spPr>
            <a:solidFill>
              <a:schemeClr val="accent6"/>
            </a:solidFill>
            <a:ln>
              <a:noFill/>
            </a:ln>
            <a:effectLst/>
          </c:spPr>
          <c:invertIfNegative val="0"/>
          <c:cat>
            <c:strRef>
              <c:f>Split!$AD$52:$AD$54</c:f>
              <c:strCache>
                <c:ptCount val="3"/>
                <c:pt idx="0">
                  <c:v>1H 2024</c:v>
                </c:pt>
                <c:pt idx="1">
                  <c:v>5Y Avg</c:v>
                </c:pt>
                <c:pt idx="2">
                  <c:v>10Y Avg</c:v>
                </c:pt>
              </c:strCache>
            </c:strRef>
          </c:cat>
          <c:val>
            <c:numRef>
              <c:f>Split!$AH$52:$AH$54</c:f>
              <c:numCache>
                <c:formatCode>"$"#,##0</c:formatCode>
                <c:ptCount val="3"/>
                <c:pt idx="0">
                  <c:v>2000</c:v>
                </c:pt>
                <c:pt idx="1">
                  <c:v>5802.6620000000003</c:v>
                </c:pt>
                <c:pt idx="2">
                  <c:v>4015.1480000000001</c:v>
                </c:pt>
              </c:numCache>
            </c:numRef>
          </c:val>
          <c:extLst>
            <c:ext xmlns:c16="http://schemas.microsoft.com/office/drawing/2014/chart" uri="{C3380CC4-5D6E-409C-BE32-E72D297353CC}">
              <c16:uniqueId val="{00000004-777F-484F-B110-A3FD2068FD34}"/>
            </c:ext>
          </c:extLst>
        </c:ser>
        <c:ser>
          <c:idx val="0"/>
          <c:order val="5"/>
          <c:tx>
            <c:strRef>
              <c:f>Split!$AE$2</c:f>
              <c:strCache>
                <c:ptCount val="1"/>
                <c:pt idx="0">
                  <c:v>Drought</c:v>
                </c:pt>
              </c:strCache>
            </c:strRef>
          </c:tx>
          <c:spPr>
            <a:solidFill>
              <a:srgbClr val="0077A0"/>
            </a:solidFill>
            <a:ln>
              <a:noFill/>
            </a:ln>
            <a:effectLst/>
          </c:spPr>
          <c:invertIfNegative val="0"/>
          <c:cat>
            <c:strRef>
              <c:f>Split!$AD$52:$AD$54</c:f>
              <c:strCache>
                <c:ptCount val="3"/>
                <c:pt idx="0">
                  <c:v>1H 2024</c:v>
                </c:pt>
                <c:pt idx="1">
                  <c:v>5Y Avg</c:v>
                </c:pt>
                <c:pt idx="2">
                  <c:v>10Y Avg</c:v>
                </c:pt>
              </c:strCache>
            </c:strRef>
          </c:cat>
          <c:val>
            <c:numRef>
              <c:f>Split!$AE$52:$AE$54</c:f>
              <c:numCache>
                <c:formatCode>"$"#,##0</c:formatCode>
                <c:ptCount val="3"/>
                <c:pt idx="0">
                  <c:v>0</c:v>
                </c:pt>
                <c:pt idx="1">
                  <c:v>550.20000000000005</c:v>
                </c:pt>
                <c:pt idx="2">
                  <c:v>275.10000000000002</c:v>
                </c:pt>
              </c:numCache>
            </c:numRef>
          </c:val>
          <c:extLst>
            <c:ext xmlns:c16="http://schemas.microsoft.com/office/drawing/2014/chart" uri="{C3380CC4-5D6E-409C-BE32-E72D297353CC}">
              <c16:uniqueId val="{00000005-777F-484F-B110-A3FD2068FD34}"/>
            </c:ext>
          </c:extLst>
        </c:ser>
        <c:ser>
          <c:idx val="6"/>
          <c:order val="6"/>
          <c:tx>
            <c:strRef>
              <c:f>Split!$AK$2</c:f>
              <c:strCache>
                <c:ptCount val="1"/>
                <c:pt idx="0">
                  <c:v>Severe Convective Storm</c:v>
                </c:pt>
              </c:strCache>
            </c:strRef>
          </c:tx>
          <c:spPr>
            <a:solidFill>
              <a:srgbClr val="00968F"/>
            </a:solidFill>
            <a:ln>
              <a:noFill/>
            </a:ln>
            <a:effectLst/>
          </c:spPr>
          <c:invertIfNegative val="0"/>
          <c:cat>
            <c:strRef>
              <c:f>Split!$AD$52:$AD$54</c:f>
              <c:strCache>
                <c:ptCount val="3"/>
                <c:pt idx="0">
                  <c:v>1H 2024</c:v>
                </c:pt>
                <c:pt idx="1">
                  <c:v>5Y Avg</c:v>
                </c:pt>
                <c:pt idx="2">
                  <c:v>10Y Avg</c:v>
                </c:pt>
              </c:strCache>
            </c:strRef>
          </c:cat>
          <c:val>
            <c:numRef>
              <c:f>Split!$AK$52:$AK$54</c:f>
              <c:numCache>
                <c:formatCode>"$"#,##0</c:formatCode>
                <c:ptCount val="3"/>
                <c:pt idx="0">
                  <c:v>34447.745399999993</c:v>
                </c:pt>
                <c:pt idx="1">
                  <c:v>25599.022149999997</c:v>
                </c:pt>
                <c:pt idx="2">
                  <c:v>19242.047274999997</c:v>
                </c:pt>
              </c:numCache>
            </c:numRef>
          </c:val>
          <c:extLst>
            <c:ext xmlns:c16="http://schemas.microsoft.com/office/drawing/2014/chart" uri="{C3380CC4-5D6E-409C-BE32-E72D297353CC}">
              <c16:uniqueId val="{00000006-777F-484F-B110-A3FD2068FD34}"/>
            </c:ext>
          </c:extLst>
        </c:ser>
        <c:ser>
          <c:idx val="9"/>
          <c:order val="7"/>
          <c:tx>
            <c:strRef>
              <c:f>Split!$AN$2</c:f>
              <c:strCache>
                <c:ptCount val="1"/>
                <c:pt idx="0">
                  <c:v>Winter storm</c:v>
                </c:pt>
              </c:strCache>
            </c:strRef>
          </c:tx>
          <c:spPr>
            <a:solidFill>
              <a:srgbClr val="7030A0"/>
            </a:solidFill>
            <a:ln>
              <a:noFill/>
            </a:ln>
            <a:effectLst/>
          </c:spPr>
          <c:invertIfNegative val="0"/>
          <c:cat>
            <c:strRef>
              <c:f>Split!$AD$52:$AD$54</c:f>
              <c:strCache>
                <c:ptCount val="3"/>
                <c:pt idx="0">
                  <c:v>1H 2024</c:v>
                </c:pt>
                <c:pt idx="1">
                  <c:v>5Y Avg</c:v>
                </c:pt>
                <c:pt idx="2">
                  <c:v>10Y Avg</c:v>
                </c:pt>
              </c:strCache>
            </c:strRef>
          </c:cat>
          <c:val>
            <c:numRef>
              <c:f>Split!$AN$52:$AN$54</c:f>
              <c:numCache>
                <c:formatCode>"$"#,##0</c:formatCode>
                <c:ptCount val="3"/>
                <c:pt idx="0">
                  <c:v>3552.7621999999997</c:v>
                </c:pt>
                <c:pt idx="1">
                  <c:v>5688.8503849999997</c:v>
                </c:pt>
                <c:pt idx="2">
                  <c:v>4593.3534024999999</c:v>
                </c:pt>
              </c:numCache>
            </c:numRef>
          </c:val>
          <c:extLst>
            <c:ext xmlns:c16="http://schemas.microsoft.com/office/drawing/2014/chart" uri="{C3380CC4-5D6E-409C-BE32-E72D297353CC}">
              <c16:uniqueId val="{00000007-777F-484F-B110-A3FD2068FD34}"/>
            </c:ext>
          </c:extLst>
        </c:ser>
        <c:ser>
          <c:idx val="8"/>
          <c:order val="8"/>
          <c:tx>
            <c:strRef>
              <c:f>Split!$AM$2</c:f>
              <c:strCache>
                <c:ptCount val="1"/>
                <c:pt idx="0">
                  <c:v>WildFire</c:v>
                </c:pt>
              </c:strCache>
            </c:strRef>
          </c:tx>
          <c:spPr>
            <a:solidFill>
              <a:srgbClr val="F63865"/>
            </a:solidFill>
            <a:ln>
              <a:noFill/>
            </a:ln>
            <a:effectLst/>
          </c:spPr>
          <c:invertIfNegative val="0"/>
          <c:cat>
            <c:strRef>
              <c:f>Split!$AD$52:$AD$54</c:f>
              <c:strCache>
                <c:ptCount val="3"/>
                <c:pt idx="0">
                  <c:v>1H 2024</c:v>
                </c:pt>
                <c:pt idx="1">
                  <c:v>5Y Avg</c:v>
                </c:pt>
                <c:pt idx="2">
                  <c:v>10Y Avg</c:v>
                </c:pt>
              </c:strCache>
            </c:strRef>
          </c:cat>
          <c:val>
            <c:numRef>
              <c:f>Split!$AM$52:$AM$54</c:f>
              <c:numCache>
                <c:formatCode>"$"#,##0</c:formatCode>
                <c:ptCount val="3"/>
                <c:pt idx="0">
                  <c:v>253.89400000000001</c:v>
                </c:pt>
                <c:pt idx="1">
                  <c:v>159.71800000000002</c:v>
                </c:pt>
                <c:pt idx="2">
                  <c:v>441.85900000000004</c:v>
                </c:pt>
              </c:numCache>
            </c:numRef>
          </c:val>
          <c:extLst>
            <c:ext xmlns:c16="http://schemas.microsoft.com/office/drawing/2014/chart" uri="{C3380CC4-5D6E-409C-BE32-E72D297353CC}">
              <c16:uniqueId val="{00000008-777F-484F-B110-A3FD2068FD34}"/>
            </c:ext>
          </c:extLst>
        </c:ser>
        <c:ser>
          <c:idx val="4"/>
          <c:order val="9"/>
          <c:tx>
            <c:strRef>
              <c:f>Split!$AI$2</c:f>
              <c:strCache>
                <c:ptCount val="1"/>
                <c:pt idx="0">
                  <c:v>Pandemic</c:v>
                </c:pt>
              </c:strCache>
            </c:strRef>
          </c:tx>
          <c:spPr>
            <a:solidFill>
              <a:srgbClr val="FF8C00"/>
            </a:solidFill>
            <a:ln>
              <a:noFill/>
            </a:ln>
            <a:effectLst/>
          </c:spPr>
          <c:invertIfNegative val="0"/>
          <c:cat>
            <c:strRef>
              <c:f>Split!$AD$52:$AD$54</c:f>
              <c:strCache>
                <c:ptCount val="3"/>
                <c:pt idx="0">
                  <c:v>1H 2024</c:v>
                </c:pt>
                <c:pt idx="1">
                  <c:v>5Y Avg</c:v>
                </c:pt>
                <c:pt idx="2">
                  <c:v>10Y Avg</c:v>
                </c:pt>
              </c:strCache>
            </c:strRef>
          </c:cat>
          <c:val>
            <c:numRef>
              <c:f>Split!$AI$52:$AI$54</c:f>
              <c:numCache>
                <c:formatCode>"$"#,##0</c:formatCode>
                <c:ptCount val="3"/>
                <c:pt idx="0">
                  <c:v>0</c:v>
                </c:pt>
                <c:pt idx="1">
                  <c:v>6359.0775072000006</c:v>
                </c:pt>
                <c:pt idx="2">
                  <c:v>3179.5387536000003</c:v>
                </c:pt>
              </c:numCache>
            </c:numRef>
          </c:val>
          <c:extLst>
            <c:ext xmlns:c16="http://schemas.microsoft.com/office/drawing/2014/chart" uri="{C3380CC4-5D6E-409C-BE32-E72D297353CC}">
              <c16:uniqueId val="{00000009-777F-484F-B110-A3FD2068FD34}"/>
            </c:ext>
          </c:extLst>
        </c:ser>
        <c:dLbls>
          <c:showLegendKey val="0"/>
          <c:showVal val="0"/>
          <c:showCatName val="0"/>
          <c:showSerName val="0"/>
          <c:showPercent val="0"/>
          <c:showBubbleSize val="0"/>
        </c:dLbls>
        <c:gapWidth val="150"/>
        <c:overlap val="100"/>
        <c:axId val="995536096"/>
        <c:axId val="995528896"/>
      </c:barChart>
      <c:catAx>
        <c:axId val="99553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95528896"/>
        <c:crosses val="autoZero"/>
        <c:auto val="1"/>
        <c:lblAlgn val="ctr"/>
        <c:lblOffset val="100"/>
        <c:noMultiLvlLbl val="0"/>
      </c:catAx>
      <c:valAx>
        <c:axId val="995528896"/>
        <c:scaling>
          <c:orientation val="minMax"/>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95536096"/>
        <c:crosses val="autoZero"/>
        <c:crossBetween val="between"/>
      </c:valAx>
      <c:spPr>
        <a:noFill/>
        <a:ln>
          <a:noFill/>
        </a:ln>
        <a:effectLst/>
      </c:spPr>
    </c:plotArea>
    <c:legend>
      <c:legendPos val="b"/>
      <c:layout>
        <c:manualLayout>
          <c:xMode val="edge"/>
          <c:yMode val="edge"/>
          <c:x val="0"/>
          <c:y val="0.96053217485745312"/>
          <c:w val="1"/>
          <c:h val="3.710129829830383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498018509709386E-2"/>
          <c:y val="0.11379038613081166"/>
          <c:w val="0.96350198149029065"/>
          <c:h val="0.77320711859628211"/>
        </c:manualLayout>
      </c:layout>
      <c:barChart>
        <c:barDir val="col"/>
        <c:grouping val="percentStacked"/>
        <c:varyColors val="0"/>
        <c:ser>
          <c:idx val="5"/>
          <c:order val="0"/>
          <c:tx>
            <c:strRef>
              <c:f>Split!$AV$2</c:f>
              <c:strCache>
                <c:ptCount val="1"/>
                <c:pt idx="0">
                  <c:v>US</c:v>
                </c:pt>
              </c:strCache>
            </c:strRef>
          </c:tx>
          <c:spPr>
            <a:solidFill>
              <a:schemeClr val="accent1"/>
            </a:solidFill>
            <a:ln>
              <a:noFill/>
            </a:ln>
            <a:effectLst/>
          </c:spPr>
          <c:invertIfNegative val="0"/>
          <c:cat>
            <c:strRef>
              <c:f>Split!$AD$52:$AD$54</c:f>
              <c:strCache>
                <c:ptCount val="3"/>
                <c:pt idx="0">
                  <c:v>1H 2024</c:v>
                </c:pt>
                <c:pt idx="1">
                  <c:v>5Y Avg</c:v>
                </c:pt>
                <c:pt idx="2">
                  <c:v>10Y Avg</c:v>
                </c:pt>
              </c:strCache>
            </c:strRef>
          </c:cat>
          <c:val>
            <c:numRef>
              <c:f>Split!$AV$52:$AV$54</c:f>
              <c:numCache>
                <c:formatCode>"$"#,##0</c:formatCode>
                <c:ptCount val="3"/>
                <c:pt idx="0">
                  <c:v>37792.2016</c:v>
                </c:pt>
                <c:pt idx="1">
                  <c:v>28046.814245000005</c:v>
                </c:pt>
                <c:pt idx="2">
                  <c:v>21023.488032500005</c:v>
                </c:pt>
              </c:numCache>
            </c:numRef>
          </c:val>
          <c:extLst>
            <c:ext xmlns:c16="http://schemas.microsoft.com/office/drawing/2014/chart" uri="{C3380CC4-5D6E-409C-BE32-E72D297353CC}">
              <c16:uniqueId val="{00000000-D32D-4147-A97C-805E0B0D35C2}"/>
            </c:ext>
          </c:extLst>
        </c:ser>
        <c:ser>
          <c:idx val="1"/>
          <c:order val="1"/>
          <c:tx>
            <c:strRef>
              <c:f>Split!$AR$2</c:f>
              <c:strCache>
                <c:ptCount val="1"/>
                <c:pt idx="0">
                  <c:v>Canada</c:v>
                </c:pt>
              </c:strCache>
            </c:strRef>
          </c:tx>
          <c:spPr>
            <a:solidFill>
              <a:schemeClr val="accent2"/>
            </a:solidFill>
            <a:ln>
              <a:noFill/>
            </a:ln>
            <a:effectLst/>
          </c:spPr>
          <c:invertIfNegative val="0"/>
          <c:cat>
            <c:strRef>
              <c:f>Split!$AD$52:$AD$54</c:f>
              <c:strCache>
                <c:ptCount val="3"/>
                <c:pt idx="0">
                  <c:v>1H 2024</c:v>
                </c:pt>
                <c:pt idx="1">
                  <c:v>5Y Avg</c:v>
                </c:pt>
                <c:pt idx="2">
                  <c:v>10Y Avg</c:v>
                </c:pt>
              </c:strCache>
            </c:strRef>
          </c:cat>
          <c:val>
            <c:numRef>
              <c:f>Split!$AR$52:$AR$54</c:f>
              <c:numCache>
                <c:formatCode>"$"#,##0</c:formatCode>
                <c:ptCount val="3"/>
                <c:pt idx="0">
                  <c:v>470.7</c:v>
                </c:pt>
                <c:pt idx="1">
                  <c:v>1033.1202799999999</c:v>
                </c:pt>
                <c:pt idx="2">
                  <c:v>939.66013999999996</c:v>
                </c:pt>
              </c:numCache>
            </c:numRef>
          </c:val>
          <c:extLst>
            <c:ext xmlns:c16="http://schemas.microsoft.com/office/drawing/2014/chart" uri="{C3380CC4-5D6E-409C-BE32-E72D297353CC}">
              <c16:uniqueId val="{00000001-D32D-4147-A97C-805E0B0D35C2}"/>
            </c:ext>
          </c:extLst>
        </c:ser>
        <c:ser>
          <c:idx val="2"/>
          <c:order val="2"/>
          <c:tx>
            <c:strRef>
              <c:f>Split!$AS$2</c:f>
              <c:strCache>
                <c:ptCount val="1"/>
                <c:pt idx="0">
                  <c:v>EMEA</c:v>
                </c:pt>
              </c:strCache>
            </c:strRef>
          </c:tx>
          <c:spPr>
            <a:solidFill>
              <a:schemeClr val="accent3"/>
            </a:solidFill>
            <a:ln>
              <a:noFill/>
            </a:ln>
            <a:effectLst/>
          </c:spPr>
          <c:invertIfNegative val="0"/>
          <c:cat>
            <c:strRef>
              <c:f>Split!$AD$52:$AD$54</c:f>
              <c:strCache>
                <c:ptCount val="3"/>
                <c:pt idx="0">
                  <c:v>1H 2024</c:v>
                </c:pt>
                <c:pt idx="1">
                  <c:v>5Y Avg</c:v>
                </c:pt>
                <c:pt idx="2">
                  <c:v>10Y Avg</c:v>
                </c:pt>
              </c:strCache>
            </c:strRef>
          </c:cat>
          <c:val>
            <c:numRef>
              <c:f>Split!$AS$52:$AS$54</c:f>
              <c:numCache>
                <c:formatCode>"$"#,##0</c:formatCode>
                <c:ptCount val="3"/>
                <c:pt idx="0">
                  <c:v>4169.5</c:v>
                </c:pt>
                <c:pt idx="1">
                  <c:v>6587.1</c:v>
                </c:pt>
                <c:pt idx="2">
                  <c:v>5459.3809999999994</c:v>
                </c:pt>
              </c:numCache>
            </c:numRef>
          </c:val>
          <c:extLst>
            <c:ext xmlns:c16="http://schemas.microsoft.com/office/drawing/2014/chart" uri="{C3380CC4-5D6E-409C-BE32-E72D297353CC}">
              <c16:uniqueId val="{00000002-D32D-4147-A97C-805E0B0D35C2}"/>
            </c:ext>
          </c:extLst>
        </c:ser>
        <c:ser>
          <c:idx val="0"/>
          <c:order val="3"/>
          <c:tx>
            <c:strRef>
              <c:f>Split!$AQ$2</c:f>
              <c:strCache>
                <c:ptCount val="1"/>
                <c:pt idx="0">
                  <c:v>APAC</c:v>
                </c:pt>
              </c:strCache>
            </c:strRef>
          </c:tx>
          <c:spPr>
            <a:solidFill>
              <a:schemeClr val="accent4"/>
            </a:solidFill>
            <a:ln>
              <a:noFill/>
            </a:ln>
            <a:effectLst/>
          </c:spPr>
          <c:invertIfNegative val="0"/>
          <c:cat>
            <c:strRef>
              <c:f>Split!$AD$52:$AD$54</c:f>
              <c:strCache>
                <c:ptCount val="3"/>
                <c:pt idx="0">
                  <c:v>1H 2024</c:v>
                </c:pt>
                <c:pt idx="1">
                  <c:v>5Y Avg</c:v>
                </c:pt>
                <c:pt idx="2">
                  <c:v>10Y Avg</c:v>
                </c:pt>
              </c:strCache>
            </c:strRef>
          </c:cat>
          <c:val>
            <c:numRef>
              <c:f>Split!$AQ$52:$AQ$54</c:f>
              <c:numCache>
                <c:formatCode>"$"#,##0</c:formatCode>
                <c:ptCount val="3"/>
                <c:pt idx="0">
                  <c:v>8594</c:v>
                </c:pt>
                <c:pt idx="1">
                  <c:v>4764.768</c:v>
                </c:pt>
                <c:pt idx="2">
                  <c:v>4159.4879000000001</c:v>
                </c:pt>
              </c:numCache>
            </c:numRef>
          </c:val>
          <c:extLst>
            <c:ext xmlns:c16="http://schemas.microsoft.com/office/drawing/2014/chart" uri="{C3380CC4-5D6E-409C-BE32-E72D297353CC}">
              <c16:uniqueId val="{00000003-D32D-4147-A97C-805E0B0D35C2}"/>
            </c:ext>
          </c:extLst>
        </c:ser>
        <c:ser>
          <c:idx val="4"/>
          <c:order val="4"/>
          <c:tx>
            <c:strRef>
              <c:f>Split!$AU$2</c:f>
              <c:strCache>
                <c:ptCount val="1"/>
                <c:pt idx="0">
                  <c:v>Latin America</c:v>
                </c:pt>
              </c:strCache>
            </c:strRef>
          </c:tx>
          <c:spPr>
            <a:solidFill>
              <a:schemeClr val="accent6"/>
            </a:solidFill>
            <a:ln>
              <a:noFill/>
            </a:ln>
            <a:effectLst/>
          </c:spPr>
          <c:invertIfNegative val="0"/>
          <c:cat>
            <c:strRef>
              <c:f>Split!$AD$52:$AD$54</c:f>
              <c:strCache>
                <c:ptCount val="3"/>
                <c:pt idx="0">
                  <c:v>1H 2024</c:v>
                </c:pt>
                <c:pt idx="1">
                  <c:v>5Y Avg</c:v>
                </c:pt>
                <c:pt idx="2">
                  <c:v>10Y Avg</c:v>
                </c:pt>
              </c:strCache>
            </c:strRef>
          </c:cat>
          <c:val>
            <c:numRef>
              <c:f>Split!$AU$52:$AU$54</c:f>
              <c:numCache>
                <c:formatCode>"$"#,##0</c:formatCode>
                <c:ptCount val="3"/>
                <c:pt idx="0">
                  <c:v>1450</c:v>
                </c:pt>
                <c:pt idx="1">
                  <c:v>967.81000000000006</c:v>
                </c:pt>
                <c:pt idx="2">
                  <c:v>903.00499999999988</c:v>
                </c:pt>
              </c:numCache>
            </c:numRef>
          </c:val>
          <c:extLst>
            <c:ext xmlns:c16="http://schemas.microsoft.com/office/drawing/2014/chart" uri="{C3380CC4-5D6E-409C-BE32-E72D297353CC}">
              <c16:uniqueId val="{00000004-D32D-4147-A97C-805E0B0D35C2}"/>
            </c:ext>
          </c:extLst>
        </c:ser>
        <c:ser>
          <c:idx val="3"/>
          <c:order val="5"/>
          <c:tx>
            <c:strRef>
              <c:f>Split!$AT$2</c:f>
              <c:strCache>
                <c:ptCount val="1"/>
                <c:pt idx="0">
                  <c:v>Global (Covid-19/ RU Conflict)</c:v>
                </c:pt>
              </c:strCache>
            </c:strRef>
          </c:tx>
          <c:spPr>
            <a:solidFill>
              <a:srgbClr val="FF8C00"/>
            </a:solidFill>
            <a:ln>
              <a:noFill/>
            </a:ln>
            <a:effectLst/>
          </c:spPr>
          <c:invertIfNegative val="0"/>
          <c:cat>
            <c:strRef>
              <c:f>Split!$AD$52:$AD$54</c:f>
              <c:strCache>
                <c:ptCount val="3"/>
                <c:pt idx="0">
                  <c:v>1H 2024</c:v>
                </c:pt>
                <c:pt idx="1">
                  <c:v>5Y Avg</c:v>
                </c:pt>
                <c:pt idx="2">
                  <c:v>10Y Avg</c:v>
                </c:pt>
              </c:strCache>
            </c:strRef>
          </c:cat>
          <c:val>
            <c:numRef>
              <c:f>Split!$AT$52:$AT$54</c:f>
              <c:numCache>
                <c:formatCode>"$"#,##0</c:formatCode>
                <c:ptCount val="3"/>
                <c:pt idx="0">
                  <c:v>0</c:v>
                </c:pt>
                <c:pt idx="1">
                  <c:v>9559.0775071999997</c:v>
                </c:pt>
                <c:pt idx="2">
                  <c:v>4779.5387535999998</c:v>
                </c:pt>
              </c:numCache>
            </c:numRef>
          </c:val>
          <c:extLst>
            <c:ext xmlns:c16="http://schemas.microsoft.com/office/drawing/2014/chart" uri="{C3380CC4-5D6E-409C-BE32-E72D297353CC}">
              <c16:uniqueId val="{00000005-D32D-4147-A97C-805E0B0D35C2}"/>
            </c:ext>
          </c:extLst>
        </c:ser>
        <c:dLbls>
          <c:showLegendKey val="0"/>
          <c:showVal val="0"/>
          <c:showCatName val="0"/>
          <c:showSerName val="0"/>
          <c:showPercent val="0"/>
          <c:showBubbleSize val="0"/>
        </c:dLbls>
        <c:gapWidth val="150"/>
        <c:overlap val="100"/>
        <c:axId val="995536096"/>
        <c:axId val="995528896"/>
      </c:barChart>
      <c:catAx>
        <c:axId val="99553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95528896"/>
        <c:crosses val="autoZero"/>
        <c:auto val="1"/>
        <c:lblAlgn val="ctr"/>
        <c:lblOffset val="100"/>
        <c:noMultiLvlLbl val="0"/>
      </c:catAx>
      <c:valAx>
        <c:axId val="995528896"/>
        <c:scaling>
          <c:orientation val="minMax"/>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95536096"/>
        <c:crosses val="autoZero"/>
        <c:crossBetween val="between"/>
      </c:valAx>
      <c:spPr>
        <a:noFill/>
        <a:ln>
          <a:noFill/>
        </a:ln>
        <a:effectLst/>
      </c:spPr>
    </c:plotArea>
    <c:legend>
      <c:legendPos val="b"/>
      <c:layout>
        <c:manualLayout>
          <c:xMode val="edge"/>
          <c:yMode val="edge"/>
          <c:x val="0.17515413694847021"/>
          <c:y val="0.96459386711279782"/>
          <c:w val="0.64988453371963761"/>
          <c:h val="3.449826627621310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072430266055784E-2"/>
          <c:y val="3.7152182004521542E-2"/>
          <c:w val="0.90992756973394417"/>
          <c:h val="0.76537372594560982"/>
        </c:manualLayout>
      </c:layout>
      <c:barChart>
        <c:barDir val="col"/>
        <c:grouping val="clustered"/>
        <c:varyColors val="0"/>
        <c:ser>
          <c:idx val="0"/>
          <c:order val="0"/>
          <c:tx>
            <c:strRef>
              <c:f>'[GC Mid-Year Reinsurance Briefing_June 2024_BI Data.xlsx]Slide 1_GDP'!$B$7</c:f>
              <c:strCache>
                <c:ptCount val="1"/>
                <c:pt idx="0">
                  <c:v>2023</c:v>
                </c:pt>
              </c:strCache>
            </c:strRef>
          </c:tx>
          <c:spPr>
            <a:solidFill>
              <a:schemeClr val="accent1"/>
            </a:solidFill>
            <a:ln>
              <a:solidFill>
                <a:schemeClr val="accent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B$8:$B$41</c:f>
              <c:numCache>
                <c:formatCode>#,##0.0;"–"#,##0.0</c:formatCode>
                <c:ptCount val="7"/>
                <c:pt idx="0">
                  <c:v>3.2</c:v>
                </c:pt>
                <c:pt idx="1">
                  <c:v>1.6</c:v>
                </c:pt>
                <c:pt idx="2">
                  <c:v>2.5</c:v>
                </c:pt>
                <c:pt idx="3">
                  <c:v>0.4</c:v>
                </c:pt>
                <c:pt idx="4">
                  <c:v>1.9</c:v>
                </c:pt>
                <c:pt idx="5">
                  <c:v>5.2</c:v>
                </c:pt>
                <c:pt idx="6">
                  <c:v>4.0999999999999996</c:v>
                </c:pt>
              </c:numCache>
              <c:extLst/>
            </c:numRef>
          </c:val>
          <c:extLst>
            <c:ext xmlns:c16="http://schemas.microsoft.com/office/drawing/2014/chart" uri="{C3380CC4-5D6E-409C-BE32-E72D297353CC}">
              <c16:uniqueId val="{00000000-3D1F-4C3A-BEB9-E7D8EA96A86C}"/>
            </c:ext>
          </c:extLst>
        </c:ser>
        <c:ser>
          <c:idx val="1"/>
          <c:order val="1"/>
          <c:tx>
            <c:strRef>
              <c:f>'[GC Mid-Year Reinsurance Briefing_June 2024_BI Data.xlsx]Slide 1_GDP'!$C$7</c:f>
              <c:strCache>
                <c:ptCount val="1"/>
                <c:pt idx="0">
                  <c:v>2024P</c:v>
                </c:pt>
              </c:strCache>
            </c:strRef>
          </c:tx>
          <c:spPr>
            <a:solidFill>
              <a:schemeClr val="accent2"/>
            </a:solidFill>
            <a:ln>
              <a:noFill/>
            </a:ln>
            <a:effectLst/>
          </c:spPr>
          <c:invertIfNegative val="0"/>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C$8:$C$41</c:f>
              <c:numCache>
                <c:formatCode>#,##0.0;"–"#,##0.0</c:formatCode>
                <c:ptCount val="7"/>
                <c:pt idx="0">
                  <c:v>3.2</c:v>
                </c:pt>
                <c:pt idx="1">
                  <c:v>1.7</c:v>
                </c:pt>
                <c:pt idx="2">
                  <c:v>2.7</c:v>
                </c:pt>
                <c:pt idx="3">
                  <c:v>0.8</c:v>
                </c:pt>
                <c:pt idx="4">
                  <c:v>0.9</c:v>
                </c:pt>
                <c:pt idx="5">
                  <c:v>4.5999999999999996</c:v>
                </c:pt>
                <c:pt idx="6">
                  <c:v>4.5</c:v>
                </c:pt>
              </c:numCache>
              <c:extLst/>
            </c:numRef>
          </c:val>
          <c:extLst>
            <c:ext xmlns:c16="http://schemas.microsoft.com/office/drawing/2014/chart" uri="{C3380CC4-5D6E-409C-BE32-E72D297353CC}">
              <c16:uniqueId val="{00000001-3D1F-4C3A-BEB9-E7D8EA96A86C}"/>
            </c:ext>
          </c:extLst>
        </c:ser>
        <c:ser>
          <c:idx val="2"/>
          <c:order val="2"/>
          <c:tx>
            <c:strRef>
              <c:f>'[GC Mid-Year Reinsurance Briefing_June 2024_BI Data.xlsx]Slide 1_GDP'!$D$7</c:f>
              <c:strCache>
                <c:ptCount val="1"/>
                <c:pt idx="0">
                  <c:v>2025P</c:v>
                </c:pt>
              </c:strCache>
            </c:strRef>
          </c:tx>
          <c:spPr>
            <a:solidFill>
              <a:schemeClr val="accent3"/>
            </a:solidFill>
            <a:ln>
              <a:noFill/>
            </a:ln>
            <a:effectLst/>
          </c:spPr>
          <c:invertIfNegative val="0"/>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D$8:$D$41</c:f>
              <c:numCache>
                <c:formatCode>#,##0.0;"–"#,##0.0</c:formatCode>
                <c:ptCount val="7"/>
                <c:pt idx="0">
                  <c:v>3.2</c:v>
                </c:pt>
                <c:pt idx="1">
                  <c:v>1.8</c:v>
                </c:pt>
                <c:pt idx="2">
                  <c:v>1.9</c:v>
                </c:pt>
                <c:pt idx="3">
                  <c:v>1.5</c:v>
                </c:pt>
                <c:pt idx="4">
                  <c:v>1</c:v>
                </c:pt>
                <c:pt idx="5">
                  <c:v>4.0999999999999996</c:v>
                </c:pt>
                <c:pt idx="6">
                  <c:v>4.5999999999999996</c:v>
                </c:pt>
              </c:numCache>
              <c:extLst/>
            </c:numRef>
          </c:val>
          <c:extLst>
            <c:ext xmlns:c16="http://schemas.microsoft.com/office/drawing/2014/chart" uri="{C3380CC4-5D6E-409C-BE32-E72D297353CC}">
              <c16:uniqueId val="{00000002-3D1F-4C3A-BEB9-E7D8EA96A86C}"/>
            </c:ext>
          </c:extLst>
        </c:ser>
        <c:dLbls>
          <c:showLegendKey val="0"/>
          <c:showVal val="0"/>
          <c:showCatName val="0"/>
          <c:showSerName val="0"/>
          <c:showPercent val="0"/>
          <c:showBubbleSize val="0"/>
        </c:dLbls>
        <c:gapWidth val="69"/>
        <c:axId val="877510600"/>
        <c:axId val="877511584"/>
      </c:barChart>
      <c:lineChart>
        <c:grouping val="standard"/>
        <c:varyColors val="0"/>
        <c:ser>
          <c:idx val="3"/>
          <c:order val="3"/>
          <c:tx>
            <c:strRef>
              <c:f>'[GC Mid-Year Reinsurance Briefing_June 2024_BI Data.xlsx]Slide 1_GDP'!$S$7</c:f>
              <c:strCache>
                <c:ptCount val="1"/>
                <c:pt idx="0">
                  <c:v>2023</c:v>
                </c:pt>
              </c:strCache>
            </c:strRef>
          </c:tx>
          <c:spPr>
            <a:ln w="28575">
              <a:noFill/>
            </a:ln>
          </c:spPr>
          <c:marker>
            <c:symbol val="circle"/>
            <c:size val="5"/>
            <c:spPr>
              <a:noFill/>
              <a:ln w="9525">
                <a:noFill/>
              </a:ln>
              <a:effectLst/>
            </c:spPr>
          </c:marker>
          <c:dLbls>
            <c:dLbl>
              <c:idx val="0"/>
              <c:layout>
                <c:manualLayout>
                  <c:x val="-6.0392441905791024E-2"/>
                  <c:y val="2.8612940790205849E-2"/>
                </c:manualLayout>
              </c:layout>
              <c:tx>
                <c:rich>
                  <a:bodyPr/>
                  <a:lstStyle/>
                  <a:p>
                    <a:fld id="{3A969D3C-334D-4B38-B24C-A012A5DEB9C9}" type="CELLRANGE">
                      <a:rPr lang="en-US">
                        <a:solidFill>
                          <a:schemeClr val="accent3"/>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1F-4C3A-BEB9-E7D8EA96A86C}"/>
                </c:ext>
              </c:extLst>
            </c:dLbl>
            <c:dLbl>
              <c:idx val="1"/>
              <c:layout>
                <c:manualLayout>
                  <c:x val="-6.2658376889530229E-2"/>
                  <c:y val="2.8612940790205849E-2"/>
                </c:manualLayout>
              </c:layout>
              <c:tx>
                <c:rich>
                  <a:bodyPr/>
                  <a:lstStyle/>
                  <a:p>
                    <a:fld id="{318450F4-1311-442A-8512-425F600688A4}"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1F-4C3A-BEB9-E7D8EA96A86C}"/>
                </c:ext>
              </c:extLst>
            </c:dLbl>
            <c:dLbl>
              <c:idx val="2"/>
              <c:layout>
                <c:manualLayout>
                  <c:x val="-6.1525142104292073E-2"/>
                  <c:y val="3.1146189176606508E-2"/>
                </c:manualLayout>
              </c:layout>
              <c:tx>
                <c:rich>
                  <a:bodyPr/>
                  <a:lstStyle/>
                  <a:p>
                    <a:fld id="{F94EFC50-A207-4194-9D5F-B6B1F522FA3D}"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1F-4C3A-BEB9-E7D8EA96A86C}"/>
                </c:ext>
              </c:extLst>
            </c:dLbl>
            <c:dLbl>
              <c:idx val="3"/>
              <c:layout>
                <c:manualLayout>
                  <c:x val="-6.1526834962293372E-2"/>
                  <c:y val="3.1146189176606508E-2"/>
                </c:manualLayout>
              </c:layout>
              <c:tx>
                <c:rich>
                  <a:bodyPr/>
                  <a:lstStyle/>
                  <a:p>
                    <a:fld id="{A0000BEF-C39F-4BC2-BCCF-00F343890512}"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D1F-4C3A-BEB9-E7D8EA96A86C}"/>
                </c:ext>
              </c:extLst>
            </c:dLbl>
            <c:dLbl>
              <c:idx val="4"/>
              <c:layout>
                <c:manualLayout>
                  <c:x val="-6.2656684031528853E-2"/>
                  <c:y val="3.1146189176606508E-2"/>
                </c:manualLayout>
              </c:layout>
              <c:tx>
                <c:rich>
                  <a:bodyPr/>
                  <a:lstStyle/>
                  <a:p>
                    <a:pPr>
                      <a:defRPr>
                        <a:solidFill>
                          <a:srgbClr val="FF0000"/>
                        </a:solidFill>
                      </a:defRPr>
                    </a:pPr>
                    <a:fld id="{BE88E2BD-726D-45AC-9806-9E4C511F104E}"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D1F-4C3A-BEB9-E7D8EA96A86C}"/>
                </c:ext>
              </c:extLst>
            </c:dLbl>
            <c:dLbl>
              <c:idx val="5"/>
              <c:layout>
                <c:manualLayout>
                  <c:x val="-6.152514210429199E-2"/>
                  <c:y val="3.1146189176606508E-2"/>
                </c:manualLayout>
              </c:layout>
              <c:tx>
                <c:rich>
                  <a:bodyPr/>
                  <a:lstStyle/>
                  <a:p>
                    <a:pPr>
                      <a:defRPr>
                        <a:solidFill>
                          <a:srgbClr val="FF0000"/>
                        </a:solidFill>
                      </a:defRPr>
                    </a:pPr>
                    <a:fld id="{CED6E89E-819C-470E-83AB-D68FC7155D1A}"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D1F-4C3A-BEB9-E7D8EA96A86C}"/>
                </c:ext>
              </c:extLst>
            </c:dLbl>
            <c:dLbl>
              <c:idx val="6"/>
              <c:layout>
                <c:manualLayout>
                  <c:x val="-2.3513441247982048E-2"/>
                  <c:y val="3.268528717262742E-2"/>
                </c:manualLayout>
              </c:layout>
              <c:tx>
                <c:rich>
                  <a:bodyPr/>
                  <a:lstStyle/>
                  <a:p>
                    <a:fld id="{16C88242-CE84-450B-9683-0D6612CF8CCA}"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D1F-4C3A-BEB9-E7D8EA96A86C}"/>
                </c:ext>
              </c:extLst>
            </c:dLbl>
            <c:spPr>
              <a:noFill/>
              <a:ln>
                <a:noFill/>
              </a:ln>
              <a:effectLst/>
            </c:spPr>
            <c:txPr>
              <a:bodyPr/>
              <a:lstStyle/>
              <a:p>
                <a:pPr>
                  <a:defRPr>
                    <a:solidFill>
                      <a:schemeClr val="accent3"/>
                    </a:solidFill>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S$8:$S$41</c:f>
              <c:numCache>
                <c:formatCode>#,##0.00000</c:formatCode>
                <c:ptCount val="7"/>
                <c:pt idx="0">
                  <c:v>0</c:v>
                </c:pt>
                <c:pt idx="1">
                  <c:v>0</c:v>
                </c:pt>
                <c:pt idx="2">
                  <c:v>0</c:v>
                </c:pt>
                <c:pt idx="3">
                  <c:v>0</c:v>
                </c:pt>
                <c:pt idx="4">
                  <c:v>0</c:v>
                </c:pt>
                <c:pt idx="5">
                  <c:v>0</c:v>
                </c:pt>
                <c:pt idx="6">
                  <c:v>0</c:v>
                </c:pt>
              </c:numCache>
              <c:extLst/>
            </c:numRef>
          </c:val>
          <c:smooth val="0"/>
          <c:extLst>
            <c:ext xmlns:c15="http://schemas.microsoft.com/office/drawing/2012/chart" uri="{02D57815-91ED-43cb-92C2-25804820EDAC}">
              <c15:datalabelsRange>
                <c15:f>'[GC Mid-Year Reinsurance Briefing_June 2024_BI Data.xlsx]Slide 1_GDP'!$S$8:$S$41</c15:f>
                <c15:dlblRangeCache>
                  <c:ptCount val="28"/>
                  <c:pt idx="0">
                    <c:v>▲0.1</c:v>
                  </c:pt>
                  <c:pt idx="1">
                    <c:v>▼0.0</c:v>
                  </c:pt>
                  <c:pt idx="2">
                    <c:v>▼0.0</c:v>
                  </c:pt>
                  <c:pt idx="3">
                    <c:v>▼0.1</c:v>
                  </c:pt>
                  <c:pt idx="4">
                    <c:v>▼0.0</c:v>
                  </c:pt>
                  <c:pt idx="5">
                    <c:v>▼0.4</c:v>
                  </c:pt>
                  <c:pt idx="6">
                    <c:v>▲0.6</c:v>
                  </c:pt>
                  <c:pt idx="7">
                    <c:v>▲0.1</c:v>
                  </c:pt>
                  <c:pt idx="8">
                    <c:v>▲0.2</c:v>
                  </c:pt>
                  <c:pt idx="9">
                    <c:v>▲0.1</c:v>
                  </c:pt>
                  <c:pt idx="10">
                    <c:v>▼0.0</c:v>
                  </c:pt>
                  <c:pt idx="11">
                    <c:v>▼0.0</c:v>
                  </c:pt>
                  <c:pt idx="12">
                    <c:v>▲0.1</c:v>
                  </c:pt>
                  <c:pt idx="13">
                    <c:v>▲0.2</c:v>
                  </c:pt>
                  <c:pt idx="14">
                    <c:v>▲0.2</c:v>
                  </c:pt>
                  <c:pt idx="15">
                    <c:v>▼0.0</c:v>
                  </c:pt>
                  <c:pt idx="16">
                    <c:v>▲0.5</c:v>
                  </c:pt>
                  <c:pt idx="17">
                    <c:v>▲0.6</c:v>
                  </c:pt>
                  <c:pt idx="18">
                    <c:v>▼0.2</c:v>
                  </c:pt>
                  <c:pt idx="19">
                    <c:v>▼0.2</c:v>
                  </c:pt>
                  <c:pt idx="20">
                    <c:v>▼0.0</c:v>
                  </c:pt>
                  <c:pt idx="21">
                    <c:v>▲1.9</c:v>
                  </c:pt>
                  <c:pt idx="22">
                    <c:v>▲0.1</c:v>
                  </c:pt>
                  <c:pt idx="23">
                    <c:v>▲0.1</c:v>
                  </c:pt>
                  <c:pt idx="24">
                    <c:v>▼0.0</c:v>
                  </c:pt>
                  <c:pt idx="25">
                    <c:v>▼0.0</c:v>
                  </c:pt>
                  <c:pt idx="26">
                    <c:v>▼0.1</c:v>
                  </c:pt>
                  <c:pt idx="27">
                    <c:v>▲1.1</c:v>
                  </c:pt>
                </c15:dlblRangeCache>
              </c15:datalabelsRange>
            </c:ext>
            <c:ext xmlns:c16="http://schemas.microsoft.com/office/drawing/2014/chart" uri="{C3380CC4-5D6E-409C-BE32-E72D297353CC}">
              <c16:uniqueId val="{0000000A-3D1F-4C3A-BEB9-E7D8EA96A86C}"/>
            </c:ext>
          </c:extLst>
        </c:ser>
        <c:ser>
          <c:idx val="4"/>
          <c:order val="4"/>
          <c:tx>
            <c:strRef>
              <c:f>'[GC Mid-Year Reinsurance Briefing_June 2024_BI Data.xlsx]Slide 1_GDP'!$U$7</c:f>
              <c:strCache>
                <c:ptCount val="1"/>
                <c:pt idx="0">
                  <c:v>2024</c:v>
                </c:pt>
              </c:strCache>
            </c:strRef>
          </c:tx>
          <c:spPr>
            <a:ln w="28575">
              <a:noFill/>
            </a:ln>
          </c:spPr>
          <c:marker>
            <c:symbol val="circle"/>
            <c:size val="5"/>
            <c:spPr>
              <a:noFill/>
              <a:ln w="9525">
                <a:noFill/>
              </a:ln>
              <a:effectLst/>
            </c:spPr>
          </c:marker>
          <c:dLbls>
            <c:dLbl>
              <c:idx val="0"/>
              <c:layout>
                <c:manualLayout>
                  <c:x val="-2.4644983175218911E-2"/>
                  <c:y val="3.0152038786226947E-2"/>
                </c:manualLayout>
              </c:layout>
              <c:tx>
                <c:rich>
                  <a:bodyPr/>
                  <a:lstStyle/>
                  <a:p>
                    <a:fld id="{73E4AFA6-60A7-476F-9158-A8C7F8912515}" type="CELLRANGE">
                      <a:rPr lang="en-US">
                        <a:solidFill>
                          <a:schemeClr val="accent3"/>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D1F-4C3A-BEB9-E7D8EA96A86C}"/>
                </c:ext>
              </c:extLst>
            </c:dLbl>
            <c:dLbl>
              <c:idx val="1"/>
              <c:layout>
                <c:manualLayout>
                  <c:x val="-2.4644983175218911E-2"/>
                  <c:y val="3.268528717262742E-2"/>
                </c:manualLayout>
              </c:layout>
              <c:tx>
                <c:rich>
                  <a:bodyPr/>
                  <a:lstStyle/>
                  <a:p>
                    <a:fld id="{391ED7C1-966E-4599-910A-CFCBD4F1110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D1F-4C3A-BEB9-E7D8EA96A86C}"/>
                </c:ext>
              </c:extLst>
            </c:dLbl>
            <c:dLbl>
              <c:idx val="2"/>
              <c:layout>
                <c:manualLayout>
                  <c:x val="-2.5776525102455775E-2"/>
                  <c:y val="3.268528717262742E-2"/>
                </c:manualLayout>
              </c:layout>
              <c:tx>
                <c:rich>
                  <a:bodyPr/>
                  <a:lstStyle/>
                  <a:p>
                    <a:fld id="{04CE1241-90E9-41EB-B371-BBDEEC6C50B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D1F-4C3A-BEB9-E7D8EA96A86C}"/>
                </c:ext>
              </c:extLst>
            </c:dLbl>
            <c:dLbl>
              <c:idx val="3"/>
              <c:layout>
                <c:manualLayout>
                  <c:x val="-2.4644983175218994E-2"/>
                  <c:y val="2.7618790399826291E-2"/>
                </c:manualLayout>
              </c:layout>
              <c:tx>
                <c:rich>
                  <a:bodyPr/>
                  <a:lstStyle/>
                  <a:p>
                    <a:fld id="{AE306282-B06F-4052-A4AB-12CD46EBCC28}"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D1F-4C3A-BEB9-E7D8EA96A86C}"/>
                </c:ext>
              </c:extLst>
            </c:dLbl>
            <c:dLbl>
              <c:idx val="4"/>
              <c:layout>
                <c:manualLayout>
                  <c:x val="-2.5776525102455691E-2"/>
                  <c:y val="3.0152038786226947E-2"/>
                </c:manualLayout>
              </c:layout>
              <c:tx>
                <c:rich>
                  <a:bodyPr/>
                  <a:lstStyle/>
                  <a:p>
                    <a:pPr>
                      <a:defRPr>
                        <a:solidFill>
                          <a:srgbClr val="FF0000"/>
                        </a:solidFill>
                      </a:defRPr>
                    </a:pPr>
                    <a:fld id="{D08E4689-DB6F-4708-ACD9-DA5DCA53111F}"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D1F-4C3A-BEB9-E7D8EA96A86C}"/>
                </c:ext>
              </c:extLst>
            </c:dLbl>
            <c:dLbl>
              <c:idx val="5"/>
              <c:layout>
                <c:manualLayout>
                  <c:x val="-2.3513441247982048E-2"/>
                  <c:y val="3.0152038786226947E-2"/>
                </c:manualLayout>
              </c:layout>
              <c:tx>
                <c:rich>
                  <a:bodyPr/>
                  <a:lstStyle/>
                  <a:p>
                    <a:pPr>
                      <a:defRPr>
                        <a:solidFill>
                          <a:srgbClr val="FF0000"/>
                        </a:solidFill>
                      </a:defRPr>
                    </a:pPr>
                    <a:fld id="{84E43B09-AD86-4FB5-AF98-A2F894AB639C}"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D1F-4C3A-BEB9-E7D8EA96A86C}"/>
                </c:ext>
              </c:extLst>
            </c:dLbl>
            <c:dLbl>
              <c:idx val="6"/>
              <c:layout>
                <c:manualLayout>
                  <c:x val="-6.1527369549030646E-2"/>
                  <c:y val="3.1146189176606508E-2"/>
                </c:manualLayout>
              </c:layout>
              <c:tx>
                <c:rich>
                  <a:bodyPr/>
                  <a:lstStyle/>
                  <a:p>
                    <a:pPr>
                      <a:defRPr>
                        <a:solidFill>
                          <a:srgbClr val="FF0000"/>
                        </a:solidFill>
                      </a:defRPr>
                    </a:pPr>
                    <a:fld id="{2AA37A83-7594-479A-B613-503B42CD8337}"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D1F-4C3A-BEB9-E7D8EA96A86C}"/>
                </c:ext>
              </c:extLst>
            </c:dLbl>
            <c:spPr>
              <a:noFill/>
              <a:ln>
                <a:noFill/>
              </a:ln>
              <a:effectLst/>
            </c:spPr>
            <c:txPr>
              <a:bodyPr/>
              <a:lstStyle/>
              <a:p>
                <a:pPr>
                  <a:defRPr>
                    <a:solidFill>
                      <a:schemeClr val="accent3"/>
                    </a:solidFill>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U$8:$U$41</c:f>
              <c:numCache>
                <c:formatCode>#,##0.00</c:formatCode>
                <c:ptCount val="7"/>
                <c:pt idx="0" formatCode="#,##0.00000">
                  <c:v>0</c:v>
                </c:pt>
                <c:pt idx="1">
                  <c:v>0</c:v>
                </c:pt>
                <c:pt idx="2">
                  <c:v>0</c:v>
                </c:pt>
                <c:pt idx="3">
                  <c:v>0</c:v>
                </c:pt>
                <c:pt idx="4">
                  <c:v>0</c:v>
                </c:pt>
                <c:pt idx="5">
                  <c:v>0</c:v>
                </c:pt>
                <c:pt idx="6">
                  <c:v>0</c:v>
                </c:pt>
              </c:numCache>
              <c:extLst/>
            </c:numRef>
          </c:val>
          <c:smooth val="0"/>
          <c:extLst>
            <c:ext xmlns:c15="http://schemas.microsoft.com/office/drawing/2012/chart" uri="{02D57815-91ED-43cb-92C2-25804820EDAC}">
              <c15:datalabelsRange>
                <c15:f>'[GC Mid-Year Reinsurance Briefing_June 2024_BI Data.xlsx]Slide 1_GDP'!$U$8:$U$41</c15:f>
                <c15:dlblRangeCache>
                  <c:ptCount val="28"/>
                  <c:pt idx="0">
                    <c:v>▲0.1</c:v>
                  </c:pt>
                  <c:pt idx="1">
                    <c:v>▲0.2</c:v>
                  </c:pt>
                  <c:pt idx="2">
                    <c:v>▲0.6</c:v>
                  </c:pt>
                  <c:pt idx="3">
                    <c:v>▼0.1</c:v>
                  </c:pt>
                  <c:pt idx="4">
                    <c:v>▼0.1</c:v>
                  </c:pt>
                  <c:pt idx="5">
                    <c:v>▼0.1</c:v>
                  </c:pt>
                  <c:pt idx="6">
                    <c:v>▼0.3</c:v>
                  </c:pt>
                  <c:pt idx="7">
                    <c:v>▼0.3</c:v>
                  </c:pt>
                  <c:pt idx="8">
                    <c:v>▼0.0</c:v>
                  </c:pt>
                  <c:pt idx="9">
                    <c:v>▲0.4</c:v>
                  </c:pt>
                  <c:pt idx="10">
                    <c:v>▼0.0</c:v>
                  </c:pt>
                  <c:pt idx="11">
                    <c:v>▼0.2</c:v>
                  </c:pt>
                  <c:pt idx="12">
                    <c:v>▼0.1</c:v>
                  </c:pt>
                  <c:pt idx="13">
                    <c:v>▲0.1</c:v>
                  </c:pt>
                  <c:pt idx="14">
                    <c:v>▼0.0</c:v>
                  </c:pt>
                  <c:pt idx="15">
                    <c:v>▼0.0</c:v>
                  </c:pt>
                  <c:pt idx="16">
                    <c:v>▲0.3</c:v>
                  </c:pt>
                  <c:pt idx="17">
                    <c:v>▲0.6</c:v>
                  </c:pt>
                  <c:pt idx="18">
                    <c:v>▲0.5</c:v>
                  </c:pt>
                  <c:pt idx="19">
                    <c:v>▼0.3</c:v>
                  </c:pt>
                  <c:pt idx="20">
                    <c:v>▼0.1</c:v>
                  </c:pt>
                  <c:pt idx="21">
                    <c:v>▼0.1</c:v>
                  </c:pt>
                  <c:pt idx="22">
                    <c:v>▼0.0</c:v>
                  </c:pt>
                  <c:pt idx="23">
                    <c:v>▲0.3</c:v>
                  </c:pt>
                  <c:pt idx="24">
                    <c:v>▼0.1</c:v>
                  </c:pt>
                  <c:pt idx="25">
                    <c:v>▲0.1</c:v>
                  </c:pt>
                  <c:pt idx="26">
                    <c:v>▼0.2</c:v>
                  </c:pt>
                  <c:pt idx="27">
                    <c:v>▲0.3</c:v>
                  </c:pt>
                </c15:dlblRangeCache>
              </c15:datalabelsRange>
            </c:ext>
            <c:ext xmlns:c16="http://schemas.microsoft.com/office/drawing/2014/chart" uri="{C3380CC4-5D6E-409C-BE32-E72D297353CC}">
              <c16:uniqueId val="{00000012-3D1F-4C3A-BEB9-E7D8EA96A86C}"/>
            </c:ext>
          </c:extLst>
        </c:ser>
        <c:ser>
          <c:idx val="5"/>
          <c:order val="5"/>
          <c:tx>
            <c:strRef>
              <c:f>'[GC Mid-Year Reinsurance Briefing_June 2024_BI Data.xlsx]Slide 1_GDP'!$W$7</c:f>
              <c:strCache>
                <c:ptCount val="1"/>
                <c:pt idx="0">
                  <c:v>2025</c:v>
                </c:pt>
              </c:strCache>
            </c:strRef>
          </c:tx>
          <c:spPr>
            <a:ln w="28575">
              <a:noFill/>
            </a:ln>
          </c:spPr>
          <c:marker>
            <c:symbol val="circle"/>
            <c:size val="5"/>
            <c:spPr>
              <a:noFill/>
              <a:ln w="9525">
                <a:noFill/>
              </a:ln>
              <a:effectLst/>
            </c:spPr>
          </c:marker>
          <c:dLbls>
            <c:dLbl>
              <c:idx val="0"/>
              <c:layout>
                <c:manualLayout>
                  <c:x val="1.1991219624881082E-2"/>
                  <c:y val="3.1146257284530906E-2"/>
                </c:manualLayout>
              </c:layout>
              <c:tx>
                <c:rich>
                  <a:bodyPr/>
                  <a:lstStyle/>
                  <a:p>
                    <a:fld id="{B2BB293C-2E2E-49DE-ACC3-CA187F06B66B}"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D1F-4C3A-BEB9-E7D8EA96A86C}"/>
                </c:ext>
              </c:extLst>
            </c:dLbl>
            <c:dLbl>
              <c:idx val="1"/>
              <c:layout>
                <c:manualLayout>
                  <c:x val="1.1991219624881061E-2"/>
                  <c:y val="3.1146257284530906E-2"/>
                </c:manualLayout>
              </c:layout>
              <c:tx>
                <c:rich>
                  <a:bodyPr/>
                  <a:lstStyle/>
                  <a:p>
                    <a:fld id="{98505435-B297-440D-9A0E-1B1BCCFD75F3}"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D1F-4C3A-BEB9-E7D8EA96A86C}"/>
                </c:ext>
              </c:extLst>
            </c:dLbl>
            <c:dLbl>
              <c:idx val="2"/>
              <c:layout>
                <c:manualLayout>
                  <c:x val="1.1991219624881101E-2"/>
                  <c:y val="3.1146257284530906E-2"/>
                </c:manualLayout>
              </c:layout>
              <c:tx>
                <c:rich>
                  <a:bodyPr/>
                  <a:lstStyle/>
                  <a:p>
                    <a:fld id="{E45451A6-6B9C-4904-B05B-F8C7DAF8143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D1F-4C3A-BEB9-E7D8EA96A86C}"/>
                </c:ext>
              </c:extLst>
            </c:dLbl>
            <c:dLbl>
              <c:idx val="3"/>
              <c:layout>
                <c:manualLayout>
                  <c:x val="1.086023293160737E-2"/>
                  <c:y val="3.1146257284530906E-2"/>
                </c:manualLayout>
              </c:layout>
              <c:tx>
                <c:rich>
                  <a:bodyPr/>
                  <a:lstStyle/>
                  <a:p>
                    <a:fld id="{48E86C29-C713-45B1-9905-F7B0BB6C9856}" type="CELLRANGE">
                      <a:rPr lang="en-US">
                        <a:solidFill>
                          <a:srgbClr val="FF0000"/>
                        </a:solidFill>
                      </a:rPr>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D1F-4C3A-BEB9-E7D8EA96A86C}"/>
                </c:ext>
              </c:extLst>
            </c:dLbl>
            <c:dLbl>
              <c:idx val="4"/>
              <c:layout>
                <c:manualLayout>
                  <c:x val="1.0861911523578438E-2"/>
                  <c:y val="3.1146189176606508E-2"/>
                </c:manualLayout>
              </c:layout>
              <c:tx>
                <c:rich>
                  <a:bodyPr/>
                  <a:lstStyle/>
                  <a:p>
                    <a:pPr>
                      <a:defRPr>
                        <a:solidFill>
                          <a:srgbClr val="FF0000"/>
                        </a:solidFill>
                      </a:defRPr>
                    </a:pPr>
                    <a:fld id="{82833118-8F73-4DF3-87FA-3F47781F8CA6}"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D1F-4C3A-BEB9-E7D8EA96A86C}"/>
                </c:ext>
              </c:extLst>
            </c:dLbl>
            <c:dLbl>
              <c:idx val="5"/>
              <c:layout>
                <c:manualLayout>
                  <c:x val="1.3122206318154583E-2"/>
                  <c:y val="3.1146257284530906E-2"/>
                </c:manualLayout>
              </c:layout>
              <c:tx>
                <c:rich>
                  <a:bodyPr/>
                  <a:lstStyle/>
                  <a:p>
                    <a:pPr>
                      <a:defRPr>
                        <a:solidFill>
                          <a:srgbClr val="FF0000"/>
                        </a:solidFill>
                      </a:defRPr>
                    </a:pPr>
                    <a:fld id="{4F69B521-C94F-4ECD-BBC5-408A3188979F}"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D1F-4C3A-BEB9-E7D8EA96A86C}"/>
                </c:ext>
              </c:extLst>
            </c:dLbl>
            <c:dLbl>
              <c:idx val="6"/>
              <c:layout>
                <c:manualLayout>
                  <c:x val="1.1993453450815136E-2"/>
                  <c:y val="3.1146189176606508E-2"/>
                </c:manualLayout>
              </c:layout>
              <c:tx>
                <c:rich>
                  <a:bodyPr/>
                  <a:lstStyle/>
                  <a:p>
                    <a:pPr>
                      <a:defRPr>
                        <a:solidFill>
                          <a:srgbClr val="FF0000"/>
                        </a:solidFill>
                      </a:defRPr>
                    </a:pPr>
                    <a:fld id="{F621F77F-685A-4934-8662-5E60C1086347}" type="CELLRANGE">
                      <a:rPr lang="en-US"/>
                      <a:pPr>
                        <a:defRPr>
                          <a:solidFill>
                            <a:srgbClr val="FF0000"/>
                          </a:solidFill>
                        </a:defRPr>
                      </a:pPr>
                      <a:t>[CELLRANGE]</a:t>
                    </a:fld>
                    <a:endParaRPr lang="en-US"/>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D1F-4C3A-BEB9-E7D8EA96A86C}"/>
                </c:ext>
              </c:extLst>
            </c:dLbl>
            <c:spPr>
              <a:noFill/>
              <a:ln>
                <a:noFill/>
              </a:ln>
              <a:effectLst/>
            </c:spPr>
            <c:txPr>
              <a:bodyPr/>
              <a:lstStyle/>
              <a:p>
                <a:pPr>
                  <a:defRPr>
                    <a:solidFill>
                      <a:schemeClr val="accent3"/>
                    </a:solidFill>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1]Slide 1_GDP'!$A$8:$A$41</c:f>
              <c:strCache>
                <c:ptCount val="7"/>
                <c:pt idx="0">
                  <c:v>World </c:v>
                </c:pt>
                <c:pt idx="1">
                  <c:v>Advanced Economies</c:v>
                </c:pt>
                <c:pt idx="2">
                  <c:v>United States </c:v>
                </c:pt>
                <c:pt idx="3">
                  <c:v>Euro Area</c:v>
                </c:pt>
                <c:pt idx="4">
                  <c:v>Japan</c:v>
                </c:pt>
                <c:pt idx="5">
                  <c:v>China</c:v>
                </c:pt>
                <c:pt idx="6">
                  <c:v>ASEAN</c:v>
                </c:pt>
              </c:strCache>
              <c:extLst/>
            </c:strRef>
          </c:cat>
          <c:val>
            <c:numRef>
              <c:f>'[1]Slide 1_GDP'!$W$8:$W$41</c:f>
              <c:numCache>
                <c:formatCode>#,##0.00</c:formatCode>
                <c:ptCount val="7"/>
                <c:pt idx="0" formatCode="#,##0.00000">
                  <c:v>0</c:v>
                </c:pt>
                <c:pt idx="1">
                  <c:v>0</c:v>
                </c:pt>
                <c:pt idx="2">
                  <c:v>0</c:v>
                </c:pt>
                <c:pt idx="3">
                  <c:v>0</c:v>
                </c:pt>
                <c:pt idx="4">
                  <c:v>0</c:v>
                </c:pt>
                <c:pt idx="5">
                  <c:v>0</c:v>
                </c:pt>
                <c:pt idx="6">
                  <c:v>0</c:v>
                </c:pt>
              </c:numCache>
              <c:extLst/>
            </c:numRef>
          </c:val>
          <c:smooth val="0"/>
          <c:extLst>
            <c:ext xmlns:c15="http://schemas.microsoft.com/office/drawing/2012/chart" uri="{02D57815-91ED-43cb-92C2-25804820EDAC}">
              <c15:datalabelsRange>
                <c15:f>'[GC Mid-Year Reinsurance Briefing_June 2024_BI Data.xlsx]Slide 1_GDP'!$W$8:$W$41</c15:f>
                <c15:dlblRangeCache>
                  <c:ptCount val="28"/>
                  <c:pt idx="0">
                    <c:v>▼0.0</c:v>
                  </c:pt>
                  <c:pt idx="1">
                    <c:v>▼0.0</c:v>
                  </c:pt>
                  <c:pt idx="2">
                    <c:v>▲0.2</c:v>
                  </c:pt>
                  <c:pt idx="3">
                    <c:v>▼0.2</c:v>
                  </c:pt>
                  <c:pt idx="4">
                    <c:v>▼0.1</c:v>
                  </c:pt>
                  <c:pt idx="5">
                    <c:v>▼0.1</c:v>
                  </c:pt>
                  <c:pt idx="6">
                    <c:v>▼0.3</c:v>
                  </c:pt>
                  <c:pt idx="7">
                    <c:v>▼0.3</c:v>
                  </c:pt>
                  <c:pt idx="8">
                    <c:v>▼0.4</c:v>
                  </c:pt>
                  <c:pt idx="9">
                    <c:v>▼0.0</c:v>
                  </c:pt>
                  <c:pt idx="10">
                    <c:v>▲0.2</c:v>
                  </c:pt>
                  <c:pt idx="11">
                    <c:v>▼0.0</c:v>
                  </c:pt>
                  <c:pt idx="12">
                    <c:v>▼0.1</c:v>
                  </c:pt>
                  <c:pt idx="13">
                    <c:v>▼0.0</c:v>
                  </c:pt>
                  <c:pt idx="14">
                    <c:v>▲0.1</c:v>
                  </c:pt>
                  <c:pt idx="15">
                    <c:v>▼0.0</c:v>
                  </c:pt>
                  <c:pt idx="16">
                    <c:v>▲0.3</c:v>
                  </c:pt>
                  <c:pt idx="17">
                    <c:v>▲0.7</c:v>
                  </c:pt>
                  <c:pt idx="18">
                    <c:v>▲0.2</c:v>
                  </c:pt>
                  <c:pt idx="19">
                    <c:v>▼0.1</c:v>
                  </c:pt>
                  <c:pt idx="20">
                    <c:v>▼0.0</c:v>
                  </c:pt>
                  <c:pt idx="21">
                    <c:v>▲0.5</c:v>
                  </c:pt>
                  <c:pt idx="22">
                    <c:v>▼0.1</c:v>
                  </c:pt>
                  <c:pt idx="23">
                    <c:v>▼0.1</c:v>
                  </c:pt>
                  <c:pt idx="24">
                    <c:v>▼0.1</c:v>
                  </c:pt>
                  <c:pt idx="25">
                    <c:v>▼0.0</c:v>
                  </c:pt>
                  <c:pt idx="26">
                    <c:v>▲0.2</c:v>
                  </c:pt>
                  <c:pt idx="27">
                    <c:v>▼0.0</c:v>
                  </c:pt>
                </c15:dlblRangeCache>
              </c15:datalabelsRange>
            </c:ext>
            <c:ext xmlns:c16="http://schemas.microsoft.com/office/drawing/2014/chart" uri="{C3380CC4-5D6E-409C-BE32-E72D297353CC}">
              <c16:uniqueId val="{0000001A-3D1F-4C3A-BEB9-E7D8EA96A86C}"/>
            </c:ext>
          </c:extLst>
        </c:ser>
        <c:dLbls>
          <c:showLegendKey val="0"/>
          <c:showVal val="0"/>
          <c:showCatName val="0"/>
          <c:showSerName val="0"/>
          <c:showPercent val="0"/>
          <c:showBubbleSize val="0"/>
        </c:dLbls>
        <c:marker val="1"/>
        <c:smooth val="0"/>
        <c:axId val="1196397840"/>
        <c:axId val="1180411880"/>
      </c:lineChart>
      <c:catAx>
        <c:axId val="877510600"/>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vert="horz"/>
          <a:lstStyle/>
          <a:p>
            <a:pPr>
              <a:defRPr/>
            </a:pPr>
            <a:endParaRPr lang="en-US"/>
          </a:p>
        </c:txPr>
        <c:crossAx val="877511584"/>
        <c:crosses val="autoZero"/>
        <c:auto val="1"/>
        <c:lblAlgn val="ctr"/>
        <c:lblOffset val="800"/>
        <c:noMultiLvlLbl val="0"/>
      </c:catAx>
      <c:valAx>
        <c:axId val="877511584"/>
        <c:scaling>
          <c:orientation val="minMax"/>
        </c:scaling>
        <c:delete val="1"/>
        <c:axPos val="l"/>
        <c:majorGridlines>
          <c:spPr>
            <a:ln w="6350" cap="flat" cmpd="sng" algn="ctr">
              <a:solidFill>
                <a:schemeClr val="bg1">
                  <a:lumMod val="95000"/>
                </a:schemeClr>
              </a:solidFill>
              <a:round/>
            </a:ln>
            <a:effectLst/>
          </c:spPr>
        </c:majorGridlines>
        <c:title>
          <c:tx>
            <c:rich>
              <a:bodyPr rot="-5400000" vert="horz"/>
              <a:lstStyle/>
              <a:p>
                <a:pPr>
                  <a:defRPr b="0"/>
                </a:pPr>
                <a:r>
                  <a:rPr lang="en-US" b="0" dirty="0"/>
                  <a:t>Real </a:t>
                </a:r>
                <a:r>
                  <a:rPr lang="en-US" b="0" dirty="0" err="1"/>
                  <a:t>crecimiento</a:t>
                </a:r>
                <a:r>
                  <a:rPr lang="en-US" b="0" dirty="0"/>
                  <a:t> del PIB (%)</a:t>
                </a:r>
              </a:p>
            </c:rich>
          </c:tx>
          <c:layout>
            <c:manualLayout>
              <c:xMode val="edge"/>
              <c:yMode val="edge"/>
              <c:x val="6.9273531372178107E-4"/>
              <c:y val="0.34397723188158918"/>
            </c:manualLayout>
          </c:layout>
          <c:overlay val="0"/>
          <c:spPr>
            <a:noFill/>
            <a:ln>
              <a:noFill/>
            </a:ln>
            <a:effectLst/>
          </c:spPr>
        </c:title>
        <c:numFmt formatCode="#,##0.0;&quot;–&quot;#,##0.0" sourceLinked="1"/>
        <c:majorTickMark val="none"/>
        <c:minorTickMark val="none"/>
        <c:tickLblPos val="nextTo"/>
        <c:crossAx val="877510600"/>
        <c:crosses val="autoZero"/>
        <c:crossBetween val="between"/>
      </c:valAx>
      <c:valAx>
        <c:axId val="1180411880"/>
        <c:scaling>
          <c:orientation val="minMax"/>
          <c:max val="2"/>
        </c:scaling>
        <c:delete val="1"/>
        <c:axPos val="r"/>
        <c:numFmt formatCode="#,##0.00000" sourceLinked="1"/>
        <c:majorTickMark val="out"/>
        <c:minorTickMark val="none"/>
        <c:tickLblPos val="nextTo"/>
        <c:crossAx val="1196397840"/>
        <c:crosses val="max"/>
        <c:crossBetween val="between"/>
      </c:valAx>
      <c:catAx>
        <c:axId val="1196397840"/>
        <c:scaling>
          <c:orientation val="minMax"/>
        </c:scaling>
        <c:delete val="1"/>
        <c:axPos val="b"/>
        <c:numFmt formatCode="General" sourceLinked="1"/>
        <c:majorTickMark val="out"/>
        <c:minorTickMark val="none"/>
        <c:tickLblPos val="nextTo"/>
        <c:crossAx val="1180411880"/>
        <c:crosses val="autoZero"/>
        <c:auto val="1"/>
        <c:lblAlgn val="ctr"/>
        <c:lblOffset val="100"/>
        <c:noMultiLvlLbl val="0"/>
      </c:catAx>
      <c:spPr>
        <a:noFill/>
        <a:ln>
          <a:noFill/>
        </a:ln>
        <a:effectLst/>
      </c:spPr>
    </c:plotArea>
    <c:legend>
      <c:legendPos val="t"/>
      <c:legendEntry>
        <c:idx val="3"/>
        <c:delete val="1"/>
      </c:legendEntry>
      <c:legendEntry>
        <c:idx val="4"/>
        <c:delete val="1"/>
      </c:legendEntry>
      <c:legendEntry>
        <c:idx val="5"/>
        <c:delete val="1"/>
      </c:legendEntry>
      <c:layout>
        <c:manualLayout>
          <c:xMode val="edge"/>
          <c:yMode val="edge"/>
          <c:x val="0.35521444367830246"/>
          <c:y val="0.96951305380898833"/>
          <c:w val="0.2850142061970542"/>
          <c:h val="2.9724777522945844E-2"/>
        </c:manualLayout>
      </c:layou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s-CO" sz="1800" noProof="0"/>
            </a:pPr>
            <a:r>
              <a:rPr lang="es-CO" sz="1600" b="1" i="0" kern="1200" spc="0" baseline="0" noProof="0" dirty="0">
                <a:solidFill>
                  <a:schemeClr val="tx1"/>
                </a:solidFill>
                <a:effectLst/>
                <a:latin typeface="Arial" panose="020B0604020202020204" pitchFamily="34" charset="0"/>
                <a:ea typeface="Calibri" panose="020F0502020204030204" pitchFamily="34" charset="0"/>
                <a:cs typeface="Arial" panose="020B0604020202020204" pitchFamily="34" charset="0"/>
              </a:rPr>
              <a:t>Inflación, precios promedio al consumidor*</a:t>
            </a:r>
            <a:endParaRPr lang="es-CO" sz="1600" noProof="0" dirty="0">
              <a:solidFill>
                <a:schemeClr val="tx1"/>
              </a:solidFill>
              <a:effectLst/>
            </a:endParaRPr>
          </a:p>
        </c:rich>
      </c:tx>
      <c:layout>
        <c:manualLayout>
          <c:xMode val="edge"/>
          <c:yMode val="edge"/>
          <c:x val="0.31073421312952204"/>
          <c:y val="3.2234525983846009E-3"/>
        </c:manualLayout>
      </c:layout>
      <c:overlay val="0"/>
    </c:title>
    <c:autoTitleDeleted val="0"/>
    <c:plotArea>
      <c:layout>
        <c:manualLayout>
          <c:layoutTarget val="inner"/>
          <c:xMode val="edge"/>
          <c:yMode val="edge"/>
          <c:x val="7.1526172238028179E-2"/>
          <c:y val="7.4133228275471641E-2"/>
          <c:w val="0.90205268158001262"/>
          <c:h val="0.78765289455879817"/>
        </c:manualLayout>
      </c:layout>
      <c:lineChart>
        <c:grouping val="standard"/>
        <c:varyColors val="0"/>
        <c:ser>
          <c:idx val="0"/>
          <c:order val="0"/>
          <c:tx>
            <c:strRef>
              <c:f>'[GC Mid-Year Reinsurance Briefing_June 2024_BI Data.xlsx]Slide 2_Inlfation'!$F$2</c:f>
              <c:strCache>
                <c:ptCount val="1"/>
                <c:pt idx="0">
                  <c:v>US</c:v>
                </c:pt>
              </c:strCache>
            </c:strRef>
          </c:tx>
          <c:spPr>
            <a:ln w="38100">
              <a:solidFill>
                <a:srgbClr val="009DE0"/>
              </a:solidFill>
            </a:ln>
          </c:spPr>
          <c:marker>
            <c:symbol val="none"/>
          </c:marker>
          <c:dPt>
            <c:idx val="10"/>
            <c:marker>
              <c:symbol val="circle"/>
              <c:size val="7"/>
              <c:spPr>
                <a:solidFill>
                  <a:srgbClr val="00B050"/>
                </a:solidFill>
                <a:ln>
                  <a:solidFill>
                    <a:srgbClr val="00B050"/>
                  </a:solidFill>
                </a:ln>
              </c:spPr>
            </c:marker>
            <c:bubble3D val="0"/>
            <c:extLst>
              <c:ext xmlns:c16="http://schemas.microsoft.com/office/drawing/2014/chart" uri="{C3380CC4-5D6E-409C-BE32-E72D297353CC}">
                <c16:uniqueId val="{00000000-628B-4019-988E-D5929A70FB18}"/>
              </c:ext>
            </c:extLst>
          </c:dPt>
          <c:dPt>
            <c:idx val="23"/>
            <c:marker>
              <c:symbol val="circle"/>
              <c:size val="8"/>
              <c:spPr>
                <a:solidFill>
                  <a:srgbClr val="FF0000"/>
                </a:solidFill>
                <a:ln>
                  <a:solidFill>
                    <a:srgbClr val="FF0000"/>
                  </a:solidFill>
                </a:ln>
              </c:spPr>
            </c:marker>
            <c:bubble3D val="0"/>
            <c:extLst>
              <c:ext xmlns:c16="http://schemas.microsoft.com/office/drawing/2014/chart" uri="{C3380CC4-5D6E-409C-BE32-E72D297353CC}">
                <c16:uniqueId val="{00000001-628B-4019-988E-D5929A70FB18}"/>
              </c:ext>
            </c:extLst>
          </c:dPt>
          <c:dPt>
            <c:idx val="30"/>
            <c:bubble3D val="0"/>
            <c:spPr>
              <a:ln w="38100" cap="rnd">
                <a:solidFill>
                  <a:srgbClr val="009DE0"/>
                </a:solidFill>
                <a:prstDash val="sysDash"/>
                <a:round/>
              </a:ln>
              <a:effectLst/>
            </c:spPr>
            <c:extLst>
              <c:ext xmlns:c16="http://schemas.microsoft.com/office/drawing/2014/chart" uri="{C3380CC4-5D6E-409C-BE32-E72D297353CC}">
                <c16:uniqueId val="{00000003-628B-4019-988E-D5929A70FB18}"/>
              </c:ext>
            </c:extLst>
          </c:dPt>
          <c:dPt>
            <c:idx val="31"/>
            <c:bubble3D val="0"/>
            <c:spPr>
              <a:ln w="38100" cap="rnd">
                <a:solidFill>
                  <a:srgbClr val="009DE0"/>
                </a:solidFill>
                <a:prstDash val="sysDash"/>
                <a:round/>
              </a:ln>
              <a:effectLst/>
            </c:spPr>
            <c:extLst>
              <c:ext xmlns:c16="http://schemas.microsoft.com/office/drawing/2014/chart" uri="{C3380CC4-5D6E-409C-BE32-E72D297353CC}">
                <c16:uniqueId val="{00000005-628B-4019-988E-D5929A70FB18}"/>
              </c:ext>
            </c:extLst>
          </c:dPt>
          <c:dPt>
            <c:idx val="32"/>
            <c:bubble3D val="0"/>
            <c:spPr>
              <a:ln w="38100" cap="rnd">
                <a:solidFill>
                  <a:srgbClr val="009DE0"/>
                </a:solidFill>
                <a:prstDash val="sysDash"/>
                <a:round/>
              </a:ln>
              <a:effectLst/>
            </c:spPr>
            <c:extLst>
              <c:ext xmlns:c16="http://schemas.microsoft.com/office/drawing/2014/chart" uri="{C3380CC4-5D6E-409C-BE32-E72D297353CC}">
                <c16:uniqueId val="{00000007-628B-4019-988E-D5929A70FB18}"/>
              </c:ext>
            </c:extLst>
          </c:dPt>
          <c:dPt>
            <c:idx val="33"/>
            <c:bubble3D val="0"/>
            <c:spPr>
              <a:ln w="38100" cap="rnd">
                <a:solidFill>
                  <a:srgbClr val="009DE0"/>
                </a:solidFill>
                <a:prstDash val="sysDash"/>
                <a:round/>
              </a:ln>
              <a:effectLst/>
            </c:spPr>
            <c:extLst>
              <c:ext xmlns:c16="http://schemas.microsoft.com/office/drawing/2014/chart" uri="{C3380CC4-5D6E-409C-BE32-E72D297353CC}">
                <c16:uniqueId val="{00000009-628B-4019-988E-D5929A70FB18}"/>
              </c:ext>
            </c:extLst>
          </c:dPt>
          <c:dPt>
            <c:idx val="34"/>
            <c:bubble3D val="0"/>
            <c:spPr>
              <a:ln w="38100" cap="rnd">
                <a:solidFill>
                  <a:srgbClr val="009DE0"/>
                </a:solidFill>
                <a:prstDash val="sysDash"/>
                <a:round/>
              </a:ln>
              <a:effectLst/>
            </c:spPr>
            <c:extLst>
              <c:ext xmlns:c16="http://schemas.microsoft.com/office/drawing/2014/chart" uri="{C3380CC4-5D6E-409C-BE32-E72D297353CC}">
                <c16:uniqueId val="{0000000B-628B-4019-988E-D5929A70FB18}"/>
              </c:ext>
            </c:extLst>
          </c:dPt>
          <c:dLbls>
            <c:dLbl>
              <c:idx val="10"/>
              <c:layout>
                <c:manualLayout>
                  <c:x val="-5.911417204987713E-2"/>
                  <c:y val="-4.7883343123420574E-2"/>
                </c:manualLayout>
              </c:layout>
              <c:tx>
                <c:rich>
                  <a:bodyPr wrap="square" lIns="38100" tIns="19050" rIns="38100" bIns="19050" anchor="ctr">
                    <a:spAutoFit/>
                  </a:bodyPr>
                  <a:lstStyle/>
                  <a:p>
                    <a:pPr>
                      <a:defRPr sz="1200">
                        <a:solidFill>
                          <a:srgbClr val="009DE0"/>
                        </a:solidFill>
                      </a:defRPr>
                    </a:pPr>
                    <a:fld id="{A1199397-B6A5-4932-A24F-12B097C3FE3C}" type="VALUE">
                      <a:rPr lang="en-US" sz="1200" b="1">
                        <a:solidFill>
                          <a:srgbClr val="009DE0"/>
                        </a:solidFill>
                      </a:rPr>
                      <a:pPr>
                        <a:defRPr sz="1200">
                          <a:solidFill>
                            <a:srgbClr val="009DE0"/>
                          </a:solidFill>
                        </a:defRPr>
                      </a:pPr>
                      <a:t>[VALUE]</a:t>
                    </a:fld>
                    <a:r>
                      <a:rPr lang="en-US" sz="1200" b="1">
                        <a:solidFill>
                          <a:srgbClr val="009DE0"/>
                        </a:solidFill>
                      </a:rPr>
                      <a:t>%</a:t>
                    </a:r>
                  </a:p>
                </c:rich>
              </c:tx>
              <c:numFmt formatCode="#,##0.0" sourceLinked="0"/>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28B-4019-988E-D5929A70FB18}"/>
                </c:ext>
              </c:extLst>
            </c:dLbl>
            <c:dLbl>
              <c:idx val="23"/>
              <c:layout>
                <c:manualLayout>
                  <c:x val="1.8808777429467086E-2"/>
                  <c:y val="-3.3950617283950615E-2"/>
                </c:manualLayout>
              </c:layout>
              <c:tx>
                <c:rich>
                  <a:bodyPr wrap="square" lIns="38100" tIns="19050" rIns="38100" bIns="19050" anchor="ctr">
                    <a:spAutoFit/>
                  </a:bodyPr>
                  <a:lstStyle/>
                  <a:p>
                    <a:pPr>
                      <a:defRPr sz="1200">
                        <a:solidFill>
                          <a:srgbClr val="009DE0"/>
                        </a:solidFill>
                      </a:defRPr>
                    </a:pPr>
                    <a:fld id="{771164A1-51AF-4033-B4CA-57696255A17D}" type="VALUE">
                      <a:rPr lang="en-US" sz="1200" b="1">
                        <a:solidFill>
                          <a:srgbClr val="009DE0"/>
                        </a:solidFill>
                      </a:rPr>
                      <a:pPr>
                        <a:defRPr sz="1200">
                          <a:solidFill>
                            <a:srgbClr val="009DE0"/>
                          </a:solidFill>
                        </a:defRPr>
                      </a:pPr>
                      <a:t>[VALUE]</a:t>
                    </a:fld>
                    <a:r>
                      <a:rPr lang="en-US" sz="1200" b="1">
                        <a:solidFill>
                          <a:srgbClr val="009DE0"/>
                        </a:solidFill>
                      </a:rPr>
                      <a:t>%</a:t>
                    </a:r>
                  </a:p>
                </c:rich>
              </c:tx>
              <c:numFmt formatCode="#,##0.0" sourceLinked="0"/>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28B-4019-988E-D5929A70FB18}"/>
                </c:ext>
              </c:extLst>
            </c:dLbl>
            <c:spPr>
              <a:noFill/>
              <a:ln>
                <a:noFill/>
              </a:ln>
              <a:effectLst/>
            </c:spPr>
            <c:txPr>
              <a:bodyPr wrap="square" lIns="38100" tIns="19050" rIns="38100" bIns="19050" anchor="ctr">
                <a:spAutoFit/>
              </a:bodyPr>
              <a:lstStyle/>
              <a:p>
                <a:pPr>
                  <a:defRPr sz="1200">
                    <a:solidFill>
                      <a:srgbClr val="009DE0"/>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a:solidFill>
                        <a:schemeClr val="bg1">
                          <a:lumMod val="50000"/>
                        </a:schemeClr>
                      </a:solidFill>
                    </a:ln>
                  </c:spPr>
                </c15:leaderLines>
              </c:ext>
            </c:extLst>
          </c:dLbls>
          <c:cat>
            <c:strRef>
              <c:f>'[GC Mid-Year Reinsurance Briefing_June 2024_BI Data.xlsx]Slide 2_Inlfation'!$E$15:$E$55</c:f>
              <c:strCache>
                <c:ptCount val="28"/>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strCache>
              <c:extLst/>
            </c:strRef>
          </c:cat>
          <c:val>
            <c:numRef>
              <c:f>'[GC Mid-Year Reinsurance Briefing_June 2024_BI Data.xlsx]Slide 2_Inlfation'!$F$15:$F$55</c:f>
              <c:numCache>
                <c:formatCode>0.00</c:formatCode>
                <c:ptCount val="28"/>
                <c:pt idx="0">
                  <c:v>4.7910000000000004</c:v>
                </c:pt>
                <c:pt idx="1">
                  <c:v>3.367</c:v>
                </c:pt>
                <c:pt idx="2">
                  <c:v>2.8170000000000002</c:v>
                </c:pt>
                <c:pt idx="3">
                  <c:v>1.5960000000000001</c:v>
                </c:pt>
                <c:pt idx="4">
                  <c:v>2.298</c:v>
                </c:pt>
                <c:pt idx="5">
                  <c:v>2.6680000000000001</c:v>
                </c:pt>
                <c:pt idx="6">
                  <c:v>3.3660000000000001</c:v>
                </c:pt>
                <c:pt idx="7">
                  <c:v>3.222</c:v>
                </c:pt>
                <c:pt idx="8">
                  <c:v>2.871</c:v>
                </c:pt>
                <c:pt idx="9">
                  <c:v>3.8149999999999999</c:v>
                </c:pt>
                <c:pt idx="10">
                  <c:v>-0.32</c:v>
                </c:pt>
                <c:pt idx="11">
                  <c:v>1.637</c:v>
                </c:pt>
                <c:pt idx="12">
                  <c:v>3.14</c:v>
                </c:pt>
                <c:pt idx="13">
                  <c:v>2.073</c:v>
                </c:pt>
                <c:pt idx="14">
                  <c:v>1.466</c:v>
                </c:pt>
                <c:pt idx="15">
                  <c:v>1.615</c:v>
                </c:pt>
                <c:pt idx="16">
                  <c:v>0.121</c:v>
                </c:pt>
                <c:pt idx="17">
                  <c:v>1.2669999999999999</c:v>
                </c:pt>
                <c:pt idx="18">
                  <c:v>2.1309999999999998</c:v>
                </c:pt>
                <c:pt idx="19">
                  <c:v>2.4390000000000001</c:v>
                </c:pt>
                <c:pt idx="20">
                  <c:v>1.8129999999999999</c:v>
                </c:pt>
                <c:pt idx="21">
                  <c:v>1.2490000000000001</c:v>
                </c:pt>
                <c:pt idx="22">
                  <c:v>4.6820000000000004</c:v>
                </c:pt>
                <c:pt idx="23">
                  <c:v>7.992</c:v>
                </c:pt>
                <c:pt idx="24">
                  <c:v>4.1280000000000001</c:v>
                </c:pt>
                <c:pt idx="25">
                  <c:v>2.907</c:v>
                </c:pt>
                <c:pt idx="26">
                  <c:v>2</c:v>
                </c:pt>
                <c:pt idx="27">
                  <c:v>2.0590000000000002</c:v>
                </c:pt>
              </c:numCache>
              <c:extLst/>
            </c:numRef>
          </c:val>
          <c:smooth val="0"/>
          <c:extLst>
            <c:ext xmlns:c16="http://schemas.microsoft.com/office/drawing/2014/chart" uri="{C3380CC4-5D6E-409C-BE32-E72D297353CC}">
              <c16:uniqueId val="{0000000C-628B-4019-988E-D5929A70FB18}"/>
            </c:ext>
          </c:extLst>
        </c:ser>
        <c:ser>
          <c:idx val="1"/>
          <c:order val="1"/>
          <c:tx>
            <c:strRef>
              <c:f>'[GC Mid-Year Reinsurance Briefing_June 2024_BI Data.xlsx]Slide 2_Inlfation'!$Q$2</c:f>
              <c:strCache>
                <c:ptCount val="1"/>
                <c:pt idx="0">
                  <c:v>World</c:v>
                </c:pt>
              </c:strCache>
            </c:strRef>
          </c:tx>
          <c:spPr>
            <a:ln w="38100">
              <a:solidFill>
                <a:srgbClr val="002C77"/>
              </a:solidFill>
            </a:ln>
          </c:spPr>
          <c:marker>
            <c:symbol val="none"/>
          </c:marker>
          <c:dPt>
            <c:idx val="10"/>
            <c:marker>
              <c:symbol val="circle"/>
              <c:size val="8"/>
              <c:spPr>
                <a:solidFill>
                  <a:srgbClr val="00B050"/>
                </a:solidFill>
                <a:ln>
                  <a:solidFill>
                    <a:srgbClr val="00B050"/>
                  </a:solidFill>
                </a:ln>
              </c:spPr>
            </c:marker>
            <c:bubble3D val="0"/>
            <c:extLst>
              <c:ext xmlns:c16="http://schemas.microsoft.com/office/drawing/2014/chart" uri="{C3380CC4-5D6E-409C-BE32-E72D297353CC}">
                <c16:uniqueId val="{0000000D-628B-4019-988E-D5929A70FB18}"/>
              </c:ext>
            </c:extLst>
          </c:dPt>
          <c:dPt>
            <c:idx val="23"/>
            <c:marker>
              <c:symbol val="circle"/>
              <c:size val="8"/>
              <c:spPr>
                <a:solidFill>
                  <a:srgbClr val="FF0000"/>
                </a:solidFill>
                <a:ln>
                  <a:solidFill>
                    <a:srgbClr val="FF0000"/>
                  </a:solidFill>
                </a:ln>
              </c:spPr>
            </c:marker>
            <c:bubble3D val="0"/>
            <c:extLst>
              <c:ext xmlns:c16="http://schemas.microsoft.com/office/drawing/2014/chart" uri="{C3380CC4-5D6E-409C-BE32-E72D297353CC}">
                <c16:uniqueId val="{0000000E-628B-4019-988E-D5929A70FB18}"/>
              </c:ext>
            </c:extLst>
          </c:dPt>
          <c:dPt>
            <c:idx val="30"/>
            <c:bubble3D val="0"/>
            <c:spPr>
              <a:ln w="38100">
                <a:solidFill>
                  <a:srgbClr val="002C77"/>
                </a:solidFill>
                <a:prstDash val="sysDash"/>
              </a:ln>
            </c:spPr>
            <c:extLst>
              <c:ext xmlns:c16="http://schemas.microsoft.com/office/drawing/2014/chart" uri="{C3380CC4-5D6E-409C-BE32-E72D297353CC}">
                <c16:uniqueId val="{00000010-628B-4019-988E-D5929A70FB18}"/>
              </c:ext>
            </c:extLst>
          </c:dPt>
          <c:dPt>
            <c:idx val="31"/>
            <c:bubble3D val="0"/>
            <c:spPr>
              <a:ln w="38100">
                <a:solidFill>
                  <a:srgbClr val="002C77"/>
                </a:solidFill>
                <a:prstDash val="sysDash"/>
              </a:ln>
            </c:spPr>
            <c:extLst>
              <c:ext xmlns:c16="http://schemas.microsoft.com/office/drawing/2014/chart" uri="{C3380CC4-5D6E-409C-BE32-E72D297353CC}">
                <c16:uniqueId val="{00000012-628B-4019-988E-D5929A70FB18}"/>
              </c:ext>
            </c:extLst>
          </c:dPt>
          <c:dPt>
            <c:idx val="32"/>
            <c:bubble3D val="0"/>
            <c:spPr>
              <a:ln w="38100">
                <a:solidFill>
                  <a:srgbClr val="002C77"/>
                </a:solidFill>
                <a:prstDash val="sysDash"/>
              </a:ln>
            </c:spPr>
            <c:extLst>
              <c:ext xmlns:c16="http://schemas.microsoft.com/office/drawing/2014/chart" uri="{C3380CC4-5D6E-409C-BE32-E72D297353CC}">
                <c16:uniqueId val="{00000014-628B-4019-988E-D5929A70FB18}"/>
              </c:ext>
            </c:extLst>
          </c:dPt>
          <c:dPt>
            <c:idx val="33"/>
            <c:bubble3D val="0"/>
            <c:spPr>
              <a:ln w="38100">
                <a:solidFill>
                  <a:srgbClr val="002C77"/>
                </a:solidFill>
                <a:prstDash val="sysDash"/>
              </a:ln>
            </c:spPr>
            <c:extLst>
              <c:ext xmlns:c16="http://schemas.microsoft.com/office/drawing/2014/chart" uri="{C3380CC4-5D6E-409C-BE32-E72D297353CC}">
                <c16:uniqueId val="{00000016-628B-4019-988E-D5929A70FB18}"/>
              </c:ext>
            </c:extLst>
          </c:dPt>
          <c:dPt>
            <c:idx val="34"/>
            <c:bubble3D val="0"/>
            <c:spPr>
              <a:ln w="38100">
                <a:solidFill>
                  <a:srgbClr val="002C77"/>
                </a:solidFill>
                <a:prstDash val="sysDash"/>
              </a:ln>
            </c:spPr>
            <c:extLst>
              <c:ext xmlns:c16="http://schemas.microsoft.com/office/drawing/2014/chart" uri="{C3380CC4-5D6E-409C-BE32-E72D297353CC}">
                <c16:uniqueId val="{00000018-628B-4019-988E-D5929A70FB18}"/>
              </c:ext>
            </c:extLst>
          </c:dPt>
          <c:dLbls>
            <c:dLbl>
              <c:idx val="10"/>
              <c:layout>
                <c:manualLayout>
                  <c:x val="-2.4084370203793889E-2"/>
                  <c:y val="4.5118209709438729E-2"/>
                </c:manualLayout>
              </c:layout>
              <c:tx>
                <c:rich>
                  <a:bodyPr/>
                  <a:lstStyle/>
                  <a:p>
                    <a:r>
                      <a:rPr lang="en-US" b="1">
                        <a:solidFill>
                          <a:srgbClr val="002060"/>
                        </a:solidFill>
                      </a:rP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28B-4019-988E-D5929A70FB18}"/>
                </c:ext>
              </c:extLst>
            </c:dLbl>
            <c:dLbl>
              <c:idx val="23"/>
              <c:layout>
                <c:manualLayout>
                  <c:x val="-1.9568550790582489E-2"/>
                  <c:y val="-4.8126090356734659E-2"/>
                </c:manualLayout>
              </c:layout>
              <c:tx>
                <c:rich>
                  <a:bodyPr wrap="square" lIns="38100" tIns="19050" rIns="38100" bIns="19050" anchor="ctr">
                    <a:spAutoFit/>
                  </a:bodyPr>
                  <a:lstStyle/>
                  <a:p>
                    <a:pPr>
                      <a:defRPr sz="1200" b="1">
                        <a:solidFill>
                          <a:srgbClr val="002C77"/>
                        </a:solidFill>
                      </a:defRPr>
                    </a:pPr>
                    <a:r>
                      <a:rPr lang="en-US" sz="1200" b="1">
                        <a:solidFill>
                          <a:srgbClr val="002C77"/>
                        </a:solidFill>
                      </a:rPr>
                      <a:t>8.7%</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28B-4019-988E-D5929A70FB18}"/>
                </c:ext>
              </c:extLst>
            </c:dLbl>
            <c:spPr>
              <a:noFill/>
              <a:ln>
                <a:noFill/>
              </a:ln>
              <a:effectLst/>
            </c:spPr>
            <c:txPr>
              <a:bodyPr wrap="square" lIns="38100" tIns="19050" rIns="38100" bIns="19050" anchor="ctr">
                <a:spAutoFit/>
              </a:bodyPr>
              <a:lstStyle/>
              <a:p>
                <a:pPr>
                  <a:defRPr sz="1200">
                    <a:solidFill>
                      <a:srgbClr val="002C77"/>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a:solidFill>
                        <a:schemeClr val="bg1">
                          <a:lumMod val="50000"/>
                        </a:schemeClr>
                      </a:solidFill>
                    </a:ln>
                  </c:spPr>
                </c15:leaderLines>
              </c:ext>
            </c:extLst>
          </c:dLbls>
          <c:cat>
            <c:strRef>
              <c:f>'[GC Mid-Year Reinsurance Briefing_June 2024_BI Data.xlsx]Slide 2_Inlfation'!$E$15:$E$55</c:f>
              <c:strCache>
                <c:ptCount val="28"/>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strCache>
              <c:extLst/>
            </c:strRef>
          </c:cat>
          <c:val>
            <c:numRef>
              <c:f>'[GC Mid-Year Reinsurance Briefing_June 2024_BI Data.xlsx]Slide 2_Inlfation'!$Q$15:$Q$25,'[GC Mid-Year Reinsurance Briefing_June 2024_BI Data.xlsx]Slide 2_Inlfation'!$T$26:$T$55</c:f>
              <c:numCache>
                <c:formatCode>0.00</c:formatCode>
                <c:ptCount val="28"/>
                <c:pt idx="0">
                  <c:v>6.9239050371123696</c:v>
                </c:pt>
                <c:pt idx="1">
                  <c:v>4.8529999999999998</c:v>
                </c:pt>
                <c:pt idx="2">
                  <c:v>4.5860000000000003</c:v>
                </c:pt>
                <c:pt idx="3">
                  <c:v>3.726</c:v>
                </c:pt>
                <c:pt idx="4">
                  <c:v>3.9060000000000001</c:v>
                </c:pt>
                <c:pt idx="5">
                  <c:v>3.8180000000000001</c:v>
                </c:pt>
                <c:pt idx="6">
                  <c:v>3.9990000000000001</c:v>
                </c:pt>
                <c:pt idx="7">
                  <c:v>4.048</c:v>
                </c:pt>
                <c:pt idx="8">
                  <c:v>4.2759999999999998</c:v>
                </c:pt>
                <c:pt idx="9">
                  <c:v>6.367</c:v>
                </c:pt>
                <c:pt idx="10">
                  <c:v>2.6459999999999999</c:v>
                </c:pt>
                <c:pt idx="11">
                  <c:v>3.6560000000000001</c:v>
                </c:pt>
                <c:pt idx="12">
                  <c:v>4.9740000000000002</c:v>
                </c:pt>
                <c:pt idx="13">
                  <c:v>4.0890000000000004</c:v>
                </c:pt>
                <c:pt idx="14">
                  <c:v>3.625</c:v>
                </c:pt>
                <c:pt idx="15">
                  <c:v>3.22</c:v>
                </c:pt>
                <c:pt idx="16">
                  <c:v>2.7320000000000002</c:v>
                </c:pt>
                <c:pt idx="17">
                  <c:v>2.7250000000000001</c:v>
                </c:pt>
                <c:pt idx="18">
                  <c:v>3.2509999999999999</c:v>
                </c:pt>
                <c:pt idx="19">
                  <c:v>3.645</c:v>
                </c:pt>
                <c:pt idx="20">
                  <c:v>3.5049999999999999</c:v>
                </c:pt>
                <c:pt idx="21">
                  <c:v>3.2440000000000002</c:v>
                </c:pt>
                <c:pt idx="22">
                  <c:v>4.7080000000000002</c:v>
                </c:pt>
                <c:pt idx="23">
                  <c:v>8.7289999999999992</c:v>
                </c:pt>
                <c:pt idx="24">
                  <c:v>6.7770000000000001</c:v>
                </c:pt>
                <c:pt idx="25">
                  <c:v>5.944</c:v>
                </c:pt>
                <c:pt idx="26">
                  <c:v>4.5090000000000003</c:v>
                </c:pt>
                <c:pt idx="27">
                  <c:v>3.7280000000000002</c:v>
                </c:pt>
              </c:numCache>
              <c:extLst/>
            </c:numRef>
          </c:val>
          <c:smooth val="0"/>
          <c:extLst>
            <c:ext xmlns:c16="http://schemas.microsoft.com/office/drawing/2014/chart" uri="{C3380CC4-5D6E-409C-BE32-E72D297353CC}">
              <c16:uniqueId val="{00000019-628B-4019-988E-D5929A70FB18}"/>
            </c:ext>
          </c:extLst>
        </c:ser>
        <c:dLbls>
          <c:showLegendKey val="0"/>
          <c:showVal val="0"/>
          <c:showCatName val="0"/>
          <c:showSerName val="0"/>
          <c:showPercent val="0"/>
          <c:showBubbleSize val="0"/>
        </c:dLbls>
        <c:smooth val="0"/>
        <c:axId val="1214322256"/>
        <c:axId val="1"/>
        <c:extLst>
          <c:ext xmlns:c15="http://schemas.microsoft.com/office/drawing/2012/chart" uri="{02D57815-91ED-43cb-92C2-25804820EDAC}">
            <c15:filteredLineSeries>
              <c15:ser>
                <c:idx val="2"/>
                <c:order val="2"/>
                <c:tx>
                  <c:strRef>
                    <c:extLst>
                      <c:ext uri="{02D57815-91ED-43cb-92C2-25804820EDAC}">
                        <c15:formulaRef>
                          <c15:sqref>'[GC Mid-Year Reinsurance Briefing_June 2024_BI Data.xlsx]Slide 2_Inlfation'!$AE$2</c15:sqref>
                        </c15:formulaRef>
                      </c:ext>
                    </c:extLst>
                    <c:strCache>
                      <c:ptCount val="1"/>
                      <c:pt idx="0">
                        <c:v>Advanced economies</c:v>
                      </c:pt>
                    </c:strCache>
                  </c:strRef>
                </c:tx>
                <c:spPr>
                  <a:ln>
                    <a:solidFill>
                      <a:schemeClr val="accent1">
                        <a:lumMod val="40000"/>
                        <a:lumOff val="60000"/>
                      </a:schemeClr>
                    </a:solidFill>
                  </a:ln>
                </c:spPr>
                <c:marker>
                  <c:symbol val="none"/>
                </c:marker>
                <c:cat>
                  <c:strRef>
                    <c:extLst>
                      <c:ext uri="{02D57815-91ED-43cb-92C2-25804820EDAC}">
                        <c15:formulaRef>
                          <c15:sqref>'[GC Mid-Year Reinsurance Briefing_June 2024_BI Data.xlsx]Slide 2_Inlfation'!$E$15:$E$55</c15:sqref>
                        </c15:formulaRef>
                      </c:ext>
                    </c:extLst>
                    <c:strCache>
                      <c:ptCount val="29"/>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pt idx="28">
                        <c:v>2029P</c:v>
                      </c:pt>
                    </c:strCache>
                  </c:strRef>
                </c:cat>
                <c:val>
                  <c:numRef>
                    <c:extLst>
                      <c:ext uri="{02D57815-91ED-43cb-92C2-25804820EDAC}">
                        <c15:formulaRef>
                          <c15:sqref>'[GC Mid-Year Reinsurance Briefing_June 2024_BI Data.xlsx]Slide 2_Inlfation'!$AE$16:$AE$55</c15:sqref>
                        </c15:formulaRef>
                      </c:ext>
                    </c:extLst>
                    <c:numCache>
                      <c:formatCode>0.00</c:formatCode>
                      <c:ptCount val="28"/>
                      <c:pt idx="0">
                        <c:v>4.9189999999999996</c:v>
                      </c:pt>
                      <c:pt idx="1">
                        <c:v>2.1629999999999998</c:v>
                      </c:pt>
                      <c:pt idx="2">
                        <c:v>1.5429999999999999</c:v>
                      </c:pt>
                      <c:pt idx="3">
                        <c:v>1.84</c:v>
                      </c:pt>
                      <c:pt idx="4">
                        <c:v>2.02</c:v>
                      </c:pt>
                      <c:pt idx="5">
                        <c:v>2.3239999999999998</c:v>
                      </c:pt>
                      <c:pt idx="6">
                        <c:v>2.3570000000000002</c:v>
                      </c:pt>
                      <c:pt idx="7">
                        <c:v>2.1840000000000002</c:v>
                      </c:pt>
                      <c:pt idx="8">
                        <c:v>3.4430000000000001</c:v>
                      </c:pt>
                      <c:pt idx="9">
                        <c:v>0.17299999999999999</c:v>
                      </c:pt>
                      <c:pt idx="10">
                        <c:v>1.5389999999999999</c:v>
                      </c:pt>
                      <c:pt idx="11">
                        <c:v>2.6930000000000001</c:v>
                      </c:pt>
                      <c:pt idx="12">
                        <c:v>1.9890000000000001</c:v>
                      </c:pt>
                      <c:pt idx="13">
                        <c:v>1.377</c:v>
                      </c:pt>
                      <c:pt idx="14">
                        <c:v>1.3720000000000001</c:v>
                      </c:pt>
                      <c:pt idx="15">
                        <c:v>0.307</c:v>
                      </c:pt>
                      <c:pt idx="16">
                        <c:v>0.747</c:v>
                      </c:pt>
                      <c:pt idx="17">
                        <c:v>1.708</c:v>
                      </c:pt>
                      <c:pt idx="18">
                        <c:v>1.9590000000000001</c:v>
                      </c:pt>
                      <c:pt idx="19">
                        <c:v>1.401</c:v>
                      </c:pt>
                      <c:pt idx="20">
                        <c:v>0.68500000000000005</c:v>
                      </c:pt>
                      <c:pt idx="21">
                        <c:v>3.1080000000000001</c:v>
                      </c:pt>
                      <c:pt idx="22">
                        <c:v>7.282</c:v>
                      </c:pt>
                      <c:pt idx="23">
                        <c:v>4.5979999999999999</c:v>
                      </c:pt>
                      <c:pt idx="24">
                        <c:v>2.617</c:v>
                      </c:pt>
                      <c:pt idx="25">
                        <c:v>2.0489999999999999</c:v>
                      </c:pt>
                      <c:pt idx="26">
                        <c:v>2.0089999999999999</c:v>
                      </c:pt>
                      <c:pt idx="27">
                        <c:v>2.0190000000000001</c:v>
                      </c:pt>
                    </c:numCache>
                  </c:numRef>
                </c:val>
                <c:smooth val="0"/>
                <c:extLst>
                  <c:ext xmlns:c16="http://schemas.microsoft.com/office/drawing/2014/chart" uri="{C3380CC4-5D6E-409C-BE32-E72D297353CC}">
                    <c16:uniqueId val="{0000001A-628B-4019-988E-D5929A70FB18}"/>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GC Mid-Year Reinsurance Briefing_June 2024_BI Data.xlsx]Slide 2_Inlfation'!$AH$2</c15:sqref>
                        </c15:formulaRef>
                      </c:ext>
                    </c:extLst>
                    <c:strCache>
                      <c:ptCount val="1"/>
                      <c:pt idx="0">
                        <c:v>ASEAN</c:v>
                      </c:pt>
                    </c:strCache>
                  </c:strRef>
                </c:tx>
                <c:spPr>
                  <a:ln>
                    <a:solidFill>
                      <a:schemeClr val="accent6">
                        <a:lumMod val="40000"/>
                        <a:lumOff val="60000"/>
                      </a:schemeClr>
                    </a:solidFill>
                  </a:ln>
                </c:spPr>
                <c:marker>
                  <c:symbol val="none"/>
                </c:marker>
                <c:cat>
                  <c:strRef>
                    <c:extLst xmlns:c15="http://schemas.microsoft.com/office/drawing/2012/chart">
                      <c:ext xmlns:c15="http://schemas.microsoft.com/office/drawing/2012/chart" uri="{02D57815-91ED-43cb-92C2-25804820EDAC}">
                        <c15:formulaRef>
                          <c15:sqref>'[GC Mid-Year Reinsurance Briefing_June 2024_BI Data.xlsx]Slide 2_Inlfation'!$E$15:$E$55</c15:sqref>
                        </c15:formulaRef>
                      </c:ext>
                    </c:extLst>
                    <c:strCache>
                      <c:ptCount val="29"/>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pt idx="28">
                        <c:v>2029P</c:v>
                      </c:pt>
                    </c:strCache>
                  </c:strRef>
                </c:cat>
                <c:val>
                  <c:numRef>
                    <c:extLst xmlns:c15="http://schemas.microsoft.com/office/drawing/2012/chart">
                      <c:ext xmlns:c15="http://schemas.microsoft.com/office/drawing/2012/chart" uri="{02D57815-91ED-43cb-92C2-25804820EDAC}">
                        <c15:formulaRef>
                          <c15:sqref>'[GC Mid-Year Reinsurance Briefing_June 2024_BI Data.xlsx]Slide 2_Inlfation'!$AH$16:$AH$55</c15:sqref>
                        </c15:formulaRef>
                      </c:ext>
                    </c:extLst>
                    <c:numCache>
                      <c:formatCode>0.00</c:formatCode>
                      <c:ptCount val="28"/>
                      <c:pt idx="0">
                        <c:v>7.35</c:v>
                      </c:pt>
                      <c:pt idx="1">
                        <c:v>6.4749999999999996</c:v>
                      </c:pt>
                      <c:pt idx="2">
                        <c:v>6.0759999999999996</c:v>
                      </c:pt>
                      <c:pt idx="3">
                        <c:v>3.8980000000000001</c:v>
                      </c:pt>
                      <c:pt idx="4">
                        <c:v>4.2169999999999996</c:v>
                      </c:pt>
                      <c:pt idx="5">
                        <c:v>6.89</c:v>
                      </c:pt>
                      <c:pt idx="6">
                        <c:v>8.08</c:v>
                      </c:pt>
                      <c:pt idx="7">
                        <c:v>4.0830000000000002</c:v>
                      </c:pt>
                      <c:pt idx="8">
                        <c:v>7.8979999999999997</c:v>
                      </c:pt>
                      <c:pt idx="9">
                        <c:v>2.7080000000000002</c:v>
                      </c:pt>
                      <c:pt idx="10">
                        <c:v>3.9529999999999998</c:v>
                      </c:pt>
                      <c:pt idx="11">
                        <c:v>4.6829999999999998</c:v>
                      </c:pt>
                      <c:pt idx="12">
                        <c:v>3.4380000000000002</c:v>
                      </c:pt>
                      <c:pt idx="13">
                        <c:v>4.226</c:v>
                      </c:pt>
                      <c:pt idx="14">
                        <c:v>4.3159999999999998</c:v>
                      </c:pt>
                      <c:pt idx="15">
                        <c:v>3.1040000000000001</c:v>
                      </c:pt>
                      <c:pt idx="16">
                        <c:v>2.0499999999999998</c:v>
                      </c:pt>
                      <c:pt idx="17">
                        <c:v>2.8039999999999998</c:v>
                      </c:pt>
                      <c:pt idx="18">
                        <c:v>2.6030000000000002</c:v>
                      </c:pt>
                      <c:pt idx="19">
                        <c:v>1.9019999999999999</c:v>
                      </c:pt>
                      <c:pt idx="20">
                        <c:v>0.96099999999999997</c:v>
                      </c:pt>
                      <c:pt idx="21">
                        <c:v>2.0019999999999998</c:v>
                      </c:pt>
                      <c:pt idx="22">
                        <c:v>4.7720000000000002</c:v>
                      </c:pt>
                      <c:pt idx="23">
                        <c:v>3.5350000000000001</c:v>
                      </c:pt>
                      <c:pt idx="24">
                        <c:v>2.4569999999999999</c:v>
                      </c:pt>
                      <c:pt idx="25">
                        <c:v>2.3969999999999998</c:v>
                      </c:pt>
                      <c:pt idx="26">
                        <c:v>2.3740000000000001</c:v>
                      </c:pt>
                      <c:pt idx="27">
                        <c:v>2.4039999999999999</c:v>
                      </c:pt>
                    </c:numCache>
                  </c:numRef>
                </c:val>
                <c:smooth val="0"/>
                <c:extLst xmlns:c15="http://schemas.microsoft.com/office/drawing/2012/chart">
                  <c:ext xmlns:c16="http://schemas.microsoft.com/office/drawing/2014/chart" uri="{C3380CC4-5D6E-409C-BE32-E72D297353CC}">
                    <c16:uniqueId val="{0000001B-628B-4019-988E-D5929A70FB18}"/>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GC Mid-Year Reinsurance Briefing_June 2024_BI Data.xlsx]Slide 2_Inlfation'!$AK$2</c15:sqref>
                        </c15:formulaRef>
                      </c:ext>
                    </c:extLst>
                    <c:strCache>
                      <c:ptCount val="1"/>
                      <c:pt idx="0">
                        <c:v>Japan</c:v>
                      </c:pt>
                    </c:strCache>
                  </c:strRef>
                </c:tx>
                <c:spPr>
                  <a:ln>
                    <a:solidFill>
                      <a:schemeClr val="accent4">
                        <a:lumMod val="40000"/>
                        <a:lumOff val="60000"/>
                      </a:schemeClr>
                    </a:solidFill>
                  </a:ln>
                </c:spPr>
                <c:marker>
                  <c:symbol val="none"/>
                </c:marker>
                <c:cat>
                  <c:strRef>
                    <c:extLst xmlns:c15="http://schemas.microsoft.com/office/drawing/2012/chart">
                      <c:ext xmlns:c15="http://schemas.microsoft.com/office/drawing/2012/chart" uri="{02D57815-91ED-43cb-92C2-25804820EDAC}">
                        <c15:formulaRef>
                          <c15:sqref>'[GC Mid-Year Reinsurance Briefing_June 2024_BI Data.xlsx]Slide 2_Inlfation'!$E$15:$E$55</c15:sqref>
                        </c15:formulaRef>
                      </c:ext>
                    </c:extLst>
                    <c:strCache>
                      <c:ptCount val="29"/>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pt idx="28">
                        <c:v>2029P</c:v>
                      </c:pt>
                    </c:strCache>
                  </c:strRef>
                </c:cat>
                <c:val>
                  <c:numRef>
                    <c:extLst xmlns:c15="http://schemas.microsoft.com/office/drawing/2012/chart">
                      <c:ext xmlns:c15="http://schemas.microsoft.com/office/drawing/2012/chart" uri="{02D57815-91ED-43cb-92C2-25804820EDAC}">
                        <c15:formulaRef>
                          <c15:sqref>'[GC Mid-Year Reinsurance Briefing_June 2024_BI Data.xlsx]Slide 2_Inlfation'!$AK$16:$AK$55</c15:sqref>
                        </c15:formulaRef>
                      </c:ext>
                    </c:extLst>
                    <c:numCache>
                      <c:formatCode>0.00</c:formatCode>
                      <c:ptCount val="28"/>
                      <c:pt idx="0">
                        <c:v>3.0710000000000002</c:v>
                      </c:pt>
                      <c:pt idx="1">
                        <c:v>-0.69399999999999995</c:v>
                      </c:pt>
                      <c:pt idx="2">
                        <c:v>-0.89700000000000002</c:v>
                      </c:pt>
                      <c:pt idx="3">
                        <c:v>-0.26300000000000001</c:v>
                      </c:pt>
                      <c:pt idx="4">
                        <c:v>-0.01</c:v>
                      </c:pt>
                      <c:pt idx="5">
                        <c:v>-0.28799999999999998</c:v>
                      </c:pt>
                      <c:pt idx="6">
                        <c:v>0.25600000000000001</c:v>
                      </c:pt>
                      <c:pt idx="7">
                        <c:v>4.7E-2</c:v>
                      </c:pt>
                      <c:pt idx="8">
                        <c:v>1.383</c:v>
                      </c:pt>
                      <c:pt idx="9">
                        <c:v>-1.331</c:v>
                      </c:pt>
                      <c:pt idx="10">
                        <c:v>-0.74199999999999999</c:v>
                      </c:pt>
                      <c:pt idx="11">
                        <c:v>-0.27800000000000002</c:v>
                      </c:pt>
                      <c:pt idx="12">
                        <c:v>-4.9000000000000002E-2</c:v>
                      </c:pt>
                      <c:pt idx="13">
                        <c:v>0.33200000000000002</c:v>
                      </c:pt>
                      <c:pt idx="14">
                        <c:v>2.758</c:v>
                      </c:pt>
                      <c:pt idx="15">
                        <c:v>0.79900000000000004</c:v>
                      </c:pt>
                      <c:pt idx="16">
                        <c:v>-0.124</c:v>
                      </c:pt>
                      <c:pt idx="17">
                        <c:v>0.48599999999999999</c:v>
                      </c:pt>
                      <c:pt idx="18">
                        <c:v>0.98899999999999999</c:v>
                      </c:pt>
                      <c:pt idx="19">
                        <c:v>0.46800000000000003</c:v>
                      </c:pt>
                      <c:pt idx="20">
                        <c:v>-2.7E-2</c:v>
                      </c:pt>
                      <c:pt idx="21">
                        <c:v>-0.23499999999999999</c:v>
                      </c:pt>
                      <c:pt idx="22">
                        <c:v>2.4969999999999999</c:v>
                      </c:pt>
                      <c:pt idx="23">
                        <c:v>3.2679999999999998</c:v>
                      </c:pt>
                      <c:pt idx="24">
                        <c:v>2.2370000000000001</c:v>
                      </c:pt>
                      <c:pt idx="25">
                        <c:v>2.097</c:v>
                      </c:pt>
                      <c:pt idx="26">
                        <c:v>2.0059999999999998</c:v>
                      </c:pt>
                      <c:pt idx="27">
                        <c:v>2.004</c:v>
                      </c:pt>
                    </c:numCache>
                  </c:numRef>
                </c:val>
                <c:smooth val="0"/>
                <c:extLst xmlns:c15="http://schemas.microsoft.com/office/drawing/2012/chart">
                  <c:ext xmlns:c16="http://schemas.microsoft.com/office/drawing/2014/chart" uri="{C3380CC4-5D6E-409C-BE32-E72D297353CC}">
                    <c16:uniqueId val="{0000001C-628B-4019-988E-D5929A70FB18}"/>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GC Mid-Year Reinsurance Briefing_June 2024_BI Data.xlsx]Slide 2_Inlfation'!$AN$2</c15:sqref>
                        </c15:formulaRef>
                      </c:ext>
                    </c:extLst>
                    <c:strCache>
                      <c:ptCount val="1"/>
                      <c:pt idx="0">
                        <c:v>China</c:v>
                      </c:pt>
                    </c:strCache>
                  </c:strRef>
                </c:tx>
                <c:spPr>
                  <a:ln>
                    <a:solidFill>
                      <a:schemeClr val="bg1">
                        <a:lumMod val="85000"/>
                      </a:schemeClr>
                    </a:solidFill>
                  </a:ln>
                </c:spPr>
                <c:marker>
                  <c:symbol val="none"/>
                </c:marker>
                <c:cat>
                  <c:strRef>
                    <c:extLst xmlns:c15="http://schemas.microsoft.com/office/drawing/2012/chart">
                      <c:ext xmlns:c15="http://schemas.microsoft.com/office/drawing/2012/chart" uri="{02D57815-91ED-43cb-92C2-25804820EDAC}">
                        <c15:formulaRef>
                          <c15:sqref>'[GC Mid-Year Reinsurance Briefing_June 2024_BI Data.xlsx]Slide 2_Inlfation'!$E$15:$E$55</c15:sqref>
                        </c15:formulaRef>
                      </c:ext>
                    </c:extLst>
                    <c:strCache>
                      <c:ptCount val="29"/>
                      <c:pt idx="0">
                        <c:v>198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F</c:v>
                      </c:pt>
                      <c:pt idx="26">
                        <c:v>2025P</c:v>
                      </c:pt>
                      <c:pt idx="27">
                        <c:v>2026P</c:v>
                      </c:pt>
                      <c:pt idx="28">
                        <c:v>2029P</c:v>
                      </c:pt>
                    </c:strCache>
                  </c:strRef>
                </c:cat>
                <c:val>
                  <c:numRef>
                    <c:extLst xmlns:c15="http://schemas.microsoft.com/office/drawing/2012/chart">
                      <c:ext xmlns:c15="http://schemas.microsoft.com/office/drawing/2012/chart" uri="{02D57815-91ED-43cb-92C2-25804820EDAC}">
                        <c15:formulaRef>
                          <c15:sqref>'[GC Mid-Year Reinsurance Briefing_June 2024_BI Data.xlsx]Slide 2_Inlfation'!$AN$16:$AN$55</c15:sqref>
                        </c15:formulaRef>
                      </c:ext>
                    </c:extLst>
                    <c:numCache>
                      <c:formatCode>0.00</c:formatCode>
                      <c:ptCount val="28"/>
                      <c:pt idx="0">
                        <c:v>3.4</c:v>
                      </c:pt>
                      <c:pt idx="1">
                        <c:v>0.72399999999999998</c:v>
                      </c:pt>
                      <c:pt idx="2">
                        <c:v>-0.76900000000000002</c:v>
                      </c:pt>
                      <c:pt idx="3">
                        <c:v>1.163</c:v>
                      </c:pt>
                      <c:pt idx="4">
                        <c:v>3.895</c:v>
                      </c:pt>
                      <c:pt idx="5">
                        <c:v>1.8089999999999999</c:v>
                      </c:pt>
                      <c:pt idx="6">
                        <c:v>1.468</c:v>
                      </c:pt>
                      <c:pt idx="7">
                        <c:v>4.7720000000000002</c:v>
                      </c:pt>
                      <c:pt idx="8">
                        <c:v>5.8440000000000003</c:v>
                      </c:pt>
                      <c:pt idx="9">
                        <c:v>-0.69199999999999995</c:v>
                      </c:pt>
                      <c:pt idx="10">
                        <c:v>3.3290000000000002</c:v>
                      </c:pt>
                      <c:pt idx="11">
                        <c:v>5.4160000000000004</c:v>
                      </c:pt>
                      <c:pt idx="12">
                        <c:v>2.62</c:v>
                      </c:pt>
                      <c:pt idx="13">
                        <c:v>2.6269999999999998</c:v>
                      </c:pt>
                      <c:pt idx="14">
                        <c:v>1.994</c:v>
                      </c:pt>
                      <c:pt idx="15">
                        <c:v>1.4430000000000001</c:v>
                      </c:pt>
                      <c:pt idx="16">
                        <c:v>1.996</c:v>
                      </c:pt>
                      <c:pt idx="17">
                        <c:v>1.579</c:v>
                      </c:pt>
                      <c:pt idx="18">
                        <c:v>2.093</c:v>
                      </c:pt>
                      <c:pt idx="19">
                        <c:v>2.9049999999999998</c:v>
                      </c:pt>
                      <c:pt idx="20">
                        <c:v>2.492</c:v>
                      </c:pt>
                      <c:pt idx="21">
                        <c:v>0.91800000000000004</c:v>
                      </c:pt>
                      <c:pt idx="22">
                        <c:v>1.9750000000000001</c:v>
                      </c:pt>
                      <c:pt idx="23">
                        <c:v>0.22800000000000001</c:v>
                      </c:pt>
                      <c:pt idx="24">
                        <c:v>0.97</c:v>
                      </c:pt>
                      <c:pt idx="25">
                        <c:v>1.9930000000000001</c:v>
                      </c:pt>
                      <c:pt idx="26">
                        <c:v>1.9510000000000001</c:v>
                      </c:pt>
                      <c:pt idx="27">
                        <c:v>1.9510000000000001</c:v>
                      </c:pt>
                    </c:numCache>
                  </c:numRef>
                </c:val>
                <c:smooth val="0"/>
                <c:extLst xmlns:c15="http://schemas.microsoft.com/office/drawing/2012/chart">
                  <c:ext xmlns:c16="http://schemas.microsoft.com/office/drawing/2014/chart" uri="{C3380CC4-5D6E-409C-BE32-E72D297353CC}">
                    <c16:uniqueId val="{0000001D-628B-4019-988E-D5929A70FB18}"/>
                  </c:ext>
                </c:extLst>
              </c15:ser>
            </c15:filteredLineSeries>
          </c:ext>
        </c:extLst>
      </c:lineChart>
      <c:dateAx>
        <c:axId val="1214322256"/>
        <c:scaling>
          <c:orientation val="minMax"/>
        </c:scaling>
        <c:delete val="0"/>
        <c:axPos val="b"/>
        <c:numFmt formatCode="yyyy" sourceLinked="0"/>
        <c:majorTickMark val="out"/>
        <c:minorTickMark val="none"/>
        <c:tickLblPos val="low"/>
        <c:spPr>
          <a:noFill/>
          <a:ln w="9525" cap="flat" cmpd="sng" algn="ctr">
            <a:solidFill>
              <a:schemeClr val="tx1"/>
            </a:solidFill>
            <a:round/>
          </a:ln>
          <a:effectLst/>
        </c:spPr>
        <c:txPr>
          <a:bodyPr rot="0" vert="horz"/>
          <a:lstStyle/>
          <a:p>
            <a:pPr>
              <a:defRPr sz="1200"/>
            </a:pPr>
            <a:endParaRPr lang="en-US"/>
          </a:p>
        </c:txPr>
        <c:crossAx val="1"/>
        <c:crosses val="autoZero"/>
        <c:auto val="0"/>
        <c:lblOffset val="100"/>
        <c:baseTimeUnit val="days"/>
        <c:majorUnit val="3"/>
        <c:majorTimeUnit val="days"/>
        <c:minorUnit val="3"/>
        <c:minorTimeUnit val="days"/>
      </c:dateAx>
      <c:valAx>
        <c:axId val="1"/>
        <c:scaling>
          <c:orientation val="minMax"/>
        </c:scaling>
        <c:delete val="0"/>
        <c:axPos val="l"/>
        <c:majorGridlines>
          <c:spPr>
            <a:ln w="9525" cap="flat" cmpd="sng" algn="ctr">
              <a:solidFill>
                <a:schemeClr val="bg1">
                  <a:lumMod val="95000"/>
                </a:schemeClr>
              </a:solidFill>
              <a:round/>
            </a:ln>
            <a:effectLst/>
          </c:spPr>
        </c:majorGridlines>
        <c:title>
          <c:tx>
            <c:rich>
              <a:bodyPr/>
              <a:lstStyle/>
              <a:p>
                <a:pPr>
                  <a:defRPr sz="1200" b="0"/>
                </a:pPr>
                <a:r>
                  <a:rPr lang="en-GB" sz="1200" b="0" dirty="0"/>
                  <a:t>IPC </a:t>
                </a:r>
                <a:r>
                  <a:rPr lang="en-GB" sz="1200" b="0" dirty="0" err="1"/>
                  <a:t>Anual</a:t>
                </a:r>
                <a:r>
                  <a:rPr lang="en-GB" sz="1200" b="0" dirty="0"/>
                  <a:t> (%)</a:t>
                </a:r>
              </a:p>
            </c:rich>
          </c:tx>
          <c:layout>
            <c:manualLayout>
              <c:xMode val="edge"/>
              <c:yMode val="edge"/>
              <c:x val="1.5042117930204573E-3"/>
              <c:y val="0.40152596443606942"/>
            </c:manualLayout>
          </c:layout>
          <c:overlay val="0"/>
        </c:title>
        <c:numFmt formatCode="0.0" sourceLinked="0"/>
        <c:majorTickMark val="none"/>
        <c:minorTickMark val="none"/>
        <c:tickLblPos val="nextTo"/>
        <c:spPr>
          <a:ln w="6350">
            <a:noFill/>
          </a:ln>
        </c:spPr>
        <c:txPr>
          <a:bodyPr rot="0" vert="horz"/>
          <a:lstStyle/>
          <a:p>
            <a:pPr>
              <a:defRPr sz="1200"/>
            </a:pPr>
            <a:endParaRPr lang="en-US"/>
          </a:p>
        </c:txPr>
        <c:crossAx val="1214322256"/>
        <c:crosses val="autoZero"/>
        <c:crossBetween val="midCat"/>
      </c:valAx>
      <c:spPr>
        <a:noFill/>
        <a:ln w="25400">
          <a:noFill/>
        </a:ln>
      </c:spPr>
    </c:plotArea>
    <c:legend>
      <c:legendPos val="t"/>
      <c:layout>
        <c:manualLayout>
          <c:xMode val="edge"/>
          <c:yMode val="edge"/>
          <c:x val="0.39655763764959434"/>
          <c:y val="0.95011652244093547"/>
          <c:w val="0.21249086892026942"/>
          <c:h val="4.8070848395471863E-2"/>
        </c:manualLayout>
      </c:layout>
      <c:overlay val="0"/>
      <c:spPr>
        <a:solidFill>
          <a:schemeClr val="bg1"/>
        </a:solidFill>
      </c:spPr>
      <c:txPr>
        <a:bodyPr/>
        <a:lstStyle/>
        <a:p>
          <a:pPr>
            <a:defRPr sz="1200">
              <a:solidFill>
                <a:schemeClr val="tx1"/>
              </a:solidFill>
            </a:defRPr>
          </a:pPr>
          <a:endParaRPr lang="en-US"/>
        </a:p>
      </c:txPr>
    </c:legend>
    <c:plotVisOnly val="1"/>
    <c:dispBlanksAs val="gap"/>
    <c:showDLblsOverMax val="0"/>
  </c:chart>
  <c:spPr>
    <a:noFill/>
    <a:ln w="6350">
      <a:noFill/>
    </a:ln>
  </c:spPr>
  <c:txPr>
    <a:bodyPr/>
    <a:lstStyle/>
    <a:p>
      <a:pPr>
        <a:defRPr sz="1000"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94E-48BF-ABE7-7B867C7E0C46}"/>
              </c:ext>
            </c:extLst>
          </c:dPt>
          <c:dPt>
            <c:idx val="2"/>
            <c:invertIfNegative val="0"/>
            <c:bubble3D val="0"/>
            <c:spPr>
              <a:solidFill>
                <a:srgbClr val="00B050"/>
              </a:solidFill>
              <a:ln>
                <a:noFill/>
              </a:ln>
              <a:effectLst/>
            </c:spPr>
            <c:extLst>
              <c:ext xmlns:c16="http://schemas.microsoft.com/office/drawing/2014/chart" uri="{C3380CC4-5D6E-409C-BE32-E72D297353CC}">
                <c16:uniqueId val="{00000003-C94E-48BF-ABE7-7B867C7E0C46}"/>
              </c:ext>
            </c:extLst>
          </c:dPt>
          <c:dPt>
            <c:idx val="3"/>
            <c:invertIfNegative val="0"/>
            <c:bubble3D val="0"/>
            <c:spPr>
              <a:solidFill>
                <a:srgbClr val="00B050"/>
              </a:solidFill>
              <a:ln>
                <a:noFill/>
              </a:ln>
              <a:effectLst/>
            </c:spPr>
            <c:extLst>
              <c:ext xmlns:c16="http://schemas.microsoft.com/office/drawing/2014/chart" uri="{C3380CC4-5D6E-409C-BE32-E72D297353CC}">
                <c16:uniqueId val="{00000005-C94E-48BF-ABE7-7B867C7E0C46}"/>
              </c:ext>
            </c:extLst>
          </c:dPt>
          <c:dPt>
            <c:idx val="4"/>
            <c:invertIfNegative val="0"/>
            <c:bubble3D val="0"/>
            <c:spPr>
              <a:solidFill>
                <a:srgbClr val="00B050"/>
              </a:solidFill>
              <a:ln>
                <a:noFill/>
              </a:ln>
              <a:effectLst/>
            </c:spPr>
            <c:extLst>
              <c:ext xmlns:c16="http://schemas.microsoft.com/office/drawing/2014/chart" uri="{C3380CC4-5D6E-409C-BE32-E72D297353CC}">
                <c16:uniqueId val="{00000007-C94E-48BF-ABE7-7B867C7E0C46}"/>
              </c:ext>
            </c:extLst>
          </c:dPt>
          <c:dPt>
            <c:idx val="6"/>
            <c:invertIfNegative val="0"/>
            <c:bubble3D val="0"/>
            <c:spPr>
              <a:solidFill>
                <a:srgbClr val="00B050"/>
              </a:solidFill>
              <a:ln>
                <a:noFill/>
              </a:ln>
              <a:effectLst/>
            </c:spPr>
            <c:extLst>
              <c:ext xmlns:c16="http://schemas.microsoft.com/office/drawing/2014/chart" uri="{C3380CC4-5D6E-409C-BE32-E72D297353CC}">
                <c16:uniqueId val="{00000009-C94E-48BF-ABE7-7B867C7E0C46}"/>
              </c:ext>
            </c:extLst>
          </c:dPt>
          <c:dPt>
            <c:idx val="7"/>
            <c:invertIfNegative val="0"/>
            <c:bubble3D val="0"/>
            <c:spPr>
              <a:solidFill>
                <a:srgbClr val="00B050"/>
              </a:solidFill>
              <a:ln>
                <a:noFill/>
              </a:ln>
              <a:effectLst/>
            </c:spPr>
            <c:extLst>
              <c:ext xmlns:c16="http://schemas.microsoft.com/office/drawing/2014/chart" uri="{C3380CC4-5D6E-409C-BE32-E72D297353CC}">
                <c16:uniqueId val="{0000000B-C94E-48BF-ABE7-7B867C7E0C46}"/>
              </c:ext>
            </c:extLst>
          </c:dPt>
          <c:dPt>
            <c:idx val="8"/>
            <c:invertIfNegative val="0"/>
            <c:bubble3D val="0"/>
            <c:spPr>
              <a:solidFill>
                <a:srgbClr val="00B050"/>
              </a:solidFill>
              <a:ln>
                <a:noFill/>
              </a:ln>
              <a:effectLst/>
            </c:spPr>
            <c:extLst>
              <c:ext xmlns:c16="http://schemas.microsoft.com/office/drawing/2014/chart" uri="{C3380CC4-5D6E-409C-BE32-E72D297353CC}">
                <c16:uniqueId val="{0000000D-C94E-48BF-ABE7-7B867C7E0C46}"/>
              </c:ext>
            </c:extLst>
          </c:dPt>
          <c:dPt>
            <c:idx val="9"/>
            <c:invertIfNegative val="0"/>
            <c:bubble3D val="0"/>
            <c:spPr>
              <a:solidFill>
                <a:srgbClr val="00B050"/>
              </a:solidFill>
              <a:ln>
                <a:noFill/>
              </a:ln>
              <a:effectLst/>
            </c:spPr>
            <c:extLst>
              <c:ext xmlns:c16="http://schemas.microsoft.com/office/drawing/2014/chart" uri="{C3380CC4-5D6E-409C-BE32-E72D297353CC}">
                <c16:uniqueId val="{0000000F-C94E-48BF-ABE7-7B867C7E0C46}"/>
              </c:ext>
            </c:extLst>
          </c:dPt>
          <c:dLbls>
            <c:numFmt formatCode="#,##0.0\ ;\(#,##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 for waterfall'!$G$4:$P$4</c:f>
              <c:strCache>
                <c:ptCount val="10"/>
                <c:pt idx="0">
                  <c:v>2017A</c:v>
                </c:pt>
                <c:pt idx="1">
                  <c:v>2018A</c:v>
                </c:pt>
                <c:pt idx="2">
                  <c:v>2019A</c:v>
                </c:pt>
                <c:pt idx="3">
                  <c:v>2020A</c:v>
                </c:pt>
                <c:pt idx="4">
                  <c:v>2021A</c:v>
                </c:pt>
                <c:pt idx="5">
                  <c:v>2022A</c:v>
                </c:pt>
                <c:pt idx="6">
                  <c:v>2023A</c:v>
                </c:pt>
                <c:pt idx="7">
                  <c:v>2024E</c:v>
                </c:pt>
                <c:pt idx="8">
                  <c:v>2025E</c:v>
                </c:pt>
                <c:pt idx="9">
                  <c:v>2026E</c:v>
                </c:pt>
              </c:strCache>
            </c:strRef>
          </c:cat>
          <c:val>
            <c:numRef>
              <c:f>'SHE for waterfall'!$G$32:$P$32</c:f>
              <c:numCache>
                <c:formatCode>_-* #,##0_-;\-* #,##0_-;_-* "-"??_-;_-@_-</c:formatCode>
                <c:ptCount val="10"/>
                <c:pt idx="0">
                  <c:v>1449.1996673333051</c:v>
                </c:pt>
                <c:pt idx="1">
                  <c:v>-8485.4435933333298</c:v>
                </c:pt>
                <c:pt idx="2">
                  <c:v>15054.949800000002</c:v>
                </c:pt>
                <c:pt idx="3">
                  <c:v>9040.9516967099917</c:v>
                </c:pt>
                <c:pt idx="4">
                  <c:v>373.20772250852315</c:v>
                </c:pt>
                <c:pt idx="5">
                  <c:v>-24118.882099218492</c:v>
                </c:pt>
                <c:pt idx="6">
                  <c:v>36273.582999999984</c:v>
                </c:pt>
                <c:pt idx="7">
                  <c:v>23769.470070158568</c:v>
                </c:pt>
                <c:pt idx="8">
                  <c:v>23058.660088273493</c:v>
                </c:pt>
                <c:pt idx="9">
                  <c:v>23987.647133869643</c:v>
                </c:pt>
              </c:numCache>
            </c:numRef>
          </c:val>
          <c:extLst>
            <c:ext xmlns:c16="http://schemas.microsoft.com/office/drawing/2014/chart" uri="{C3380CC4-5D6E-409C-BE32-E72D297353CC}">
              <c16:uniqueId val="{00000010-C94E-48BF-ABE7-7B867C7E0C46}"/>
            </c:ext>
          </c:extLst>
        </c:ser>
        <c:dLbls>
          <c:showLegendKey val="0"/>
          <c:showVal val="0"/>
          <c:showCatName val="0"/>
          <c:showSerName val="0"/>
          <c:showPercent val="0"/>
          <c:showBubbleSize val="0"/>
        </c:dLbls>
        <c:gapWidth val="100"/>
        <c:overlap val="-27"/>
        <c:axId val="2037109375"/>
        <c:axId val="2037109855"/>
      </c:barChart>
      <c:catAx>
        <c:axId val="203710937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37109855"/>
        <c:crosses val="autoZero"/>
        <c:auto val="1"/>
        <c:lblAlgn val="ctr"/>
        <c:lblOffset val="100"/>
        <c:noMultiLvlLbl val="0"/>
      </c:catAx>
      <c:valAx>
        <c:axId val="2037109855"/>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GB" dirty="0"/>
                  <a:t>Mil </a:t>
                </a:r>
                <a:r>
                  <a:rPr lang="en-GB" dirty="0" err="1"/>
                  <a:t>millones</a:t>
                </a:r>
                <a:r>
                  <a:rPr lang="en-GB" dirty="0"/>
                  <a:t> USD</a:t>
                </a:r>
              </a:p>
            </c:rich>
          </c:tx>
          <c:layout>
            <c:manualLayout>
              <c:xMode val="edge"/>
              <c:yMode val="edge"/>
              <c:x val="0"/>
              <c:y val="0.38565440412033231"/>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0\ ;\(#,##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37109375"/>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cs"/>
              </a:defRPr>
            </a:pPr>
            <a:r>
              <a:rPr lang="en-GB" sz="1200" b="1">
                <a:solidFill>
                  <a:schemeClr val="tx1"/>
                </a:solidFill>
              </a:rPr>
              <a:t>2024</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093937974407568"/>
          <c:y val="8.5033146414654467E-2"/>
          <c:w val="0.68938745683918168"/>
          <c:h val="0.65582227868257437"/>
        </c:manualLayout>
      </c:layout>
      <c:barChart>
        <c:barDir val="bar"/>
        <c:grouping val="stacked"/>
        <c:varyColors val="0"/>
        <c:ser>
          <c:idx val="0"/>
          <c:order val="0"/>
          <c:tx>
            <c:strRef>
              <c:f>'24 peril-expo'!$M$3</c:f>
              <c:strCache>
                <c:ptCount val="1"/>
                <c:pt idx="0">
                  <c:v>Severe Thunderstorm</c:v>
                </c:pt>
              </c:strCache>
            </c:strRef>
          </c:tx>
          <c:spPr>
            <a:solidFill>
              <a:schemeClr val="accent1"/>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M$4:$M$11</c:f>
              <c:numCache>
                <c:formatCode>General</c:formatCode>
                <c:ptCount val="8"/>
                <c:pt idx="0">
                  <c:v>69</c:v>
                </c:pt>
                <c:pt idx="1">
                  <c:v>9</c:v>
                </c:pt>
                <c:pt idx="2">
                  <c:v>25</c:v>
                </c:pt>
                <c:pt idx="3">
                  <c:v>6</c:v>
                </c:pt>
                <c:pt idx="4">
                  <c:v>1</c:v>
                </c:pt>
                <c:pt idx="5">
                  <c:v>2</c:v>
                </c:pt>
                <c:pt idx="6">
                  <c:v>1</c:v>
                </c:pt>
                <c:pt idx="7">
                  <c:v>6</c:v>
                </c:pt>
              </c:numCache>
            </c:numRef>
          </c:val>
          <c:extLst>
            <c:ext xmlns:c16="http://schemas.microsoft.com/office/drawing/2014/chart" uri="{C3380CC4-5D6E-409C-BE32-E72D297353CC}">
              <c16:uniqueId val="{00000000-7858-46FE-8F51-A6964A3C60B7}"/>
            </c:ext>
          </c:extLst>
        </c:ser>
        <c:ser>
          <c:idx val="1"/>
          <c:order val="1"/>
          <c:tx>
            <c:strRef>
              <c:f>'24 peril-expo'!$N$3</c:f>
              <c:strCache>
                <c:ptCount val="1"/>
                <c:pt idx="0">
                  <c:v>Wildfire</c:v>
                </c:pt>
              </c:strCache>
            </c:strRef>
          </c:tx>
          <c:spPr>
            <a:solidFill>
              <a:schemeClr val="accent2"/>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N$4:$N$11</c:f>
              <c:numCache>
                <c:formatCode>General</c:formatCode>
                <c:ptCount val="8"/>
                <c:pt idx="0">
                  <c:v>53</c:v>
                </c:pt>
                <c:pt idx="1">
                  <c:v>14</c:v>
                </c:pt>
                <c:pt idx="2">
                  <c:v>12</c:v>
                </c:pt>
                <c:pt idx="3">
                  <c:v>8</c:v>
                </c:pt>
                <c:pt idx="4">
                  <c:v>3</c:v>
                </c:pt>
                <c:pt idx="5">
                  <c:v>1</c:v>
                </c:pt>
                <c:pt idx="6">
                  <c:v>1</c:v>
                </c:pt>
                <c:pt idx="7">
                  <c:v>5</c:v>
                </c:pt>
              </c:numCache>
            </c:numRef>
          </c:val>
          <c:extLst>
            <c:ext xmlns:c16="http://schemas.microsoft.com/office/drawing/2014/chart" uri="{C3380CC4-5D6E-409C-BE32-E72D297353CC}">
              <c16:uniqueId val="{00000001-7858-46FE-8F51-A6964A3C60B7}"/>
            </c:ext>
          </c:extLst>
        </c:ser>
        <c:ser>
          <c:idx val="2"/>
          <c:order val="2"/>
          <c:tx>
            <c:strRef>
              <c:f>'24 peril-expo'!$O$3</c:f>
              <c:strCache>
                <c:ptCount val="1"/>
                <c:pt idx="0">
                  <c:v>Hurricane/Typhoon</c:v>
                </c:pt>
              </c:strCache>
            </c:strRef>
          </c:tx>
          <c:spPr>
            <a:solidFill>
              <a:schemeClr val="accent3"/>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O$4:$O$11</c:f>
              <c:numCache>
                <c:formatCode>General</c:formatCode>
                <c:ptCount val="8"/>
                <c:pt idx="0">
                  <c:v>41</c:v>
                </c:pt>
                <c:pt idx="1">
                  <c:v>4</c:v>
                </c:pt>
                <c:pt idx="2">
                  <c:v>7</c:v>
                </c:pt>
                <c:pt idx="3">
                  <c:v>20</c:v>
                </c:pt>
                <c:pt idx="4">
                  <c:v>12</c:v>
                </c:pt>
                <c:pt idx="5">
                  <c:v>0</c:v>
                </c:pt>
                <c:pt idx="6">
                  <c:v>1</c:v>
                </c:pt>
                <c:pt idx="7">
                  <c:v>9</c:v>
                </c:pt>
              </c:numCache>
            </c:numRef>
          </c:val>
          <c:extLst>
            <c:ext xmlns:c16="http://schemas.microsoft.com/office/drawing/2014/chart" uri="{C3380CC4-5D6E-409C-BE32-E72D297353CC}">
              <c16:uniqueId val="{00000002-7858-46FE-8F51-A6964A3C60B7}"/>
            </c:ext>
          </c:extLst>
        </c:ser>
        <c:ser>
          <c:idx val="3"/>
          <c:order val="3"/>
          <c:tx>
            <c:strRef>
              <c:f>'24 peril-expo'!$P$3</c:f>
              <c:strCache>
                <c:ptCount val="1"/>
                <c:pt idx="0">
                  <c:v>Inland Flood</c:v>
                </c:pt>
              </c:strCache>
            </c:strRef>
          </c:tx>
          <c:spPr>
            <a:solidFill>
              <a:schemeClr val="accent4"/>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P$4:$P$11</c:f>
              <c:numCache>
                <c:formatCode>General</c:formatCode>
                <c:ptCount val="8"/>
                <c:pt idx="0">
                  <c:v>24</c:v>
                </c:pt>
                <c:pt idx="1">
                  <c:v>4</c:v>
                </c:pt>
                <c:pt idx="2">
                  <c:v>53</c:v>
                </c:pt>
                <c:pt idx="3">
                  <c:v>25</c:v>
                </c:pt>
                <c:pt idx="4">
                  <c:v>4</c:v>
                </c:pt>
                <c:pt idx="5">
                  <c:v>4</c:v>
                </c:pt>
                <c:pt idx="6">
                  <c:v>1</c:v>
                </c:pt>
                <c:pt idx="7">
                  <c:v>3</c:v>
                </c:pt>
              </c:numCache>
            </c:numRef>
          </c:val>
          <c:extLst>
            <c:ext xmlns:c16="http://schemas.microsoft.com/office/drawing/2014/chart" uri="{C3380CC4-5D6E-409C-BE32-E72D297353CC}">
              <c16:uniqueId val="{00000003-7858-46FE-8F51-A6964A3C60B7}"/>
            </c:ext>
          </c:extLst>
        </c:ser>
        <c:ser>
          <c:idx val="4"/>
          <c:order val="4"/>
          <c:tx>
            <c:strRef>
              <c:f>'24 peril-expo'!$Q$3</c:f>
              <c:strCache>
                <c:ptCount val="1"/>
                <c:pt idx="0">
                  <c:v>Storm Surge</c:v>
                </c:pt>
              </c:strCache>
            </c:strRef>
          </c:tx>
          <c:spPr>
            <a:solidFill>
              <a:schemeClr val="accent6"/>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Q$4:$Q$11</c:f>
              <c:numCache>
                <c:formatCode>General</c:formatCode>
                <c:ptCount val="8"/>
                <c:pt idx="0">
                  <c:v>23</c:v>
                </c:pt>
                <c:pt idx="1">
                  <c:v>3</c:v>
                </c:pt>
                <c:pt idx="2">
                  <c:v>7</c:v>
                </c:pt>
                <c:pt idx="3">
                  <c:v>7</c:v>
                </c:pt>
                <c:pt idx="4">
                  <c:v>4</c:v>
                </c:pt>
                <c:pt idx="5">
                  <c:v>1</c:v>
                </c:pt>
                <c:pt idx="6">
                  <c:v>1</c:v>
                </c:pt>
                <c:pt idx="7">
                  <c:v>6</c:v>
                </c:pt>
              </c:numCache>
            </c:numRef>
          </c:val>
          <c:extLst>
            <c:ext xmlns:c16="http://schemas.microsoft.com/office/drawing/2014/chart" uri="{C3380CC4-5D6E-409C-BE32-E72D297353CC}">
              <c16:uniqueId val="{00000004-7858-46FE-8F51-A6964A3C60B7}"/>
            </c:ext>
          </c:extLst>
        </c:ser>
        <c:ser>
          <c:idx val="5"/>
          <c:order val="5"/>
          <c:tx>
            <c:strRef>
              <c:f>'24 peril-expo'!$R$3</c:f>
              <c:strCache>
                <c:ptCount val="1"/>
                <c:pt idx="0">
                  <c:v>Winterstorm</c:v>
                </c:pt>
              </c:strCache>
            </c:strRef>
          </c:tx>
          <c:spPr>
            <a:solidFill>
              <a:srgbClr val="8246AF"/>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R$4:$R$11</c:f>
              <c:numCache>
                <c:formatCode>General</c:formatCode>
                <c:ptCount val="8"/>
                <c:pt idx="0">
                  <c:v>18</c:v>
                </c:pt>
                <c:pt idx="1">
                  <c:v>3</c:v>
                </c:pt>
                <c:pt idx="2">
                  <c:v>7</c:v>
                </c:pt>
                <c:pt idx="3">
                  <c:v>1</c:v>
                </c:pt>
                <c:pt idx="4">
                  <c:v>2</c:v>
                </c:pt>
                <c:pt idx="5">
                  <c:v>0</c:v>
                </c:pt>
                <c:pt idx="6">
                  <c:v>1</c:v>
                </c:pt>
                <c:pt idx="7">
                  <c:v>4</c:v>
                </c:pt>
              </c:numCache>
            </c:numRef>
          </c:val>
          <c:extLst>
            <c:ext xmlns:c16="http://schemas.microsoft.com/office/drawing/2014/chart" uri="{C3380CC4-5D6E-409C-BE32-E72D297353CC}">
              <c16:uniqueId val="{00000005-7858-46FE-8F51-A6964A3C60B7}"/>
            </c:ext>
          </c:extLst>
        </c:ser>
        <c:ser>
          <c:idx val="6"/>
          <c:order val="6"/>
          <c:tx>
            <c:strRef>
              <c:f>'24 peril-expo'!$S$3</c:f>
              <c:strCache>
                <c:ptCount val="1"/>
                <c:pt idx="0">
                  <c:v>European Windstorm</c:v>
                </c:pt>
              </c:strCache>
            </c:strRef>
          </c:tx>
          <c:spPr>
            <a:solidFill>
              <a:srgbClr val="FF8C00"/>
            </a:solidFill>
            <a:ln>
              <a:noFill/>
            </a:ln>
            <a:effectLst/>
          </c:spPr>
          <c:invertIfNegative val="0"/>
          <c:cat>
            <c:strRef>
              <c:f>'24 peril-expo'!$L$4:$L$11</c:f>
              <c:strCache>
                <c:ptCount val="8"/>
                <c:pt idx="0">
                  <c:v>United States</c:v>
                </c:pt>
                <c:pt idx="1">
                  <c:v>Canada</c:v>
                </c:pt>
                <c:pt idx="2">
                  <c:v>Europe</c:v>
                </c:pt>
                <c:pt idx="3">
                  <c:v>Asia Pacific</c:v>
                </c:pt>
                <c:pt idx="4">
                  <c:v>Latin America and Carribean</c:v>
                </c:pt>
                <c:pt idx="5">
                  <c:v>India, Middel East, and Africa</c:v>
                </c:pt>
                <c:pt idx="6">
                  <c:v>UK and London market</c:v>
                </c:pt>
                <c:pt idx="7">
                  <c:v>Global Specialties</c:v>
                </c:pt>
              </c:strCache>
            </c:strRef>
          </c:cat>
          <c:val>
            <c:numRef>
              <c:f>'24 peril-expo'!$S$4:$S$11</c:f>
              <c:numCache>
                <c:formatCode>General</c:formatCode>
                <c:ptCount val="8"/>
                <c:pt idx="0">
                  <c:v>5</c:v>
                </c:pt>
                <c:pt idx="1">
                  <c:v>2</c:v>
                </c:pt>
                <c:pt idx="2">
                  <c:v>20</c:v>
                </c:pt>
                <c:pt idx="3">
                  <c:v>0</c:v>
                </c:pt>
                <c:pt idx="4">
                  <c:v>0</c:v>
                </c:pt>
                <c:pt idx="5">
                  <c:v>0</c:v>
                </c:pt>
                <c:pt idx="6">
                  <c:v>0</c:v>
                </c:pt>
                <c:pt idx="7">
                  <c:v>3</c:v>
                </c:pt>
              </c:numCache>
            </c:numRef>
          </c:val>
          <c:extLst>
            <c:ext xmlns:c16="http://schemas.microsoft.com/office/drawing/2014/chart" uri="{C3380CC4-5D6E-409C-BE32-E72D297353CC}">
              <c16:uniqueId val="{00000006-7858-46FE-8F51-A6964A3C60B7}"/>
            </c:ext>
          </c:extLst>
        </c:ser>
        <c:dLbls>
          <c:showLegendKey val="0"/>
          <c:showVal val="0"/>
          <c:showCatName val="0"/>
          <c:showSerName val="0"/>
          <c:showPercent val="0"/>
          <c:showBubbleSize val="0"/>
        </c:dLbls>
        <c:gapWidth val="150"/>
        <c:overlap val="100"/>
        <c:axId val="53993983"/>
        <c:axId val="53971519"/>
      </c:barChart>
      <c:catAx>
        <c:axId val="5399398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3971519"/>
        <c:crosses val="autoZero"/>
        <c:auto val="1"/>
        <c:lblAlgn val="ctr"/>
        <c:lblOffset val="100"/>
        <c:noMultiLvlLbl val="0"/>
      </c:catAx>
      <c:valAx>
        <c:axId val="53971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dirty="0" err="1">
                    <a:solidFill>
                      <a:schemeClr val="tx1"/>
                    </a:solidFill>
                    <a:latin typeface="+mn-lt"/>
                  </a:rPr>
                  <a:t>N</a:t>
                </a:r>
                <a:r>
                  <a:rPr lang="en-US" sz="1200" dirty="0" err="1">
                    <a:solidFill>
                      <a:schemeClr val="tx1"/>
                    </a:solidFill>
                    <a:latin typeface="+mn-lt"/>
                    <a:cs typeface="Times New Roman" panose="02020603050405020304" pitchFamily="18" charset="0"/>
                  </a:rPr>
                  <a:t>úmero</a:t>
                </a:r>
                <a:r>
                  <a:rPr lang="en-US" sz="1200" baseline="0" dirty="0">
                    <a:solidFill>
                      <a:schemeClr val="tx1"/>
                    </a:solidFill>
                    <a:latin typeface="+mn-lt"/>
                    <a:cs typeface="Times New Roman" panose="02020603050405020304" pitchFamily="18" charset="0"/>
                  </a:rPr>
                  <a:t> de </a:t>
                </a:r>
                <a:r>
                  <a:rPr lang="en-US" sz="1200" baseline="0" dirty="0" err="1">
                    <a:solidFill>
                      <a:schemeClr val="tx1"/>
                    </a:solidFill>
                    <a:latin typeface="+mn-lt"/>
                    <a:cs typeface="Times New Roman" panose="02020603050405020304" pitchFamily="18" charset="0"/>
                  </a:rPr>
                  <a:t>respuestas</a:t>
                </a:r>
                <a:endParaRPr lang="en-US" sz="1200" dirty="0">
                  <a:solidFill>
                    <a:schemeClr val="tx1"/>
                  </a:solidFill>
                  <a:latin typeface="+mn-lt"/>
                </a:endParaRPr>
              </a:p>
            </c:rich>
          </c:tx>
          <c:layout>
            <c:manualLayout>
              <c:xMode val="edge"/>
              <c:yMode val="edge"/>
              <c:x val="0.41489091312536797"/>
              <c:y val="0.813671080721391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3993983"/>
        <c:crosses val="autoZero"/>
        <c:crossBetween val="between"/>
      </c:valAx>
      <c:spPr>
        <a:noFill/>
        <a:ln>
          <a:noFill/>
        </a:ln>
        <a:effectLst/>
      </c:spPr>
    </c:plotArea>
    <c:legend>
      <c:legendPos val="b"/>
      <c:layout>
        <c:manualLayout>
          <c:xMode val="edge"/>
          <c:yMode val="edge"/>
          <c:x val="9.0165109936246754E-2"/>
          <c:y val="0.8789208397241508"/>
          <c:w val="0.88688377117089034"/>
          <c:h val="0.1195151174544446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7003</cdr:x>
      <cdr:y>0.60914</cdr:y>
    </cdr:from>
    <cdr:to>
      <cdr:x>0.2631</cdr:x>
      <cdr:y>0.70622</cdr:y>
    </cdr:to>
    <cdr:sp macro="" textlink="">
      <cdr:nvSpPr>
        <cdr:cNvPr id="2" name="TextBox 3">
          <a:extLst xmlns:a="http://schemas.openxmlformats.org/drawingml/2006/main">
            <a:ext uri="{FF2B5EF4-FFF2-40B4-BE49-F238E27FC236}">
              <a16:creationId xmlns:a16="http://schemas.microsoft.com/office/drawing/2014/main" id="{605E7996-0726-6D12-C2C1-31D6F073F505}"/>
            </a:ext>
          </a:extLst>
        </cdr:cNvPr>
        <cdr:cNvSpPr txBox="1"/>
      </cdr:nvSpPr>
      <cdr:spPr>
        <a:xfrm xmlns:a="http://schemas.openxmlformats.org/drawingml/2006/main">
          <a:off x="787497" y="2607043"/>
          <a:ext cx="2171121" cy="415498"/>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tIns="0" rIns="0" bIns="0" rtlCol="0">
          <a:spAutoFit/>
        </a:bodyPr>
        <a:lstStyle xmlns:a="http://schemas.openxmlformats.org/drawingml/2006/main">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r"/>
          <a:r>
            <a:rPr lang="es-CO" sz="1200" dirty="0"/>
            <a:t>Catastrófico</a:t>
          </a:r>
        </a:p>
        <a:p xmlns:a="http://schemas.openxmlformats.org/drawingml/2006/main">
          <a:pPr algn="r"/>
          <a:endParaRPr lang="es-CO" sz="300" dirty="0"/>
        </a:p>
        <a:p xmlns:a="http://schemas.openxmlformats.org/drawingml/2006/main">
          <a:pPr algn="r"/>
          <a:r>
            <a:rPr lang="es-CO" sz="1200" dirty="0"/>
            <a:t>Combinado Cat / Por Riesgo</a:t>
          </a:r>
        </a:p>
      </cdr:txBody>
    </cdr:sp>
  </cdr:relSizeAnchor>
</c:userShapes>
</file>

<file path=ppt/drawings/drawing2.xml><?xml version="1.0" encoding="utf-8"?>
<c:userShapes xmlns:c="http://schemas.openxmlformats.org/drawingml/2006/chart">
  <cdr:relSizeAnchor xmlns:cdr="http://schemas.openxmlformats.org/drawingml/2006/chartDrawing">
    <cdr:from>
      <cdr:x>0.03479</cdr:x>
      <cdr:y>0.81174</cdr:y>
    </cdr:from>
    <cdr:to>
      <cdr:x>0.12654</cdr:x>
      <cdr:y>0.84857</cdr:y>
    </cdr:to>
    <cdr:sp macro="" textlink="">
      <cdr:nvSpPr>
        <cdr:cNvPr id="2" name="TextBox 1">
          <a:extLst xmlns:a="http://schemas.openxmlformats.org/drawingml/2006/main">
            <a:ext uri="{FF2B5EF4-FFF2-40B4-BE49-F238E27FC236}">
              <a16:creationId xmlns:a16="http://schemas.microsoft.com/office/drawing/2014/main" id="{41090B68-4018-A0D3-E5AC-7FD8CDF0DE4D}"/>
            </a:ext>
          </a:extLst>
        </cdr:cNvPr>
        <cdr:cNvSpPr txBox="1"/>
      </cdr:nvSpPr>
      <cdr:spPr>
        <a:xfrm xmlns:a="http://schemas.openxmlformats.org/drawingml/2006/main">
          <a:off x="390525" y="4069518"/>
          <a:ext cx="1029767" cy="18464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GB" sz="1200" dirty="0"/>
            <a:t>Cambio*</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21/08/2024</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21/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88592D-D948-4097-8DFA-13323059B7D8}" type="slidenum">
              <a:rPr lang="en-US" smtClean="0"/>
              <a:t>1</a:t>
            </a:fld>
            <a:endParaRPr lang="en-US"/>
          </a:p>
        </p:txBody>
      </p:sp>
    </p:spTree>
    <p:extLst>
      <p:ext uri="{BB962C8B-B14F-4D97-AF65-F5344CB8AC3E}">
        <p14:creationId xmlns:p14="http://schemas.microsoft.com/office/powerpoint/2010/main" val="448877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EA88592D-D948-4097-8DFA-13323059B7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452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7103BD-7701-48DF-80EF-9E6A00808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913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799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FEE0B5B7-844A-4F0A-B9EF-82F847465A1E}"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113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sz="1200">
              <a:solidFill>
                <a:srgbClr val="FF8C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9876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9291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88592D-D948-4097-8DFA-13323059B7D8}" type="slidenum">
              <a:rPr lang="en-US" smtClean="0"/>
              <a:t>15</a:t>
            </a:fld>
            <a:endParaRPr lang="en-US"/>
          </a:p>
        </p:txBody>
      </p:sp>
    </p:spTree>
    <p:extLst>
      <p:ext uri="{BB962C8B-B14F-4D97-AF65-F5344CB8AC3E}">
        <p14:creationId xmlns:p14="http://schemas.microsoft.com/office/powerpoint/2010/main" val="1244347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829688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7.xml"/><Relationship Id="rId7" Type="http://schemas.openxmlformats.org/officeDocument/2006/relationships/customXml" Target="../../customXml/item67.xml"/><Relationship Id="rId2" Type="http://schemas.openxmlformats.org/officeDocument/2006/relationships/customXml" Target="../../customXml/item18.xml"/><Relationship Id="rId1" Type="http://schemas.openxmlformats.org/officeDocument/2006/relationships/customXml" Target="../../customXml/item34.xml"/><Relationship Id="rId6" Type="http://schemas.openxmlformats.org/officeDocument/2006/relationships/customXml" Target="../../customXml/item44.xml"/><Relationship Id="rId11" Type="http://schemas.openxmlformats.org/officeDocument/2006/relationships/image" Target="../media/image5.png"/><Relationship Id="rId5" Type="http://schemas.openxmlformats.org/officeDocument/2006/relationships/customXml" Target="../../customXml/item75.xml"/><Relationship Id="rId10" Type="http://schemas.openxmlformats.org/officeDocument/2006/relationships/image" Target="../media/image4.png"/><Relationship Id="rId4" Type="http://schemas.openxmlformats.org/officeDocument/2006/relationships/customXml" Target="../../customXml/item5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13.xml"/><Relationship Id="rId7" Type="http://schemas.openxmlformats.org/officeDocument/2006/relationships/slideMaster" Target="../slideMasters/slideMaster1.xml"/><Relationship Id="rId2" Type="http://schemas.openxmlformats.org/officeDocument/2006/relationships/customXml" Target="../../customXml/item66.xml"/><Relationship Id="rId1" Type="http://schemas.openxmlformats.org/officeDocument/2006/relationships/customXml" Target="../../customXml/item9.xml"/><Relationship Id="rId6" Type="http://schemas.openxmlformats.org/officeDocument/2006/relationships/customXml" Target="../../customXml/item63.xml"/><Relationship Id="rId5" Type="http://schemas.openxmlformats.org/officeDocument/2006/relationships/customXml" Target="../../customXml/item82.xml"/><Relationship Id="rId10" Type="http://schemas.openxmlformats.org/officeDocument/2006/relationships/image" Target="../media/image5.png"/><Relationship Id="rId4" Type="http://schemas.openxmlformats.org/officeDocument/2006/relationships/customXml" Target="../../customXml/item28.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26.xml"/><Relationship Id="rId1" Type="http://schemas.openxmlformats.org/officeDocument/2006/relationships/customXml" Target="../../customXml/item65.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30.xml"/><Relationship Id="rId2" Type="http://schemas.openxmlformats.org/officeDocument/2006/relationships/customXml" Target="../../customXml/item23.xml"/><Relationship Id="rId1" Type="http://schemas.openxmlformats.org/officeDocument/2006/relationships/customXml" Target="../../customXml/item25.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2.xml"/><Relationship Id="rId1" Type="http://schemas.openxmlformats.org/officeDocument/2006/relationships/customXml" Target="../../customXml/item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49.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10.xml"/><Relationship Id="rId2" Type="http://schemas.openxmlformats.org/officeDocument/2006/relationships/customXml" Target="../../customXml/item64.xml"/><Relationship Id="rId1" Type="http://schemas.openxmlformats.org/officeDocument/2006/relationships/customXml" Target="../../customXml/item81.xml"/><Relationship Id="rId5" Type="http://schemas.openxmlformats.org/officeDocument/2006/relationships/slideMaster" Target="../slideMasters/slideMaster1.xml"/><Relationship Id="rId4" Type="http://schemas.openxmlformats.org/officeDocument/2006/relationships/customXml" Target="../../customXml/item4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3.xml"/><Relationship Id="rId2" Type="http://schemas.openxmlformats.org/officeDocument/2006/relationships/customXml" Target="../../customXml/item24.xml"/><Relationship Id="rId1" Type="http://schemas.openxmlformats.org/officeDocument/2006/relationships/customXml" Target="../../customXml/item71.xml"/><Relationship Id="rId6" Type="http://schemas.openxmlformats.org/officeDocument/2006/relationships/slideMaster" Target="../slideMasters/slideMaster1.xml"/><Relationship Id="rId5" Type="http://schemas.openxmlformats.org/officeDocument/2006/relationships/customXml" Target="../../customXml/item77.xml"/><Relationship Id="rId4" Type="http://schemas.openxmlformats.org/officeDocument/2006/relationships/customXml" Target="../../customXml/item57.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37.xml"/><Relationship Id="rId7" Type="http://schemas.openxmlformats.org/officeDocument/2006/relationships/slideMaster" Target="../slideMasters/slideMaster1.xml"/><Relationship Id="rId2" Type="http://schemas.openxmlformats.org/officeDocument/2006/relationships/customXml" Target="../../customXml/item62.xml"/><Relationship Id="rId1" Type="http://schemas.openxmlformats.org/officeDocument/2006/relationships/customXml" Target="../../customXml/item39.xml"/><Relationship Id="rId6" Type="http://schemas.openxmlformats.org/officeDocument/2006/relationships/customXml" Target="../../customXml/item29.xml"/><Relationship Id="rId5" Type="http://schemas.openxmlformats.org/officeDocument/2006/relationships/customXml" Target="../../customXml/item21.xml"/><Relationship Id="rId4" Type="http://schemas.openxmlformats.org/officeDocument/2006/relationships/customXml" Target="../../customXml/item80.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60.xml"/><Relationship Id="rId2" Type="http://schemas.openxmlformats.org/officeDocument/2006/relationships/customXml" Target="../../customXml/item48.xml"/><Relationship Id="rId1" Type="http://schemas.openxmlformats.org/officeDocument/2006/relationships/customXml" Target="../../customXml/item53.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72.xml"/><Relationship Id="rId2" Type="http://schemas.openxmlformats.org/officeDocument/2006/relationships/customXml" Target="../../customXml/item17.xml"/><Relationship Id="rId1" Type="http://schemas.openxmlformats.org/officeDocument/2006/relationships/customXml" Target="../../customXml/item22.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63CEFE4-20D0-58BD-2515-5EBAEA56A78A}"/>
              </a:ext>
            </a:extLst>
          </p:cNvPr>
          <p:cNvPicPr>
            <a:picLocks noChangeAspect="1"/>
          </p:cNvPicPr>
          <p:nvPr userDrawn="1"/>
        </p:nvPicPr>
        <p:blipFill>
          <a:blip r:embed="rId9"/>
          <a:srcRect/>
          <a:stretch/>
        </p:blipFill>
        <p:spPr>
          <a:xfrm>
            <a:off x="0" y="0"/>
            <a:ext cx="12192000" cy="6857999"/>
          </a:xfrm>
          <a:prstGeom prst="rect">
            <a:avLst/>
          </a:prstGeom>
        </p:spPr>
      </p:pic>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US"/>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US" sz="1000">
                <a:solidFill>
                  <a:schemeClr val="lt1"/>
                </a:solidFill>
                <a:effectLst/>
                <a:latin typeface="Arial" panose="020B0604020202020204" pitchFamily="34" charset="0"/>
              </a:rPr>
              <a:t>A business of Marsh McLennan</a:t>
            </a:r>
            <a:endParaRPr lang="en-US" sz="100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a:solidFill>
                <a:schemeClr val="accent1"/>
              </a:solidFill>
            </a:endParaRPr>
          </a:p>
        </p:txBody>
      </p:sp>
      <p:pic>
        <p:nvPicPr>
          <p:cNvPr id="7" name="CoverMainLogo_WHITE" descr="The Guy Carpenter company logo.">
            <a:extLst>
              <a:ext uri="{FF2B5EF4-FFF2-40B4-BE49-F238E27FC236}">
                <a16:creationId xmlns:a16="http://schemas.microsoft.com/office/drawing/2014/main" id="{EB20B195-3809-DD78-5013-66F32742AB1A}"/>
              </a:ext>
            </a:extLst>
          </p:cNvPr>
          <p:cNvPicPr>
            <a:picLocks noChangeAspect="1"/>
          </p:cNvPicPr>
          <p:nvPr userDrawn="1"/>
        </p:nvPicPr>
        <p:blipFill>
          <a:blip r:embed="rId10"/>
          <a:stretch>
            <a:fillRect/>
          </a:stretch>
        </p:blipFill>
        <p:spPr bwMode="invGray">
          <a:xfrm>
            <a:off x="486029" y="345567"/>
            <a:ext cx="3044958" cy="335281"/>
          </a:xfrm>
          <a:prstGeom prst="rect">
            <a:avLst/>
          </a:prstGeom>
        </p:spPr>
      </p:pic>
      <p:pic>
        <p:nvPicPr>
          <p:cNvPr id="11" name="CoverMainLogo_COLOUR" descr="The Guy Carpenter company logo." hidden="1">
            <a:extLst>
              <a:ext uri="{FF2B5EF4-FFF2-40B4-BE49-F238E27FC236}">
                <a16:creationId xmlns:a16="http://schemas.microsoft.com/office/drawing/2014/main" id="{DBFE2927-ADFD-9C5B-6ECA-FB3F4F2E36C2}"/>
              </a:ext>
            </a:extLst>
          </p:cNvPr>
          <p:cNvPicPr>
            <a:picLocks noChangeAspect="1"/>
          </p:cNvPicPr>
          <p:nvPr userDrawn="1"/>
        </p:nvPicPr>
        <p:blipFill>
          <a:blip r:embed="rId11"/>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Autofit/>
          </a:bodyPr>
          <a:lstStyle>
            <a:lvl1pPr marL="0" indent="0">
              <a:spcBef>
                <a:spcPts val="0"/>
              </a:spcBef>
              <a:spcAft>
                <a:spcPts val="400"/>
              </a:spcAft>
              <a:buNone/>
              <a:defRPr sz="800">
                <a:solidFill>
                  <a:schemeClr val="lt1"/>
                </a:solidFill>
              </a:defRPr>
            </a:lvl1pPr>
          </a:lstStyle>
          <a:p>
            <a:pPr lvl="0"/>
            <a:r>
              <a:rPr lang="en-US"/>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a:solidFill>
                  <a:schemeClr val="lt1"/>
                </a:solidFill>
              </a:rPr>
              <a:t>Copyright © 2024 Guy Carpenter &amp; Company, LLC.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a:solidFill>
                  <a:schemeClr val="lt1"/>
                </a:solidFill>
              </a:rPr>
              <a:t>{FileRef}</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a:solidFill>
                  <a:schemeClr val="lt1"/>
                </a:solidFill>
                <a:effectLst/>
                <a:latin typeface="+mn-lt"/>
                <a:ea typeface="+mn-ea"/>
                <a:cs typeface="+mn-cs"/>
              </a:rPr>
              <a:t>A business of Marsh McLennan</a:t>
            </a:r>
          </a:p>
        </p:txBody>
      </p:sp>
      <p:pic>
        <p:nvPicPr>
          <p:cNvPr id="3" name="MainBackLogo_WHITE" descr="The Guy Carpenter company logo.">
            <a:extLst>
              <a:ext uri="{FF2B5EF4-FFF2-40B4-BE49-F238E27FC236}">
                <a16:creationId xmlns:a16="http://schemas.microsoft.com/office/drawing/2014/main" id="{87B91413-D997-9586-97D5-F0A85EABEC3D}"/>
              </a:ext>
            </a:extLst>
          </p:cNvPr>
          <p:cNvPicPr>
            <a:picLocks noChangeAspect="1"/>
          </p:cNvPicPr>
          <p:nvPr userDrawn="1"/>
        </p:nvPicPr>
        <p:blipFill>
          <a:blip r:embed="rId9"/>
          <a:stretch>
            <a:fillRect/>
          </a:stretch>
        </p:blipFill>
        <p:spPr bwMode="invGray">
          <a:xfrm>
            <a:off x="486029" y="345567"/>
            <a:ext cx="3044958" cy="335281"/>
          </a:xfrm>
          <a:prstGeom prst="rect">
            <a:avLst/>
          </a:prstGeom>
        </p:spPr>
      </p:pic>
      <p:pic>
        <p:nvPicPr>
          <p:cNvPr id="9" name="MainBackLogo_COLOUR" descr="The Guy Carpenter company logo." hidden="1">
            <a:extLst>
              <a:ext uri="{FF2B5EF4-FFF2-40B4-BE49-F238E27FC236}">
                <a16:creationId xmlns:a16="http://schemas.microsoft.com/office/drawing/2014/main" id="{1ED6D6B9-1727-3BBC-25AD-7A839141E54B}"/>
              </a:ext>
            </a:extLst>
          </p:cNvPr>
          <p:cNvPicPr>
            <a:picLocks noChangeAspect="1"/>
          </p:cNvPicPr>
          <p:nvPr userDrawn="1"/>
        </p:nvPicPr>
        <p:blipFill>
          <a:blip r:embed="rId10"/>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68385" y="1308100"/>
            <a:ext cx="11065313" cy="596900"/>
          </a:xfrm>
        </p:spPr>
        <p:txBody>
          <a:bodyPr/>
          <a:lstStyle>
            <a:lvl1pPr marL="0" indent="0">
              <a:spcBef>
                <a:spcPts val="0"/>
              </a:spcBef>
              <a:buNone/>
              <a:defRPr sz="1600" b="1">
                <a:solidFill>
                  <a:schemeClr val="accent2"/>
                </a:solidFill>
              </a:defRPr>
            </a:lvl1pPr>
            <a:lvl2pPr marL="226785" indent="0">
              <a:buNone/>
              <a:defRPr/>
            </a:lvl2pPr>
            <a:lvl3pPr marL="511168" indent="0">
              <a:buNone/>
              <a:defRPr/>
            </a:lvl3pPr>
            <a:lvl4pPr marL="687557" indent="0">
              <a:buNone/>
              <a:defRPr/>
            </a:lvl4pPr>
            <a:lvl5pPr marL="867545" indent="0">
              <a:buNone/>
              <a:defRPr/>
            </a:lvl5pPr>
          </a:lstStyle>
          <a:p>
            <a:pPr lvl="0"/>
            <a:r>
              <a:rPr lang="en-US"/>
              <a:t>Click to edit Master text styles</a:t>
            </a:r>
          </a:p>
        </p:txBody>
      </p:sp>
      <p:sp>
        <p:nvSpPr>
          <p:cNvPr id="6" name="Chart Placeholder 5"/>
          <p:cNvSpPr>
            <a:spLocks noGrp="1"/>
          </p:cNvSpPr>
          <p:nvPr>
            <p:ph type="chart" sz="quarter" idx="11"/>
          </p:nvPr>
        </p:nvSpPr>
        <p:spPr>
          <a:xfrm>
            <a:off x="568385" y="1905004"/>
            <a:ext cx="11065313" cy="4378325"/>
          </a:xfrm>
        </p:spPr>
        <p:txBody>
          <a:bodyPr/>
          <a:lstStyle>
            <a:lvl1pPr marL="0" indent="0">
              <a:buNone/>
              <a:defRPr sz="1200"/>
            </a:lvl1pPr>
          </a:lstStyle>
          <a:p>
            <a:endParaRPr lang="en-GB"/>
          </a:p>
        </p:txBody>
      </p:sp>
    </p:spTree>
    <p:extLst>
      <p:ext uri="{BB962C8B-B14F-4D97-AF65-F5344CB8AC3E}">
        <p14:creationId xmlns:p14="http://schemas.microsoft.com/office/powerpoint/2010/main" val="3853466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a:t>Optional takeaway goes here in this format</a:t>
            </a:r>
          </a:p>
        </p:txBody>
      </p:sp>
    </p:spTree>
    <p:extLst>
      <p:ext uri="{BB962C8B-B14F-4D97-AF65-F5344CB8AC3E}">
        <p14:creationId xmlns:p14="http://schemas.microsoft.com/office/powerpoint/2010/main" val="3492221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r>
              <a:rPr lang="en-US"/>
              <a:t>Source: PCS, PERILS, Verisk, ICA, GC. Losses from Russia and Ukraine conflict are estimated by S&amp;P Global. The 2023 significant insured loss estimate is updated as of 04/04/2024. </a:t>
            </a:r>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4119731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idx="1" hasCustomPrompt="1"/>
            <p:custDataLst>
              <p:custData r:id="rId2"/>
            </p:custDataLst>
          </p:nvPr>
        </p:nvSpPr>
        <p:spPr/>
        <p:txBody>
          <a:bodyPr/>
          <a:lstStyle/>
          <a:p>
            <a:pPr lvl="0"/>
            <a:r>
              <a:rPr lang="en-US"/>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15.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36.xml"/><Relationship Id="rId2" Type="http://schemas.openxmlformats.org/officeDocument/2006/relationships/slideLayout" Target="../slideLayouts/slideLayout2.xml"/><Relationship Id="rId16" Type="http://schemas.openxmlformats.org/officeDocument/2006/relationships/customXml" Target="../../customXml/item70.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79.xml"/><Relationship Id="rId10" Type="http://schemas.openxmlformats.org/officeDocument/2006/relationships/slideLayout" Target="../slideLayouts/slideLayout10.xml"/><Relationship Id="rId19" Type="http://schemas.openxmlformats.org/officeDocument/2006/relationships/customXml" Target="../../customXml/item3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a:p>
        </p:txBody>
      </p:sp>
      <p:pic>
        <p:nvPicPr>
          <p:cNvPr id="7" name="ContentLogo_WHITE" descr="The Guy Carpenter company logo." hidden="1">
            <a:extLst>
              <a:ext uri="{FF2B5EF4-FFF2-40B4-BE49-F238E27FC236}">
                <a16:creationId xmlns:a16="http://schemas.microsoft.com/office/drawing/2014/main" id="{DE45A742-E43F-1049-69FF-C10CA41DAEF4}"/>
              </a:ext>
            </a:extLst>
          </p:cNvPr>
          <p:cNvPicPr>
            <a:picLocks noChangeAspect="1"/>
          </p:cNvPicPr>
          <p:nvPr userDrawn="1"/>
        </p:nvPicPr>
        <p:blipFill>
          <a:blip r:embed="rId20"/>
          <a:stretch>
            <a:fillRect/>
          </a:stretch>
        </p:blipFill>
        <p:spPr bwMode="invGray">
          <a:xfrm>
            <a:off x="486029" y="6515989"/>
            <a:ext cx="1240539" cy="137160"/>
          </a:xfrm>
          <a:prstGeom prst="rect">
            <a:avLst/>
          </a:prstGeom>
        </p:spPr>
      </p:pic>
      <p:pic>
        <p:nvPicPr>
          <p:cNvPr id="9" name="ContentLogo_COLOUR" descr="The Guy Carpenter company logo.">
            <a:extLst>
              <a:ext uri="{FF2B5EF4-FFF2-40B4-BE49-F238E27FC236}">
                <a16:creationId xmlns:a16="http://schemas.microsoft.com/office/drawing/2014/main" id="{F666D0A9-DA58-267F-C550-B9083F90A69E}"/>
              </a:ext>
            </a:extLst>
          </p:cNvPr>
          <p:cNvPicPr>
            <a:picLocks noChangeAspect="1"/>
          </p:cNvPicPr>
          <p:nvPr userDrawn="1"/>
        </p:nvPicPr>
        <p:blipFill>
          <a:blip r:embed="rId21"/>
          <a:stretch>
            <a:fillRect/>
          </a:stretch>
        </p:blipFill>
        <p:spPr bwMode="invGray">
          <a:xfrm>
            <a:off x="486029" y="6515989"/>
            <a:ext cx="1240539" cy="137160"/>
          </a:xfrm>
          <a:prstGeom prst="rect">
            <a:avLst/>
          </a:prstGeom>
        </p:spPr>
      </p:pic>
      <p:sp>
        <p:nvSpPr>
          <p:cNvPr id="6" name="Rectangle 5">
            <a:extLst>
              <a:ext uri="{FF2B5EF4-FFF2-40B4-BE49-F238E27FC236}">
                <a16:creationId xmlns:a16="http://schemas.microsoft.com/office/drawing/2014/main" id="{55A1FC85-210C-EED9-F0DA-46A150B517D1}"/>
              </a:ext>
            </a:extLst>
          </p:cNvPr>
          <p:cNvSpPr/>
          <p:nvPr userDrawn="1"/>
        </p:nvSpPr>
        <p:spPr>
          <a:xfrm>
            <a:off x="485775" y="6674742"/>
            <a:ext cx="1071127" cy="68101"/>
          </a:xfrm>
          <a:prstGeom prst="rect">
            <a:avLst/>
          </a:prstGeom>
        </p:spPr>
        <p:txBody>
          <a:bodyPr vert="horz" lIns="0" tIns="0" rIns="0" bIns="0" rtlCol="0" anchor="b">
            <a:noAutofit/>
          </a:bodyPr>
          <a:lstStyle/>
          <a:p>
            <a:pPr lvl="0" algn="l">
              <a:spcAft>
                <a:spcPts val="600"/>
              </a:spcAft>
              <a:buFont typeface="Arial" panose="020B0604020202020204" pitchFamily="34" charset="0"/>
              <a:buNone/>
            </a:pPr>
            <a:r>
              <a:rPr lang="en-US" sz="400" b="0"/>
              <a:t>BD-2390-PRE-SAL</a:t>
            </a:r>
          </a:p>
        </p:txBody>
      </p:sp>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1" r:id="rId12"/>
    <p:sldLayoutId id="2147483722"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61.xml"/><Relationship Id="rId2" Type="http://schemas.openxmlformats.org/officeDocument/2006/relationships/customXml" Target="../../customXml/item51.xml"/><Relationship Id="rId1" Type="http://schemas.openxmlformats.org/officeDocument/2006/relationships/customXml" Target="../../customXml/item19.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customXml" Target="../../customXml/item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 Id="rId5" Type="http://schemas.openxmlformats.org/officeDocument/2006/relationships/image" Target="../media/image14.jpeg"/><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5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40.xml"/><Relationship Id="rId1" Type="http://schemas.openxmlformats.org/officeDocument/2006/relationships/customXml" Target="../../customXml/item1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78.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customXml" Target="../../customXml/item1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67995" y="1723500"/>
            <a:ext cx="11717091" cy="792163"/>
          </a:xfrm>
        </p:spPr>
        <p:txBody>
          <a:bodyPr/>
          <a:lstStyle/>
          <a:p>
            <a:r>
              <a:rPr lang="en-US" sz="5600" dirty="0">
                <a:latin typeface="Arial Narrow"/>
              </a:rPr>
              <a:t>CLIMA ACTUAL </a:t>
            </a:r>
            <a:r>
              <a:rPr lang="en-US" sz="5600" dirty="0" err="1">
                <a:latin typeface="Arial Narrow"/>
              </a:rPr>
              <a:t>DEl</a:t>
            </a:r>
            <a:r>
              <a:rPr lang="en-US" sz="5600" dirty="0">
                <a:latin typeface="Arial Narrow"/>
              </a:rPr>
              <a:t> MERCADO</a:t>
            </a:r>
            <a:br>
              <a:rPr lang="en-US" sz="5600" dirty="0">
                <a:latin typeface="Arial Narrow"/>
              </a:rPr>
            </a:br>
            <a:r>
              <a:rPr lang="en-US" sz="5600" dirty="0">
                <a:latin typeface="Arial Narrow"/>
              </a:rPr>
              <a:t>Y TENDENCIAs A FUTURO</a:t>
            </a:r>
          </a:p>
        </p:txBody>
      </p:sp>
      <p:sp>
        <p:nvSpPr>
          <p:cNvPr id="5" name="ClientLogo" hidden="1"/>
          <p:cNvSpPr/>
          <p:nvPr>
            <p:custDataLst>
              <p:custData r:id="rId2"/>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laceholder for optional client logo</a:t>
            </a:r>
          </a:p>
        </p:txBody>
      </p:sp>
      <p:sp>
        <p:nvSpPr>
          <p:cNvPr id="6" name="Subtitle 5">
            <a:extLst>
              <a:ext uri="{FF2B5EF4-FFF2-40B4-BE49-F238E27FC236}">
                <a16:creationId xmlns:a16="http://schemas.microsoft.com/office/drawing/2014/main" id="{A7EA25D7-7ADF-1156-0445-BE25413D1990}"/>
              </a:ext>
            </a:extLst>
          </p:cNvPr>
          <p:cNvSpPr>
            <a:spLocks noGrp="1"/>
          </p:cNvSpPr>
          <p:nvPr>
            <p:ph type="subTitle" idx="1"/>
          </p:nvPr>
        </p:nvSpPr>
        <p:spPr/>
        <p:txBody>
          <a:bodyPr/>
          <a:lstStyle/>
          <a:p>
            <a:r>
              <a:rPr lang="en-US" dirty="0"/>
              <a:t>XX </a:t>
            </a:r>
            <a:r>
              <a:rPr lang="en-US" dirty="0" err="1"/>
              <a:t>Conferencia</a:t>
            </a:r>
            <a:r>
              <a:rPr lang="en-US" dirty="0"/>
              <a:t> </a:t>
            </a:r>
            <a:r>
              <a:rPr lang="en-US" dirty="0" err="1"/>
              <a:t>Anual</a:t>
            </a:r>
            <a:r>
              <a:rPr lang="en-US" dirty="0"/>
              <a:t> de LARG</a:t>
            </a:r>
          </a:p>
          <a:p>
            <a:endParaRPr lang="en-US" dirty="0"/>
          </a:p>
        </p:txBody>
      </p:sp>
      <p:sp>
        <p:nvSpPr>
          <p:cNvPr id="3" name="PresenterDetails">
            <a:extLst>
              <a:ext uri="{FF2B5EF4-FFF2-40B4-BE49-F238E27FC236}">
                <a16:creationId xmlns:a16="http://schemas.microsoft.com/office/drawing/2014/main" id="{E7B51A06-59DE-82D7-F37F-8602EB4B39B8}"/>
              </a:ext>
            </a:extLst>
          </p:cNvPr>
          <p:cNvSpPr>
            <a:spLocks noGrp="1"/>
          </p:cNvSpPr>
          <p:nvPr>
            <p:ph type="body" sz="half" idx="2"/>
            <p:custDataLst>
              <p:custData r:id="rId3"/>
            </p:custDataLst>
          </p:nvPr>
        </p:nvSpPr>
        <p:spPr>
          <a:xfrm>
            <a:off x="485775" y="4870800"/>
            <a:ext cx="7400925" cy="1038525"/>
          </a:xfrm>
        </p:spPr>
        <p:txBody>
          <a:bodyPr/>
          <a:lstStyle/>
          <a:p>
            <a:endParaRPr lang="en-GB" dirty="0"/>
          </a:p>
          <a:p>
            <a:r>
              <a:rPr lang="en-GB" dirty="0"/>
              <a:t>14 de </a:t>
            </a:r>
            <a:r>
              <a:rPr lang="en-GB" dirty="0" err="1"/>
              <a:t>septiembre</a:t>
            </a:r>
            <a:r>
              <a:rPr lang="en-GB" dirty="0"/>
              <a:t> de 2024</a:t>
            </a:r>
          </a:p>
          <a:p>
            <a:r>
              <a:rPr lang="en-GB" dirty="0"/>
              <a:t>Paraguay</a:t>
            </a:r>
          </a:p>
        </p:txBody>
      </p:sp>
    </p:spTree>
    <p:extLst>
      <p:ext uri="{BB962C8B-B14F-4D97-AF65-F5344CB8AC3E}">
        <p14:creationId xmlns:p14="http://schemas.microsoft.com/office/powerpoint/2010/main" val="1642000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s-ES" dirty="0"/>
              <a:t>Perspectivas económicas mundiales</a:t>
            </a:r>
            <a:r>
              <a:rPr lang="en-GB" dirty="0"/>
              <a:t> </a:t>
            </a:r>
            <a:endParaRPr lang="en-US" dirty="0"/>
          </a:p>
        </p:txBody>
      </p:sp>
      <p:graphicFrame>
        <p:nvGraphicFramePr>
          <p:cNvPr id="12" name="Chart 11">
            <a:extLst>
              <a:ext uri="{FF2B5EF4-FFF2-40B4-BE49-F238E27FC236}">
                <a16:creationId xmlns:a16="http://schemas.microsoft.com/office/drawing/2014/main" id="{134C657F-FA98-4332-A70E-5560D2F39377}"/>
              </a:ext>
            </a:extLst>
          </p:cNvPr>
          <p:cNvGraphicFramePr>
            <a:graphicFrameLocks/>
          </p:cNvGraphicFramePr>
          <p:nvPr>
            <p:extLst>
              <p:ext uri="{D42A27DB-BD31-4B8C-83A1-F6EECF244321}">
                <p14:modId xmlns:p14="http://schemas.microsoft.com/office/powerpoint/2010/main" val="3770264910"/>
              </p:ext>
            </p:extLst>
          </p:nvPr>
        </p:nvGraphicFramePr>
        <p:xfrm>
          <a:off x="500550" y="1108074"/>
          <a:ext cx="11223623" cy="5013326"/>
        </p:xfrm>
        <a:graphic>
          <a:graphicData uri="http://schemas.openxmlformats.org/drawingml/2006/chart">
            <c:chart xmlns:c="http://schemas.openxmlformats.org/drawingml/2006/chart" xmlns:r="http://schemas.openxmlformats.org/officeDocument/2006/relationships" r:id="rId3"/>
          </a:graphicData>
        </a:graphic>
      </p:graphicFrame>
      <p:sp>
        <p:nvSpPr>
          <p:cNvPr id="14" name="Slide Number Placeholder 6">
            <a:extLst>
              <a:ext uri="{FF2B5EF4-FFF2-40B4-BE49-F238E27FC236}">
                <a16:creationId xmlns:a16="http://schemas.microsoft.com/office/drawing/2014/main" id="{F1CE427F-9C0F-EE3B-796C-6B1668043B00}"/>
              </a:ext>
            </a:extLst>
          </p:cNvPr>
          <p:cNvSpPr>
            <a:spLocks noGrp="1"/>
          </p:cNvSpPr>
          <p:nvPr>
            <p:ph type="sldNum" sz="quarter" idx="10"/>
          </p:nvPr>
        </p:nvSpPr>
        <p:spPr>
          <a:xfrm>
            <a:off x="11430000" y="6516688"/>
            <a:ext cx="280988" cy="122237"/>
          </a:xfrm>
        </p:spPr>
        <p:txBody>
          <a:bodyPr/>
          <a:lstStyle/>
          <a:p>
            <a:fld id="{DF66040D-6F20-4F4B-8995-856BEECD84BE}" type="slidenum">
              <a:rPr lang="en-US" smtClean="0"/>
              <a:pPr/>
              <a:t>10</a:t>
            </a:fld>
            <a:endParaRPr lang="en-US"/>
          </a:p>
        </p:txBody>
      </p:sp>
      <p:sp>
        <p:nvSpPr>
          <p:cNvPr id="3" name="Rectangle 2">
            <a:extLst>
              <a:ext uri="{FF2B5EF4-FFF2-40B4-BE49-F238E27FC236}">
                <a16:creationId xmlns:a16="http://schemas.microsoft.com/office/drawing/2014/main" id="{54403C40-C729-071F-F3E7-4D3DDB78614C}"/>
              </a:ext>
            </a:extLst>
          </p:cNvPr>
          <p:cNvSpPr>
            <a:spLocks noChangeArrowheads="1"/>
          </p:cNvSpPr>
          <p:nvPr/>
        </p:nvSpPr>
        <p:spPr bwMode="auto">
          <a:xfrm>
            <a:off x="4011061" y="1434766"/>
            <a:ext cx="4169877" cy="220581"/>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n-US" sz="1600" b="1" i="0" u="none" strike="noStrike" cap="none" normalizeH="0" baseline="0" dirty="0">
                <a:ln>
                  <a:noFill/>
                </a:ln>
                <a:solidFill>
                  <a:srgbClr val="1F1F1F"/>
                </a:solidFill>
                <a:effectLst/>
                <a:latin typeface="inherit"/>
              </a:rPr>
              <a:t>Pronósticos de crecimiento del PIB a corto plazo</a:t>
            </a:r>
            <a:r>
              <a:rPr kumimoji="0" lang="es-ES" altLang="en-US" sz="500" b="1" i="0" u="none" strike="noStrike" cap="none" normalizeH="0" baseline="0" dirty="0">
                <a:ln>
                  <a:noFill/>
                </a:ln>
                <a:solidFill>
                  <a:schemeClr val="tx1"/>
                </a:solidFill>
                <a:effectLst/>
              </a:rPr>
              <a:t> </a:t>
            </a:r>
            <a:endParaRPr kumimoji="0" lang="es-ES" altLang="en-US" sz="1200" b="1"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3BA3A345-4C76-D677-B1FA-AEAE841D8666}"/>
              </a:ext>
            </a:extLst>
          </p:cNvPr>
          <p:cNvSpPr txBox="1"/>
          <p:nvPr/>
        </p:nvSpPr>
        <p:spPr>
          <a:xfrm>
            <a:off x="1655527" y="5486143"/>
            <a:ext cx="1154347" cy="184666"/>
          </a:xfrm>
          <a:prstGeom prst="rect">
            <a:avLst/>
          </a:prstGeom>
          <a:solidFill>
            <a:schemeClr val="bg1"/>
          </a:solidFill>
        </p:spPr>
        <p:txBody>
          <a:bodyPr wrap="square" lIns="0" tIns="0" rIns="0" bIns="0" rtlCol="0">
            <a:spAutoFit/>
          </a:bodyPr>
          <a:lstStyle/>
          <a:p>
            <a:pPr algn="ctr"/>
            <a:r>
              <a:rPr lang="es-CO" sz="1200" dirty="0"/>
              <a:t>Global</a:t>
            </a:r>
          </a:p>
        </p:txBody>
      </p:sp>
      <p:sp>
        <p:nvSpPr>
          <p:cNvPr id="5" name="TextBox 4">
            <a:extLst>
              <a:ext uri="{FF2B5EF4-FFF2-40B4-BE49-F238E27FC236}">
                <a16:creationId xmlns:a16="http://schemas.microsoft.com/office/drawing/2014/main" id="{839AE8E8-909C-8E72-2D62-26FD66D234AA}"/>
              </a:ext>
            </a:extLst>
          </p:cNvPr>
          <p:cNvSpPr txBox="1"/>
          <p:nvPr/>
        </p:nvSpPr>
        <p:spPr>
          <a:xfrm>
            <a:off x="3131902" y="5486143"/>
            <a:ext cx="1154347" cy="369332"/>
          </a:xfrm>
          <a:prstGeom prst="rect">
            <a:avLst/>
          </a:prstGeom>
          <a:solidFill>
            <a:schemeClr val="bg1"/>
          </a:solidFill>
        </p:spPr>
        <p:txBody>
          <a:bodyPr wrap="square" lIns="0" tIns="0" rIns="0" bIns="0" rtlCol="0">
            <a:spAutoFit/>
          </a:bodyPr>
          <a:lstStyle/>
          <a:p>
            <a:pPr algn="ctr"/>
            <a:r>
              <a:rPr lang="es-CO" sz="1200" dirty="0"/>
              <a:t>Economías avanzadas</a:t>
            </a:r>
          </a:p>
        </p:txBody>
      </p:sp>
      <p:sp>
        <p:nvSpPr>
          <p:cNvPr id="8" name="TextBox 7">
            <a:extLst>
              <a:ext uri="{FF2B5EF4-FFF2-40B4-BE49-F238E27FC236}">
                <a16:creationId xmlns:a16="http://schemas.microsoft.com/office/drawing/2014/main" id="{ACF40340-3BFF-BBF0-9D6B-04BC6BC8B119}"/>
              </a:ext>
            </a:extLst>
          </p:cNvPr>
          <p:cNvSpPr txBox="1"/>
          <p:nvPr/>
        </p:nvSpPr>
        <p:spPr>
          <a:xfrm>
            <a:off x="4552163" y="5486143"/>
            <a:ext cx="1154347" cy="184666"/>
          </a:xfrm>
          <a:prstGeom prst="rect">
            <a:avLst/>
          </a:prstGeom>
          <a:solidFill>
            <a:schemeClr val="bg1"/>
          </a:solidFill>
        </p:spPr>
        <p:txBody>
          <a:bodyPr wrap="square" lIns="0" tIns="0" rIns="0" bIns="0" rtlCol="0">
            <a:spAutoFit/>
          </a:bodyPr>
          <a:lstStyle/>
          <a:p>
            <a:pPr algn="ctr"/>
            <a:r>
              <a:rPr lang="es-CO" sz="1200" dirty="0"/>
              <a:t>EE. UU.</a:t>
            </a:r>
          </a:p>
        </p:txBody>
      </p:sp>
      <p:sp>
        <p:nvSpPr>
          <p:cNvPr id="9" name="TextBox 8">
            <a:extLst>
              <a:ext uri="{FF2B5EF4-FFF2-40B4-BE49-F238E27FC236}">
                <a16:creationId xmlns:a16="http://schemas.microsoft.com/office/drawing/2014/main" id="{08E79CB7-6119-63DE-FA39-6079D610A5B2}"/>
              </a:ext>
            </a:extLst>
          </p:cNvPr>
          <p:cNvSpPr txBox="1"/>
          <p:nvPr/>
        </p:nvSpPr>
        <p:spPr>
          <a:xfrm>
            <a:off x="6095999" y="5486143"/>
            <a:ext cx="1154347" cy="184666"/>
          </a:xfrm>
          <a:prstGeom prst="rect">
            <a:avLst/>
          </a:prstGeom>
          <a:solidFill>
            <a:schemeClr val="bg1"/>
          </a:solidFill>
        </p:spPr>
        <p:txBody>
          <a:bodyPr wrap="square" lIns="0" tIns="0" rIns="0" bIns="0" rtlCol="0">
            <a:spAutoFit/>
          </a:bodyPr>
          <a:lstStyle/>
          <a:p>
            <a:pPr algn="ctr"/>
            <a:r>
              <a:rPr lang="es-CO" sz="1200" dirty="0"/>
              <a:t>Europa</a:t>
            </a:r>
          </a:p>
        </p:txBody>
      </p:sp>
      <p:sp>
        <p:nvSpPr>
          <p:cNvPr id="10" name="TextBox 9">
            <a:extLst>
              <a:ext uri="{FF2B5EF4-FFF2-40B4-BE49-F238E27FC236}">
                <a16:creationId xmlns:a16="http://schemas.microsoft.com/office/drawing/2014/main" id="{E7CA8CBB-477F-6790-EBA7-11B85A954CCD}"/>
              </a:ext>
            </a:extLst>
          </p:cNvPr>
          <p:cNvSpPr txBox="1"/>
          <p:nvPr/>
        </p:nvSpPr>
        <p:spPr>
          <a:xfrm>
            <a:off x="7524749" y="5486143"/>
            <a:ext cx="1154347" cy="369332"/>
          </a:xfrm>
          <a:prstGeom prst="rect">
            <a:avLst/>
          </a:prstGeom>
          <a:solidFill>
            <a:schemeClr val="bg1"/>
          </a:solidFill>
        </p:spPr>
        <p:txBody>
          <a:bodyPr wrap="square" lIns="0" tIns="0" rIns="0" bIns="0" rtlCol="0">
            <a:spAutoFit/>
          </a:bodyPr>
          <a:lstStyle/>
          <a:p>
            <a:pPr algn="ctr"/>
            <a:r>
              <a:rPr lang="es-CO" sz="1200" dirty="0"/>
              <a:t>Japón</a:t>
            </a:r>
          </a:p>
          <a:p>
            <a:pPr algn="ctr"/>
            <a:endParaRPr lang="es-CO" sz="1200" dirty="0"/>
          </a:p>
        </p:txBody>
      </p:sp>
    </p:spTree>
    <p:extLst>
      <p:ext uri="{BB962C8B-B14F-4D97-AF65-F5344CB8AC3E}">
        <p14:creationId xmlns:p14="http://schemas.microsoft.com/office/powerpoint/2010/main" val="67914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70A74A4D-244C-4BFD-AB0D-8D753B54AC51}"/>
              </a:ext>
            </a:extLst>
          </p:cNvPr>
          <p:cNvGraphicFramePr>
            <a:graphicFrameLocks/>
          </p:cNvGraphicFramePr>
          <p:nvPr>
            <p:extLst>
              <p:ext uri="{D42A27DB-BD31-4B8C-83A1-F6EECF244321}">
                <p14:modId xmlns:p14="http://schemas.microsoft.com/office/powerpoint/2010/main" val="3947985701"/>
              </p:ext>
            </p:extLst>
          </p:nvPr>
        </p:nvGraphicFramePr>
        <p:xfrm>
          <a:off x="485776" y="1265863"/>
          <a:ext cx="11225024" cy="4329209"/>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p:cNvSpPr>
            <a:spLocks noGrp="1"/>
          </p:cNvSpPr>
          <p:nvPr>
            <p:ph type="title"/>
          </p:nvPr>
        </p:nvSpPr>
        <p:spPr/>
        <p:txBody>
          <a:bodyPr/>
          <a:lstStyle/>
          <a:p>
            <a:r>
              <a:rPr lang="es-CO" dirty="0"/>
              <a:t>Inflación – Global y EE. UU.</a:t>
            </a:r>
          </a:p>
        </p:txBody>
      </p:sp>
      <p:sp>
        <p:nvSpPr>
          <p:cNvPr id="5" name="Text Placeholder 4"/>
          <p:cNvSpPr>
            <a:spLocks noGrp="1"/>
          </p:cNvSpPr>
          <p:nvPr>
            <p:ph type="body" sz="quarter" idx="12"/>
          </p:nvPr>
        </p:nvSpPr>
        <p:spPr/>
        <p:txBody>
          <a:bodyPr/>
          <a:lstStyle/>
          <a:p>
            <a:r>
              <a:rPr lang="es-ES" dirty="0"/>
              <a:t>La actividad económica fue sorprendentemente resistente durante la desinflación global de 2022-2023</a:t>
            </a:r>
            <a:endParaRPr lang="en-GB" dirty="0"/>
          </a:p>
        </p:txBody>
      </p:sp>
      <p:sp>
        <p:nvSpPr>
          <p:cNvPr id="6" name="Text Placeholder 5"/>
          <p:cNvSpPr>
            <a:spLocks noGrp="1"/>
          </p:cNvSpPr>
          <p:nvPr>
            <p:ph type="body" sz="quarter" idx="4294967295"/>
          </p:nvPr>
        </p:nvSpPr>
        <p:spPr>
          <a:xfrm>
            <a:off x="808037" y="5639239"/>
            <a:ext cx="10575926" cy="511175"/>
          </a:xfrm>
        </p:spPr>
        <p:txBody>
          <a:bodyPr/>
          <a:lstStyle/>
          <a:p>
            <a:pPr marL="0" indent="0" algn="ctr">
              <a:buNone/>
              <a:defRPr/>
            </a:pPr>
            <a:r>
              <a:rPr lang="en-GB" sz="1400" b="0" i="1" dirty="0">
                <a:solidFill>
                  <a:srgbClr val="FF8C00"/>
                </a:solidFill>
                <a:ea typeface="+mn-lt"/>
                <a:cs typeface="Arial" panose="020B0604020202020204"/>
              </a:rPr>
              <a:t>“</a:t>
            </a:r>
            <a:r>
              <a:rPr lang="es-ES" sz="1400" b="0" i="1" dirty="0">
                <a:solidFill>
                  <a:srgbClr val="FF8C00"/>
                </a:solidFill>
                <a:ea typeface="+mn-lt"/>
                <a:cs typeface="Arial" panose="020B0604020202020204"/>
              </a:rPr>
              <a:t>La actividad económica está mostrando una sorprendente resiliencia y la inflación está volviendo a alcanzar su objetivo. A pesar de las importantes subidas de los bancos centrales destinadas a restablecer la estabilidad de precios, la economía mundial creció de manera constante, respaldada por una evolución favorable de la oferta</a:t>
            </a:r>
            <a:r>
              <a:rPr lang="en-US" sz="1400" b="0" i="1" dirty="0">
                <a:solidFill>
                  <a:srgbClr val="FF8C00"/>
                </a:solidFill>
                <a:ea typeface="+mn-lt"/>
                <a:cs typeface="Arial" panose="020B0604020202020204"/>
              </a:rPr>
              <a:t>.” – IMF</a:t>
            </a:r>
            <a:endParaRPr lang="en-US" sz="1400" b="0" i="1" dirty="0">
              <a:solidFill>
                <a:srgbClr val="FF8C00"/>
              </a:solidFill>
              <a:cs typeface="Arial"/>
            </a:endParaRPr>
          </a:p>
        </p:txBody>
      </p:sp>
      <p:sp>
        <p:nvSpPr>
          <p:cNvPr id="9" name="TextBox 8">
            <a:extLst>
              <a:ext uri="{FF2B5EF4-FFF2-40B4-BE49-F238E27FC236}">
                <a16:creationId xmlns:a16="http://schemas.microsoft.com/office/drawing/2014/main" id="{542A086E-1A71-A855-855F-F1AE976D50E3}"/>
              </a:ext>
            </a:extLst>
          </p:cNvPr>
          <p:cNvSpPr txBox="1"/>
          <p:nvPr/>
        </p:nvSpPr>
        <p:spPr>
          <a:xfrm>
            <a:off x="10618662" y="1093376"/>
            <a:ext cx="830404"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cs typeface="Arial"/>
              </a:rPr>
              <a:t>P</a:t>
            </a:r>
            <a:r>
              <a:rPr kumimoji="0" lang="en-GB" sz="1200" b="1" i="0" u="none" strike="noStrike" kern="1200" cap="none" spc="0" normalizeH="0" baseline="0" noProof="0" dirty="0" err="1">
                <a:ln>
                  <a:noFill/>
                </a:ln>
                <a:effectLst/>
                <a:uLnTx/>
                <a:uFillTx/>
                <a:latin typeface="Arial" panose="020B0604020202020204"/>
                <a:ea typeface="+mn-ea"/>
                <a:cs typeface="Arial"/>
              </a:rPr>
              <a:t>ronóstico</a:t>
            </a:r>
            <a:endParaRPr kumimoji="0" lang="en-GB" sz="900" b="1" i="0" u="none" strike="noStrike" kern="1200" cap="none" spc="0" normalizeH="0" baseline="0" noProof="0" dirty="0">
              <a:ln>
                <a:noFill/>
              </a:ln>
              <a:effectLst/>
              <a:uLnTx/>
              <a:uFillTx/>
              <a:latin typeface="Arial" panose="020B0604020202020204"/>
              <a:ea typeface="+mn-ea"/>
              <a:cs typeface="Arial"/>
            </a:endParaRPr>
          </a:p>
        </p:txBody>
      </p:sp>
      <p:sp>
        <p:nvSpPr>
          <p:cNvPr id="10" name="TextBox 1">
            <a:extLst>
              <a:ext uri="{FF2B5EF4-FFF2-40B4-BE49-F238E27FC236}">
                <a16:creationId xmlns:a16="http://schemas.microsoft.com/office/drawing/2014/main" id="{E0DB301A-14C5-90FF-CF16-861C330744EC}"/>
              </a:ext>
            </a:extLst>
          </p:cNvPr>
          <p:cNvSpPr txBox="1"/>
          <p:nvPr/>
        </p:nvSpPr>
        <p:spPr>
          <a:xfrm>
            <a:off x="10664358" y="1287567"/>
            <a:ext cx="734105" cy="3657600"/>
          </a:xfrm>
          <a:prstGeom prst="rect">
            <a:avLst/>
          </a:prstGeom>
          <a:solidFill>
            <a:srgbClr val="8096B2">
              <a:alpha val="30000"/>
            </a:srgbClr>
          </a:solid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err="1">
              <a:ln>
                <a:noFill/>
              </a:ln>
              <a:solidFill>
                <a:srgbClr val="202020"/>
              </a:solidFill>
              <a:effectLst/>
              <a:uLnTx/>
              <a:uFillTx/>
              <a:latin typeface="Arial" panose="020B0604020202020204"/>
              <a:ea typeface="+mn-ea"/>
              <a:cs typeface="+mn-cs"/>
            </a:endParaRPr>
          </a:p>
        </p:txBody>
      </p:sp>
      <p:sp>
        <p:nvSpPr>
          <p:cNvPr id="14" name="Slide Number Placeholder 6">
            <a:extLst>
              <a:ext uri="{FF2B5EF4-FFF2-40B4-BE49-F238E27FC236}">
                <a16:creationId xmlns:a16="http://schemas.microsoft.com/office/drawing/2014/main" id="{6E7DD17E-43E3-749F-F76A-0EFAC74B4AD2}"/>
              </a:ext>
            </a:extLst>
          </p:cNvPr>
          <p:cNvSpPr>
            <a:spLocks noGrp="1"/>
          </p:cNvSpPr>
          <p:nvPr>
            <p:ph type="sldNum" sz="quarter" idx="10"/>
          </p:nvPr>
        </p:nvSpPr>
        <p:spPr>
          <a:xfrm>
            <a:off x="11430000" y="6516688"/>
            <a:ext cx="280988" cy="122237"/>
          </a:xfrm>
        </p:spPr>
        <p:txBody>
          <a:bodyPr/>
          <a:lstStyle/>
          <a:p>
            <a:fld id="{DF66040D-6F20-4F4B-8995-856BEECD84BE}" type="slidenum">
              <a:rPr lang="en-US" smtClean="0"/>
              <a:pPr/>
              <a:t>11</a:t>
            </a:fld>
            <a:endParaRPr lang="en-US"/>
          </a:p>
        </p:txBody>
      </p:sp>
      <p:sp>
        <p:nvSpPr>
          <p:cNvPr id="15" name="Footer Placeholder 3">
            <a:extLst>
              <a:ext uri="{FF2B5EF4-FFF2-40B4-BE49-F238E27FC236}">
                <a16:creationId xmlns:a16="http://schemas.microsoft.com/office/drawing/2014/main" id="{4C103107-CB4C-4821-C2B4-5F1027E49B1C}"/>
              </a:ext>
            </a:extLst>
          </p:cNvPr>
          <p:cNvSpPr>
            <a:spLocks noGrp="1"/>
          </p:cNvSpPr>
          <p:nvPr>
            <p:ph type="ftr" sz="quarter" idx="11"/>
          </p:nvPr>
        </p:nvSpPr>
        <p:spPr>
          <a:xfrm>
            <a:off x="4810539" y="6525419"/>
            <a:ext cx="5946361" cy="227011"/>
          </a:xfrm>
        </p:spPr>
        <p:txBody>
          <a:bodyPr/>
          <a:lstStyle/>
          <a:p>
            <a:pPr marL="0" marR="0" lvl="0" indent="0" algn="r" defTabSz="457200" rtl="0" eaLnBrk="1" fontAlgn="auto" latinLnBrk="0" hangingPunct="1">
              <a:lnSpc>
                <a:spcPct val="100000"/>
              </a:lnSpc>
              <a:spcBef>
                <a:spcPts val="900"/>
              </a:spcBef>
              <a:spcAft>
                <a:spcPts val="600"/>
              </a:spcAft>
              <a:buClrTx/>
              <a:buSzTx/>
              <a:buFont typeface="Arial"/>
              <a:buNone/>
              <a:tabLst/>
              <a:defRPr/>
            </a:pP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Fuente: *Data </a:t>
            </a:r>
            <a:r>
              <a:rPr kumimoji="0" lang="es-ES" sz="800" b="0" i="0" u="none" strike="noStrike" kern="1200" cap="none" spc="0" normalizeH="0" baseline="0" noProof="0" dirty="0" err="1">
                <a:ln>
                  <a:noFill/>
                </a:ln>
                <a:solidFill>
                  <a:srgbClr val="202020"/>
                </a:solidFill>
                <a:effectLst/>
                <a:uLnTx/>
                <a:uFillTx/>
                <a:latin typeface="Arial" panose="020B0604020202020204"/>
                <a:ea typeface="+mn-ea"/>
                <a:cs typeface="+mn-cs"/>
              </a:rPr>
              <a:t>World</a:t>
            </a: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 Banco Mundial (1990-1999) y FMI (2000-2029); Informe del FMI publicado en abril de 2024, datos del Banco Mundial del informe de noviembre de 2023;  Nota: El promedio de inflación se calcula sobre la base de la tasa de cambio anual compuesta.</a:t>
            </a:r>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8A2845A8-40E4-EDEE-CA02-5BE863444672}"/>
              </a:ext>
            </a:extLst>
          </p:cNvPr>
          <p:cNvSpPr txBox="1"/>
          <p:nvPr/>
        </p:nvSpPr>
        <p:spPr>
          <a:xfrm>
            <a:off x="5646504" y="5369371"/>
            <a:ext cx="582846" cy="184666"/>
          </a:xfrm>
          <a:prstGeom prst="rect">
            <a:avLst/>
          </a:prstGeom>
          <a:solidFill>
            <a:schemeClr val="bg1"/>
          </a:solidFill>
        </p:spPr>
        <p:txBody>
          <a:bodyPr wrap="square" lIns="0" tIns="0" rIns="0" bIns="0" rtlCol="0">
            <a:spAutoFit/>
          </a:bodyPr>
          <a:lstStyle/>
          <a:p>
            <a:pPr algn="l"/>
            <a:r>
              <a:rPr lang="es-CO" sz="1200" dirty="0"/>
              <a:t>EE. UU.</a:t>
            </a:r>
          </a:p>
        </p:txBody>
      </p:sp>
      <p:sp>
        <p:nvSpPr>
          <p:cNvPr id="3" name="TextBox 2">
            <a:extLst>
              <a:ext uri="{FF2B5EF4-FFF2-40B4-BE49-F238E27FC236}">
                <a16:creationId xmlns:a16="http://schemas.microsoft.com/office/drawing/2014/main" id="{F40F3917-D477-B5A6-D576-D7A2FB60C99A}"/>
              </a:ext>
            </a:extLst>
          </p:cNvPr>
          <p:cNvSpPr txBox="1"/>
          <p:nvPr/>
        </p:nvSpPr>
        <p:spPr>
          <a:xfrm>
            <a:off x="6551379" y="5368732"/>
            <a:ext cx="582846" cy="184666"/>
          </a:xfrm>
          <a:prstGeom prst="rect">
            <a:avLst/>
          </a:prstGeom>
          <a:solidFill>
            <a:schemeClr val="bg1"/>
          </a:solidFill>
        </p:spPr>
        <p:txBody>
          <a:bodyPr wrap="square" lIns="0" tIns="0" rIns="0" bIns="0" rtlCol="0">
            <a:spAutoFit/>
          </a:bodyPr>
          <a:lstStyle/>
          <a:p>
            <a:pPr algn="l"/>
            <a:r>
              <a:rPr lang="es-CO" sz="1200" dirty="0"/>
              <a:t>Mundo</a:t>
            </a:r>
          </a:p>
        </p:txBody>
      </p:sp>
    </p:spTree>
    <p:extLst>
      <p:ext uri="{BB962C8B-B14F-4D97-AF65-F5344CB8AC3E}">
        <p14:creationId xmlns:p14="http://schemas.microsoft.com/office/powerpoint/2010/main" val="72599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EE3A81-11AA-A7A7-6F01-EF99613F5642}"/>
              </a:ext>
            </a:extLst>
          </p:cNvPr>
          <p:cNvSpPr>
            <a:spLocks noGrp="1"/>
          </p:cNvSpPr>
          <p:nvPr>
            <p:ph type="title"/>
          </p:nvPr>
        </p:nvSpPr>
        <p:spPr>
          <a:xfrm>
            <a:off x="485776" y="355601"/>
            <a:ext cx="11630024" cy="495299"/>
          </a:xfrm>
        </p:spPr>
        <p:txBody>
          <a:bodyPr/>
          <a:lstStyle/>
          <a:p>
            <a:r>
              <a:rPr lang="es-ES" dirty="0"/>
              <a:t>Variación interanual del patrimonio neto de las reaseguradoras</a:t>
            </a:r>
            <a:endParaRPr lang="en-GB" dirty="0"/>
          </a:p>
        </p:txBody>
      </p:sp>
      <p:sp>
        <p:nvSpPr>
          <p:cNvPr id="5" name="Footer Placeholder 4">
            <a:extLst>
              <a:ext uri="{FF2B5EF4-FFF2-40B4-BE49-F238E27FC236}">
                <a16:creationId xmlns:a16="http://schemas.microsoft.com/office/drawing/2014/main" id="{DDEFA0A2-D596-E9EF-AD7C-8850B3557C9D}"/>
              </a:ext>
            </a:extLst>
          </p:cNvPr>
          <p:cNvSpPr>
            <a:spLocks noGrp="1"/>
          </p:cNvSpPr>
          <p:nvPr>
            <p:ph type="ftr" sz="quarter" idx="11"/>
          </p:nvPr>
        </p:nvSpPr>
        <p:spPr/>
        <p:txBody>
          <a:bodyPr lIns="91440" tIns="45720" rIns="91440" bIns="45720" anchor="t"/>
          <a:lstStyle/>
          <a:p>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Fuente: S&amp;P Global, Visible Alpha, cálculos de Guy </a:t>
            </a:r>
            <a:r>
              <a:rPr kumimoji="0" lang="es-ES" sz="800" b="0" i="0" u="none" strike="noStrike" kern="1200" cap="none" spc="0" normalizeH="0" baseline="0" noProof="0" dirty="0" err="1">
                <a:ln>
                  <a:noFill/>
                </a:ln>
                <a:solidFill>
                  <a:srgbClr val="202020"/>
                </a:solidFill>
                <a:effectLst/>
                <a:uLnTx/>
                <a:uFillTx/>
                <a:latin typeface="Arial" panose="020B0604020202020204"/>
                <a:ea typeface="+mn-ea"/>
                <a:cs typeface="+mn-cs"/>
              </a:rPr>
              <a:t>Carpenter</a:t>
            </a: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 Estimaciones para 2024-2026 al 31 de mayo de 2024, sujetas a cambios.</a:t>
            </a:r>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F6410232-A24C-51DF-3A3B-1A84588DBB6C}"/>
              </a:ext>
            </a:extLst>
          </p:cNvPr>
          <p:cNvSpPr>
            <a:spLocks noGrp="1"/>
          </p:cNvSpPr>
          <p:nvPr>
            <p:ph type="body" sz="quarter" idx="12"/>
          </p:nvPr>
        </p:nvSpPr>
        <p:spPr>
          <a:xfrm>
            <a:off x="485775" y="806400"/>
            <a:ext cx="11430000" cy="320400"/>
          </a:xfrm>
        </p:spPr>
        <p:txBody>
          <a:bodyPr/>
          <a:lstStyle/>
          <a:p>
            <a:r>
              <a:rPr lang="es-ES" dirty="0"/>
              <a:t>Previsión de que el patrimonio neto aumentará en más de ~100 mil millones de dólares entre 2023 y 2026</a:t>
            </a:r>
            <a:endParaRPr lang="en-GB" dirty="0"/>
          </a:p>
        </p:txBody>
      </p:sp>
      <p:graphicFrame>
        <p:nvGraphicFramePr>
          <p:cNvPr id="4" name="Chart 3">
            <a:extLst>
              <a:ext uri="{FF2B5EF4-FFF2-40B4-BE49-F238E27FC236}">
                <a16:creationId xmlns:a16="http://schemas.microsoft.com/office/drawing/2014/main" id="{4BE46263-A30A-40FE-A257-3BF99A8C24B4}"/>
              </a:ext>
            </a:extLst>
          </p:cNvPr>
          <p:cNvGraphicFramePr>
            <a:graphicFrameLocks/>
          </p:cNvGraphicFramePr>
          <p:nvPr>
            <p:extLst>
              <p:ext uri="{D42A27DB-BD31-4B8C-83A1-F6EECF244321}">
                <p14:modId xmlns:p14="http://schemas.microsoft.com/office/powerpoint/2010/main" val="3719552442"/>
              </p:ext>
            </p:extLst>
          </p:nvPr>
        </p:nvGraphicFramePr>
        <p:xfrm>
          <a:off x="485776" y="1405334"/>
          <a:ext cx="11225024" cy="4250531"/>
        </p:xfrm>
        <a:graphic>
          <a:graphicData uri="http://schemas.openxmlformats.org/drawingml/2006/chart">
            <c:chart xmlns:c="http://schemas.openxmlformats.org/drawingml/2006/chart" xmlns:r="http://schemas.openxmlformats.org/officeDocument/2006/relationships" r:id="rId2"/>
          </a:graphicData>
        </a:graphic>
      </p:graphicFrame>
      <p:sp>
        <p:nvSpPr>
          <p:cNvPr id="9" name="Slide Number Placeholder 8">
            <a:extLst>
              <a:ext uri="{FF2B5EF4-FFF2-40B4-BE49-F238E27FC236}">
                <a16:creationId xmlns:a16="http://schemas.microsoft.com/office/drawing/2014/main" id="{FFC673F4-56E8-1B75-64B1-CDEB0A991E72}"/>
              </a:ext>
            </a:extLst>
          </p:cNvPr>
          <p:cNvSpPr>
            <a:spLocks noGrp="1"/>
          </p:cNvSpPr>
          <p:nvPr>
            <p:ph type="sldNum" sz="quarter" idx="10"/>
          </p:nvPr>
        </p:nvSpPr>
        <p:spPr/>
        <p:txBody>
          <a:bodyPr/>
          <a:lstStyle/>
          <a:p>
            <a:pPr algn="r"/>
            <a:fld id="{DF66040D-6F20-4F4B-8995-856BEECD84BE}" type="slidenum">
              <a:rPr lang="en-US" smtClean="0"/>
              <a:pPr algn="r"/>
              <a:t>12</a:t>
            </a:fld>
            <a:endParaRPr lang="en-US"/>
          </a:p>
        </p:txBody>
      </p:sp>
      <p:sp>
        <p:nvSpPr>
          <p:cNvPr id="10" name="Rectangle 9">
            <a:extLst>
              <a:ext uri="{FF2B5EF4-FFF2-40B4-BE49-F238E27FC236}">
                <a16:creationId xmlns:a16="http://schemas.microsoft.com/office/drawing/2014/main" id="{A9E2787C-6929-A360-B773-8BE10070D75F}"/>
              </a:ext>
            </a:extLst>
          </p:cNvPr>
          <p:cNvSpPr/>
          <p:nvPr/>
        </p:nvSpPr>
        <p:spPr>
          <a:xfrm>
            <a:off x="5019151" y="5846907"/>
            <a:ext cx="884729" cy="276999"/>
          </a:xfrm>
          <a:prstGeom prst="rect">
            <a:avLst/>
          </a:prstGeom>
        </p:spPr>
        <p:txBody>
          <a:bodyPr wrap="non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panose="020B0604020202020204"/>
                <a:ea typeface="+mn-ea"/>
                <a:cs typeface="+mn-cs"/>
              </a:rPr>
              <a:t>A</a:t>
            </a:r>
            <a:r>
              <a:rPr kumimoji="0" lang="en-US" sz="1200" b="0" i="0" u="none" strike="noStrike" kern="1200" cap="none" spc="0" normalizeH="0" baseline="0" noProof="0">
                <a:ln>
                  <a:noFill/>
                </a:ln>
                <a:effectLst/>
                <a:uLnTx/>
                <a:uFillTx/>
                <a:latin typeface="Arial" panose="020B0604020202020204"/>
                <a:ea typeface="+mn-ea"/>
                <a:cs typeface="+mn-cs"/>
              </a:rPr>
              <a:t> – Actual</a:t>
            </a:r>
          </a:p>
        </p:txBody>
      </p:sp>
      <p:sp>
        <p:nvSpPr>
          <p:cNvPr id="11" name="Rectangle 10">
            <a:extLst>
              <a:ext uri="{FF2B5EF4-FFF2-40B4-BE49-F238E27FC236}">
                <a16:creationId xmlns:a16="http://schemas.microsoft.com/office/drawing/2014/main" id="{DC14D1B8-7546-3CAD-FE4D-3893DE66F9AB}"/>
              </a:ext>
            </a:extLst>
          </p:cNvPr>
          <p:cNvSpPr/>
          <p:nvPr/>
        </p:nvSpPr>
        <p:spPr>
          <a:xfrm>
            <a:off x="6018180" y="5846907"/>
            <a:ext cx="1098378" cy="276999"/>
          </a:xfrm>
          <a:prstGeom prst="rect">
            <a:avLst/>
          </a:prstGeom>
        </p:spPr>
        <p:txBody>
          <a:bodyPr wrap="non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a:t>
            </a:r>
            <a:r>
              <a:rPr kumimoji="0" lang="en-US" sz="1200" b="0" i="0" u="none" strike="noStrike" kern="1200" cap="none" spc="0" normalizeH="0" baseline="0" noProof="0" dirty="0">
                <a:ln>
                  <a:noFill/>
                </a:ln>
                <a:effectLst/>
                <a:uLnTx/>
                <a:uFillTx/>
                <a:latin typeface="Arial" panose="020B0604020202020204"/>
                <a:ea typeface="+mn-ea"/>
                <a:cs typeface="+mn-cs"/>
              </a:rPr>
              <a:t> – </a:t>
            </a:r>
            <a:r>
              <a:rPr kumimoji="0" lang="en-US" sz="1200" b="0" i="0" u="none" strike="noStrike" kern="1200" cap="none" spc="0" normalizeH="0" baseline="0" noProof="0" dirty="0" err="1">
                <a:ln>
                  <a:noFill/>
                </a:ln>
                <a:effectLst/>
                <a:uLnTx/>
                <a:uFillTx/>
                <a:latin typeface="Arial" panose="020B0604020202020204"/>
                <a:ea typeface="+mn-ea"/>
                <a:cs typeface="+mn-cs"/>
              </a:rPr>
              <a:t>Estimado</a:t>
            </a:r>
            <a:endParaRPr kumimoji="0" lang="en-US" sz="1200" b="0"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3172222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DB0CB-268F-4218-9A99-BA9C96147D95}"/>
              </a:ext>
            </a:extLst>
          </p:cNvPr>
          <p:cNvSpPr>
            <a:spLocks noGrp="1"/>
          </p:cNvSpPr>
          <p:nvPr>
            <p:ph type="title"/>
          </p:nvPr>
        </p:nvSpPr>
        <p:spPr>
          <a:xfrm>
            <a:off x="482600" y="358774"/>
            <a:ext cx="11226800" cy="5762626"/>
          </a:xfrm>
        </p:spPr>
        <p:txBody>
          <a:bodyPr/>
          <a:lstStyle/>
          <a:p>
            <a:r>
              <a:rPr lang="en-US" dirty="0" err="1"/>
              <a:t>Perspectivas</a:t>
            </a:r>
            <a:r>
              <a:rPr lang="en-US" dirty="0"/>
              <a:t> </a:t>
            </a:r>
            <a:r>
              <a:rPr lang="en-US" dirty="0" err="1"/>
              <a:t>meteorológicas</a:t>
            </a:r>
            <a:r>
              <a:rPr lang="en-US" dirty="0"/>
              <a:t> y </a:t>
            </a:r>
            <a:r>
              <a:rPr lang="en-US" dirty="0" err="1"/>
              <a:t>climáticas</a:t>
            </a:r>
            <a:endParaRPr lang="en-US" dirty="0"/>
          </a:p>
        </p:txBody>
      </p:sp>
      <p:grpSp>
        <p:nvGrpSpPr>
          <p:cNvPr id="6" name="Group 4">
            <a:extLst>
              <a:ext uri="{FF2B5EF4-FFF2-40B4-BE49-F238E27FC236}">
                <a16:creationId xmlns:a16="http://schemas.microsoft.com/office/drawing/2014/main" id="{4D852F62-CDA8-411B-AB88-8CBE7C45E593}"/>
              </a:ext>
            </a:extLst>
          </p:cNvPr>
          <p:cNvGrpSpPr>
            <a:grpSpLocks noChangeAspect="1"/>
          </p:cNvGrpSpPr>
          <p:nvPr/>
        </p:nvGrpSpPr>
        <p:grpSpPr bwMode="auto">
          <a:xfrm>
            <a:off x="7360827" y="2395728"/>
            <a:ext cx="4346373" cy="4462272"/>
            <a:chOff x="3835" y="2163"/>
            <a:chExt cx="600" cy="616"/>
          </a:xfrm>
          <a:solidFill>
            <a:schemeClr val="accent4"/>
          </a:solidFill>
        </p:grpSpPr>
        <p:sp>
          <p:nvSpPr>
            <p:cNvPr id="9" name="Freeform 5">
              <a:extLst>
                <a:ext uri="{FF2B5EF4-FFF2-40B4-BE49-F238E27FC236}">
                  <a16:creationId xmlns:a16="http://schemas.microsoft.com/office/drawing/2014/main" id="{2DDF1EFB-651B-4CE6-9545-FA9F0F43BA7A}"/>
                </a:ext>
              </a:extLst>
            </p:cNvPr>
            <p:cNvSpPr>
              <a:spLocks noEditPoints="1"/>
            </p:cNvSpPr>
            <p:nvPr/>
          </p:nvSpPr>
          <p:spPr bwMode="auto">
            <a:xfrm>
              <a:off x="4154" y="2225"/>
              <a:ext cx="281" cy="554"/>
            </a:xfrm>
            <a:custGeom>
              <a:avLst/>
              <a:gdLst>
                <a:gd name="T0" fmla="*/ 96 w 117"/>
                <a:gd name="T1" fmla="*/ 128 h 231"/>
                <a:gd name="T2" fmla="*/ 96 w 117"/>
                <a:gd name="T3" fmla="*/ 37 h 231"/>
                <a:gd name="T4" fmla="*/ 59 w 117"/>
                <a:gd name="T5" fmla="*/ 0 h 231"/>
                <a:gd name="T6" fmla="*/ 22 w 117"/>
                <a:gd name="T7" fmla="*/ 37 h 231"/>
                <a:gd name="T8" fmla="*/ 22 w 117"/>
                <a:gd name="T9" fmla="*/ 128 h 231"/>
                <a:gd name="T10" fmla="*/ 0 w 117"/>
                <a:gd name="T11" fmla="*/ 173 h 231"/>
                <a:gd name="T12" fmla="*/ 59 w 117"/>
                <a:gd name="T13" fmla="*/ 231 h 231"/>
                <a:gd name="T14" fmla="*/ 117 w 117"/>
                <a:gd name="T15" fmla="*/ 173 h 231"/>
                <a:gd name="T16" fmla="*/ 96 w 117"/>
                <a:gd name="T17" fmla="*/ 128 h 231"/>
                <a:gd name="T18" fmla="*/ 59 w 117"/>
                <a:gd name="T19" fmla="*/ 214 h 231"/>
                <a:gd name="T20" fmla="*/ 16 w 117"/>
                <a:gd name="T21" fmla="*/ 172 h 231"/>
                <a:gd name="T22" fmla="*/ 34 w 117"/>
                <a:gd name="T23" fmla="*/ 137 h 231"/>
                <a:gd name="T24" fmla="*/ 37 w 117"/>
                <a:gd name="T25" fmla="*/ 131 h 231"/>
                <a:gd name="T26" fmla="*/ 37 w 117"/>
                <a:gd name="T27" fmla="*/ 37 h 231"/>
                <a:gd name="T28" fmla="*/ 58 w 117"/>
                <a:gd name="T29" fmla="*/ 16 h 231"/>
                <a:gd name="T30" fmla="*/ 80 w 117"/>
                <a:gd name="T31" fmla="*/ 37 h 231"/>
                <a:gd name="T32" fmla="*/ 80 w 117"/>
                <a:gd name="T33" fmla="*/ 132 h 231"/>
                <a:gd name="T34" fmla="*/ 83 w 117"/>
                <a:gd name="T35" fmla="*/ 138 h 231"/>
                <a:gd name="T36" fmla="*/ 100 w 117"/>
                <a:gd name="T37" fmla="*/ 173 h 231"/>
                <a:gd name="T38" fmla="*/ 59 w 117"/>
                <a:gd name="T39" fmla="*/ 21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231">
                  <a:moveTo>
                    <a:pt x="96" y="128"/>
                  </a:moveTo>
                  <a:cubicBezTo>
                    <a:pt x="96" y="37"/>
                    <a:pt x="96" y="37"/>
                    <a:pt x="96" y="37"/>
                  </a:cubicBezTo>
                  <a:cubicBezTo>
                    <a:pt x="96" y="17"/>
                    <a:pt x="79" y="0"/>
                    <a:pt x="59" y="0"/>
                  </a:cubicBezTo>
                  <a:cubicBezTo>
                    <a:pt x="39" y="0"/>
                    <a:pt x="22" y="17"/>
                    <a:pt x="22" y="37"/>
                  </a:cubicBezTo>
                  <a:cubicBezTo>
                    <a:pt x="22" y="128"/>
                    <a:pt x="22" y="128"/>
                    <a:pt x="22" y="128"/>
                  </a:cubicBezTo>
                  <a:cubicBezTo>
                    <a:pt x="8" y="139"/>
                    <a:pt x="0" y="155"/>
                    <a:pt x="0" y="173"/>
                  </a:cubicBezTo>
                  <a:cubicBezTo>
                    <a:pt x="0" y="205"/>
                    <a:pt x="26" y="231"/>
                    <a:pt x="59" y="231"/>
                  </a:cubicBezTo>
                  <a:cubicBezTo>
                    <a:pt x="92" y="231"/>
                    <a:pt x="117" y="205"/>
                    <a:pt x="117" y="173"/>
                  </a:cubicBezTo>
                  <a:cubicBezTo>
                    <a:pt x="117" y="154"/>
                    <a:pt x="109" y="138"/>
                    <a:pt x="96" y="128"/>
                  </a:cubicBezTo>
                  <a:close/>
                  <a:moveTo>
                    <a:pt x="59" y="214"/>
                  </a:moveTo>
                  <a:cubicBezTo>
                    <a:pt x="36" y="214"/>
                    <a:pt x="16" y="196"/>
                    <a:pt x="16" y="172"/>
                  </a:cubicBezTo>
                  <a:cubicBezTo>
                    <a:pt x="16" y="158"/>
                    <a:pt x="23" y="145"/>
                    <a:pt x="34" y="137"/>
                  </a:cubicBezTo>
                  <a:cubicBezTo>
                    <a:pt x="36" y="136"/>
                    <a:pt x="37" y="133"/>
                    <a:pt x="37" y="131"/>
                  </a:cubicBezTo>
                  <a:cubicBezTo>
                    <a:pt x="37" y="37"/>
                    <a:pt x="37" y="37"/>
                    <a:pt x="37" y="37"/>
                  </a:cubicBezTo>
                  <a:cubicBezTo>
                    <a:pt x="37" y="25"/>
                    <a:pt x="47" y="16"/>
                    <a:pt x="58" y="16"/>
                  </a:cubicBezTo>
                  <a:cubicBezTo>
                    <a:pt x="69" y="16"/>
                    <a:pt x="80" y="25"/>
                    <a:pt x="80" y="37"/>
                  </a:cubicBezTo>
                  <a:cubicBezTo>
                    <a:pt x="80" y="132"/>
                    <a:pt x="80" y="132"/>
                    <a:pt x="80" y="132"/>
                  </a:cubicBezTo>
                  <a:cubicBezTo>
                    <a:pt x="80" y="134"/>
                    <a:pt x="81" y="137"/>
                    <a:pt x="83" y="138"/>
                  </a:cubicBezTo>
                  <a:cubicBezTo>
                    <a:pt x="94" y="146"/>
                    <a:pt x="100" y="158"/>
                    <a:pt x="100" y="173"/>
                  </a:cubicBezTo>
                  <a:cubicBezTo>
                    <a:pt x="101" y="196"/>
                    <a:pt x="83" y="214"/>
                    <a:pt x="59"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Freeform 6">
              <a:extLst>
                <a:ext uri="{FF2B5EF4-FFF2-40B4-BE49-F238E27FC236}">
                  <a16:creationId xmlns:a16="http://schemas.microsoft.com/office/drawing/2014/main" id="{5214896C-2854-4FAD-82F7-B7C2AFB87BFC}"/>
                </a:ext>
              </a:extLst>
            </p:cNvPr>
            <p:cNvSpPr>
              <a:spLocks noEditPoints="1"/>
            </p:cNvSpPr>
            <p:nvPr/>
          </p:nvSpPr>
          <p:spPr bwMode="auto">
            <a:xfrm>
              <a:off x="4224" y="2412"/>
              <a:ext cx="141" cy="295"/>
            </a:xfrm>
            <a:custGeom>
              <a:avLst/>
              <a:gdLst>
                <a:gd name="T0" fmla="*/ 38 w 59"/>
                <a:gd name="T1" fmla="*/ 66 h 123"/>
                <a:gd name="T2" fmla="*/ 38 w 59"/>
                <a:gd name="T3" fmla="*/ 8 h 123"/>
                <a:gd name="T4" fmla="*/ 30 w 59"/>
                <a:gd name="T5" fmla="*/ 0 h 123"/>
                <a:gd name="T6" fmla="*/ 22 w 59"/>
                <a:gd name="T7" fmla="*/ 8 h 123"/>
                <a:gd name="T8" fmla="*/ 22 w 59"/>
                <a:gd name="T9" fmla="*/ 66 h 123"/>
                <a:gd name="T10" fmla="*/ 0 w 59"/>
                <a:gd name="T11" fmla="*/ 94 h 123"/>
                <a:gd name="T12" fmla="*/ 30 w 59"/>
                <a:gd name="T13" fmla="*/ 123 h 123"/>
                <a:gd name="T14" fmla="*/ 59 w 59"/>
                <a:gd name="T15" fmla="*/ 94 h 123"/>
                <a:gd name="T16" fmla="*/ 38 w 59"/>
                <a:gd name="T17" fmla="*/ 66 h 123"/>
                <a:gd name="T18" fmla="*/ 30 w 59"/>
                <a:gd name="T19" fmla="*/ 107 h 123"/>
                <a:gd name="T20" fmla="*/ 16 w 59"/>
                <a:gd name="T21" fmla="*/ 94 h 123"/>
                <a:gd name="T22" fmla="*/ 30 w 59"/>
                <a:gd name="T23" fmla="*/ 80 h 123"/>
                <a:gd name="T24" fmla="*/ 43 w 59"/>
                <a:gd name="T25" fmla="*/ 94 h 123"/>
                <a:gd name="T26" fmla="*/ 30 w 59"/>
                <a:gd name="T2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23">
                  <a:moveTo>
                    <a:pt x="38" y="66"/>
                  </a:moveTo>
                  <a:cubicBezTo>
                    <a:pt x="38" y="8"/>
                    <a:pt x="38" y="8"/>
                    <a:pt x="38" y="8"/>
                  </a:cubicBezTo>
                  <a:cubicBezTo>
                    <a:pt x="38" y="3"/>
                    <a:pt x="35" y="0"/>
                    <a:pt x="30" y="0"/>
                  </a:cubicBezTo>
                  <a:cubicBezTo>
                    <a:pt x="25" y="0"/>
                    <a:pt x="22" y="3"/>
                    <a:pt x="22" y="8"/>
                  </a:cubicBezTo>
                  <a:cubicBezTo>
                    <a:pt x="22" y="66"/>
                    <a:pt x="22" y="66"/>
                    <a:pt x="22" y="66"/>
                  </a:cubicBezTo>
                  <a:cubicBezTo>
                    <a:pt x="10" y="69"/>
                    <a:pt x="0" y="80"/>
                    <a:pt x="0" y="94"/>
                  </a:cubicBezTo>
                  <a:cubicBezTo>
                    <a:pt x="0" y="110"/>
                    <a:pt x="14" y="123"/>
                    <a:pt x="30" y="123"/>
                  </a:cubicBezTo>
                  <a:cubicBezTo>
                    <a:pt x="46" y="123"/>
                    <a:pt x="59" y="110"/>
                    <a:pt x="59" y="94"/>
                  </a:cubicBezTo>
                  <a:cubicBezTo>
                    <a:pt x="59" y="81"/>
                    <a:pt x="51" y="70"/>
                    <a:pt x="38" y="66"/>
                  </a:cubicBezTo>
                  <a:close/>
                  <a:moveTo>
                    <a:pt x="30" y="107"/>
                  </a:moveTo>
                  <a:cubicBezTo>
                    <a:pt x="23" y="107"/>
                    <a:pt x="16" y="101"/>
                    <a:pt x="16" y="94"/>
                  </a:cubicBezTo>
                  <a:cubicBezTo>
                    <a:pt x="16" y="87"/>
                    <a:pt x="23" y="80"/>
                    <a:pt x="30" y="80"/>
                  </a:cubicBezTo>
                  <a:cubicBezTo>
                    <a:pt x="37" y="80"/>
                    <a:pt x="43" y="87"/>
                    <a:pt x="43" y="94"/>
                  </a:cubicBezTo>
                  <a:cubicBezTo>
                    <a:pt x="43" y="101"/>
                    <a:pt x="38" y="107"/>
                    <a:pt x="3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 name="Freeform 7">
              <a:extLst>
                <a:ext uri="{FF2B5EF4-FFF2-40B4-BE49-F238E27FC236}">
                  <a16:creationId xmlns:a16="http://schemas.microsoft.com/office/drawing/2014/main" id="{267789A2-EC18-43C9-BCF8-17AF4A9ECD7B}"/>
                </a:ext>
              </a:extLst>
            </p:cNvPr>
            <p:cNvSpPr>
              <a:spLocks/>
            </p:cNvSpPr>
            <p:nvPr/>
          </p:nvSpPr>
          <p:spPr bwMode="auto">
            <a:xfrm>
              <a:off x="3835" y="2163"/>
              <a:ext cx="319" cy="338"/>
            </a:xfrm>
            <a:custGeom>
              <a:avLst/>
              <a:gdLst>
                <a:gd name="T0" fmla="*/ 125 w 133"/>
                <a:gd name="T1" fmla="*/ 64 h 141"/>
                <a:gd name="T2" fmla="*/ 127 w 133"/>
                <a:gd name="T3" fmla="*/ 49 h 141"/>
                <a:gd name="T4" fmla="*/ 125 w 133"/>
                <a:gd name="T5" fmla="*/ 47 h 141"/>
                <a:gd name="T6" fmla="*/ 117 w 133"/>
                <a:gd name="T7" fmla="*/ 32 h 141"/>
                <a:gd name="T8" fmla="*/ 116 w 133"/>
                <a:gd name="T9" fmla="*/ 29 h 141"/>
                <a:gd name="T10" fmla="*/ 101 w 133"/>
                <a:gd name="T11" fmla="*/ 25 h 141"/>
                <a:gd name="T12" fmla="*/ 75 w 133"/>
                <a:gd name="T13" fmla="*/ 56 h 141"/>
                <a:gd name="T14" fmla="*/ 89 w 133"/>
                <a:gd name="T15" fmla="*/ 20 h 141"/>
                <a:gd name="T16" fmla="*/ 78 w 133"/>
                <a:gd name="T17" fmla="*/ 8 h 141"/>
                <a:gd name="T18" fmla="*/ 75 w 133"/>
                <a:gd name="T19" fmla="*/ 8 h 141"/>
                <a:gd name="T20" fmla="*/ 59 w 133"/>
                <a:gd name="T21" fmla="*/ 8 h 141"/>
                <a:gd name="T22" fmla="*/ 55 w 133"/>
                <a:gd name="T23" fmla="*/ 8 h 141"/>
                <a:gd name="T24" fmla="*/ 44 w 133"/>
                <a:gd name="T25" fmla="*/ 19 h 141"/>
                <a:gd name="T26" fmla="*/ 58 w 133"/>
                <a:gd name="T27" fmla="*/ 56 h 141"/>
                <a:gd name="T28" fmla="*/ 33 w 133"/>
                <a:gd name="T29" fmla="*/ 25 h 141"/>
                <a:gd name="T30" fmla="*/ 18 w 133"/>
                <a:gd name="T31" fmla="*/ 29 h 141"/>
                <a:gd name="T32" fmla="*/ 17 w 133"/>
                <a:gd name="T33" fmla="*/ 32 h 141"/>
                <a:gd name="T34" fmla="*/ 9 w 133"/>
                <a:gd name="T35" fmla="*/ 47 h 141"/>
                <a:gd name="T36" fmla="*/ 7 w 133"/>
                <a:gd name="T37" fmla="*/ 49 h 141"/>
                <a:gd name="T38" fmla="*/ 9 w 133"/>
                <a:gd name="T39" fmla="*/ 64 h 141"/>
                <a:gd name="T40" fmla="*/ 32 w 133"/>
                <a:gd name="T41" fmla="*/ 59 h 141"/>
                <a:gd name="T42" fmla="*/ 31 w 133"/>
                <a:gd name="T43" fmla="*/ 82 h 141"/>
                <a:gd name="T44" fmla="*/ 1 w 133"/>
                <a:gd name="T45" fmla="*/ 82 h 141"/>
                <a:gd name="T46" fmla="*/ 12 w 133"/>
                <a:gd name="T47" fmla="*/ 93 h 141"/>
                <a:gd name="T48" fmla="*/ 6 w 133"/>
                <a:gd name="T49" fmla="*/ 106 h 141"/>
                <a:gd name="T50" fmla="*/ 17 w 133"/>
                <a:gd name="T51" fmla="*/ 109 h 141"/>
                <a:gd name="T52" fmla="*/ 18 w 133"/>
                <a:gd name="T53" fmla="*/ 112 h 141"/>
                <a:gd name="T54" fmla="*/ 26 w 133"/>
                <a:gd name="T55" fmla="*/ 122 h 141"/>
                <a:gd name="T56" fmla="*/ 40 w 133"/>
                <a:gd name="T57" fmla="*/ 96 h 141"/>
                <a:gd name="T58" fmla="*/ 59 w 133"/>
                <a:gd name="T59" fmla="*/ 107 h 141"/>
                <a:gd name="T60" fmla="*/ 45 w 133"/>
                <a:gd name="T61" fmla="*/ 133 h 141"/>
                <a:gd name="T62" fmla="*/ 59 w 133"/>
                <a:gd name="T63" fmla="*/ 130 h 141"/>
                <a:gd name="T64" fmla="*/ 67 w 133"/>
                <a:gd name="T65" fmla="*/ 141 h 141"/>
                <a:gd name="T66" fmla="*/ 75 w 133"/>
                <a:gd name="T67" fmla="*/ 130 h 141"/>
                <a:gd name="T68" fmla="*/ 84 w 133"/>
                <a:gd name="T69" fmla="*/ 135 h 141"/>
                <a:gd name="T70" fmla="*/ 89 w 133"/>
                <a:gd name="T71" fmla="*/ 122 h 141"/>
                <a:gd name="T72" fmla="*/ 75 w 133"/>
                <a:gd name="T73" fmla="*/ 85 h 141"/>
                <a:gd name="T74" fmla="*/ 100 w 133"/>
                <a:gd name="T75" fmla="*/ 116 h 141"/>
                <a:gd name="T76" fmla="*/ 110 w 133"/>
                <a:gd name="T77" fmla="*/ 122 h 141"/>
                <a:gd name="T78" fmla="*/ 114 w 133"/>
                <a:gd name="T79" fmla="*/ 107 h 141"/>
                <a:gd name="T80" fmla="*/ 121 w 133"/>
                <a:gd name="T81" fmla="*/ 110 h 141"/>
                <a:gd name="T82" fmla="*/ 125 w 133"/>
                <a:gd name="T83" fmla="*/ 95 h 141"/>
                <a:gd name="T84" fmla="*/ 127 w 133"/>
                <a:gd name="T85" fmla="*/ 91 h 141"/>
                <a:gd name="T86" fmla="*/ 123 w 133"/>
                <a:gd name="T87" fmla="*/ 76 h 141"/>
                <a:gd name="T88" fmla="*/ 84 w 133"/>
                <a:gd name="T89" fmla="*/ 71 h 141"/>
                <a:gd name="T90" fmla="*/ 122 w 133"/>
                <a:gd name="T91" fmla="*/ 6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 h="141">
                  <a:moveTo>
                    <a:pt x="122" y="64"/>
                  </a:moveTo>
                  <a:cubicBezTo>
                    <a:pt x="123" y="64"/>
                    <a:pt x="124" y="64"/>
                    <a:pt x="125" y="64"/>
                  </a:cubicBezTo>
                  <a:cubicBezTo>
                    <a:pt x="128" y="64"/>
                    <a:pt x="131" y="62"/>
                    <a:pt x="133" y="59"/>
                  </a:cubicBezTo>
                  <a:cubicBezTo>
                    <a:pt x="133" y="55"/>
                    <a:pt x="131" y="50"/>
                    <a:pt x="127" y="49"/>
                  </a:cubicBezTo>
                  <a:cubicBezTo>
                    <a:pt x="122" y="47"/>
                    <a:pt x="122" y="47"/>
                    <a:pt x="122" y="47"/>
                  </a:cubicBezTo>
                  <a:cubicBezTo>
                    <a:pt x="125" y="47"/>
                    <a:pt x="125" y="47"/>
                    <a:pt x="125" y="47"/>
                  </a:cubicBezTo>
                  <a:cubicBezTo>
                    <a:pt x="129" y="44"/>
                    <a:pt x="129" y="39"/>
                    <a:pt x="128" y="35"/>
                  </a:cubicBezTo>
                  <a:cubicBezTo>
                    <a:pt x="125" y="31"/>
                    <a:pt x="121" y="30"/>
                    <a:pt x="117" y="32"/>
                  </a:cubicBezTo>
                  <a:cubicBezTo>
                    <a:pt x="114" y="34"/>
                    <a:pt x="114" y="34"/>
                    <a:pt x="114" y="34"/>
                  </a:cubicBezTo>
                  <a:cubicBezTo>
                    <a:pt x="116" y="29"/>
                    <a:pt x="116" y="29"/>
                    <a:pt x="116" y="29"/>
                  </a:cubicBezTo>
                  <a:cubicBezTo>
                    <a:pt x="117" y="25"/>
                    <a:pt x="114" y="20"/>
                    <a:pt x="110" y="19"/>
                  </a:cubicBezTo>
                  <a:cubicBezTo>
                    <a:pt x="106" y="19"/>
                    <a:pt x="101" y="21"/>
                    <a:pt x="101" y="25"/>
                  </a:cubicBezTo>
                  <a:cubicBezTo>
                    <a:pt x="95" y="45"/>
                    <a:pt x="95" y="45"/>
                    <a:pt x="95" y="45"/>
                  </a:cubicBezTo>
                  <a:cubicBezTo>
                    <a:pt x="75" y="56"/>
                    <a:pt x="75" y="56"/>
                    <a:pt x="75" y="56"/>
                  </a:cubicBezTo>
                  <a:cubicBezTo>
                    <a:pt x="75" y="35"/>
                    <a:pt x="75" y="35"/>
                    <a:pt x="75" y="35"/>
                  </a:cubicBezTo>
                  <a:cubicBezTo>
                    <a:pt x="89" y="20"/>
                    <a:pt x="89" y="20"/>
                    <a:pt x="89" y="20"/>
                  </a:cubicBezTo>
                  <a:cubicBezTo>
                    <a:pt x="93" y="16"/>
                    <a:pt x="93" y="11"/>
                    <a:pt x="89" y="8"/>
                  </a:cubicBezTo>
                  <a:cubicBezTo>
                    <a:pt x="86" y="5"/>
                    <a:pt x="81" y="5"/>
                    <a:pt x="78" y="8"/>
                  </a:cubicBezTo>
                  <a:cubicBezTo>
                    <a:pt x="75" y="11"/>
                    <a:pt x="75" y="11"/>
                    <a:pt x="75" y="11"/>
                  </a:cubicBezTo>
                  <a:cubicBezTo>
                    <a:pt x="75" y="8"/>
                    <a:pt x="75" y="8"/>
                    <a:pt x="75" y="8"/>
                  </a:cubicBezTo>
                  <a:cubicBezTo>
                    <a:pt x="75" y="3"/>
                    <a:pt x="72" y="0"/>
                    <a:pt x="67" y="0"/>
                  </a:cubicBezTo>
                  <a:cubicBezTo>
                    <a:pt x="62" y="0"/>
                    <a:pt x="59" y="3"/>
                    <a:pt x="59" y="8"/>
                  </a:cubicBezTo>
                  <a:cubicBezTo>
                    <a:pt x="59" y="11"/>
                    <a:pt x="59" y="11"/>
                    <a:pt x="59" y="11"/>
                  </a:cubicBezTo>
                  <a:cubicBezTo>
                    <a:pt x="55" y="8"/>
                    <a:pt x="55" y="8"/>
                    <a:pt x="55" y="8"/>
                  </a:cubicBezTo>
                  <a:cubicBezTo>
                    <a:pt x="52" y="5"/>
                    <a:pt x="47" y="5"/>
                    <a:pt x="44" y="8"/>
                  </a:cubicBezTo>
                  <a:cubicBezTo>
                    <a:pt x="41" y="11"/>
                    <a:pt x="41" y="16"/>
                    <a:pt x="44" y="19"/>
                  </a:cubicBezTo>
                  <a:cubicBezTo>
                    <a:pt x="58" y="34"/>
                    <a:pt x="58" y="34"/>
                    <a:pt x="58" y="34"/>
                  </a:cubicBezTo>
                  <a:cubicBezTo>
                    <a:pt x="58" y="56"/>
                    <a:pt x="58" y="56"/>
                    <a:pt x="58" y="56"/>
                  </a:cubicBezTo>
                  <a:cubicBezTo>
                    <a:pt x="39" y="45"/>
                    <a:pt x="39" y="45"/>
                    <a:pt x="39" y="45"/>
                  </a:cubicBezTo>
                  <a:cubicBezTo>
                    <a:pt x="33" y="25"/>
                    <a:pt x="33" y="25"/>
                    <a:pt x="33" y="25"/>
                  </a:cubicBezTo>
                  <a:cubicBezTo>
                    <a:pt x="33" y="21"/>
                    <a:pt x="28" y="19"/>
                    <a:pt x="24" y="19"/>
                  </a:cubicBezTo>
                  <a:cubicBezTo>
                    <a:pt x="20" y="21"/>
                    <a:pt x="17" y="25"/>
                    <a:pt x="18" y="29"/>
                  </a:cubicBezTo>
                  <a:cubicBezTo>
                    <a:pt x="20" y="34"/>
                    <a:pt x="20" y="34"/>
                    <a:pt x="20" y="34"/>
                  </a:cubicBezTo>
                  <a:cubicBezTo>
                    <a:pt x="17" y="32"/>
                    <a:pt x="17" y="32"/>
                    <a:pt x="17" y="32"/>
                  </a:cubicBezTo>
                  <a:cubicBezTo>
                    <a:pt x="13" y="30"/>
                    <a:pt x="8" y="31"/>
                    <a:pt x="5" y="35"/>
                  </a:cubicBezTo>
                  <a:cubicBezTo>
                    <a:pt x="4" y="39"/>
                    <a:pt x="5" y="44"/>
                    <a:pt x="9" y="47"/>
                  </a:cubicBezTo>
                  <a:cubicBezTo>
                    <a:pt x="11" y="48"/>
                    <a:pt x="11" y="48"/>
                    <a:pt x="11" y="48"/>
                  </a:cubicBezTo>
                  <a:cubicBezTo>
                    <a:pt x="7" y="49"/>
                    <a:pt x="7" y="49"/>
                    <a:pt x="7" y="49"/>
                  </a:cubicBezTo>
                  <a:cubicBezTo>
                    <a:pt x="3" y="50"/>
                    <a:pt x="0" y="55"/>
                    <a:pt x="1" y="59"/>
                  </a:cubicBezTo>
                  <a:cubicBezTo>
                    <a:pt x="2" y="62"/>
                    <a:pt x="5" y="64"/>
                    <a:pt x="9" y="64"/>
                  </a:cubicBezTo>
                  <a:cubicBezTo>
                    <a:pt x="10" y="64"/>
                    <a:pt x="11" y="64"/>
                    <a:pt x="12" y="64"/>
                  </a:cubicBezTo>
                  <a:cubicBezTo>
                    <a:pt x="32" y="59"/>
                    <a:pt x="32" y="59"/>
                    <a:pt x="32" y="59"/>
                  </a:cubicBezTo>
                  <a:cubicBezTo>
                    <a:pt x="51" y="70"/>
                    <a:pt x="51" y="70"/>
                    <a:pt x="51" y="70"/>
                  </a:cubicBezTo>
                  <a:cubicBezTo>
                    <a:pt x="31" y="82"/>
                    <a:pt x="31" y="82"/>
                    <a:pt x="31" y="82"/>
                  </a:cubicBezTo>
                  <a:cubicBezTo>
                    <a:pt x="11" y="76"/>
                    <a:pt x="11" y="76"/>
                    <a:pt x="11" y="76"/>
                  </a:cubicBezTo>
                  <a:cubicBezTo>
                    <a:pt x="7" y="75"/>
                    <a:pt x="2" y="78"/>
                    <a:pt x="1" y="82"/>
                  </a:cubicBezTo>
                  <a:cubicBezTo>
                    <a:pt x="1" y="86"/>
                    <a:pt x="3" y="91"/>
                    <a:pt x="7" y="91"/>
                  </a:cubicBezTo>
                  <a:cubicBezTo>
                    <a:pt x="12" y="93"/>
                    <a:pt x="12" y="93"/>
                    <a:pt x="12" y="93"/>
                  </a:cubicBezTo>
                  <a:cubicBezTo>
                    <a:pt x="9" y="95"/>
                    <a:pt x="9" y="95"/>
                    <a:pt x="9" y="95"/>
                  </a:cubicBezTo>
                  <a:cubicBezTo>
                    <a:pt x="5" y="97"/>
                    <a:pt x="5" y="102"/>
                    <a:pt x="6" y="106"/>
                  </a:cubicBezTo>
                  <a:cubicBezTo>
                    <a:pt x="8" y="108"/>
                    <a:pt x="10" y="110"/>
                    <a:pt x="13" y="110"/>
                  </a:cubicBezTo>
                  <a:cubicBezTo>
                    <a:pt x="15" y="110"/>
                    <a:pt x="16" y="110"/>
                    <a:pt x="17" y="109"/>
                  </a:cubicBezTo>
                  <a:cubicBezTo>
                    <a:pt x="20" y="107"/>
                    <a:pt x="20" y="107"/>
                    <a:pt x="20" y="107"/>
                  </a:cubicBezTo>
                  <a:cubicBezTo>
                    <a:pt x="18" y="112"/>
                    <a:pt x="18" y="112"/>
                    <a:pt x="18" y="112"/>
                  </a:cubicBezTo>
                  <a:cubicBezTo>
                    <a:pt x="17" y="116"/>
                    <a:pt x="20" y="121"/>
                    <a:pt x="24" y="122"/>
                  </a:cubicBezTo>
                  <a:cubicBezTo>
                    <a:pt x="25" y="122"/>
                    <a:pt x="25" y="122"/>
                    <a:pt x="26" y="122"/>
                  </a:cubicBezTo>
                  <a:cubicBezTo>
                    <a:pt x="29" y="122"/>
                    <a:pt x="33" y="119"/>
                    <a:pt x="34" y="116"/>
                  </a:cubicBezTo>
                  <a:cubicBezTo>
                    <a:pt x="40" y="96"/>
                    <a:pt x="40" y="96"/>
                    <a:pt x="40" y="96"/>
                  </a:cubicBezTo>
                  <a:cubicBezTo>
                    <a:pt x="59" y="85"/>
                    <a:pt x="59" y="85"/>
                    <a:pt x="59" y="85"/>
                  </a:cubicBezTo>
                  <a:cubicBezTo>
                    <a:pt x="59" y="107"/>
                    <a:pt x="59" y="107"/>
                    <a:pt x="59" y="107"/>
                  </a:cubicBezTo>
                  <a:cubicBezTo>
                    <a:pt x="45" y="122"/>
                    <a:pt x="45" y="122"/>
                    <a:pt x="45" y="122"/>
                  </a:cubicBezTo>
                  <a:cubicBezTo>
                    <a:pt x="41" y="125"/>
                    <a:pt x="41" y="130"/>
                    <a:pt x="45" y="133"/>
                  </a:cubicBezTo>
                  <a:cubicBezTo>
                    <a:pt x="48" y="136"/>
                    <a:pt x="53" y="136"/>
                    <a:pt x="56" y="133"/>
                  </a:cubicBezTo>
                  <a:cubicBezTo>
                    <a:pt x="59" y="130"/>
                    <a:pt x="59" y="130"/>
                    <a:pt x="59" y="130"/>
                  </a:cubicBezTo>
                  <a:cubicBezTo>
                    <a:pt x="59" y="133"/>
                    <a:pt x="59" y="133"/>
                    <a:pt x="59" y="133"/>
                  </a:cubicBezTo>
                  <a:cubicBezTo>
                    <a:pt x="59" y="138"/>
                    <a:pt x="62" y="141"/>
                    <a:pt x="67" y="141"/>
                  </a:cubicBezTo>
                  <a:cubicBezTo>
                    <a:pt x="72" y="141"/>
                    <a:pt x="75" y="138"/>
                    <a:pt x="75" y="133"/>
                  </a:cubicBezTo>
                  <a:cubicBezTo>
                    <a:pt x="75" y="130"/>
                    <a:pt x="75" y="130"/>
                    <a:pt x="75" y="130"/>
                  </a:cubicBezTo>
                  <a:cubicBezTo>
                    <a:pt x="78" y="133"/>
                    <a:pt x="78" y="133"/>
                    <a:pt x="78" y="133"/>
                  </a:cubicBezTo>
                  <a:cubicBezTo>
                    <a:pt x="80" y="135"/>
                    <a:pt x="82" y="135"/>
                    <a:pt x="84" y="135"/>
                  </a:cubicBezTo>
                  <a:cubicBezTo>
                    <a:pt x="85" y="135"/>
                    <a:pt x="88" y="135"/>
                    <a:pt x="89" y="133"/>
                  </a:cubicBezTo>
                  <a:cubicBezTo>
                    <a:pt x="93" y="130"/>
                    <a:pt x="93" y="125"/>
                    <a:pt x="89" y="122"/>
                  </a:cubicBezTo>
                  <a:cubicBezTo>
                    <a:pt x="75" y="107"/>
                    <a:pt x="75" y="107"/>
                    <a:pt x="75" y="107"/>
                  </a:cubicBezTo>
                  <a:cubicBezTo>
                    <a:pt x="75" y="85"/>
                    <a:pt x="75" y="85"/>
                    <a:pt x="75" y="85"/>
                  </a:cubicBezTo>
                  <a:cubicBezTo>
                    <a:pt x="94" y="96"/>
                    <a:pt x="94" y="96"/>
                    <a:pt x="94" y="96"/>
                  </a:cubicBezTo>
                  <a:cubicBezTo>
                    <a:pt x="100" y="116"/>
                    <a:pt x="100" y="116"/>
                    <a:pt x="100" y="116"/>
                  </a:cubicBezTo>
                  <a:cubicBezTo>
                    <a:pt x="101" y="119"/>
                    <a:pt x="104" y="122"/>
                    <a:pt x="108" y="122"/>
                  </a:cubicBezTo>
                  <a:cubicBezTo>
                    <a:pt x="109" y="122"/>
                    <a:pt x="109" y="122"/>
                    <a:pt x="110" y="122"/>
                  </a:cubicBezTo>
                  <a:cubicBezTo>
                    <a:pt x="114" y="121"/>
                    <a:pt x="117" y="116"/>
                    <a:pt x="116" y="112"/>
                  </a:cubicBezTo>
                  <a:cubicBezTo>
                    <a:pt x="114" y="107"/>
                    <a:pt x="114" y="107"/>
                    <a:pt x="114" y="107"/>
                  </a:cubicBezTo>
                  <a:cubicBezTo>
                    <a:pt x="117" y="109"/>
                    <a:pt x="117" y="109"/>
                    <a:pt x="117" y="109"/>
                  </a:cubicBezTo>
                  <a:cubicBezTo>
                    <a:pt x="118" y="110"/>
                    <a:pt x="119" y="110"/>
                    <a:pt x="121" y="110"/>
                  </a:cubicBezTo>
                  <a:cubicBezTo>
                    <a:pt x="123" y="110"/>
                    <a:pt x="126" y="108"/>
                    <a:pt x="128" y="106"/>
                  </a:cubicBezTo>
                  <a:cubicBezTo>
                    <a:pt x="130" y="102"/>
                    <a:pt x="129" y="97"/>
                    <a:pt x="125" y="95"/>
                  </a:cubicBezTo>
                  <a:cubicBezTo>
                    <a:pt x="122" y="93"/>
                    <a:pt x="122" y="93"/>
                    <a:pt x="122" y="93"/>
                  </a:cubicBezTo>
                  <a:cubicBezTo>
                    <a:pt x="127" y="91"/>
                    <a:pt x="127" y="91"/>
                    <a:pt x="127" y="91"/>
                  </a:cubicBezTo>
                  <a:cubicBezTo>
                    <a:pt x="131" y="91"/>
                    <a:pt x="133" y="86"/>
                    <a:pt x="133" y="82"/>
                  </a:cubicBezTo>
                  <a:cubicBezTo>
                    <a:pt x="132" y="78"/>
                    <a:pt x="127" y="75"/>
                    <a:pt x="123" y="76"/>
                  </a:cubicBezTo>
                  <a:cubicBezTo>
                    <a:pt x="103" y="82"/>
                    <a:pt x="103" y="82"/>
                    <a:pt x="103" y="82"/>
                  </a:cubicBezTo>
                  <a:cubicBezTo>
                    <a:pt x="84" y="71"/>
                    <a:pt x="84" y="71"/>
                    <a:pt x="84" y="71"/>
                  </a:cubicBezTo>
                  <a:cubicBezTo>
                    <a:pt x="103" y="59"/>
                    <a:pt x="103" y="59"/>
                    <a:pt x="103" y="59"/>
                  </a:cubicBezTo>
                  <a:lnTo>
                    <a:pt x="12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611574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76" y="355601"/>
            <a:ext cx="11534774" cy="495299"/>
          </a:xfrm>
        </p:spPr>
        <p:txBody>
          <a:bodyPr/>
          <a:lstStyle/>
          <a:p>
            <a:r>
              <a:rPr lang="es-ES" dirty="0"/>
              <a:t>Expectativas meteorológicas y climáticas mundiales para 2024</a:t>
            </a:r>
            <a:endParaRPr lang="en-US" dirty="0"/>
          </a:p>
        </p:txBody>
      </p:sp>
      <p:grpSp>
        <p:nvGrpSpPr>
          <p:cNvPr id="6" name="Group 4"/>
          <p:cNvGrpSpPr>
            <a:grpSpLocks noChangeAspect="1"/>
          </p:cNvGrpSpPr>
          <p:nvPr/>
        </p:nvGrpSpPr>
        <p:grpSpPr bwMode="auto">
          <a:xfrm>
            <a:off x="500422" y="1949554"/>
            <a:ext cx="7135577" cy="3533986"/>
            <a:chOff x="495" y="907"/>
            <a:chExt cx="5060" cy="2506"/>
          </a:xfrm>
          <a:solidFill>
            <a:srgbClr val="DADADA"/>
          </a:solidFill>
        </p:grpSpPr>
        <p:grpSp>
          <p:nvGrpSpPr>
            <p:cNvPr id="7" name="Group 205"/>
            <p:cNvGrpSpPr>
              <a:grpSpLocks/>
            </p:cNvGrpSpPr>
            <p:nvPr/>
          </p:nvGrpSpPr>
          <p:grpSpPr bwMode="auto">
            <a:xfrm>
              <a:off x="495" y="907"/>
              <a:ext cx="2200" cy="1416"/>
              <a:chOff x="495" y="907"/>
              <a:chExt cx="2200" cy="1416"/>
            </a:xfrm>
            <a:grpFill/>
          </p:grpSpPr>
          <p:sp>
            <p:nvSpPr>
              <p:cNvPr id="916" name="Freeform 5"/>
              <p:cNvSpPr>
                <a:spLocks/>
              </p:cNvSpPr>
              <p:nvPr/>
            </p:nvSpPr>
            <p:spPr bwMode="auto">
              <a:xfrm>
                <a:off x="1835" y="909"/>
                <a:ext cx="858" cy="644"/>
              </a:xfrm>
              <a:custGeom>
                <a:avLst/>
                <a:gdLst>
                  <a:gd name="T0" fmla="*/ 372 w 858"/>
                  <a:gd name="T1" fmla="*/ 624 h 644"/>
                  <a:gd name="T2" fmla="*/ 316 w 858"/>
                  <a:gd name="T3" fmla="*/ 588 h 644"/>
                  <a:gd name="T4" fmla="*/ 308 w 858"/>
                  <a:gd name="T5" fmla="*/ 554 h 644"/>
                  <a:gd name="T6" fmla="*/ 302 w 858"/>
                  <a:gd name="T7" fmla="*/ 540 h 644"/>
                  <a:gd name="T8" fmla="*/ 272 w 858"/>
                  <a:gd name="T9" fmla="*/ 486 h 644"/>
                  <a:gd name="T10" fmla="*/ 278 w 858"/>
                  <a:gd name="T11" fmla="*/ 462 h 644"/>
                  <a:gd name="T12" fmla="*/ 304 w 858"/>
                  <a:gd name="T13" fmla="*/ 430 h 644"/>
                  <a:gd name="T14" fmla="*/ 264 w 858"/>
                  <a:gd name="T15" fmla="*/ 394 h 644"/>
                  <a:gd name="T16" fmla="*/ 284 w 858"/>
                  <a:gd name="T17" fmla="*/ 388 h 644"/>
                  <a:gd name="T18" fmla="*/ 264 w 858"/>
                  <a:gd name="T19" fmla="*/ 372 h 644"/>
                  <a:gd name="T20" fmla="*/ 242 w 858"/>
                  <a:gd name="T21" fmla="*/ 358 h 644"/>
                  <a:gd name="T22" fmla="*/ 200 w 858"/>
                  <a:gd name="T23" fmla="*/ 258 h 644"/>
                  <a:gd name="T24" fmla="*/ 96 w 858"/>
                  <a:gd name="T25" fmla="*/ 242 h 644"/>
                  <a:gd name="T26" fmla="*/ 46 w 858"/>
                  <a:gd name="T27" fmla="*/ 238 h 644"/>
                  <a:gd name="T28" fmla="*/ 38 w 858"/>
                  <a:gd name="T29" fmla="*/ 228 h 644"/>
                  <a:gd name="T30" fmla="*/ 26 w 858"/>
                  <a:gd name="T31" fmla="*/ 210 h 644"/>
                  <a:gd name="T32" fmla="*/ 36 w 858"/>
                  <a:gd name="T33" fmla="*/ 202 h 644"/>
                  <a:gd name="T34" fmla="*/ 6 w 858"/>
                  <a:gd name="T35" fmla="*/ 170 h 644"/>
                  <a:gd name="T36" fmla="*/ 108 w 858"/>
                  <a:gd name="T37" fmla="*/ 140 h 644"/>
                  <a:gd name="T38" fmla="*/ 72 w 858"/>
                  <a:gd name="T39" fmla="*/ 118 h 644"/>
                  <a:gd name="T40" fmla="*/ 144 w 858"/>
                  <a:gd name="T41" fmla="*/ 82 h 644"/>
                  <a:gd name="T42" fmla="*/ 160 w 858"/>
                  <a:gd name="T43" fmla="*/ 64 h 644"/>
                  <a:gd name="T44" fmla="*/ 200 w 858"/>
                  <a:gd name="T45" fmla="*/ 58 h 644"/>
                  <a:gd name="T46" fmla="*/ 264 w 858"/>
                  <a:gd name="T47" fmla="*/ 46 h 644"/>
                  <a:gd name="T48" fmla="*/ 278 w 858"/>
                  <a:gd name="T49" fmla="*/ 44 h 644"/>
                  <a:gd name="T50" fmla="*/ 310 w 858"/>
                  <a:gd name="T51" fmla="*/ 52 h 644"/>
                  <a:gd name="T52" fmla="*/ 394 w 858"/>
                  <a:gd name="T53" fmla="*/ 66 h 644"/>
                  <a:gd name="T54" fmla="*/ 376 w 858"/>
                  <a:gd name="T55" fmla="*/ 24 h 644"/>
                  <a:gd name="T56" fmla="*/ 550 w 858"/>
                  <a:gd name="T57" fmla="*/ 0 h 644"/>
                  <a:gd name="T58" fmla="*/ 726 w 858"/>
                  <a:gd name="T59" fmla="*/ 34 h 644"/>
                  <a:gd name="T60" fmla="*/ 658 w 858"/>
                  <a:gd name="T61" fmla="*/ 54 h 644"/>
                  <a:gd name="T62" fmla="*/ 672 w 858"/>
                  <a:gd name="T63" fmla="*/ 64 h 644"/>
                  <a:gd name="T64" fmla="*/ 712 w 858"/>
                  <a:gd name="T65" fmla="*/ 52 h 644"/>
                  <a:gd name="T66" fmla="*/ 720 w 858"/>
                  <a:gd name="T67" fmla="*/ 78 h 644"/>
                  <a:gd name="T68" fmla="*/ 744 w 858"/>
                  <a:gd name="T69" fmla="*/ 66 h 644"/>
                  <a:gd name="T70" fmla="*/ 842 w 858"/>
                  <a:gd name="T71" fmla="*/ 64 h 644"/>
                  <a:gd name="T72" fmla="*/ 822 w 858"/>
                  <a:gd name="T73" fmla="*/ 92 h 644"/>
                  <a:gd name="T74" fmla="*/ 798 w 858"/>
                  <a:gd name="T75" fmla="*/ 110 h 644"/>
                  <a:gd name="T76" fmla="*/ 790 w 858"/>
                  <a:gd name="T77" fmla="*/ 120 h 644"/>
                  <a:gd name="T78" fmla="*/ 782 w 858"/>
                  <a:gd name="T79" fmla="*/ 126 h 644"/>
                  <a:gd name="T80" fmla="*/ 750 w 858"/>
                  <a:gd name="T81" fmla="*/ 156 h 644"/>
                  <a:gd name="T82" fmla="*/ 756 w 858"/>
                  <a:gd name="T83" fmla="*/ 194 h 644"/>
                  <a:gd name="T84" fmla="*/ 774 w 858"/>
                  <a:gd name="T85" fmla="*/ 214 h 644"/>
                  <a:gd name="T86" fmla="*/ 764 w 858"/>
                  <a:gd name="T87" fmla="*/ 236 h 644"/>
                  <a:gd name="T88" fmla="*/ 760 w 858"/>
                  <a:gd name="T89" fmla="*/ 252 h 644"/>
                  <a:gd name="T90" fmla="*/ 758 w 858"/>
                  <a:gd name="T91" fmla="*/ 290 h 644"/>
                  <a:gd name="T92" fmla="*/ 742 w 858"/>
                  <a:gd name="T93" fmla="*/ 314 h 644"/>
                  <a:gd name="T94" fmla="*/ 712 w 858"/>
                  <a:gd name="T95" fmla="*/ 332 h 644"/>
                  <a:gd name="T96" fmla="*/ 714 w 858"/>
                  <a:gd name="T97" fmla="*/ 362 h 644"/>
                  <a:gd name="T98" fmla="*/ 718 w 858"/>
                  <a:gd name="T99" fmla="*/ 368 h 644"/>
                  <a:gd name="T100" fmla="*/ 704 w 858"/>
                  <a:gd name="T101" fmla="*/ 402 h 644"/>
                  <a:gd name="T102" fmla="*/ 694 w 858"/>
                  <a:gd name="T103" fmla="*/ 404 h 644"/>
                  <a:gd name="T104" fmla="*/ 656 w 858"/>
                  <a:gd name="T105" fmla="*/ 448 h 644"/>
                  <a:gd name="T106" fmla="*/ 586 w 858"/>
                  <a:gd name="T107" fmla="*/ 462 h 644"/>
                  <a:gd name="T108" fmla="*/ 500 w 858"/>
                  <a:gd name="T109" fmla="*/ 516 h 644"/>
                  <a:gd name="T110" fmla="*/ 458 w 858"/>
                  <a:gd name="T111" fmla="*/ 544 h 644"/>
                  <a:gd name="T112" fmla="*/ 450 w 858"/>
                  <a:gd name="T113" fmla="*/ 572 h 644"/>
                  <a:gd name="T114" fmla="*/ 432 w 858"/>
                  <a:gd name="T115" fmla="*/ 594 h 644"/>
                  <a:gd name="T116" fmla="*/ 396 w 858"/>
                  <a:gd name="T117" fmla="*/ 64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8" h="644">
                    <a:moveTo>
                      <a:pt x="396" y="642"/>
                    </a:moveTo>
                    <a:lnTo>
                      <a:pt x="396" y="642"/>
                    </a:lnTo>
                    <a:lnTo>
                      <a:pt x="394" y="642"/>
                    </a:lnTo>
                    <a:lnTo>
                      <a:pt x="380" y="632"/>
                    </a:lnTo>
                    <a:lnTo>
                      <a:pt x="380" y="632"/>
                    </a:lnTo>
                    <a:lnTo>
                      <a:pt x="380" y="630"/>
                    </a:lnTo>
                    <a:lnTo>
                      <a:pt x="378" y="622"/>
                    </a:lnTo>
                    <a:lnTo>
                      <a:pt x="372" y="624"/>
                    </a:lnTo>
                    <a:lnTo>
                      <a:pt x="362" y="624"/>
                    </a:lnTo>
                    <a:lnTo>
                      <a:pt x="348" y="630"/>
                    </a:lnTo>
                    <a:lnTo>
                      <a:pt x="348" y="630"/>
                    </a:lnTo>
                    <a:lnTo>
                      <a:pt x="348" y="630"/>
                    </a:lnTo>
                    <a:lnTo>
                      <a:pt x="348" y="630"/>
                    </a:lnTo>
                    <a:lnTo>
                      <a:pt x="346" y="628"/>
                    </a:lnTo>
                    <a:lnTo>
                      <a:pt x="332" y="604"/>
                    </a:lnTo>
                    <a:lnTo>
                      <a:pt x="316" y="588"/>
                    </a:lnTo>
                    <a:lnTo>
                      <a:pt x="316" y="588"/>
                    </a:lnTo>
                    <a:lnTo>
                      <a:pt x="316" y="586"/>
                    </a:lnTo>
                    <a:lnTo>
                      <a:pt x="320" y="578"/>
                    </a:lnTo>
                    <a:lnTo>
                      <a:pt x="310" y="570"/>
                    </a:lnTo>
                    <a:lnTo>
                      <a:pt x="310" y="570"/>
                    </a:lnTo>
                    <a:lnTo>
                      <a:pt x="308" y="568"/>
                    </a:lnTo>
                    <a:lnTo>
                      <a:pt x="308" y="554"/>
                    </a:lnTo>
                    <a:lnTo>
                      <a:pt x="308" y="554"/>
                    </a:lnTo>
                    <a:lnTo>
                      <a:pt x="308" y="554"/>
                    </a:lnTo>
                    <a:lnTo>
                      <a:pt x="318" y="542"/>
                    </a:lnTo>
                    <a:lnTo>
                      <a:pt x="314" y="536"/>
                    </a:lnTo>
                    <a:lnTo>
                      <a:pt x="304" y="540"/>
                    </a:lnTo>
                    <a:lnTo>
                      <a:pt x="304" y="540"/>
                    </a:lnTo>
                    <a:lnTo>
                      <a:pt x="304" y="540"/>
                    </a:lnTo>
                    <a:lnTo>
                      <a:pt x="304" y="540"/>
                    </a:lnTo>
                    <a:lnTo>
                      <a:pt x="302" y="540"/>
                    </a:lnTo>
                    <a:lnTo>
                      <a:pt x="288" y="530"/>
                    </a:lnTo>
                    <a:lnTo>
                      <a:pt x="276" y="514"/>
                    </a:lnTo>
                    <a:lnTo>
                      <a:pt x="270" y="504"/>
                    </a:lnTo>
                    <a:lnTo>
                      <a:pt x="270" y="504"/>
                    </a:lnTo>
                    <a:lnTo>
                      <a:pt x="270" y="502"/>
                    </a:lnTo>
                    <a:lnTo>
                      <a:pt x="276" y="490"/>
                    </a:lnTo>
                    <a:lnTo>
                      <a:pt x="278" y="486"/>
                    </a:lnTo>
                    <a:lnTo>
                      <a:pt x="272" y="486"/>
                    </a:lnTo>
                    <a:lnTo>
                      <a:pt x="272" y="486"/>
                    </a:lnTo>
                    <a:lnTo>
                      <a:pt x="270" y="486"/>
                    </a:lnTo>
                    <a:lnTo>
                      <a:pt x="268" y="474"/>
                    </a:lnTo>
                    <a:lnTo>
                      <a:pt x="268" y="474"/>
                    </a:lnTo>
                    <a:lnTo>
                      <a:pt x="268" y="472"/>
                    </a:lnTo>
                    <a:lnTo>
                      <a:pt x="276" y="462"/>
                    </a:lnTo>
                    <a:lnTo>
                      <a:pt x="276" y="462"/>
                    </a:lnTo>
                    <a:lnTo>
                      <a:pt x="278" y="462"/>
                    </a:lnTo>
                    <a:lnTo>
                      <a:pt x="284" y="462"/>
                    </a:lnTo>
                    <a:lnTo>
                      <a:pt x="300" y="466"/>
                    </a:lnTo>
                    <a:lnTo>
                      <a:pt x="306" y="466"/>
                    </a:lnTo>
                    <a:lnTo>
                      <a:pt x="308" y="466"/>
                    </a:lnTo>
                    <a:lnTo>
                      <a:pt x="308" y="466"/>
                    </a:lnTo>
                    <a:lnTo>
                      <a:pt x="304" y="450"/>
                    </a:lnTo>
                    <a:lnTo>
                      <a:pt x="304" y="430"/>
                    </a:lnTo>
                    <a:lnTo>
                      <a:pt x="304" y="430"/>
                    </a:lnTo>
                    <a:lnTo>
                      <a:pt x="306" y="428"/>
                    </a:lnTo>
                    <a:lnTo>
                      <a:pt x="316" y="418"/>
                    </a:lnTo>
                    <a:lnTo>
                      <a:pt x="312" y="412"/>
                    </a:lnTo>
                    <a:lnTo>
                      <a:pt x="294" y="412"/>
                    </a:lnTo>
                    <a:lnTo>
                      <a:pt x="294" y="412"/>
                    </a:lnTo>
                    <a:lnTo>
                      <a:pt x="294" y="412"/>
                    </a:lnTo>
                    <a:lnTo>
                      <a:pt x="276" y="400"/>
                    </a:lnTo>
                    <a:lnTo>
                      <a:pt x="264" y="394"/>
                    </a:lnTo>
                    <a:lnTo>
                      <a:pt x="264" y="394"/>
                    </a:lnTo>
                    <a:lnTo>
                      <a:pt x="262" y="392"/>
                    </a:lnTo>
                    <a:lnTo>
                      <a:pt x="262" y="392"/>
                    </a:lnTo>
                    <a:lnTo>
                      <a:pt x="264" y="390"/>
                    </a:lnTo>
                    <a:lnTo>
                      <a:pt x="264" y="390"/>
                    </a:lnTo>
                    <a:lnTo>
                      <a:pt x="284" y="388"/>
                    </a:lnTo>
                    <a:lnTo>
                      <a:pt x="284" y="388"/>
                    </a:lnTo>
                    <a:lnTo>
                      <a:pt x="284" y="388"/>
                    </a:lnTo>
                    <a:lnTo>
                      <a:pt x="304" y="394"/>
                    </a:lnTo>
                    <a:lnTo>
                      <a:pt x="304" y="388"/>
                    </a:lnTo>
                    <a:lnTo>
                      <a:pt x="294" y="374"/>
                    </a:lnTo>
                    <a:lnTo>
                      <a:pt x="284" y="370"/>
                    </a:lnTo>
                    <a:lnTo>
                      <a:pt x="272" y="362"/>
                    </a:lnTo>
                    <a:lnTo>
                      <a:pt x="266" y="372"/>
                    </a:lnTo>
                    <a:lnTo>
                      <a:pt x="266" y="372"/>
                    </a:lnTo>
                    <a:lnTo>
                      <a:pt x="264" y="372"/>
                    </a:lnTo>
                    <a:lnTo>
                      <a:pt x="264" y="372"/>
                    </a:lnTo>
                    <a:lnTo>
                      <a:pt x="244" y="374"/>
                    </a:lnTo>
                    <a:lnTo>
                      <a:pt x="244" y="374"/>
                    </a:lnTo>
                    <a:lnTo>
                      <a:pt x="244" y="374"/>
                    </a:lnTo>
                    <a:lnTo>
                      <a:pt x="244" y="374"/>
                    </a:lnTo>
                    <a:lnTo>
                      <a:pt x="242" y="372"/>
                    </a:lnTo>
                    <a:lnTo>
                      <a:pt x="242" y="358"/>
                    </a:lnTo>
                    <a:lnTo>
                      <a:pt x="242" y="358"/>
                    </a:lnTo>
                    <a:lnTo>
                      <a:pt x="242" y="356"/>
                    </a:lnTo>
                    <a:lnTo>
                      <a:pt x="254" y="340"/>
                    </a:lnTo>
                    <a:lnTo>
                      <a:pt x="234" y="300"/>
                    </a:lnTo>
                    <a:lnTo>
                      <a:pt x="212" y="278"/>
                    </a:lnTo>
                    <a:lnTo>
                      <a:pt x="202" y="266"/>
                    </a:lnTo>
                    <a:lnTo>
                      <a:pt x="202" y="266"/>
                    </a:lnTo>
                    <a:lnTo>
                      <a:pt x="202" y="266"/>
                    </a:lnTo>
                    <a:lnTo>
                      <a:pt x="200" y="258"/>
                    </a:lnTo>
                    <a:lnTo>
                      <a:pt x="174" y="250"/>
                    </a:lnTo>
                    <a:lnTo>
                      <a:pt x="132" y="238"/>
                    </a:lnTo>
                    <a:lnTo>
                      <a:pt x="106" y="250"/>
                    </a:lnTo>
                    <a:lnTo>
                      <a:pt x="106" y="250"/>
                    </a:lnTo>
                    <a:lnTo>
                      <a:pt x="106" y="250"/>
                    </a:lnTo>
                    <a:lnTo>
                      <a:pt x="106" y="250"/>
                    </a:lnTo>
                    <a:lnTo>
                      <a:pt x="104" y="248"/>
                    </a:lnTo>
                    <a:lnTo>
                      <a:pt x="96" y="242"/>
                    </a:lnTo>
                    <a:lnTo>
                      <a:pt x="92" y="246"/>
                    </a:lnTo>
                    <a:lnTo>
                      <a:pt x="86" y="250"/>
                    </a:lnTo>
                    <a:lnTo>
                      <a:pt x="86" y="250"/>
                    </a:lnTo>
                    <a:lnTo>
                      <a:pt x="84" y="252"/>
                    </a:lnTo>
                    <a:lnTo>
                      <a:pt x="84" y="252"/>
                    </a:lnTo>
                    <a:lnTo>
                      <a:pt x="84" y="252"/>
                    </a:lnTo>
                    <a:lnTo>
                      <a:pt x="68" y="248"/>
                    </a:lnTo>
                    <a:lnTo>
                      <a:pt x="46" y="238"/>
                    </a:lnTo>
                    <a:lnTo>
                      <a:pt x="46" y="238"/>
                    </a:lnTo>
                    <a:lnTo>
                      <a:pt x="46" y="236"/>
                    </a:lnTo>
                    <a:lnTo>
                      <a:pt x="46" y="236"/>
                    </a:lnTo>
                    <a:lnTo>
                      <a:pt x="46" y="234"/>
                    </a:lnTo>
                    <a:lnTo>
                      <a:pt x="60" y="230"/>
                    </a:lnTo>
                    <a:lnTo>
                      <a:pt x="62" y="228"/>
                    </a:lnTo>
                    <a:lnTo>
                      <a:pt x="56" y="228"/>
                    </a:lnTo>
                    <a:lnTo>
                      <a:pt x="38" y="228"/>
                    </a:lnTo>
                    <a:lnTo>
                      <a:pt x="38" y="228"/>
                    </a:lnTo>
                    <a:lnTo>
                      <a:pt x="38" y="228"/>
                    </a:lnTo>
                    <a:lnTo>
                      <a:pt x="22" y="218"/>
                    </a:lnTo>
                    <a:lnTo>
                      <a:pt x="22" y="218"/>
                    </a:lnTo>
                    <a:lnTo>
                      <a:pt x="20" y="218"/>
                    </a:lnTo>
                    <a:lnTo>
                      <a:pt x="20" y="218"/>
                    </a:lnTo>
                    <a:lnTo>
                      <a:pt x="20" y="216"/>
                    </a:lnTo>
                    <a:lnTo>
                      <a:pt x="26" y="210"/>
                    </a:lnTo>
                    <a:lnTo>
                      <a:pt x="26" y="210"/>
                    </a:lnTo>
                    <a:lnTo>
                      <a:pt x="28" y="210"/>
                    </a:lnTo>
                    <a:lnTo>
                      <a:pt x="54" y="210"/>
                    </a:lnTo>
                    <a:lnTo>
                      <a:pt x="88" y="206"/>
                    </a:lnTo>
                    <a:lnTo>
                      <a:pt x="88" y="202"/>
                    </a:lnTo>
                    <a:lnTo>
                      <a:pt x="76" y="202"/>
                    </a:lnTo>
                    <a:lnTo>
                      <a:pt x="56" y="204"/>
                    </a:lnTo>
                    <a:lnTo>
                      <a:pt x="36" y="202"/>
                    </a:lnTo>
                    <a:lnTo>
                      <a:pt x="8" y="188"/>
                    </a:lnTo>
                    <a:lnTo>
                      <a:pt x="8" y="188"/>
                    </a:lnTo>
                    <a:lnTo>
                      <a:pt x="6" y="188"/>
                    </a:lnTo>
                    <a:lnTo>
                      <a:pt x="0" y="178"/>
                    </a:lnTo>
                    <a:lnTo>
                      <a:pt x="0" y="178"/>
                    </a:lnTo>
                    <a:lnTo>
                      <a:pt x="0" y="176"/>
                    </a:lnTo>
                    <a:lnTo>
                      <a:pt x="6" y="170"/>
                    </a:lnTo>
                    <a:lnTo>
                      <a:pt x="6" y="170"/>
                    </a:lnTo>
                    <a:lnTo>
                      <a:pt x="8" y="168"/>
                    </a:lnTo>
                    <a:lnTo>
                      <a:pt x="28" y="164"/>
                    </a:lnTo>
                    <a:lnTo>
                      <a:pt x="52" y="162"/>
                    </a:lnTo>
                    <a:lnTo>
                      <a:pt x="68" y="152"/>
                    </a:lnTo>
                    <a:lnTo>
                      <a:pt x="68" y="152"/>
                    </a:lnTo>
                    <a:lnTo>
                      <a:pt x="68" y="152"/>
                    </a:lnTo>
                    <a:lnTo>
                      <a:pt x="94" y="152"/>
                    </a:lnTo>
                    <a:lnTo>
                      <a:pt x="108" y="140"/>
                    </a:lnTo>
                    <a:lnTo>
                      <a:pt x="108" y="126"/>
                    </a:lnTo>
                    <a:lnTo>
                      <a:pt x="102" y="130"/>
                    </a:lnTo>
                    <a:lnTo>
                      <a:pt x="102" y="130"/>
                    </a:lnTo>
                    <a:lnTo>
                      <a:pt x="100" y="130"/>
                    </a:lnTo>
                    <a:lnTo>
                      <a:pt x="100" y="130"/>
                    </a:lnTo>
                    <a:lnTo>
                      <a:pt x="100" y="130"/>
                    </a:lnTo>
                    <a:lnTo>
                      <a:pt x="72" y="118"/>
                    </a:lnTo>
                    <a:lnTo>
                      <a:pt x="72" y="118"/>
                    </a:lnTo>
                    <a:lnTo>
                      <a:pt x="72" y="118"/>
                    </a:lnTo>
                    <a:lnTo>
                      <a:pt x="72" y="118"/>
                    </a:lnTo>
                    <a:lnTo>
                      <a:pt x="72" y="116"/>
                    </a:lnTo>
                    <a:lnTo>
                      <a:pt x="90" y="102"/>
                    </a:lnTo>
                    <a:lnTo>
                      <a:pt x="114" y="92"/>
                    </a:lnTo>
                    <a:lnTo>
                      <a:pt x="142" y="82"/>
                    </a:lnTo>
                    <a:lnTo>
                      <a:pt x="142" y="82"/>
                    </a:lnTo>
                    <a:lnTo>
                      <a:pt x="144" y="82"/>
                    </a:lnTo>
                    <a:lnTo>
                      <a:pt x="144" y="82"/>
                    </a:lnTo>
                    <a:lnTo>
                      <a:pt x="144" y="82"/>
                    </a:lnTo>
                    <a:lnTo>
                      <a:pt x="164" y="90"/>
                    </a:lnTo>
                    <a:lnTo>
                      <a:pt x="168" y="74"/>
                    </a:lnTo>
                    <a:lnTo>
                      <a:pt x="162" y="66"/>
                    </a:lnTo>
                    <a:lnTo>
                      <a:pt x="162" y="66"/>
                    </a:lnTo>
                    <a:lnTo>
                      <a:pt x="160" y="64"/>
                    </a:lnTo>
                    <a:lnTo>
                      <a:pt x="160" y="64"/>
                    </a:lnTo>
                    <a:lnTo>
                      <a:pt x="162" y="64"/>
                    </a:lnTo>
                    <a:lnTo>
                      <a:pt x="162" y="64"/>
                    </a:lnTo>
                    <a:lnTo>
                      <a:pt x="190" y="60"/>
                    </a:lnTo>
                    <a:lnTo>
                      <a:pt x="190" y="60"/>
                    </a:lnTo>
                    <a:lnTo>
                      <a:pt x="190" y="60"/>
                    </a:lnTo>
                    <a:lnTo>
                      <a:pt x="200" y="68"/>
                    </a:lnTo>
                    <a:lnTo>
                      <a:pt x="208" y="70"/>
                    </a:lnTo>
                    <a:lnTo>
                      <a:pt x="200" y="58"/>
                    </a:lnTo>
                    <a:lnTo>
                      <a:pt x="198" y="58"/>
                    </a:lnTo>
                    <a:lnTo>
                      <a:pt x="198" y="58"/>
                    </a:lnTo>
                    <a:lnTo>
                      <a:pt x="198" y="56"/>
                    </a:lnTo>
                    <a:lnTo>
                      <a:pt x="198" y="54"/>
                    </a:lnTo>
                    <a:lnTo>
                      <a:pt x="198" y="54"/>
                    </a:lnTo>
                    <a:lnTo>
                      <a:pt x="200" y="52"/>
                    </a:lnTo>
                    <a:lnTo>
                      <a:pt x="200" y="52"/>
                    </a:lnTo>
                    <a:lnTo>
                      <a:pt x="264" y="46"/>
                    </a:lnTo>
                    <a:lnTo>
                      <a:pt x="264" y="46"/>
                    </a:lnTo>
                    <a:lnTo>
                      <a:pt x="266" y="46"/>
                    </a:lnTo>
                    <a:lnTo>
                      <a:pt x="272" y="62"/>
                    </a:lnTo>
                    <a:lnTo>
                      <a:pt x="280" y="60"/>
                    </a:lnTo>
                    <a:lnTo>
                      <a:pt x="276" y="46"/>
                    </a:lnTo>
                    <a:lnTo>
                      <a:pt x="276" y="46"/>
                    </a:lnTo>
                    <a:lnTo>
                      <a:pt x="278" y="44"/>
                    </a:lnTo>
                    <a:lnTo>
                      <a:pt x="278" y="44"/>
                    </a:lnTo>
                    <a:lnTo>
                      <a:pt x="278" y="44"/>
                    </a:lnTo>
                    <a:lnTo>
                      <a:pt x="278" y="44"/>
                    </a:lnTo>
                    <a:lnTo>
                      <a:pt x="280" y="44"/>
                    </a:lnTo>
                    <a:lnTo>
                      <a:pt x="308" y="60"/>
                    </a:lnTo>
                    <a:lnTo>
                      <a:pt x="320" y="60"/>
                    </a:lnTo>
                    <a:lnTo>
                      <a:pt x="312" y="54"/>
                    </a:lnTo>
                    <a:lnTo>
                      <a:pt x="312" y="54"/>
                    </a:lnTo>
                    <a:lnTo>
                      <a:pt x="310" y="52"/>
                    </a:lnTo>
                    <a:lnTo>
                      <a:pt x="310" y="52"/>
                    </a:lnTo>
                    <a:lnTo>
                      <a:pt x="310" y="52"/>
                    </a:lnTo>
                    <a:lnTo>
                      <a:pt x="318" y="40"/>
                    </a:lnTo>
                    <a:lnTo>
                      <a:pt x="318" y="40"/>
                    </a:lnTo>
                    <a:lnTo>
                      <a:pt x="320" y="40"/>
                    </a:lnTo>
                    <a:lnTo>
                      <a:pt x="334" y="40"/>
                    </a:lnTo>
                    <a:lnTo>
                      <a:pt x="360" y="50"/>
                    </a:lnTo>
                    <a:lnTo>
                      <a:pt x="394" y="66"/>
                    </a:lnTo>
                    <a:lnTo>
                      <a:pt x="398" y="64"/>
                    </a:lnTo>
                    <a:lnTo>
                      <a:pt x="356" y="40"/>
                    </a:lnTo>
                    <a:lnTo>
                      <a:pt x="356" y="40"/>
                    </a:lnTo>
                    <a:lnTo>
                      <a:pt x="354" y="38"/>
                    </a:lnTo>
                    <a:lnTo>
                      <a:pt x="354" y="38"/>
                    </a:lnTo>
                    <a:lnTo>
                      <a:pt x="356" y="36"/>
                    </a:lnTo>
                    <a:lnTo>
                      <a:pt x="374" y="32"/>
                    </a:lnTo>
                    <a:lnTo>
                      <a:pt x="376" y="24"/>
                    </a:lnTo>
                    <a:lnTo>
                      <a:pt x="376" y="24"/>
                    </a:lnTo>
                    <a:lnTo>
                      <a:pt x="378" y="22"/>
                    </a:lnTo>
                    <a:lnTo>
                      <a:pt x="400" y="14"/>
                    </a:lnTo>
                    <a:lnTo>
                      <a:pt x="426" y="14"/>
                    </a:lnTo>
                    <a:lnTo>
                      <a:pt x="454" y="16"/>
                    </a:lnTo>
                    <a:lnTo>
                      <a:pt x="476" y="14"/>
                    </a:lnTo>
                    <a:lnTo>
                      <a:pt x="500" y="4"/>
                    </a:lnTo>
                    <a:lnTo>
                      <a:pt x="550" y="0"/>
                    </a:lnTo>
                    <a:lnTo>
                      <a:pt x="606" y="0"/>
                    </a:lnTo>
                    <a:lnTo>
                      <a:pt x="638" y="4"/>
                    </a:lnTo>
                    <a:lnTo>
                      <a:pt x="666" y="12"/>
                    </a:lnTo>
                    <a:lnTo>
                      <a:pt x="674" y="16"/>
                    </a:lnTo>
                    <a:lnTo>
                      <a:pt x="674" y="16"/>
                    </a:lnTo>
                    <a:lnTo>
                      <a:pt x="676" y="18"/>
                    </a:lnTo>
                    <a:lnTo>
                      <a:pt x="678" y="22"/>
                    </a:lnTo>
                    <a:lnTo>
                      <a:pt x="726" y="34"/>
                    </a:lnTo>
                    <a:lnTo>
                      <a:pt x="726" y="34"/>
                    </a:lnTo>
                    <a:lnTo>
                      <a:pt x="728" y="36"/>
                    </a:lnTo>
                    <a:lnTo>
                      <a:pt x="728" y="36"/>
                    </a:lnTo>
                    <a:lnTo>
                      <a:pt x="726" y="38"/>
                    </a:lnTo>
                    <a:lnTo>
                      <a:pt x="714" y="48"/>
                    </a:lnTo>
                    <a:lnTo>
                      <a:pt x="714" y="48"/>
                    </a:lnTo>
                    <a:lnTo>
                      <a:pt x="712" y="48"/>
                    </a:lnTo>
                    <a:lnTo>
                      <a:pt x="658" y="54"/>
                    </a:lnTo>
                    <a:lnTo>
                      <a:pt x="604" y="56"/>
                    </a:lnTo>
                    <a:lnTo>
                      <a:pt x="600" y="62"/>
                    </a:lnTo>
                    <a:lnTo>
                      <a:pt x="618" y="58"/>
                    </a:lnTo>
                    <a:lnTo>
                      <a:pt x="672" y="60"/>
                    </a:lnTo>
                    <a:lnTo>
                      <a:pt x="672" y="60"/>
                    </a:lnTo>
                    <a:lnTo>
                      <a:pt x="674" y="60"/>
                    </a:lnTo>
                    <a:lnTo>
                      <a:pt x="674" y="60"/>
                    </a:lnTo>
                    <a:lnTo>
                      <a:pt x="672" y="64"/>
                    </a:lnTo>
                    <a:lnTo>
                      <a:pt x="660" y="72"/>
                    </a:lnTo>
                    <a:lnTo>
                      <a:pt x="658" y="72"/>
                    </a:lnTo>
                    <a:lnTo>
                      <a:pt x="676" y="68"/>
                    </a:lnTo>
                    <a:lnTo>
                      <a:pt x="688" y="62"/>
                    </a:lnTo>
                    <a:lnTo>
                      <a:pt x="696" y="54"/>
                    </a:lnTo>
                    <a:lnTo>
                      <a:pt x="696" y="54"/>
                    </a:lnTo>
                    <a:lnTo>
                      <a:pt x="696" y="52"/>
                    </a:lnTo>
                    <a:lnTo>
                      <a:pt x="712" y="52"/>
                    </a:lnTo>
                    <a:lnTo>
                      <a:pt x="712" y="52"/>
                    </a:lnTo>
                    <a:lnTo>
                      <a:pt x="714" y="54"/>
                    </a:lnTo>
                    <a:lnTo>
                      <a:pt x="720" y="60"/>
                    </a:lnTo>
                    <a:lnTo>
                      <a:pt x="720" y="60"/>
                    </a:lnTo>
                    <a:lnTo>
                      <a:pt x="720" y="62"/>
                    </a:lnTo>
                    <a:lnTo>
                      <a:pt x="720" y="76"/>
                    </a:lnTo>
                    <a:lnTo>
                      <a:pt x="720" y="76"/>
                    </a:lnTo>
                    <a:lnTo>
                      <a:pt x="720" y="78"/>
                    </a:lnTo>
                    <a:lnTo>
                      <a:pt x="692" y="96"/>
                    </a:lnTo>
                    <a:lnTo>
                      <a:pt x="690" y="100"/>
                    </a:lnTo>
                    <a:lnTo>
                      <a:pt x="704" y="92"/>
                    </a:lnTo>
                    <a:lnTo>
                      <a:pt x="730" y="78"/>
                    </a:lnTo>
                    <a:lnTo>
                      <a:pt x="744" y="68"/>
                    </a:lnTo>
                    <a:lnTo>
                      <a:pt x="744" y="68"/>
                    </a:lnTo>
                    <a:lnTo>
                      <a:pt x="744" y="66"/>
                    </a:lnTo>
                    <a:lnTo>
                      <a:pt x="744" y="66"/>
                    </a:lnTo>
                    <a:lnTo>
                      <a:pt x="746" y="66"/>
                    </a:lnTo>
                    <a:lnTo>
                      <a:pt x="772" y="76"/>
                    </a:lnTo>
                    <a:lnTo>
                      <a:pt x="786" y="62"/>
                    </a:lnTo>
                    <a:lnTo>
                      <a:pt x="786" y="62"/>
                    </a:lnTo>
                    <a:lnTo>
                      <a:pt x="788" y="62"/>
                    </a:lnTo>
                    <a:lnTo>
                      <a:pt x="814" y="60"/>
                    </a:lnTo>
                    <a:lnTo>
                      <a:pt x="842" y="64"/>
                    </a:lnTo>
                    <a:lnTo>
                      <a:pt x="842" y="64"/>
                    </a:lnTo>
                    <a:lnTo>
                      <a:pt x="844" y="64"/>
                    </a:lnTo>
                    <a:lnTo>
                      <a:pt x="858" y="72"/>
                    </a:lnTo>
                    <a:lnTo>
                      <a:pt x="858" y="72"/>
                    </a:lnTo>
                    <a:lnTo>
                      <a:pt x="858" y="74"/>
                    </a:lnTo>
                    <a:lnTo>
                      <a:pt x="858" y="74"/>
                    </a:lnTo>
                    <a:lnTo>
                      <a:pt x="858" y="76"/>
                    </a:lnTo>
                    <a:lnTo>
                      <a:pt x="846" y="84"/>
                    </a:lnTo>
                    <a:lnTo>
                      <a:pt x="822" y="92"/>
                    </a:lnTo>
                    <a:lnTo>
                      <a:pt x="818" y="98"/>
                    </a:lnTo>
                    <a:lnTo>
                      <a:pt x="818" y="98"/>
                    </a:lnTo>
                    <a:lnTo>
                      <a:pt x="816" y="100"/>
                    </a:lnTo>
                    <a:lnTo>
                      <a:pt x="808" y="102"/>
                    </a:lnTo>
                    <a:lnTo>
                      <a:pt x="776" y="102"/>
                    </a:lnTo>
                    <a:lnTo>
                      <a:pt x="766" y="106"/>
                    </a:lnTo>
                    <a:lnTo>
                      <a:pt x="776" y="108"/>
                    </a:lnTo>
                    <a:lnTo>
                      <a:pt x="798" y="110"/>
                    </a:lnTo>
                    <a:lnTo>
                      <a:pt x="798" y="110"/>
                    </a:lnTo>
                    <a:lnTo>
                      <a:pt x="800" y="110"/>
                    </a:lnTo>
                    <a:lnTo>
                      <a:pt x="800" y="110"/>
                    </a:lnTo>
                    <a:lnTo>
                      <a:pt x="800" y="112"/>
                    </a:lnTo>
                    <a:lnTo>
                      <a:pt x="792" y="120"/>
                    </a:lnTo>
                    <a:lnTo>
                      <a:pt x="792" y="120"/>
                    </a:lnTo>
                    <a:lnTo>
                      <a:pt x="790" y="120"/>
                    </a:lnTo>
                    <a:lnTo>
                      <a:pt x="790" y="120"/>
                    </a:lnTo>
                    <a:lnTo>
                      <a:pt x="756" y="118"/>
                    </a:lnTo>
                    <a:lnTo>
                      <a:pt x="746" y="122"/>
                    </a:lnTo>
                    <a:lnTo>
                      <a:pt x="748" y="126"/>
                    </a:lnTo>
                    <a:lnTo>
                      <a:pt x="772" y="124"/>
                    </a:lnTo>
                    <a:lnTo>
                      <a:pt x="780" y="124"/>
                    </a:lnTo>
                    <a:lnTo>
                      <a:pt x="780" y="124"/>
                    </a:lnTo>
                    <a:lnTo>
                      <a:pt x="782" y="126"/>
                    </a:lnTo>
                    <a:lnTo>
                      <a:pt x="782" y="126"/>
                    </a:lnTo>
                    <a:lnTo>
                      <a:pt x="782" y="128"/>
                    </a:lnTo>
                    <a:lnTo>
                      <a:pt x="774" y="134"/>
                    </a:lnTo>
                    <a:lnTo>
                      <a:pt x="774" y="134"/>
                    </a:lnTo>
                    <a:lnTo>
                      <a:pt x="774" y="134"/>
                    </a:lnTo>
                    <a:lnTo>
                      <a:pt x="754" y="140"/>
                    </a:lnTo>
                    <a:lnTo>
                      <a:pt x="752" y="154"/>
                    </a:lnTo>
                    <a:lnTo>
                      <a:pt x="752" y="154"/>
                    </a:lnTo>
                    <a:lnTo>
                      <a:pt x="750" y="156"/>
                    </a:lnTo>
                    <a:lnTo>
                      <a:pt x="734" y="164"/>
                    </a:lnTo>
                    <a:lnTo>
                      <a:pt x="726" y="186"/>
                    </a:lnTo>
                    <a:lnTo>
                      <a:pt x="732" y="188"/>
                    </a:lnTo>
                    <a:lnTo>
                      <a:pt x="756" y="190"/>
                    </a:lnTo>
                    <a:lnTo>
                      <a:pt x="756" y="190"/>
                    </a:lnTo>
                    <a:lnTo>
                      <a:pt x="758" y="192"/>
                    </a:lnTo>
                    <a:lnTo>
                      <a:pt x="758" y="192"/>
                    </a:lnTo>
                    <a:lnTo>
                      <a:pt x="756" y="194"/>
                    </a:lnTo>
                    <a:lnTo>
                      <a:pt x="746" y="200"/>
                    </a:lnTo>
                    <a:lnTo>
                      <a:pt x="746" y="202"/>
                    </a:lnTo>
                    <a:lnTo>
                      <a:pt x="750" y="204"/>
                    </a:lnTo>
                    <a:lnTo>
                      <a:pt x="762" y="210"/>
                    </a:lnTo>
                    <a:lnTo>
                      <a:pt x="774" y="214"/>
                    </a:lnTo>
                    <a:lnTo>
                      <a:pt x="774" y="214"/>
                    </a:lnTo>
                    <a:lnTo>
                      <a:pt x="774" y="214"/>
                    </a:lnTo>
                    <a:lnTo>
                      <a:pt x="774" y="214"/>
                    </a:lnTo>
                    <a:lnTo>
                      <a:pt x="776" y="216"/>
                    </a:lnTo>
                    <a:lnTo>
                      <a:pt x="772" y="226"/>
                    </a:lnTo>
                    <a:lnTo>
                      <a:pt x="768" y="234"/>
                    </a:lnTo>
                    <a:lnTo>
                      <a:pt x="766" y="236"/>
                    </a:lnTo>
                    <a:lnTo>
                      <a:pt x="766" y="236"/>
                    </a:lnTo>
                    <a:lnTo>
                      <a:pt x="764" y="236"/>
                    </a:lnTo>
                    <a:lnTo>
                      <a:pt x="764" y="236"/>
                    </a:lnTo>
                    <a:lnTo>
                      <a:pt x="764" y="236"/>
                    </a:lnTo>
                    <a:lnTo>
                      <a:pt x="752" y="230"/>
                    </a:lnTo>
                    <a:lnTo>
                      <a:pt x="744" y="222"/>
                    </a:lnTo>
                    <a:lnTo>
                      <a:pt x="728" y="226"/>
                    </a:lnTo>
                    <a:lnTo>
                      <a:pt x="728" y="236"/>
                    </a:lnTo>
                    <a:lnTo>
                      <a:pt x="744" y="240"/>
                    </a:lnTo>
                    <a:lnTo>
                      <a:pt x="758" y="252"/>
                    </a:lnTo>
                    <a:lnTo>
                      <a:pt x="758" y="252"/>
                    </a:lnTo>
                    <a:lnTo>
                      <a:pt x="760" y="252"/>
                    </a:lnTo>
                    <a:lnTo>
                      <a:pt x="758" y="268"/>
                    </a:lnTo>
                    <a:lnTo>
                      <a:pt x="758" y="268"/>
                    </a:lnTo>
                    <a:lnTo>
                      <a:pt x="756" y="268"/>
                    </a:lnTo>
                    <a:lnTo>
                      <a:pt x="742" y="270"/>
                    </a:lnTo>
                    <a:lnTo>
                      <a:pt x="750" y="280"/>
                    </a:lnTo>
                    <a:lnTo>
                      <a:pt x="756" y="288"/>
                    </a:lnTo>
                    <a:lnTo>
                      <a:pt x="758" y="290"/>
                    </a:lnTo>
                    <a:lnTo>
                      <a:pt x="758" y="290"/>
                    </a:lnTo>
                    <a:lnTo>
                      <a:pt x="760" y="292"/>
                    </a:lnTo>
                    <a:lnTo>
                      <a:pt x="760" y="296"/>
                    </a:lnTo>
                    <a:lnTo>
                      <a:pt x="760" y="296"/>
                    </a:lnTo>
                    <a:lnTo>
                      <a:pt x="758" y="298"/>
                    </a:lnTo>
                    <a:lnTo>
                      <a:pt x="748" y="302"/>
                    </a:lnTo>
                    <a:lnTo>
                      <a:pt x="738" y="304"/>
                    </a:lnTo>
                    <a:lnTo>
                      <a:pt x="742" y="314"/>
                    </a:lnTo>
                    <a:lnTo>
                      <a:pt x="742" y="314"/>
                    </a:lnTo>
                    <a:lnTo>
                      <a:pt x="740" y="318"/>
                    </a:lnTo>
                    <a:lnTo>
                      <a:pt x="724" y="322"/>
                    </a:lnTo>
                    <a:lnTo>
                      <a:pt x="704" y="322"/>
                    </a:lnTo>
                    <a:lnTo>
                      <a:pt x="684" y="320"/>
                    </a:lnTo>
                    <a:lnTo>
                      <a:pt x="676" y="324"/>
                    </a:lnTo>
                    <a:lnTo>
                      <a:pt x="684" y="332"/>
                    </a:lnTo>
                    <a:lnTo>
                      <a:pt x="712" y="332"/>
                    </a:lnTo>
                    <a:lnTo>
                      <a:pt x="712" y="332"/>
                    </a:lnTo>
                    <a:lnTo>
                      <a:pt x="714" y="334"/>
                    </a:lnTo>
                    <a:lnTo>
                      <a:pt x="718" y="342"/>
                    </a:lnTo>
                    <a:lnTo>
                      <a:pt x="718" y="342"/>
                    </a:lnTo>
                    <a:lnTo>
                      <a:pt x="718" y="344"/>
                    </a:lnTo>
                    <a:lnTo>
                      <a:pt x="714" y="360"/>
                    </a:lnTo>
                    <a:lnTo>
                      <a:pt x="714" y="360"/>
                    </a:lnTo>
                    <a:lnTo>
                      <a:pt x="714" y="362"/>
                    </a:lnTo>
                    <a:lnTo>
                      <a:pt x="714" y="362"/>
                    </a:lnTo>
                    <a:lnTo>
                      <a:pt x="712" y="362"/>
                    </a:lnTo>
                    <a:lnTo>
                      <a:pt x="712" y="362"/>
                    </a:lnTo>
                    <a:lnTo>
                      <a:pt x="712" y="362"/>
                    </a:lnTo>
                    <a:lnTo>
                      <a:pt x="696" y="350"/>
                    </a:lnTo>
                    <a:lnTo>
                      <a:pt x="692" y="350"/>
                    </a:lnTo>
                    <a:lnTo>
                      <a:pt x="692" y="352"/>
                    </a:lnTo>
                    <a:lnTo>
                      <a:pt x="718" y="368"/>
                    </a:lnTo>
                    <a:lnTo>
                      <a:pt x="718" y="368"/>
                    </a:lnTo>
                    <a:lnTo>
                      <a:pt x="718" y="368"/>
                    </a:lnTo>
                    <a:lnTo>
                      <a:pt x="724" y="400"/>
                    </a:lnTo>
                    <a:lnTo>
                      <a:pt x="724" y="400"/>
                    </a:lnTo>
                    <a:lnTo>
                      <a:pt x="722" y="402"/>
                    </a:lnTo>
                    <a:lnTo>
                      <a:pt x="722" y="402"/>
                    </a:lnTo>
                    <a:lnTo>
                      <a:pt x="722" y="402"/>
                    </a:lnTo>
                    <a:lnTo>
                      <a:pt x="722" y="402"/>
                    </a:lnTo>
                    <a:lnTo>
                      <a:pt x="704" y="402"/>
                    </a:lnTo>
                    <a:lnTo>
                      <a:pt x="704" y="402"/>
                    </a:lnTo>
                    <a:lnTo>
                      <a:pt x="702" y="400"/>
                    </a:lnTo>
                    <a:lnTo>
                      <a:pt x="684" y="388"/>
                    </a:lnTo>
                    <a:lnTo>
                      <a:pt x="672" y="376"/>
                    </a:lnTo>
                    <a:lnTo>
                      <a:pt x="670" y="376"/>
                    </a:lnTo>
                    <a:lnTo>
                      <a:pt x="670" y="388"/>
                    </a:lnTo>
                    <a:lnTo>
                      <a:pt x="674" y="400"/>
                    </a:lnTo>
                    <a:lnTo>
                      <a:pt x="694" y="404"/>
                    </a:lnTo>
                    <a:lnTo>
                      <a:pt x="716" y="406"/>
                    </a:lnTo>
                    <a:lnTo>
                      <a:pt x="716" y="406"/>
                    </a:lnTo>
                    <a:lnTo>
                      <a:pt x="718" y="408"/>
                    </a:lnTo>
                    <a:lnTo>
                      <a:pt x="718" y="408"/>
                    </a:lnTo>
                    <a:lnTo>
                      <a:pt x="718" y="410"/>
                    </a:lnTo>
                    <a:lnTo>
                      <a:pt x="704" y="416"/>
                    </a:lnTo>
                    <a:lnTo>
                      <a:pt x="670" y="436"/>
                    </a:lnTo>
                    <a:lnTo>
                      <a:pt x="656" y="448"/>
                    </a:lnTo>
                    <a:lnTo>
                      <a:pt x="656" y="448"/>
                    </a:lnTo>
                    <a:lnTo>
                      <a:pt x="656" y="448"/>
                    </a:lnTo>
                    <a:lnTo>
                      <a:pt x="602" y="458"/>
                    </a:lnTo>
                    <a:lnTo>
                      <a:pt x="586" y="462"/>
                    </a:lnTo>
                    <a:lnTo>
                      <a:pt x="586" y="462"/>
                    </a:lnTo>
                    <a:lnTo>
                      <a:pt x="586" y="462"/>
                    </a:lnTo>
                    <a:lnTo>
                      <a:pt x="586" y="462"/>
                    </a:lnTo>
                    <a:lnTo>
                      <a:pt x="586" y="462"/>
                    </a:lnTo>
                    <a:lnTo>
                      <a:pt x="576" y="458"/>
                    </a:lnTo>
                    <a:lnTo>
                      <a:pt x="574" y="462"/>
                    </a:lnTo>
                    <a:lnTo>
                      <a:pt x="560" y="474"/>
                    </a:lnTo>
                    <a:lnTo>
                      <a:pt x="544" y="496"/>
                    </a:lnTo>
                    <a:lnTo>
                      <a:pt x="544" y="496"/>
                    </a:lnTo>
                    <a:lnTo>
                      <a:pt x="542" y="498"/>
                    </a:lnTo>
                    <a:lnTo>
                      <a:pt x="520" y="508"/>
                    </a:lnTo>
                    <a:lnTo>
                      <a:pt x="500" y="516"/>
                    </a:lnTo>
                    <a:lnTo>
                      <a:pt x="486" y="516"/>
                    </a:lnTo>
                    <a:lnTo>
                      <a:pt x="468" y="518"/>
                    </a:lnTo>
                    <a:lnTo>
                      <a:pt x="464" y="524"/>
                    </a:lnTo>
                    <a:lnTo>
                      <a:pt x="464" y="528"/>
                    </a:lnTo>
                    <a:lnTo>
                      <a:pt x="464" y="528"/>
                    </a:lnTo>
                    <a:lnTo>
                      <a:pt x="462" y="530"/>
                    </a:lnTo>
                    <a:lnTo>
                      <a:pt x="456" y="532"/>
                    </a:lnTo>
                    <a:lnTo>
                      <a:pt x="458" y="544"/>
                    </a:lnTo>
                    <a:lnTo>
                      <a:pt x="458" y="544"/>
                    </a:lnTo>
                    <a:lnTo>
                      <a:pt x="458" y="546"/>
                    </a:lnTo>
                    <a:lnTo>
                      <a:pt x="452" y="550"/>
                    </a:lnTo>
                    <a:lnTo>
                      <a:pt x="454" y="556"/>
                    </a:lnTo>
                    <a:lnTo>
                      <a:pt x="454" y="556"/>
                    </a:lnTo>
                    <a:lnTo>
                      <a:pt x="454" y="558"/>
                    </a:lnTo>
                    <a:lnTo>
                      <a:pt x="450" y="572"/>
                    </a:lnTo>
                    <a:lnTo>
                      <a:pt x="450" y="572"/>
                    </a:lnTo>
                    <a:lnTo>
                      <a:pt x="448" y="572"/>
                    </a:lnTo>
                    <a:lnTo>
                      <a:pt x="434" y="582"/>
                    </a:lnTo>
                    <a:lnTo>
                      <a:pt x="434" y="582"/>
                    </a:lnTo>
                    <a:lnTo>
                      <a:pt x="434" y="584"/>
                    </a:lnTo>
                    <a:lnTo>
                      <a:pt x="426" y="584"/>
                    </a:lnTo>
                    <a:lnTo>
                      <a:pt x="430" y="590"/>
                    </a:lnTo>
                    <a:lnTo>
                      <a:pt x="432" y="594"/>
                    </a:lnTo>
                    <a:lnTo>
                      <a:pt x="432" y="594"/>
                    </a:lnTo>
                    <a:lnTo>
                      <a:pt x="432" y="596"/>
                    </a:lnTo>
                    <a:lnTo>
                      <a:pt x="426" y="616"/>
                    </a:lnTo>
                    <a:lnTo>
                      <a:pt x="414" y="642"/>
                    </a:lnTo>
                    <a:lnTo>
                      <a:pt x="414" y="642"/>
                    </a:lnTo>
                    <a:lnTo>
                      <a:pt x="412" y="644"/>
                    </a:lnTo>
                    <a:lnTo>
                      <a:pt x="412" y="644"/>
                    </a:lnTo>
                    <a:lnTo>
                      <a:pt x="396" y="642"/>
                    </a:lnTo>
                    <a:lnTo>
                      <a:pt x="396" y="6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7" name="Freeform 6"/>
              <p:cNvSpPr>
                <a:spLocks noEditPoints="1"/>
              </p:cNvSpPr>
              <p:nvPr/>
            </p:nvSpPr>
            <p:spPr bwMode="auto">
              <a:xfrm>
                <a:off x="1831" y="907"/>
                <a:ext cx="864" cy="648"/>
              </a:xfrm>
              <a:custGeom>
                <a:avLst/>
                <a:gdLst>
                  <a:gd name="T0" fmla="*/ 664 w 864"/>
                  <a:gd name="T1" fmla="*/ 72 h 648"/>
                  <a:gd name="T2" fmla="*/ 748 w 864"/>
                  <a:gd name="T3" fmla="*/ 70 h 648"/>
                  <a:gd name="T4" fmla="*/ 802 w 864"/>
                  <a:gd name="T5" fmla="*/ 114 h 648"/>
                  <a:gd name="T6" fmla="*/ 760 w 864"/>
                  <a:gd name="T7" fmla="*/ 194 h 648"/>
                  <a:gd name="T8" fmla="*/ 730 w 864"/>
                  <a:gd name="T9" fmla="*/ 238 h 648"/>
                  <a:gd name="T10" fmla="*/ 708 w 864"/>
                  <a:gd name="T11" fmla="*/ 322 h 648"/>
                  <a:gd name="T12" fmla="*/ 690 w 864"/>
                  <a:gd name="T13" fmla="*/ 388 h 648"/>
                  <a:gd name="T14" fmla="*/ 576 w 864"/>
                  <a:gd name="T15" fmla="*/ 464 h 648"/>
                  <a:gd name="T16" fmla="*/ 452 w 864"/>
                  <a:gd name="T17" fmla="*/ 572 h 648"/>
                  <a:gd name="T18" fmla="*/ 338 w 864"/>
                  <a:gd name="T19" fmla="*/ 604 h 648"/>
                  <a:gd name="T20" fmla="*/ 276 w 864"/>
                  <a:gd name="T21" fmla="*/ 486 h 648"/>
                  <a:gd name="T22" fmla="*/ 280 w 864"/>
                  <a:gd name="T23" fmla="*/ 402 h 648"/>
                  <a:gd name="T24" fmla="*/ 216 w 864"/>
                  <a:gd name="T25" fmla="*/ 278 h 648"/>
                  <a:gd name="T26" fmla="*/ 72 w 864"/>
                  <a:gd name="T27" fmla="*/ 230 h 648"/>
                  <a:gd name="T28" fmla="*/ 12 w 864"/>
                  <a:gd name="T29" fmla="*/ 172 h 648"/>
                  <a:gd name="T30" fmla="*/ 174 w 864"/>
                  <a:gd name="T31" fmla="*/ 76 h 648"/>
                  <a:gd name="T32" fmla="*/ 310 w 864"/>
                  <a:gd name="T33" fmla="*/ 64 h 648"/>
                  <a:gd name="T34" fmla="*/ 458 w 864"/>
                  <a:gd name="T35" fmla="*/ 20 h 648"/>
                  <a:gd name="T36" fmla="*/ 458 w 864"/>
                  <a:gd name="T37" fmla="*/ 16 h 648"/>
                  <a:gd name="T38" fmla="*/ 360 w 864"/>
                  <a:gd name="T39" fmla="*/ 36 h 648"/>
                  <a:gd name="T40" fmla="*/ 324 w 864"/>
                  <a:gd name="T41" fmla="*/ 40 h 648"/>
                  <a:gd name="T42" fmla="*/ 282 w 864"/>
                  <a:gd name="T43" fmla="*/ 44 h 648"/>
                  <a:gd name="T44" fmla="*/ 204 w 864"/>
                  <a:gd name="T45" fmla="*/ 52 h 648"/>
                  <a:gd name="T46" fmla="*/ 194 w 864"/>
                  <a:gd name="T47" fmla="*/ 60 h 648"/>
                  <a:gd name="T48" fmla="*/ 148 w 864"/>
                  <a:gd name="T49" fmla="*/ 82 h 648"/>
                  <a:gd name="T50" fmla="*/ 102 w 864"/>
                  <a:gd name="T51" fmla="*/ 134 h 648"/>
                  <a:gd name="T52" fmla="*/ 12 w 864"/>
                  <a:gd name="T53" fmla="*/ 168 h 648"/>
                  <a:gd name="T54" fmla="*/ 60 w 864"/>
                  <a:gd name="T55" fmla="*/ 208 h 648"/>
                  <a:gd name="T56" fmla="*/ 22 w 864"/>
                  <a:gd name="T57" fmla="*/ 220 h 648"/>
                  <a:gd name="T58" fmla="*/ 50 w 864"/>
                  <a:gd name="T59" fmla="*/ 242 h 648"/>
                  <a:gd name="T60" fmla="*/ 108 w 864"/>
                  <a:gd name="T61" fmla="*/ 252 h 648"/>
                  <a:gd name="T62" fmla="*/ 236 w 864"/>
                  <a:gd name="T63" fmla="*/ 304 h 648"/>
                  <a:gd name="T64" fmla="*/ 268 w 864"/>
                  <a:gd name="T65" fmla="*/ 376 h 648"/>
                  <a:gd name="T66" fmla="*/ 288 w 864"/>
                  <a:gd name="T67" fmla="*/ 388 h 648"/>
                  <a:gd name="T68" fmla="*/ 316 w 864"/>
                  <a:gd name="T69" fmla="*/ 420 h 648"/>
                  <a:gd name="T70" fmla="*/ 288 w 864"/>
                  <a:gd name="T71" fmla="*/ 462 h 648"/>
                  <a:gd name="T72" fmla="*/ 272 w 864"/>
                  <a:gd name="T73" fmla="*/ 502 h 648"/>
                  <a:gd name="T74" fmla="*/ 320 w 864"/>
                  <a:gd name="T75" fmla="*/ 544 h 648"/>
                  <a:gd name="T76" fmla="*/ 348 w 864"/>
                  <a:gd name="T77" fmla="*/ 632 h 648"/>
                  <a:gd name="T78" fmla="*/ 398 w 864"/>
                  <a:gd name="T79" fmla="*/ 646 h 648"/>
                  <a:gd name="T80" fmla="*/ 438 w 864"/>
                  <a:gd name="T81" fmla="*/ 598 h 648"/>
                  <a:gd name="T82" fmla="*/ 460 w 864"/>
                  <a:gd name="T83" fmla="*/ 560 h 648"/>
                  <a:gd name="T84" fmla="*/ 504 w 864"/>
                  <a:gd name="T85" fmla="*/ 520 h 648"/>
                  <a:gd name="T86" fmla="*/ 588 w 864"/>
                  <a:gd name="T87" fmla="*/ 466 h 648"/>
                  <a:gd name="T88" fmla="*/ 724 w 864"/>
                  <a:gd name="T89" fmla="*/ 410 h 648"/>
                  <a:gd name="T90" fmla="*/ 718 w 864"/>
                  <a:gd name="T91" fmla="*/ 366 h 648"/>
                  <a:gd name="T92" fmla="*/ 708 w 864"/>
                  <a:gd name="T93" fmla="*/ 326 h 648"/>
                  <a:gd name="T94" fmla="*/ 762 w 864"/>
                  <a:gd name="T95" fmla="*/ 302 h 648"/>
                  <a:gd name="T96" fmla="*/ 766 w 864"/>
                  <a:gd name="T97" fmla="*/ 256 h 648"/>
                  <a:gd name="T98" fmla="*/ 772 w 864"/>
                  <a:gd name="T99" fmla="*/ 240 h 648"/>
                  <a:gd name="T100" fmla="*/ 754 w 864"/>
                  <a:gd name="T101" fmla="*/ 204 h 648"/>
                  <a:gd name="T102" fmla="*/ 756 w 864"/>
                  <a:gd name="T103" fmla="*/ 160 h 648"/>
                  <a:gd name="T104" fmla="*/ 794 w 864"/>
                  <a:gd name="T105" fmla="*/ 124 h 648"/>
                  <a:gd name="T106" fmla="*/ 778 w 864"/>
                  <a:gd name="T107" fmla="*/ 108 h 648"/>
                  <a:gd name="T108" fmla="*/ 864 w 864"/>
                  <a:gd name="T109" fmla="*/ 80 h 648"/>
                  <a:gd name="T110" fmla="*/ 792 w 864"/>
                  <a:gd name="T111" fmla="*/ 62 h 648"/>
                  <a:gd name="T112" fmla="*/ 726 w 864"/>
                  <a:gd name="T113" fmla="*/ 64 h 648"/>
                  <a:gd name="T114" fmla="*/ 732 w 864"/>
                  <a:gd name="T115" fmla="*/ 38 h 648"/>
                  <a:gd name="T116" fmla="*/ 642 w 864"/>
                  <a:gd name="T117" fmla="*/ 4 h 648"/>
                  <a:gd name="T118" fmla="*/ 680 w 864"/>
                  <a:gd name="T119" fmla="*/ 64 h 648"/>
                  <a:gd name="T120" fmla="*/ 754 w 864"/>
                  <a:gd name="T121" fmla="*/ 1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4" h="648">
                    <a:moveTo>
                      <a:pt x="610" y="4"/>
                    </a:moveTo>
                    <a:lnTo>
                      <a:pt x="642" y="8"/>
                    </a:lnTo>
                    <a:lnTo>
                      <a:pt x="668" y="16"/>
                    </a:lnTo>
                    <a:lnTo>
                      <a:pt x="678" y="20"/>
                    </a:lnTo>
                    <a:lnTo>
                      <a:pt x="682" y="26"/>
                    </a:lnTo>
                    <a:lnTo>
                      <a:pt x="730" y="38"/>
                    </a:lnTo>
                    <a:lnTo>
                      <a:pt x="716" y="48"/>
                    </a:lnTo>
                    <a:lnTo>
                      <a:pt x="662" y="54"/>
                    </a:lnTo>
                    <a:lnTo>
                      <a:pt x="606" y="56"/>
                    </a:lnTo>
                    <a:lnTo>
                      <a:pt x="600" y="68"/>
                    </a:lnTo>
                    <a:lnTo>
                      <a:pt x="622" y="62"/>
                    </a:lnTo>
                    <a:lnTo>
                      <a:pt x="676" y="64"/>
                    </a:lnTo>
                    <a:lnTo>
                      <a:pt x="664" y="72"/>
                    </a:lnTo>
                    <a:lnTo>
                      <a:pt x="650" y="76"/>
                    </a:lnTo>
                    <a:lnTo>
                      <a:pt x="658" y="78"/>
                    </a:lnTo>
                    <a:lnTo>
                      <a:pt x="682" y="72"/>
                    </a:lnTo>
                    <a:lnTo>
                      <a:pt x="694" y="66"/>
                    </a:lnTo>
                    <a:lnTo>
                      <a:pt x="700" y="56"/>
                    </a:lnTo>
                    <a:lnTo>
                      <a:pt x="716" y="56"/>
                    </a:lnTo>
                    <a:lnTo>
                      <a:pt x="722" y="64"/>
                    </a:lnTo>
                    <a:lnTo>
                      <a:pt x="722" y="78"/>
                    </a:lnTo>
                    <a:lnTo>
                      <a:pt x="694" y="98"/>
                    </a:lnTo>
                    <a:lnTo>
                      <a:pt x="690" y="106"/>
                    </a:lnTo>
                    <a:lnTo>
                      <a:pt x="710" y="96"/>
                    </a:lnTo>
                    <a:lnTo>
                      <a:pt x="734" y="82"/>
                    </a:lnTo>
                    <a:lnTo>
                      <a:pt x="748" y="70"/>
                    </a:lnTo>
                    <a:lnTo>
                      <a:pt x="778" y="80"/>
                    </a:lnTo>
                    <a:lnTo>
                      <a:pt x="792" y="66"/>
                    </a:lnTo>
                    <a:lnTo>
                      <a:pt x="818" y="64"/>
                    </a:lnTo>
                    <a:lnTo>
                      <a:pt x="846" y="68"/>
                    </a:lnTo>
                    <a:lnTo>
                      <a:pt x="860" y="76"/>
                    </a:lnTo>
                    <a:lnTo>
                      <a:pt x="848" y="84"/>
                    </a:lnTo>
                    <a:lnTo>
                      <a:pt x="826" y="92"/>
                    </a:lnTo>
                    <a:lnTo>
                      <a:pt x="820" y="100"/>
                    </a:lnTo>
                    <a:lnTo>
                      <a:pt x="810" y="102"/>
                    </a:lnTo>
                    <a:lnTo>
                      <a:pt x="780" y="102"/>
                    </a:lnTo>
                    <a:lnTo>
                      <a:pt x="762" y="108"/>
                    </a:lnTo>
                    <a:lnTo>
                      <a:pt x="778" y="112"/>
                    </a:lnTo>
                    <a:lnTo>
                      <a:pt x="802" y="114"/>
                    </a:lnTo>
                    <a:lnTo>
                      <a:pt x="794" y="120"/>
                    </a:lnTo>
                    <a:lnTo>
                      <a:pt x="762" y="118"/>
                    </a:lnTo>
                    <a:lnTo>
                      <a:pt x="746" y="122"/>
                    </a:lnTo>
                    <a:lnTo>
                      <a:pt x="752" y="130"/>
                    </a:lnTo>
                    <a:lnTo>
                      <a:pt x="776" y="128"/>
                    </a:lnTo>
                    <a:lnTo>
                      <a:pt x="784" y="128"/>
                    </a:lnTo>
                    <a:lnTo>
                      <a:pt x="778" y="134"/>
                    </a:lnTo>
                    <a:lnTo>
                      <a:pt x="756" y="140"/>
                    </a:lnTo>
                    <a:lnTo>
                      <a:pt x="754" y="156"/>
                    </a:lnTo>
                    <a:lnTo>
                      <a:pt x="736" y="166"/>
                    </a:lnTo>
                    <a:lnTo>
                      <a:pt x="728" y="190"/>
                    </a:lnTo>
                    <a:lnTo>
                      <a:pt x="736" y="192"/>
                    </a:lnTo>
                    <a:lnTo>
                      <a:pt x="760" y="194"/>
                    </a:lnTo>
                    <a:lnTo>
                      <a:pt x="748" y="202"/>
                    </a:lnTo>
                    <a:lnTo>
                      <a:pt x="748" y="204"/>
                    </a:lnTo>
                    <a:lnTo>
                      <a:pt x="750" y="206"/>
                    </a:lnTo>
                    <a:lnTo>
                      <a:pt x="752" y="208"/>
                    </a:lnTo>
                    <a:lnTo>
                      <a:pt x="764" y="214"/>
                    </a:lnTo>
                    <a:lnTo>
                      <a:pt x="778" y="218"/>
                    </a:lnTo>
                    <a:lnTo>
                      <a:pt x="774" y="228"/>
                    </a:lnTo>
                    <a:lnTo>
                      <a:pt x="770" y="234"/>
                    </a:lnTo>
                    <a:lnTo>
                      <a:pt x="768" y="236"/>
                    </a:lnTo>
                    <a:lnTo>
                      <a:pt x="758" y="230"/>
                    </a:lnTo>
                    <a:lnTo>
                      <a:pt x="748" y="222"/>
                    </a:lnTo>
                    <a:lnTo>
                      <a:pt x="730" y="226"/>
                    </a:lnTo>
                    <a:lnTo>
                      <a:pt x="730" y="238"/>
                    </a:lnTo>
                    <a:lnTo>
                      <a:pt x="746" y="244"/>
                    </a:lnTo>
                    <a:lnTo>
                      <a:pt x="762" y="254"/>
                    </a:lnTo>
                    <a:lnTo>
                      <a:pt x="760" y="268"/>
                    </a:lnTo>
                    <a:lnTo>
                      <a:pt x="742" y="270"/>
                    </a:lnTo>
                    <a:lnTo>
                      <a:pt x="752" y="284"/>
                    </a:lnTo>
                    <a:lnTo>
                      <a:pt x="758" y="290"/>
                    </a:lnTo>
                    <a:lnTo>
                      <a:pt x="762" y="294"/>
                    </a:lnTo>
                    <a:lnTo>
                      <a:pt x="762" y="298"/>
                    </a:lnTo>
                    <a:lnTo>
                      <a:pt x="750" y="302"/>
                    </a:lnTo>
                    <a:lnTo>
                      <a:pt x="740" y="304"/>
                    </a:lnTo>
                    <a:lnTo>
                      <a:pt x="744" y="318"/>
                    </a:lnTo>
                    <a:lnTo>
                      <a:pt x="728" y="322"/>
                    </a:lnTo>
                    <a:lnTo>
                      <a:pt x="708" y="322"/>
                    </a:lnTo>
                    <a:lnTo>
                      <a:pt x="688" y="320"/>
                    </a:lnTo>
                    <a:lnTo>
                      <a:pt x="678" y="326"/>
                    </a:lnTo>
                    <a:lnTo>
                      <a:pt x="688" y="336"/>
                    </a:lnTo>
                    <a:lnTo>
                      <a:pt x="716" y="336"/>
                    </a:lnTo>
                    <a:lnTo>
                      <a:pt x="720" y="346"/>
                    </a:lnTo>
                    <a:lnTo>
                      <a:pt x="716" y="362"/>
                    </a:lnTo>
                    <a:lnTo>
                      <a:pt x="700" y="350"/>
                    </a:lnTo>
                    <a:lnTo>
                      <a:pt x="694" y="350"/>
                    </a:lnTo>
                    <a:lnTo>
                      <a:pt x="696" y="354"/>
                    </a:lnTo>
                    <a:lnTo>
                      <a:pt x="720" y="370"/>
                    </a:lnTo>
                    <a:lnTo>
                      <a:pt x="726" y="402"/>
                    </a:lnTo>
                    <a:lnTo>
                      <a:pt x="708" y="402"/>
                    </a:lnTo>
                    <a:lnTo>
                      <a:pt x="690" y="388"/>
                    </a:lnTo>
                    <a:lnTo>
                      <a:pt x="678" y="376"/>
                    </a:lnTo>
                    <a:lnTo>
                      <a:pt x="672" y="374"/>
                    </a:lnTo>
                    <a:lnTo>
                      <a:pt x="672" y="390"/>
                    </a:lnTo>
                    <a:lnTo>
                      <a:pt x="678" y="402"/>
                    </a:lnTo>
                    <a:lnTo>
                      <a:pt x="698" y="408"/>
                    </a:lnTo>
                    <a:lnTo>
                      <a:pt x="720" y="410"/>
                    </a:lnTo>
                    <a:lnTo>
                      <a:pt x="708" y="418"/>
                    </a:lnTo>
                    <a:lnTo>
                      <a:pt x="674" y="436"/>
                    </a:lnTo>
                    <a:lnTo>
                      <a:pt x="660" y="448"/>
                    </a:lnTo>
                    <a:lnTo>
                      <a:pt x="606" y="458"/>
                    </a:lnTo>
                    <a:lnTo>
                      <a:pt x="590" y="462"/>
                    </a:lnTo>
                    <a:lnTo>
                      <a:pt x="580" y="456"/>
                    </a:lnTo>
                    <a:lnTo>
                      <a:pt x="576" y="464"/>
                    </a:lnTo>
                    <a:lnTo>
                      <a:pt x="564" y="474"/>
                    </a:lnTo>
                    <a:lnTo>
                      <a:pt x="546" y="498"/>
                    </a:lnTo>
                    <a:lnTo>
                      <a:pt x="522" y="508"/>
                    </a:lnTo>
                    <a:lnTo>
                      <a:pt x="504" y="516"/>
                    </a:lnTo>
                    <a:lnTo>
                      <a:pt x="490" y="516"/>
                    </a:lnTo>
                    <a:lnTo>
                      <a:pt x="472" y="520"/>
                    </a:lnTo>
                    <a:lnTo>
                      <a:pt x="466" y="524"/>
                    </a:lnTo>
                    <a:lnTo>
                      <a:pt x="466" y="530"/>
                    </a:lnTo>
                    <a:lnTo>
                      <a:pt x="458" y="534"/>
                    </a:lnTo>
                    <a:lnTo>
                      <a:pt x="460" y="546"/>
                    </a:lnTo>
                    <a:lnTo>
                      <a:pt x="454" y="552"/>
                    </a:lnTo>
                    <a:lnTo>
                      <a:pt x="456" y="558"/>
                    </a:lnTo>
                    <a:lnTo>
                      <a:pt x="452" y="572"/>
                    </a:lnTo>
                    <a:lnTo>
                      <a:pt x="438" y="584"/>
                    </a:lnTo>
                    <a:lnTo>
                      <a:pt x="426" y="586"/>
                    </a:lnTo>
                    <a:lnTo>
                      <a:pt x="432" y="592"/>
                    </a:lnTo>
                    <a:lnTo>
                      <a:pt x="434" y="598"/>
                    </a:lnTo>
                    <a:lnTo>
                      <a:pt x="428" y="618"/>
                    </a:lnTo>
                    <a:lnTo>
                      <a:pt x="416" y="644"/>
                    </a:lnTo>
                    <a:lnTo>
                      <a:pt x="400" y="642"/>
                    </a:lnTo>
                    <a:lnTo>
                      <a:pt x="386" y="632"/>
                    </a:lnTo>
                    <a:lnTo>
                      <a:pt x="384" y="620"/>
                    </a:lnTo>
                    <a:lnTo>
                      <a:pt x="374" y="624"/>
                    </a:lnTo>
                    <a:lnTo>
                      <a:pt x="366" y="624"/>
                    </a:lnTo>
                    <a:lnTo>
                      <a:pt x="352" y="630"/>
                    </a:lnTo>
                    <a:lnTo>
                      <a:pt x="338" y="604"/>
                    </a:lnTo>
                    <a:lnTo>
                      <a:pt x="322" y="588"/>
                    </a:lnTo>
                    <a:lnTo>
                      <a:pt x="326" y="580"/>
                    </a:lnTo>
                    <a:lnTo>
                      <a:pt x="314" y="570"/>
                    </a:lnTo>
                    <a:lnTo>
                      <a:pt x="314" y="556"/>
                    </a:lnTo>
                    <a:lnTo>
                      <a:pt x="326" y="544"/>
                    </a:lnTo>
                    <a:lnTo>
                      <a:pt x="320" y="536"/>
                    </a:lnTo>
                    <a:lnTo>
                      <a:pt x="308" y="540"/>
                    </a:lnTo>
                    <a:lnTo>
                      <a:pt x="294" y="530"/>
                    </a:lnTo>
                    <a:lnTo>
                      <a:pt x="282" y="516"/>
                    </a:lnTo>
                    <a:lnTo>
                      <a:pt x="276" y="504"/>
                    </a:lnTo>
                    <a:lnTo>
                      <a:pt x="282" y="492"/>
                    </a:lnTo>
                    <a:lnTo>
                      <a:pt x="286" y="486"/>
                    </a:lnTo>
                    <a:lnTo>
                      <a:pt x="276" y="486"/>
                    </a:lnTo>
                    <a:lnTo>
                      <a:pt x="274" y="476"/>
                    </a:lnTo>
                    <a:lnTo>
                      <a:pt x="282" y="466"/>
                    </a:lnTo>
                    <a:lnTo>
                      <a:pt x="288" y="466"/>
                    </a:lnTo>
                    <a:lnTo>
                      <a:pt x="304" y="470"/>
                    </a:lnTo>
                    <a:lnTo>
                      <a:pt x="310" y="470"/>
                    </a:lnTo>
                    <a:lnTo>
                      <a:pt x="312" y="470"/>
                    </a:lnTo>
                    <a:lnTo>
                      <a:pt x="314" y="470"/>
                    </a:lnTo>
                    <a:lnTo>
                      <a:pt x="310" y="452"/>
                    </a:lnTo>
                    <a:lnTo>
                      <a:pt x="310" y="432"/>
                    </a:lnTo>
                    <a:lnTo>
                      <a:pt x="322" y="420"/>
                    </a:lnTo>
                    <a:lnTo>
                      <a:pt x="318" y="412"/>
                    </a:lnTo>
                    <a:lnTo>
                      <a:pt x="298" y="412"/>
                    </a:lnTo>
                    <a:lnTo>
                      <a:pt x="280" y="402"/>
                    </a:lnTo>
                    <a:lnTo>
                      <a:pt x="268" y="394"/>
                    </a:lnTo>
                    <a:lnTo>
                      <a:pt x="288" y="392"/>
                    </a:lnTo>
                    <a:lnTo>
                      <a:pt x="310" y="400"/>
                    </a:lnTo>
                    <a:lnTo>
                      <a:pt x="310" y="388"/>
                    </a:lnTo>
                    <a:lnTo>
                      <a:pt x="298" y="374"/>
                    </a:lnTo>
                    <a:lnTo>
                      <a:pt x="290" y="370"/>
                    </a:lnTo>
                    <a:lnTo>
                      <a:pt x="276" y="362"/>
                    </a:lnTo>
                    <a:lnTo>
                      <a:pt x="268" y="372"/>
                    </a:lnTo>
                    <a:lnTo>
                      <a:pt x="248" y="374"/>
                    </a:lnTo>
                    <a:lnTo>
                      <a:pt x="248" y="360"/>
                    </a:lnTo>
                    <a:lnTo>
                      <a:pt x="262" y="342"/>
                    </a:lnTo>
                    <a:lnTo>
                      <a:pt x="240" y="302"/>
                    </a:lnTo>
                    <a:lnTo>
                      <a:pt x="216" y="278"/>
                    </a:lnTo>
                    <a:lnTo>
                      <a:pt x="208" y="268"/>
                    </a:lnTo>
                    <a:lnTo>
                      <a:pt x="206" y="258"/>
                    </a:lnTo>
                    <a:lnTo>
                      <a:pt x="180" y="250"/>
                    </a:lnTo>
                    <a:lnTo>
                      <a:pt x="136" y="238"/>
                    </a:lnTo>
                    <a:lnTo>
                      <a:pt x="128" y="242"/>
                    </a:lnTo>
                    <a:lnTo>
                      <a:pt x="110" y="250"/>
                    </a:lnTo>
                    <a:lnTo>
                      <a:pt x="100" y="240"/>
                    </a:lnTo>
                    <a:lnTo>
                      <a:pt x="94" y="248"/>
                    </a:lnTo>
                    <a:lnTo>
                      <a:pt x="88" y="252"/>
                    </a:lnTo>
                    <a:lnTo>
                      <a:pt x="72" y="248"/>
                    </a:lnTo>
                    <a:lnTo>
                      <a:pt x="52" y="238"/>
                    </a:lnTo>
                    <a:lnTo>
                      <a:pt x="66" y="234"/>
                    </a:lnTo>
                    <a:lnTo>
                      <a:pt x="72" y="230"/>
                    </a:lnTo>
                    <a:lnTo>
                      <a:pt x="60" y="228"/>
                    </a:lnTo>
                    <a:lnTo>
                      <a:pt x="42" y="228"/>
                    </a:lnTo>
                    <a:lnTo>
                      <a:pt x="26" y="218"/>
                    </a:lnTo>
                    <a:lnTo>
                      <a:pt x="32" y="214"/>
                    </a:lnTo>
                    <a:lnTo>
                      <a:pt x="58" y="214"/>
                    </a:lnTo>
                    <a:lnTo>
                      <a:pt x="94" y="210"/>
                    </a:lnTo>
                    <a:lnTo>
                      <a:pt x="96" y="202"/>
                    </a:lnTo>
                    <a:lnTo>
                      <a:pt x="80" y="202"/>
                    </a:lnTo>
                    <a:lnTo>
                      <a:pt x="60" y="204"/>
                    </a:lnTo>
                    <a:lnTo>
                      <a:pt x="40" y="202"/>
                    </a:lnTo>
                    <a:lnTo>
                      <a:pt x="12" y="188"/>
                    </a:lnTo>
                    <a:lnTo>
                      <a:pt x="4" y="180"/>
                    </a:lnTo>
                    <a:lnTo>
                      <a:pt x="12" y="172"/>
                    </a:lnTo>
                    <a:lnTo>
                      <a:pt x="34" y="168"/>
                    </a:lnTo>
                    <a:lnTo>
                      <a:pt x="56" y="166"/>
                    </a:lnTo>
                    <a:lnTo>
                      <a:pt x="72" y="156"/>
                    </a:lnTo>
                    <a:lnTo>
                      <a:pt x="100" y="156"/>
                    </a:lnTo>
                    <a:lnTo>
                      <a:pt x="114" y="144"/>
                    </a:lnTo>
                    <a:lnTo>
                      <a:pt x="116" y="124"/>
                    </a:lnTo>
                    <a:lnTo>
                      <a:pt x="104" y="130"/>
                    </a:lnTo>
                    <a:lnTo>
                      <a:pt x="78" y="118"/>
                    </a:lnTo>
                    <a:lnTo>
                      <a:pt x="96" y="106"/>
                    </a:lnTo>
                    <a:lnTo>
                      <a:pt x="118" y="96"/>
                    </a:lnTo>
                    <a:lnTo>
                      <a:pt x="148" y="86"/>
                    </a:lnTo>
                    <a:lnTo>
                      <a:pt x="168" y="94"/>
                    </a:lnTo>
                    <a:lnTo>
                      <a:pt x="174" y="76"/>
                    </a:lnTo>
                    <a:lnTo>
                      <a:pt x="166" y="68"/>
                    </a:lnTo>
                    <a:lnTo>
                      <a:pt x="194" y="64"/>
                    </a:lnTo>
                    <a:lnTo>
                      <a:pt x="202" y="72"/>
                    </a:lnTo>
                    <a:lnTo>
                      <a:pt x="216" y="76"/>
                    </a:lnTo>
                    <a:lnTo>
                      <a:pt x="210" y="66"/>
                    </a:lnTo>
                    <a:lnTo>
                      <a:pt x="206" y="60"/>
                    </a:lnTo>
                    <a:lnTo>
                      <a:pt x="204" y="58"/>
                    </a:lnTo>
                    <a:lnTo>
                      <a:pt x="204" y="56"/>
                    </a:lnTo>
                    <a:lnTo>
                      <a:pt x="268" y="50"/>
                    </a:lnTo>
                    <a:lnTo>
                      <a:pt x="276" y="68"/>
                    </a:lnTo>
                    <a:lnTo>
                      <a:pt x="286" y="64"/>
                    </a:lnTo>
                    <a:lnTo>
                      <a:pt x="282" y="48"/>
                    </a:lnTo>
                    <a:lnTo>
                      <a:pt x="310" y="64"/>
                    </a:lnTo>
                    <a:lnTo>
                      <a:pt x="330" y="64"/>
                    </a:lnTo>
                    <a:lnTo>
                      <a:pt x="316" y="54"/>
                    </a:lnTo>
                    <a:lnTo>
                      <a:pt x="324" y="44"/>
                    </a:lnTo>
                    <a:lnTo>
                      <a:pt x="338" y="44"/>
                    </a:lnTo>
                    <a:lnTo>
                      <a:pt x="364" y="54"/>
                    </a:lnTo>
                    <a:lnTo>
                      <a:pt x="398" y="70"/>
                    </a:lnTo>
                    <a:lnTo>
                      <a:pt x="406" y="66"/>
                    </a:lnTo>
                    <a:lnTo>
                      <a:pt x="360" y="40"/>
                    </a:lnTo>
                    <a:lnTo>
                      <a:pt x="380" y="34"/>
                    </a:lnTo>
                    <a:lnTo>
                      <a:pt x="382" y="26"/>
                    </a:lnTo>
                    <a:lnTo>
                      <a:pt x="406" y="18"/>
                    </a:lnTo>
                    <a:lnTo>
                      <a:pt x="430" y="18"/>
                    </a:lnTo>
                    <a:lnTo>
                      <a:pt x="458" y="20"/>
                    </a:lnTo>
                    <a:lnTo>
                      <a:pt x="480" y="18"/>
                    </a:lnTo>
                    <a:lnTo>
                      <a:pt x="504" y="8"/>
                    </a:lnTo>
                    <a:lnTo>
                      <a:pt x="554" y="4"/>
                    </a:lnTo>
                    <a:lnTo>
                      <a:pt x="610" y="4"/>
                    </a:lnTo>
                    <a:close/>
                    <a:moveTo>
                      <a:pt x="784" y="128"/>
                    </a:moveTo>
                    <a:lnTo>
                      <a:pt x="784" y="128"/>
                    </a:lnTo>
                    <a:close/>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close/>
                    <a:moveTo>
                      <a:pt x="654" y="58"/>
                    </a:moveTo>
                    <a:lnTo>
                      <a:pt x="662" y="58"/>
                    </a:lnTo>
                    <a:lnTo>
                      <a:pt x="698" y="54"/>
                    </a:lnTo>
                    <a:lnTo>
                      <a:pt x="690" y="62"/>
                    </a:lnTo>
                    <a:lnTo>
                      <a:pt x="680" y="68"/>
                    </a:lnTo>
                    <a:lnTo>
                      <a:pt x="674" y="70"/>
                    </a:lnTo>
                    <a:lnTo>
                      <a:pt x="678" y="66"/>
                    </a:lnTo>
                    <a:lnTo>
                      <a:pt x="678" y="66"/>
                    </a:lnTo>
                    <a:lnTo>
                      <a:pt x="680" y="64"/>
                    </a:lnTo>
                    <a:lnTo>
                      <a:pt x="680" y="62"/>
                    </a:lnTo>
                    <a:lnTo>
                      <a:pt x="680" y="62"/>
                    </a:lnTo>
                    <a:lnTo>
                      <a:pt x="678" y="60"/>
                    </a:lnTo>
                    <a:lnTo>
                      <a:pt x="676" y="60"/>
                    </a:lnTo>
                    <a:lnTo>
                      <a:pt x="654" y="58"/>
                    </a:lnTo>
                    <a:lnTo>
                      <a:pt x="654" y="58"/>
                    </a:lnTo>
                    <a:close/>
                    <a:moveTo>
                      <a:pt x="754" y="124"/>
                    </a:moveTo>
                    <a:lnTo>
                      <a:pt x="762" y="122"/>
                    </a:lnTo>
                    <a:lnTo>
                      <a:pt x="778" y="124"/>
                    </a:lnTo>
                    <a:lnTo>
                      <a:pt x="776" y="124"/>
                    </a:lnTo>
                    <a:lnTo>
                      <a:pt x="754" y="126"/>
                    </a:lnTo>
                    <a:lnTo>
                      <a:pt x="754" y="124"/>
                    </a:lnTo>
                    <a:lnTo>
                      <a:pt x="754" y="124"/>
                    </a:lnTo>
                    <a:close/>
                    <a:moveTo>
                      <a:pt x="676" y="390"/>
                    </a:moveTo>
                    <a:lnTo>
                      <a:pt x="676" y="380"/>
                    </a:lnTo>
                    <a:lnTo>
                      <a:pt x="688" y="392"/>
                    </a:lnTo>
                    <a:lnTo>
                      <a:pt x="688" y="392"/>
                    </a:lnTo>
                    <a:lnTo>
                      <a:pt x="688" y="392"/>
                    </a:lnTo>
                    <a:lnTo>
                      <a:pt x="706" y="404"/>
                    </a:lnTo>
                    <a:lnTo>
                      <a:pt x="706" y="404"/>
                    </a:lnTo>
                    <a:lnTo>
                      <a:pt x="706" y="406"/>
                    </a:lnTo>
                    <a:lnTo>
                      <a:pt x="698" y="404"/>
                    </a:lnTo>
                    <a:lnTo>
                      <a:pt x="680" y="400"/>
                    </a:lnTo>
                    <a:lnTo>
                      <a:pt x="676" y="390"/>
                    </a:lnTo>
                    <a:lnTo>
                      <a:pt x="676"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8" name="Freeform 7"/>
              <p:cNvSpPr>
                <a:spLocks/>
              </p:cNvSpPr>
              <p:nvPr/>
            </p:nvSpPr>
            <p:spPr bwMode="auto">
              <a:xfrm>
                <a:off x="1835" y="911"/>
                <a:ext cx="856" cy="640"/>
              </a:xfrm>
              <a:custGeom>
                <a:avLst/>
                <a:gdLst>
                  <a:gd name="T0" fmla="*/ 674 w 856"/>
                  <a:gd name="T1" fmla="*/ 16 h 640"/>
                  <a:gd name="T2" fmla="*/ 658 w 856"/>
                  <a:gd name="T3" fmla="*/ 50 h 640"/>
                  <a:gd name="T4" fmla="*/ 672 w 856"/>
                  <a:gd name="T5" fmla="*/ 60 h 640"/>
                  <a:gd name="T6" fmla="*/ 678 w 856"/>
                  <a:gd name="T7" fmla="*/ 68 h 640"/>
                  <a:gd name="T8" fmla="*/ 718 w 856"/>
                  <a:gd name="T9" fmla="*/ 60 h 640"/>
                  <a:gd name="T10" fmla="*/ 706 w 856"/>
                  <a:gd name="T11" fmla="*/ 92 h 640"/>
                  <a:gd name="T12" fmla="*/ 788 w 856"/>
                  <a:gd name="T13" fmla="*/ 62 h 640"/>
                  <a:gd name="T14" fmla="*/ 844 w 856"/>
                  <a:gd name="T15" fmla="*/ 80 h 640"/>
                  <a:gd name="T16" fmla="*/ 776 w 856"/>
                  <a:gd name="T17" fmla="*/ 98 h 640"/>
                  <a:gd name="T18" fmla="*/ 790 w 856"/>
                  <a:gd name="T19" fmla="*/ 116 h 640"/>
                  <a:gd name="T20" fmla="*/ 772 w 856"/>
                  <a:gd name="T21" fmla="*/ 124 h 640"/>
                  <a:gd name="T22" fmla="*/ 750 w 856"/>
                  <a:gd name="T23" fmla="*/ 152 h 640"/>
                  <a:gd name="T24" fmla="*/ 756 w 856"/>
                  <a:gd name="T25" fmla="*/ 190 h 640"/>
                  <a:gd name="T26" fmla="*/ 748 w 856"/>
                  <a:gd name="T27" fmla="*/ 204 h 640"/>
                  <a:gd name="T28" fmla="*/ 766 w 856"/>
                  <a:gd name="T29" fmla="*/ 230 h 640"/>
                  <a:gd name="T30" fmla="*/ 726 w 856"/>
                  <a:gd name="T31" fmla="*/ 222 h 640"/>
                  <a:gd name="T32" fmla="*/ 756 w 856"/>
                  <a:gd name="T33" fmla="*/ 264 h 640"/>
                  <a:gd name="T34" fmla="*/ 758 w 856"/>
                  <a:gd name="T35" fmla="*/ 290 h 640"/>
                  <a:gd name="T36" fmla="*/ 740 w 856"/>
                  <a:gd name="T37" fmla="*/ 314 h 640"/>
                  <a:gd name="T38" fmla="*/ 674 w 856"/>
                  <a:gd name="T39" fmla="*/ 322 h 640"/>
                  <a:gd name="T40" fmla="*/ 712 w 856"/>
                  <a:gd name="T41" fmla="*/ 358 h 640"/>
                  <a:gd name="T42" fmla="*/ 716 w 856"/>
                  <a:gd name="T43" fmla="*/ 366 h 640"/>
                  <a:gd name="T44" fmla="*/ 674 w 856"/>
                  <a:gd name="T45" fmla="*/ 372 h 640"/>
                  <a:gd name="T46" fmla="*/ 694 w 856"/>
                  <a:gd name="T47" fmla="*/ 404 h 640"/>
                  <a:gd name="T48" fmla="*/ 656 w 856"/>
                  <a:gd name="T49" fmla="*/ 444 h 640"/>
                  <a:gd name="T50" fmla="*/ 572 w 856"/>
                  <a:gd name="T51" fmla="*/ 460 h 640"/>
                  <a:gd name="T52" fmla="*/ 500 w 856"/>
                  <a:gd name="T53" fmla="*/ 512 h 640"/>
                  <a:gd name="T54" fmla="*/ 462 w 856"/>
                  <a:gd name="T55" fmla="*/ 526 h 640"/>
                  <a:gd name="T56" fmla="*/ 452 w 856"/>
                  <a:gd name="T57" fmla="*/ 554 h 640"/>
                  <a:gd name="T58" fmla="*/ 428 w 856"/>
                  <a:gd name="T59" fmla="*/ 588 h 640"/>
                  <a:gd name="T60" fmla="*/ 396 w 856"/>
                  <a:gd name="T61" fmla="*/ 638 h 640"/>
                  <a:gd name="T62" fmla="*/ 362 w 856"/>
                  <a:gd name="T63" fmla="*/ 620 h 640"/>
                  <a:gd name="T64" fmla="*/ 322 w 856"/>
                  <a:gd name="T65" fmla="*/ 576 h 640"/>
                  <a:gd name="T66" fmla="*/ 316 w 856"/>
                  <a:gd name="T67" fmla="*/ 532 h 640"/>
                  <a:gd name="T68" fmla="*/ 272 w 856"/>
                  <a:gd name="T69" fmla="*/ 500 h 640"/>
                  <a:gd name="T70" fmla="*/ 270 w 856"/>
                  <a:gd name="T71" fmla="*/ 472 h 640"/>
                  <a:gd name="T72" fmla="*/ 306 w 856"/>
                  <a:gd name="T73" fmla="*/ 466 h 640"/>
                  <a:gd name="T74" fmla="*/ 306 w 856"/>
                  <a:gd name="T75" fmla="*/ 428 h 640"/>
                  <a:gd name="T76" fmla="*/ 276 w 856"/>
                  <a:gd name="T77" fmla="*/ 398 h 640"/>
                  <a:gd name="T78" fmla="*/ 306 w 856"/>
                  <a:gd name="T79" fmla="*/ 384 h 640"/>
                  <a:gd name="T80" fmla="*/ 264 w 856"/>
                  <a:gd name="T81" fmla="*/ 368 h 640"/>
                  <a:gd name="T82" fmla="*/ 236 w 856"/>
                  <a:gd name="T83" fmla="*/ 298 h 640"/>
                  <a:gd name="T84" fmla="*/ 176 w 856"/>
                  <a:gd name="T85" fmla="*/ 246 h 640"/>
                  <a:gd name="T86" fmla="*/ 96 w 856"/>
                  <a:gd name="T87" fmla="*/ 236 h 640"/>
                  <a:gd name="T88" fmla="*/ 48 w 856"/>
                  <a:gd name="T89" fmla="*/ 234 h 640"/>
                  <a:gd name="T90" fmla="*/ 38 w 856"/>
                  <a:gd name="T91" fmla="*/ 224 h 640"/>
                  <a:gd name="T92" fmla="*/ 90 w 856"/>
                  <a:gd name="T93" fmla="*/ 206 h 640"/>
                  <a:gd name="T94" fmla="*/ 36 w 856"/>
                  <a:gd name="T95" fmla="*/ 198 h 640"/>
                  <a:gd name="T96" fmla="*/ 30 w 856"/>
                  <a:gd name="T97" fmla="*/ 164 h 640"/>
                  <a:gd name="T98" fmla="*/ 110 w 856"/>
                  <a:gd name="T99" fmla="*/ 140 h 640"/>
                  <a:gd name="T100" fmla="*/ 92 w 856"/>
                  <a:gd name="T101" fmla="*/ 102 h 640"/>
                  <a:gd name="T102" fmla="*/ 170 w 856"/>
                  <a:gd name="T103" fmla="*/ 72 h 640"/>
                  <a:gd name="T104" fmla="*/ 212 w 856"/>
                  <a:gd name="T105" fmla="*/ 72 h 640"/>
                  <a:gd name="T106" fmla="*/ 200 w 856"/>
                  <a:gd name="T107" fmla="*/ 52 h 640"/>
                  <a:gd name="T108" fmla="*/ 278 w 856"/>
                  <a:gd name="T109" fmla="*/ 44 h 640"/>
                  <a:gd name="T110" fmla="*/ 320 w 856"/>
                  <a:gd name="T111" fmla="*/ 40 h 640"/>
                  <a:gd name="T112" fmla="*/ 402 w 856"/>
                  <a:gd name="T113" fmla="*/ 62 h 640"/>
                  <a:gd name="T114" fmla="*/ 402 w 856"/>
                  <a:gd name="T115" fmla="*/ 14 h 640"/>
                  <a:gd name="T116" fmla="*/ 500 w 856"/>
                  <a:gd name="T117" fmla="*/ 4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6" h="640">
                    <a:moveTo>
                      <a:pt x="606" y="0"/>
                    </a:moveTo>
                    <a:lnTo>
                      <a:pt x="638" y="4"/>
                    </a:lnTo>
                    <a:lnTo>
                      <a:pt x="664" y="12"/>
                    </a:lnTo>
                    <a:lnTo>
                      <a:pt x="674" y="16"/>
                    </a:lnTo>
                    <a:lnTo>
                      <a:pt x="678" y="22"/>
                    </a:lnTo>
                    <a:lnTo>
                      <a:pt x="726" y="34"/>
                    </a:lnTo>
                    <a:lnTo>
                      <a:pt x="712" y="44"/>
                    </a:lnTo>
                    <a:lnTo>
                      <a:pt x="658" y="50"/>
                    </a:lnTo>
                    <a:lnTo>
                      <a:pt x="602" y="52"/>
                    </a:lnTo>
                    <a:lnTo>
                      <a:pt x="596" y="64"/>
                    </a:lnTo>
                    <a:lnTo>
                      <a:pt x="618" y="58"/>
                    </a:lnTo>
                    <a:lnTo>
                      <a:pt x="672" y="60"/>
                    </a:lnTo>
                    <a:lnTo>
                      <a:pt x="660" y="68"/>
                    </a:lnTo>
                    <a:lnTo>
                      <a:pt x="646" y="72"/>
                    </a:lnTo>
                    <a:lnTo>
                      <a:pt x="654" y="74"/>
                    </a:lnTo>
                    <a:lnTo>
                      <a:pt x="678" y="68"/>
                    </a:lnTo>
                    <a:lnTo>
                      <a:pt x="690" y="62"/>
                    </a:lnTo>
                    <a:lnTo>
                      <a:pt x="696" y="52"/>
                    </a:lnTo>
                    <a:lnTo>
                      <a:pt x="712" y="52"/>
                    </a:lnTo>
                    <a:lnTo>
                      <a:pt x="718" y="60"/>
                    </a:lnTo>
                    <a:lnTo>
                      <a:pt x="718" y="74"/>
                    </a:lnTo>
                    <a:lnTo>
                      <a:pt x="690" y="94"/>
                    </a:lnTo>
                    <a:lnTo>
                      <a:pt x="686" y="102"/>
                    </a:lnTo>
                    <a:lnTo>
                      <a:pt x="706" y="92"/>
                    </a:lnTo>
                    <a:lnTo>
                      <a:pt x="730" y="78"/>
                    </a:lnTo>
                    <a:lnTo>
                      <a:pt x="744" y="66"/>
                    </a:lnTo>
                    <a:lnTo>
                      <a:pt x="774" y="76"/>
                    </a:lnTo>
                    <a:lnTo>
                      <a:pt x="788" y="62"/>
                    </a:lnTo>
                    <a:lnTo>
                      <a:pt x="814" y="60"/>
                    </a:lnTo>
                    <a:lnTo>
                      <a:pt x="842" y="64"/>
                    </a:lnTo>
                    <a:lnTo>
                      <a:pt x="856" y="72"/>
                    </a:lnTo>
                    <a:lnTo>
                      <a:pt x="844" y="80"/>
                    </a:lnTo>
                    <a:lnTo>
                      <a:pt x="822" y="88"/>
                    </a:lnTo>
                    <a:lnTo>
                      <a:pt x="816" y="96"/>
                    </a:lnTo>
                    <a:lnTo>
                      <a:pt x="806" y="98"/>
                    </a:lnTo>
                    <a:lnTo>
                      <a:pt x="776" y="98"/>
                    </a:lnTo>
                    <a:lnTo>
                      <a:pt x="758" y="104"/>
                    </a:lnTo>
                    <a:lnTo>
                      <a:pt x="774" y="108"/>
                    </a:lnTo>
                    <a:lnTo>
                      <a:pt x="798" y="110"/>
                    </a:lnTo>
                    <a:lnTo>
                      <a:pt x="790" y="116"/>
                    </a:lnTo>
                    <a:lnTo>
                      <a:pt x="758" y="114"/>
                    </a:lnTo>
                    <a:lnTo>
                      <a:pt x="742" y="118"/>
                    </a:lnTo>
                    <a:lnTo>
                      <a:pt x="748" y="126"/>
                    </a:lnTo>
                    <a:lnTo>
                      <a:pt x="772" y="124"/>
                    </a:lnTo>
                    <a:lnTo>
                      <a:pt x="780" y="124"/>
                    </a:lnTo>
                    <a:lnTo>
                      <a:pt x="774" y="130"/>
                    </a:lnTo>
                    <a:lnTo>
                      <a:pt x="752" y="136"/>
                    </a:lnTo>
                    <a:lnTo>
                      <a:pt x="750" y="152"/>
                    </a:lnTo>
                    <a:lnTo>
                      <a:pt x="732" y="162"/>
                    </a:lnTo>
                    <a:lnTo>
                      <a:pt x="724" y="186"/>
                    </a:lnTo>
                    <a:lnTo>
                      <a:pt x="732" y="188"/>
                    </a:lnTo>
                    <a:lnTo>
                      <a:pt x="756" y="190"/>
                    </a:lnTo>
                    <a:lnTo>
                      <a:pt x="744" y="198"/>
                    </a:lnTo>
                    <a:lnTo>
                      <a:pt x="744" y="200"/>
                    </a:lnTo>
                    <a:lnTo>
                      <a:pt x="746" y="202"/>
                    </a:lnTo>
                    <a:lnTo>
                      <a:pt x="748" y="204"/>
                    </a:lnTo>
                    <a:lnTo>
                      <a:pt x="760" y="210"/>
                    </a:lnTo>
                    <a:lnTo>
                      <a:pt x="774" y="214"/>
                    </a:lnTo>
                    <a:lnTo>
                      <a:pt x="770" y="224"/>
                    </a:lnTo>
                    <a:lnTo>
                      <a:pt x="766" y="230"/>
                    </a:lnTo>
                    <a:lnTo>
                      <a:pt x="764" y="232"/>
                    </a:lnTo>
                    <a:lnTo>
                      <a:pt x="754" y="226"/>
                    </a:lnTo>
                    <a:lnTo>
                      <a:pt x="744" y="218"/>
                    </a:lnTo>
                    <a:lnTo>
                      <a:pt x="726" y="222"/>
                    </a:lnTo>
                    <a:lnTo>
                      <a:pt x="726" y="234"/>
                    </a:lnTo>
                    <a:lnTo>
                      <a:pt x="742" y="240"/>
                    </a:lnTo>
                    <a:lnTo>
                      <a:pt x="758" y="250"/>
                    </a:lnTo>
                    <a:lnTo>
                      <a:pt x="756" y="264"/>
                    </a:lnTo>
                    <a:lnTo>
                      <a:pt x="738" y="266"/>
                    </a:lnTo>
                    <a:lnTo>
                      <a:pt x="748" y="280"/>
                    </a:lnTo>
                    <a:lnTo>
                      <a:pt x="754" y="286"/>
                    </a:lnTo>
                    <a:lnTo>
                      <a:pt x="758" y="290"/>
                    </a:lnTo>
                    <a:lnTo>
                      <a:pt x="758" y="294"/>
                    </a:lnTo>
                    <a:lnTo>
                      <a:pt x="746" y="298"/>
                    </a:lnTo>
                    <a:lnTo>
                      <a:pt x="736" y="300"/>
                    </a:lnTo>
                    <a:lnTo>
                      <a:pt x="740" y="314"/>
                    </a:lnTo>
                    <a:lnTo>
                      <a:pt x="724" y="318"/>
                    </a:lnTo>
                    <a:lnTo>
                      <a:pt x="704" y="318"/>
                    </a:lnTo>
                    <a:lnTo>
                      <a:pt x="684" y="316"/>
                    </a:lnTo>
                    <a:lnTo>
                      <a:pt x="674" y="322"/>
                    </a:lnTo>
                    <a:lnTo>
                      <a:pt x="684" y="332"/>
                    </a:lnTo>
                    <a:lnTo>
                      <a:pt x="712" y="332"/>
                    </a:lnTo>
                    <a:lnTo>
                      <a:pt x="716" y="342"/>
                    </a:lnTo>
                    <a:lnTo>
                      <a:pt x="712" y="358"/>
                    </a:lnTo>
                    <a:lnTo>
                      <a:pt x="696" y="346"/>
                    </a:lnTo>
                    <a:lnTo>
                      <a:pt x="690" y="346"/>
                    </a:lnTo>
                    <a:lnTo>
                      <a:pt x="692" y="350"/>
                    </a:lnTo>
                    <a:lnTo>
                      <a:pt x="716" y="366"/>
                    </a:lnTo>
                    <a:lnTo>
                      <a:pt x="722" y="398"/>
                    </a:lnTo>
                    <a:lnTo>
                      <a:pt x="704" y="398"/>
                    </a:lnTo>
                    <a:lnTo>
                      <a:pt x="686" y="384"/>
                    </a:lnTo>
                    <a:lnTo>
                      <a:pt x="674" y="372"/>
                    </a:lnTo>
                    <a:lnTo>
                      <a:pt x="668" y="370"/>
                    </a:lnTo>
                    <a:lnTo>
                      <a:pt x="668" y="386"/>
                    </a:lnTo>
                    <a:lnTo>
                      <a:pt x="674" y="398"/>
                    </a:lnTo>
                    <a:lnTo>
                      <a:pt x="694" y="404"/>
                    </a:lnTo>
                    <a:lnTo>
                      <a:pt x="716" y="406"/>
                    </a:lnTo>
                    <a:lnTo>
                      <a:pt x="704" y="414"/>
                    </a:lnTo>
                    <a:lnTo>
                      <a:pt x="670" y="432"/>
                    </a:lnTo>
                    <a:lnTo>
                      <a:pt x="656" y="444"/>
                    </a:lnTo>
                    <a:lnTo>
                      <a:pt x="602" y="454"/>
                    </a:lnTo>
                    <a:lnTo>
                      <a:pt x="586" y="458"/>
                    </a:lnTo>
                    <a:lnTo>
                      <a:pt x="576" y="452"/>
                    </a:lnTo>
                    <a:lnTo>
                      <a:pt x="572" y="460"/>
                    </a:lnTo>
                    <a:lnTo>
                      <a:pt x="560" y="470"/>
                    </a:lnTo>
                    <a:lnTo>
                      <a:pt x="542" y="494"/>
                    </a:lnTo>
                    <a:lnTo>
                      <a:pt x="518" y="504"/>
                    </a:lnTo>
                    <a:lnTo>
                      <a:pt x="500" y="512"/>
                    </a:lnTo>
                    <a:lnTo>
                      <a:pt x="486" y="512"/>
                    </a:lnTo>
                    <a:lnTo>
                      <a:pt x="468" y="516"/>
                    </a:lnTo>
                    <a:lnTo>
                      <a:pt x="462" y="520"/>
                    </a:lnTo>
                    <a:lnTo>
                      <a:pt x="462" y="526"/>
                    </a:lnTo>
                    <a:lnTo>
                      <a:pt x="454" y="530"/>
                    </a:lnTo>
                    <a:lnTo>
                      <a:pt x="456" y="542"/>
                    </a:lnTo>
                    <a:lnTo>
                      <a:pt x="450" y="548"/>
                    </a:lnTo>
                    <a:lnTo>
                      <a:pt x="452" y="554"/>
                    </a:lnTo>
                    <a:lnTo>
                      <a:pt x="448" y="568"/>
                    </a:lnTo>
                    <a:lnTo>
                      <a:pt x="434" y="580"/>
                    </a:lnTo>
                    <a:lnTo>
                      <a:pt x="422" y="582"/>
                    </a:lnTo>
                    <a:lnTo>
                      <a:pt x="428" y="588"/>
                    </a:lnTo>
                    <a:lnTo>
                      <a:pt x="430" y="594"/>
                    </a:lnTo>
                    <a:lnTo>
                      <a:pt x="424" y="614"/>
                    </a:lnTo>
                    <a:lnTo>
                      <a:pt x="412" y="640"/>
                    </a:lnTo>
                    <a:lnTo>
                      <a:pt x="396" y="638"/>
                    </a:lnTo>
                    <a:lnTo>
                      <a:pt x="382" y="628"/>
                    </a:lnTo>
                    <a:lnTo>
                      <a:pt x="380" y="616"/>
                    </a:lnTo>
                    <a:lnTo>
                      <a:pt x="370" y="620"/>
                    </a:lnTo>
                    <a:lnTo>
                      <a:pt x="362" y="620"/>
                    </a:lnTo>
                    <a:lnTo>
                      <a:pt x="348" y="626"/>
                    </a:lnTo>
                    <a:lnTo>
                      <a:pt x="334" y="600"/>
                    </a:lnTo>
                    <a:lnTo>
                      <a:pt x="318" y="584"/>
                    </a:lnTo>
                    <a:lnTo>
                      <a:pt x="322" y="576"/>
                    </a:lnTo>
                    <a:lnTo>
                      <a:pt x="310" y="566"/>
                    </a:lnTo>
                    <a:lnTo>
                      <a:pt x="310" y="552"/>
                    </a:lnTo>
                    <a:lnTo>
                      <a:pt x="322" y="540"/>
                    </a:lnTo>
                    <a:lnTo>
                      <a:pt x="316" y="532"/>
                    </a:lnTo>
                    <a:lnTo>
                      <a:pt x="304" y="536"/>
                    </a:lnTo>
                    <a:lnTo>
                      <a:pt x="290" y="526"/>
                    </a:lnTo>
                    <a:lnTo>
                      <a:pt x="278" y="512"/>
                    </a:lnTo>
                    <a:lnTo>
                      <a:pt x="272" y="500"/>
                    </a:lnTo>
                    <a:lnTo>
                      <a:pt x="278" y="488"/>
                    </a:lnTo>
                    <a:lnTo>
                      <a:pt x="282" y="482"/>
                    </a:lnTo>
                    <a:lnTo>
                      <a:pt x="272" y="482"/>
                    </a:lnTo>
                    <a:lnTo>
                      <a:pt x="270" y="472"/>
                    </a:lnTo>
                    <a:lnTo>
                      <a:pt x="278" y="462"/>
                    </a:lnTo>
                    <a:lnTo>
                      <a:pt x="284" y="462"/>
                    </a:lnTo>
                    <a:lnTo>
                      <a:pt x="300" y="466"/>
                    </a:lnTo>
                    <a:lnTo>
                      <a:pt x="306" y="466"/>
                    </a:lnTo>
                    <a:lnTo>
                      <a:pt x="308" y="466"/>
                    </a:lnTo>
                    <a:lnTo>
                      <a:pt x="310" y="466"/>
                    </a:lnTo>
                    <a:lnTo>
                      <a:pt x="306" y="448"/>
                    </a:lnTo>
                    <a:lnTo>
                      <a:pt x="306" y="428"/>
                    </a:lnTo>
                    <a:lnTo>
                      <a:pt x="318" y="416"/>
                    </a:lnTo>
                    <a:lnTo>
                      <a:pt x="314" y="408"/>
                    </a:lnTo>
                    <a:lnTo>
                      <a:pt x="294" y="408"/>
                    </a:lnTo>
                    <a:lnTo>
                      <a:pt x="276" y="398"/>
                    </a:lnTo>
                    <a:lnTo>
                      <a:pt x="264" y="390"/>
                    </a:lnTo>
                    <a:lnTo>
                      <a:pt x="284" y="388"/>
                    </a:lnTo>
                    <a:lnTo>
                      <a:pt x="306" y="396"/>
                    </a:lnTo>
                    <a:lnTo>
                      <a:pt x="306" y="384"/>
                    </a:lnTo>
                    <a:lnTo>
                      <a:pt x="294" y="370"/>
                    </a:lnTo>
                    <a:lnTo>
                      <a:pt x="286" y="366"/>
                    </a:lnTo>
                    <a:lnTo>
                      <a:pt x="272" y="358"/>
                    </a:lnTo>
                    <a:lnTo>
                      <a:pt x="264" y="368"/>
                    </a:lnTo>
                    <a:lnTo>
                      <a:pt x="244" y="370"/>
                    </a:lnTo>
                    <a:lnTo>
                      <a:pt x="244" y="356"/>
                    </a:lnTo>
                    <a:lnTo>
                      <a:pt x="258" y="338"/>
                    </a:lnTo>
                    <a:lnTo>
                      <a:pt x="236" y="298"/>
                    </a:lnTo>
                    <a:lnTo>
                      <a:pt x="212" y="274"/>
                    </a:lnTo>
                    <a:lnTo>
                      <a:pt x="204" y="264"/>
                    </a:lnTo>
                    <a:lnTo>
                      <a:pt x="202" y="254"/>
                    </a:lnTo>
                    <a:lnTo>
                      <a:pt x="176" y="246"/>
                    </a:lnTo>
                    <a:lnTo>
                      <a:pt x="132" y="234"/>
                    </a:lnTo>
                    <a:lnTo>
                      <a:pt x="124" y="238"/>
                    </a:lnTo>
                    <a:lnTo>
                      <a:pt x="106" y="246"/>
                    </a:lnTo>
                    <a:lnTo>
                      <a:pt x="96" y="236"/>
                    </a:lnTo>
                    <a:lnTo>
                      <a:pt x="90" y="244"/>
                    </a:lnTo>
                    <a:lnTo>
                      <a:pt x="84" y="248"/>
                    </a:lnTo>
                    <a:lnTo>
                      <a:pt x="68" y="244"/>
                    </a:lnTo>
                    <a:lnTo>
                      <a:pt x="48" y="234"/>
                    </a:lnTo>
                    <a:lnTo>
                      <a:pt x="62" y="230"/>
                    </a:lnTo>
                    <a:lnTo>
                      <a:pt x="68" y="226"/>
                    </a:lnTo>
                    <a:lnTo>
                      <a:pt x="56" y="224"/>
                    </a:lnTo>
                    <a:lnTo>
                      <a:pt x="38" y="224"/>
                    </a:lnTo>
                    <a:lnTo>
                      <a:pt x="22" y="214"/>
                    </a:lnTo>
                    <a:lnTo>
                      <a:pt x="28" y="210"/>
                    </a:lnTo>
                    <a:lnTo>
                      <a:pt x="54" y="210"/>
                    </a:lnTo>
                    <a:lnTo>
                      <a:pt x="90" y="206"/>
                    </a:lnTo>
                    <a:lnTo>
                      <a:pt x="92" y="198"/>
                    </a:lnTo>
                    <a:lnTo>
                      <a:pt x="76" y="198"/>
                    </a:lnTo>
                    <a:lnTo>
                      <a:pt x="56" y="200"/>
                    </a:lnTo>
                    <a:lnTo>
                      <a:pt x="36" y="198"/>
                    </a:lnTo>
                    <a:lnTo>
                      <a:pt x="8" y="184"/>
                    </a:lnTo>
                    <a:lnTo>
                      <a:pt x="0" y="176"/>
                    </a:lnTo>
                    <a:lnTo>
                      <a:pt x="8" y="168"/>
                    </a:lnTo>
                    <a:lnTo>
                      <a:pt x="30" y="164"/>
                    </a:lnTo>
                    <a:lnTo>
                      <a:pt x="52" y="162"/>
                    </a:lnTo>
                    <a:lnTo>
                      <a:pt x="68" y="152"/>
                    </a:lnTo>
                    <a:lnTo>
                      <a:pt x="96" y="152"/>
                    </a:lnTo>
                    <a:lnTo>
                      <a:pt x="110" y="140"/>
                    </a:lnTo>
                    <a:lnTo>
                      <a:pt x="112" y="120"/>
                    </a:lnTo>
                    <a:lnTo>
                      <a:pt x="100" y="126"/>
                    </a:lnTo>
                    <a:lnTo>
                      <a:pt x="74" y="114"/>
                    </a:lnTo>
                    <a:lnTo>
                      <a:pt x="92" y="102"/>
                    </a:lnTo>
                    <a:lnTo>
                      <a:pt x="114" y="92"/>
                    </a:lnTo>
                    <a:lnTo>
                      <a:pt x="144" y="82"/>
                    </a:lnTo>
                    <a:lnTo>
                      <a:pt x="164" y="90"/>
                    </a:lnTo>
                    <a:lnTo>
                      <a:pt x="170" y="72"/>
                    </a:lnTo>
                    <a:lnTo>
                      <a:pt x="162" y="64"/>
                    </a:lnTo>
                    <a:lnTo>
                      <a:pt x="190" y="60"/>
                    </a:lnTo>
                    <a:lnTo>
                      <a:pt x="198" y="68"/>
                    </a:lnTo>
                    <a:lnTo>
                      <a:pt x="212" y="72"/>
                    </a:lnTo>
                    <a:lnTo>
                      <a:pt x="206" y="62"/>
                    </a:lnTo>
                    <a:lnTo>
                      <a:pt x="202" y="56"/>
                    </a:lnTo>
                    <a:lnTo>
                      <a:pt x="200" y="54"/>
                    </a:lnTo>
                    <a:lnTo>
                      <a:pt x="200" y="52"/>
                    </a:lnTo>
                    <a:lnTo>
                      <a:pt x="264" y="46"/>
                    </a:lnTo>
                    <a:lnTo>
                      <a:pt x="272" y="64"/>
                    </a:lnTo>
                    <a:lnTo>
                      <a:pt x="282" y="60"/>
                    </a:lnTo>
                    <a:lnTo>
                      <a:pt x="278" y="44"/>
                    </a:lnTo>
                    <a:lnTo>
                      <a:pt x="306" y="60"/>
                    </a:lnTo>
                    <a:lnTo>
                      <a:pt x="326" y="60"/>
                    </a:lnTo>
                    <a:lnTo>
                      <a:pt x="312" y="50"/>
                    </a:lnTo>
                    <a:lnTo>
                      <a:pt x="320" y="40"/>
                    </a:lnTo>
                    <a:lnTo>
                      <a:pt x="334" y="40"/>
                    </a:lnTo>
                    <a:lnTo>
                      <a:pt x="360" y="50"/>
                    </a:lnTo>
                    <a:lnTo>
                      <a:pt x="394" y="66"/>
                    </a:lnTo>
                    <a:lnTo>
                      <a:pt x="402" y="62"/>
                    </a:lnTo>
                    <a:lnTo>
                      <a:pt x="356" y="36"/>
                    </a:lnTo>
                    <a:lnTo>
                      <a:pt x="376" y="30"/>
                    </a:lnTo>
                    <a:lnTo>
                      <a:pt x="378" y="22"/>
                    </a:lnTo>
                    <a:lnTo>
                      <a:pt x="402" y="14"/>
                    </a:lnTo>
                    <a:lnTo>
                      <a:pt x="426" y="14"/>
                    </a:lnTo>
                    <a:lnTo>
                      <a:pt x="454" y="16"/>
                    </a:lnTo>
                    <a:lnTo>
                      <a:pt x="476" y="14"/>
                    </a:lnTo>
                    <a:lnTo>
                      <a:pt x="500" y="4"/>
                    </a:lnTo>
                    <a:lnTo>
                      <a:pt x="550" y="0"/>
                    </a:lnTo>
                    <a:lnTo>
                      <a:pt x="60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9" name="Line 8"/>
              <p:cNvSpPr>
                <a:spLocks noChangeShapeType="1"/>
              </p:cNvSpPr>
              <p:nvPr/>
            </p:nvSpPr>
            <p:spPr bwMode="auto">
              <a:xfrm>
                <a:off x="2615" y="103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0" name="Freeform 9"/>
              <p:cNvSpPr>
                <a:spLocks/>
              </p:cNvSpPr>
              <p:nvPr/>
            </p:nvSpPr>
            <p:spPr bwMode="auto">
              <a:xfrm>
                <a:off x="1831" y="907"/>
                <a:ext cx="864" cy="648"/>
              </a:xfrm>
              <a:custGeom>
                <a:avLst/>
                <a:gdLst>
                  <a:gd name="T0" fmla="*/ 430 w 864"/>
                  <a:gd name="T1" fmla="*/ 14 h 648"/>
                  <a:gd name="T2" fmla="*/ 378 w 864"/>
                  <a:gd name="T3" fmla="*/ 26 h 648"/>
                  <a:gd name="T4" fmla="*/ 398 w 864"/>
                  <a:gd name="T5" fmla="*/ 66 h 648"/>
                  <a:gd name="T6" fmla="*/ 312 w 864"/>
                  <a:gd name="T7" fmla="*/ 52 h 648"/>
                  <a:gd name="T8" fmla="*/ 282 w 864"/>
                  <a:gd name="T9" fmla="*/ 44 h 648"/>
                  <a:gd name="T10" fmla="*/ 272 w 864"/>
                  <a:gd name="T11" fmla="*/ 48 h 648"/>
                  <a:gd name="T12" fmla="*/ 200 w 864"/>
                  <a:gd name="T13" fmla="*/ 58 h 648"/>
                  <a:gd name="T14" fmla="*/ 194 w 864"/>
                  <a:gd name="T15" fmla="*/ 60 h 648"/>
                  <a:gd name="T16" fmla="*/ 166 w 864"/>
                  <a:gd name="T17" fmla="*/ 88 h 648"/>
                  <a:gd name="T18" fmla="*/ 94 w 864"/>
                  <a:gd name="T19" fmla="*/ 102 h 648"/>
                  <a:gd name="T20" fmla="*/ 102 w 864"/>
                  <a:gd name="T21" fmla="*/ 134 h 648"/>
                  <a:gd name="T22" fmla="*/ 70 w 864"/>
                  <a:gd name="T23" fmla="*/ 152 h 648"/>
                  <a:gd name="T24" fmla="*/ 2 w 864"/>
                  <a:gd name="T25" fmla="*/ 182 h 648"/>
                  <a:gd name="T26" fmla="*/ 60 w 864"/>
                  <a:gd name="T27" fmla="*/ 208 h 648"/>
                  <a:gd name="T28" fmla="*/ 24 w 864"/>
                  <a:gd name="T29" fmla="*/ 216 h 648"/>
                  <a:gd name="T30" fmla="*/ 50 w 864"/>
                  <a:gd name="T31" fmla="*/ 234 h 648"/>
                  <a:gd name="T32" fmla="*/ 72 w 864"/>
                  <a:gd name="T33" fmla="*/ 252 h 648"/>
                  <a:gd name="T34" fmla="*/ 100 w 864"/>
                  <a:gd name="T35" fmla="*/ 246 h 648"/>
                  <a:gd name="T36" fmla="*/ 202 w 864"/>
                  <a:gd name="T37" fmla="*/ 262 h 648"/>
                  <a:gd name="T38" fmla="*/ 244 w 864"/>
                  <a:gd name="T39" fmla="*/ 360 h 648"/>
                  <a:gd name="T40" fmla="*/ 268 w 864"/>
                  <a:gd name="T41" fmla="*/ 376 h 648"/>
                  <a:gd name="T42" fmla="*/ 288 w 864"/>
                  <a:gd name="T43" fmla="*/ 388 h 648"/>
                  <a:gd name="T44" fmla="*/ 264 w 864"/>
                  <a:gd name="T45" fmla="*/ 394 h 648"/>
                  <a:gd name="T46" fmla="*/ 308 w 864"/>
                  <a:gd name="T47" fmla="*/ 428 h 648"/>
                  <a:gd name="T48" fmla="*/ 306 w 864"/>
                  <a:gd name="T49" fmla="*/ 466 h 648"/>
                  <a:gd name="T50" fmla="*/ 270 w 864"/>
                  <a:gd name="T51" fmla="*/ 474 h 648"/>
                  <a:gd name="T52" fmla="*/ 272 w 864"/>
                  <a:gd name="T53" fmla="*/ 506 h 648"/>
                  <a:gd name="T54" fmla="*/ 308 w 864"/>
                  <a:gd name="T55" fmla="*/ 544 h 648"/>
                  <a:gd name="T56" fmla="*/ 322 w 864"/>
                  <a:gd name="T57" fmla="*/ 580 h 648"/>
                  <a:gd name="T58" fmla="*/ 352 w 864"/>
                  <a:gd name="T59" fmla="*/ 634 h 648"/>
                  <a:gd name="T60" fmla="*/ 384 w 864"/>
                  <a:gd name="T61" fmla="*/ 634 h 648"/>
                  <a:gd name="T62" fmla="*/ 420 w 864"/>
                  <a:gd name="T63" fmla="*/ 646 h 648"/>
                  <a:gd name="T64" fmla="*/ 436 w 864"/>
                  <a:gd name="T65" fmla="*/ 590 h 648"/>
                  <a:gd name="T66" fmla="*/ 460 w 864"/>
                  <a:gd name="T67" fmla="*/ 560 h 648"/>
                  <a:gd name="T68" fmla="*/ 470 w 864"/>
                  <a:gd name="T69" fmla="*/ 530 h 648"/>
                  <a:gd name="T70" fmla="*/ 548 w 864"/>
                  <a:gd name="T71" fmla="*/ 502 h 648"/>
                  <a:gd name="T72" fmla="*/ 590 w 864"/>
                  <a:gd name="T73" fmla="*/ 466 h 648"/>
                  <a:gd name="T74" fmla="*/ 722 w 864"/>
                  <a:gd name="T75" fmla="*/ 414 h 648"/>
                  <a:gd name="T76" fmla="*/ 726 w 864"/>
                  <a:gd name="T77" fmla="*/ 406 h 648"/>
                  <a:gd name="T78" fmla="*/ 720 w 864"/>
                  <a:gd name="T79" fmla="*/ 362 h 648"/>
                  <a:gd name="T80" fmla="*/ 684 w 864"/>
                  <a:gd name="T81" fmla="*/ 328 h 648"/>
                  <a:gd name="T82" fmla="*/ 748 w 864"/>
                  <a:gd name="T83" fmla="*/ 316 h 648"/>
                  <a:gd name="T84" fmla="*/ 766 w 864"/>
                  <a:gd name="T85" fmla="*/ 294 h 648"/>
                  <a:gd name="T86" fmla="*/ 766 w 864"/>
                  <a:gd name="T87" fmla="*/ 256 h 648"/>
                  <a:gd name="T88" fmla="*/ 756 w 864"/>
                  <a:gd name="T89" fmla="*/ 232 h 648"/>
                  <a:gd name="T90" fmla="*/ 778 w 864"/>
                  <a:gd name="T91" fmla="*/ 230 h 648"/>
                  <a:gd name="T92" fmla="*/ 754 w 864"/>
                  <a:gd name="T93" fmla="*/ 204 h 648"/>
                  <a:gd name="T94" fmla="*/ 760 w 864"/>
                  <a:gd name="T95" fmla="*/ 190 h 648"/>
                  <a:gd name="T96" fmla="*/ 778 w 864"/>
                  <a:gd name="T97" fmla="*/ 138 h 648"/>
                  <a:gd name="T98" fmla="*/ 794 w 864"/>
                  <a:gd name="T99" fmla="*/ 124 h 648"/>
                  <a:gd name="T100" fmla="*/ 804 w 864"/>
                  <a:gd name="T101" fmla="*/ 110 h 648"/>
                  <a:gd name="T102" fmla="*/ 822 w 864"/>
                  <a:gd name="T103" fmla="*/ 102 h 648"/>
                  <a:gd name="T104" fmla="*/ 864 w 864"/>
                  <a:gd name="T105" fmla="*/ 76 h 648"/>
                  <a:gd name="T106" fmla="*/ 818 w 864"/>
                  <a:gd name="T107" fmla="*/ 60 h 648"/>
                  <a:gd name="T108" fmla="*/ 746 w 864"/>
                  <a:gd name="T109" fmla="*/ 68 h 648"/>
                  <a:gd name="T110" fmla="*/ 720 w 864"/>
                  <a:gd name="T111" fmla="*/ 54 h 648"/>
                  <a:gd name="T112" fmla="*/ 732 w 864"/>
                  <a:gd name="T113" fmla="*/ 40 h 648"/>
                  <a:gd name="T114" fmla="*/ 670 w 864"/>
                  <a:gd name="T115" fmla="*/ 12 h 648"/>
                  <a:gd name="T116" fmla="*/ 610 w 864"/>
                  <a:gd name="T1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648">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1" name="Freeform 10"/>
              <p:cNvSpPr>
                <a:spLocks/>
              </p:cNvSpPr>
              <p:nvPr/>
            </p:nvSpPr>
            <p:spPr bwMode="auto">
              <a:xfrm>
                <a:off x="2485" y="961"/>
                <a:ext cx="44" cy="16"/>
              </a:xfrm>
              <a:custGeom>
                <a:avLst/>
                <a:gdLst>
                  <a:gd name="T0" fmla="*/ 0 w 44"/>
                  <a:gd name="T1" fmla="*/ 4 h 16"/>
                  <a:gd name="T2" fmla="*/ 8 w 44"/>
                  <a:gd name="T3" fmla="*/ 4 h 16"/>
                  <a:gd name="T4" fmla="*/ 44 w 44"/>
                  <a:gd name="T5" fmla="*/ 0 h 16"/>
                  <a:gd name="T6" fmla="*/ 36 w 44"/>
                  <a:gd name="T7" fmla="*/ 8 h 16"/>
                  <a:gd name="T8" fmla="*/ 26 w 44"/>
                  <a:gd name="T9" fmla="*/ 14 h 16"/>
                  <a:gd name="T10" fmla="*/ 20 w 44"/>
                  <a:gd name="T11" fmla="*/ 16 h 16"/>
                  <a:gd name="T12" fmla="*/ 24 w 44"/>
                  <a:gd name="T13" fmla="*/ 12 h 16"/>
                  <a:gd name="T14" fmla="*/ 24 w 44"/>
                  <a:gd name="T15" fmla="*/ 12 h 16"/>
                  <a:gd name="T16" fmla="*/ 26 w 44"/>
                  <a:gd name="T17" fmla="*/ 10 h 16"/>
                  <a:gd name="T18" fmla="*/ 26 w 44"/>
                  <a:gd name="T19" fmla="*/ 8 h 16"/>
                  <a:gd name="T20" fmla="*/ 26 w 44"/>
                  <a:gd name="T21" fmla="*/ 8 h 16"/>
                  <a:gd name="T22" fmla="*/ 24 w 44"/>
                  <a:gd name="T23" fmla="*/ 6 h 16"/>
                  <a:gd name="T24" fmla="*/ 22 w 44"/>
                  <a:gd name="T25" fmla="*/ 6 h 16"/>
                  <a:gd name="T26" fmla="*/ 0 w 44"/>
                  <a:gd name="T27" fmla="*/ 4 h 16"/>
                  <a:gd name="T28" fmla="*/ 0 w 44"/>
                  <a:gd name="T2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16">
                    <a:moveTo>
                      <a:pt x="0" y="4"/>
                    </a:moveTo>
                    <a:lnTo>
                      <a:pt x="8" y="4"/>
                    </a:lnTo>
                    <a:lnTo>
                      <a:pt x="44" y="0"/>
                    </a:lnTo>
                    <a:lnTo>
                      <a:pt x="36" y="8"/>
                    </a:lnTo>
                    <a:lnTo>
                      <a:pt x="26" y="14"/>
                    </a:lnTo>
                    <a:lnTo>
                      <a:pt x="20" y="16"/>
                    </a:lnTo>
                    <a:lnTo>
                      <a:pt x="24" y="12"/>
                    </a:lnTo>
                    <a:lnTo>
                      <a:pt x="24" y="12"/>
                    </a:lnTo>
                    <a:lnTo>
                      <a:pt x="26" y="10"/>
                    </a:lnTo>
                    <a:lnTo>
                      <a:pt x="26" y="8"/>
                    </a:lnTo>
                    <a:lnTo>
                      <a:pt x="26" y="8"/>
                    </a:lnTo>
                    <a:lnTo>
                      <a:pt x="24" y="6"/>
                    </a:lnTo>
                    <a:lnTo>
                      <a:pt x="22" y="6"/>
                    </a:lnTo>
                    <a:lnTo>
                      <a:pt x="0" y="4"/>
                    </a:lnTo>
                    <a:lnTo>
                      <a:pt x="0"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2" name="Freeform 11"/>
              <p:cNvSpPr>
                <a:spLocks/>
              </p:cNvSpPr>
              <p:nvPr/>
            </p:nvSpPr>
            <p:spPr bwMode="auto">
              <a:xfrm>
                <a:off x="2585" y="1029"/>
                <a:ext cx="24" cy="4"/>
              </a:xfrm>
              <a:custGeom>
                <a:avLst/>
                <a:gdLst>
                  <a:gd name="T0" fmla="*/ 0 w 24"/>
                  <a:gd name="T1" fmla="*/ 2 h 4"/>
                  <a:gd name="T2" fmla="*/ 8 w 24"/>
                  <a:gd name="T3" fmla="*/ 0 h 4"/>
                  <a:gd name="T4" fmla="*/ 24 w 24"/>
                  <a:gd name="T5" fmla="*/ 2 h 4"/>
                  <a:gd name="T6" fmla="*/ 22 w 24"/>
                  <a:gd name="T7" fmla="*/ 2 h 4"/>
                  <a:gd name="T8" fmla="*/ 0 w 24"/>
                  <a:gd name="T9" fmla="*/ 4 h 4"/>
                  <a:gd name="T10" fmla="*/ 0 w 24"/>
                  <a:gd name="T11" fmla="*/ 2 h 4"/>
                  <a:gd name="T12" fmla="*/ 0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0" y="2"/>
                    </a:moveTo>
                    <a:lnTo>
                      <a:pt x="8" y="0"/>
                    </a:lnTo>
                    <a:lnTo>
                      <a:pt x="24" y="2"/>
                    </a:lnTo>
                    <a:lnTo>
                      <a:pt x="2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3" name="Freeform 12"/>
              <p:cNvSpPr>
                <a:spLocks/>
              </p:cNvSpPr>
              <p:nvPr/>
            </p:nvSpPr>
            <p:spPr bwMode="auto">
              <a:xfrm>
                <a:off x="2507" y="1287"/>
                <a:ext cx="30" cy="26"/>
              </a:xfrm>
              <a:custGeom>
                <a:avLst/>
                <a:gdLst>
                  <a:gd name="T0" fmla="*/ 0 w 30"/>
                  <a:gd name="T1" fmla="*/ 10 h 26"/>
                  <a:gd name="T2" fmla="*/ 0 w 30"/>
                  <a:gd name="T3" fmla="*/ 0 h 26"/>
                  <a:gd name="T4" fmla="*/ 12 w 30"/>
                  <a:gd name="T5" fmla="*/ 12 h 26"/>
                  <a:gd name="T6" fmla="*/ 12 w 30"/>
                  <a:gd name="T7" fmla="*/ 12 h 26"/>
                  <a:gd name="T8" fmla="*/ 12 w 30"/>
                  <a:gd name="T9" fmla="*/ 12 h 26"/>
                  <a:gd name="T10" fmla="*/ 30 w 30"/>
                  <a:gd name="T11" fmla="*/ 24 h 26"/>
                  <a:gd name="T12" fmla="*/ 30 w 30"/>
                  <a:gd name="T13" fmla="*/ 24 h 26"/>
                  <a:gd name="T14" fmla="*/ 30 w 30"/>
                  <a:gd name="T15" fmla="*/ 26 h 26"/>
                  <a:gd name="T16" fmla="*/ 22 w 30"/>
                  <a:gd name="T17" fmla="*/ 24 h 26"/>
                  <a:gd name="T18" fmla="*/ 4 w 30"/>
                  <a:gd name="T19" fmla="*/ 20 h 26"/>
                  <a:gd name="T20" fmla="*/ 0 w 30"/>
                  <a:gd name="T21" fmla="*/ 10 h 26"/>
                  <a:gd name="T22" fmla="*/ 0 w 30"/>
                  <a:gd name="T2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6">
                    <a:moveTo>
                      <a:pt x="0" y="10"/>
                    </a:moveTo>
                    <a:lnTo>
                      <a:pt x="0" y="0"/>
                    </a:lnTo>
                    <a:lnTo>
                      <a:pt x="12" y="12"/>
                    </a:lnTo>
                    <a:lnTo>
                      <a:pt x="12" y="12"/>
                    </a:lnTo>
                    <a:lnTo>
                      <a:pt x="12" y="12"/>
                    </a:lnTo>
                    <a:lnTo>
                      <a:pt x="30" y="24"/>
                    </a:lnTo>
                    <a:lnTo>
                      <a:pt x="30" y="24"/>
                    </a:lnTo>
                    <a:lnTo>
                      <a:pt x="30" y="26"/>
                    </a:lnTo>
                    <a:lnTo>
                      <a:pt x="22" y="24"/>
                    </a:lnTo>
                    <a:lnTo>
                      <a:pt x="4" y="20"/>
                    </a:lnTo>
                    <a:lnTo>
                      <a:pt x="0" y="10"/>
                    </a:lnTo>
                    <a:lnTo>
                      <a:pt x="0" y="1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4" name="Freeform 13"/>
              <p:cNvSpPr>
                <a:spLocks/>
              </p:cNvSpPr>
              <p:nvPr/>
            </p:nvSpPr>
            <p:spPr bwMode="auto">
              <a:xfrm>
                <a:off x="1201" y="2043"/>
                <a:ext cx="436" cy="278"/>
              </a:xfrm>
              <a:custGeom>
                <a:avLst/>
                <a:gdLst>
                  <a:gd name="T0" fmla="*/ 342 w 436"/>
                  <a:gd name="T1" fmla="*/ 264 h 278"/>
                  <a:gd name="T2" fmla="*/ 312 w 436"/>
                  <a:gd name="T3" fmla="*/ 256 h 278"/>
                  <a:gd name="T4" fmla="*/ 296 w 436"/>
                  <a:gd name="T5" fmla="*/ 260 h 278"/>
                  <a:gd name="T6" fmla="*/ 268 w 436"/>
                  <a:gd name="T7" fmla="*/ 252 h 278"/>
                  <a:gd name="T8" fmla="*/ 228 w 436"/>
                  <a:gd name="T9" fmla="*/ 238 h 278"/>
                  <a:gd name="T10" fmla="*/ 210 w 436"/>
                  <a:gd name="T11" fmla="*/ 226 h 278"/>
                  <a:gd name="T12" fmla="*/ 168 w 436"/>
                  <a:gd name="T13" fmla="*/ 194 h 278"/>
                  <a:gd name="T14" fmla="*/ 166 w 436"/>
                  <a:gd name="T15" fmla="*/ 184 h 278"/>
                  <a:gd name="T16" fmla="*/ 160 w 436"/>
                  <a:gd name="T17" fmla="*/ 154 h 278"/>
                  <a:gd name="T18" fmla="*/ 122 w 436"/>
                  <a:gd name="T19" fmla="*/ 116 h 278"/>
                  <a:gd name="T20" fmla="*/ 114 w 436"/>
                  <a:gd name="T21" fmla="*/ 98 h 278"/>
                  <a:gd name="T22" fmla="*/ 70 w 436"/>
                  <a:gd name="T23" fmla="*/ 58 h 278"/>
                  <a:gd name="T24" fmla="*/ 46 w 436"/>
                  <a:gd name="T25" fmla="*/ 22 h 278"/>
                  <a:gd name="T26" fmla="*/ 46 w 436"/>
                  <a:gd name="T27" fmla="*/ 48 h 278"/>
                  <a:gd name="T28" fmla="*/ 84 w 436"/>
                  <a:gd name="T29" fmla="*/ 98 h 278"/>
                  <a:gd name="T30" fmla="*/ 104 w 436"/>
                  <a:gd name="T31" fmla="*/ 130 h 278"/>
                  <a:gd name="T32" fmla="*/ 114 w 436"/>
                  <a:gd name="T33" fmla="*/ 150 h 278"/>
                  <a:gd name="T34" fmla="*/ 106 w 436"/>
                  <a:gd name="T35" fmla="*/ 156 h 278"/>
                  <a:gd name="T36" fmla="*/ 104 w 436"/>
                  <a:gd name="T37" fmla="*/ 156 h 278"/>
                  <a:gd name="T38" fmla="*/ 84 w 436"/>
                  <a:gd name="T39" fmla="*/ 132 h 278"/>
                  <a:gd name="T40" fmla="*/ 74 w 436"/>
                  <a:gd name="T41" fmla="*/ 116 h 278"/>
                  <a:gd name="T42" fmla="*/ 52 w 436"/>
                  <a:gd name="T43" fmla="*/ 96 h 278"/>
                  <a:gd name="T44" fmla="*/ 34 w 436"/>
                  <a:gd name="T45" fmla="*/ 80 h 278"/>
                  <a:gd name="T46" fmla="*/ 40 w 436"/>
                  <a:gd name="T47" fmla="*/ 76 h 278"/>
                  <a:gd name="T48" fmla="*/ 38 w 436"/>
                  <a:gd name="T49" fmla="*/ 60 h 278"/>
                  <a:gd name="T50" fmla="*/ 28 w 436"/>
                  <a:gd name="T51" fmla="*/ 54 h 278"/>
                  <a:gd name="T52" fmla="*/ 8 w 436"/>
                  <a:gd name="T53" fmla="*/ 16 h 278"/>
                  <a:gd name="T54" fmla="*/ 0 w 436"/>
                  <a:gd name="T55" fmla="*/ 2 h 278"/>
                  <a:gd name="T56" fmla="*/ 32 w 436"/>
                  <a:gd name="T57" fmla="*/ 0 h 278"/>
                  <a:gd name="T58" fmla="*/ 126 w 436"/>
                  <a:gd name="T59" fmla="*/ 22 h 278"/>
                  <a:gd name="T60" fmla="*/ 150 w 436"/>
                  <a:gd name="T61" fmla="*/ 12 h 278"/>
                  <a:gd name="T62" fmla="*/ 152 w 436"/>
                  <a:gd name="T63" fmla="*/ 12 h 278"/>
                  <a:gd name="T64" fmla="*/ 182 w 436"/>
                  <a:gd name="T65" fmla="*/ 50 h 278"/>
                  <a:gd name="T66" fmla="*/ 204 w 436"/>
                  <a:gd name="T67" fmla="*/ 48 h 278"/>
                  <a:gd name="T68" fmla="*/ 214 w 436"/>
                  <a:gd name="T69" fmla="*/ 42 h 278"/>
                  <a:gd name="T70" fmla="*/ 234 w 436"/>
                  <a:gd name="T71" fmla="*/ 52 h 278"/>
                  <a:gd name="T72" fmla="*/ 264 w 436"/>
                  <a:gd name="T73" fmla="*/ 98 h 278"/>
                  <a:gd name="T74" fmla="*/ 288 w 436"/>
                  <a:gd name="T75" fmla="*/ 106 h 278"/>
                  <a:gd name="T76" fmla="*/ 282 w 436"/>
                  <a:gd name="T77" fmla="*/ 124 h 278"/>
                  <a:gd name="T78" fmla="*/ 292 w 436"/>
                  <a:gd name="T79" fmla="*/ 190 h 278"/>
                  <a:gd name="T80" fmla="*/ 338 w 436"/>
                  <a:gd name="T81" fmla="*/ 218 h 278"/>
                  <a:gd name="T82" fmla="*/ 384 w 436"/>
                  <a:gd name="T83" fmla="*/ 180 h 278"/>
                  <a:gd name="T84" fmla="*/ 396 w 436"/>
                  <a:gd name="T85" fmla="*/ 172 h 278"/>
                  <a:gd name="T86" fmla="*/ 434 w 436"/>
                  <a:gd name="T87" fmla="*/ 174 h 278"/>
                  <a:gd name="T88" fmla="*/ 432 w 436"/>
                  <a:gd name="T89" fmla="*/ 188 h 278"/>
                  <a:gd name="T90" fmla="*/ 422 w 436"/>
                  <a:gd name="T91" fmla="*/ 220 h 278"/>
                  <a:gd name="T92" fmla="*/ 418 w 436"/>
                  <a:gd name="T93" fmla="*/ 224 h 278"/>
                  <a:gd name="T94" fmla="*/ 414 w 436"/>
                  <a:gd name="T95" fmla="*/ 220 h 278"/>
                  <a:gd name="T96" fmla="*/ 402 w 436"/>
                  <a:gd name="T97" fmla="*/ 230 h 278"/>
                  <a:gd name="T98" fmla="*/ 374 w 436"/>
                  <a:gd name="T99" fmla="*/ 234 h 278"/>
                  <a:gd name="T100" fmla="*/ 386 w 436"/>
                  <a:gd name="T101" fmla="*/ 250 h 278"/>
                  <a:gd name="T102" fmla="*/ 382 w 436"/>
                  <a:gd name="T103" fmla="*/ 256 h 278"/>
                  <a:gd name="T104" fmla="*/ 370 w 436"/>
                  <a:gd name="T105" fmla="*/ 258 h 278"/>
                  <a:gd name="T106" fmla="*/ 364 w 436"/>
                  <a:gd name="T107" fmla="*/ 262 h 278"/>
                  <a:gd name="T108" fmla="*/ 358 w 436"/>
                  <a:gd name="T109"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6" h="278">
                    <a:moveTo>
                      <a:pt x="358" y="278"/>
                    </a:moveTo>
                    <a:lnTo>
                      <a:pt x="358" y="278"/>
                    </a:lnTo>
                    <a:lnTo>
                      <a:pt x="356" y="278"/>
                    </a:lnTo>
                    <a:lnTo>
                      <a:pt x="342" y="264"/>
                    </a:lnTo>
                    <a:lnTo>
                      <a:pt x="334" y="258"/>
                    </a:lnTo>
                    <a:lnTo>
                      <a:pt x="328" y="256"/>
                    </a:lnTo>
                    <a:lnTo>
                      <a:pt x="320" y="254"/>
                    </a:lnTo>
                    <a:lnTo>
                      <a:pt x="312" y="256"/>
                    </a:lnTo>
                    <a:lnTo>
                      <a:pt x="306" y="258"/>
                    </a:lnTo>
                    <a:lnTo>
                      <a:pt x="296" y="260"/>
                    </a:lnTo>
                    <a:lnTo>
                      <a:pt x="296" y="260"/>
                    </a:lnTo>
                    <a:lnTo>
                      <a:pt x="296" y="260"/>
                    </a:lnTo>
                    <a:lnTo>
                      <a:pt x="296" y="260"/>
                    </a:lnTo>
                    <a:lnTo>
                      <a:pt x="296" y="260"/>
                    </a:lnTo>
                    <a:lnTo>
                      <a:pt x="280" y="258"/>
                    </a:lnTo>
                    <a:lnTo>
                      <a:pt x="268" y="252"/>
                    </a:lnTo>
                    <a:lnTo>
                      <a:pt x="254" y="246"/>
                    </a:lnTo>
                    <a:lnTo>
                      <a:pt x="238" y="240"/>
                    </a:lnTo>
                    <a:lnTo>
                      <a:pt x="228" y="238"/>
                    </a:lnTo>
                    <a:lnTo>
                      <a:pt x="228" y="238"/>
                    </a:lnTo>
                    <a:lnTo>
                      <a:pt x="228" y="236"/>
                    </a:lnTo>
                    <a:lnTo>
                      <a:pt x="222" y="226"/>
                    </a:lnTo>
                    <a:lnTo>
                      <a:pt x="210" y="226"/>
                    </a:lnTo>
                    <a:lnTo>
                      <a:pt x="210" y="226"/>
                    </a:lnTo>
                    <a:lnTo>
                      <a:pt x="208" y="226"/>
                    </a:lnTo>
                    <a:lnTo>
                      <a:pt x="184" y="212"/>
                    </a:lnTo>
                    <a:lnTo>
                      <a:pt x="172" y="202"/>
                    </a:lnTo>
                    <a:lnTo>
                      <a:pt x="168" y="194"/>
                    </a:lnTo>
                    <a:lnTo>
                      <a:pt x="168" y="194"/>
                    </a:lnTo>
                    <a:lnTo>
                      <a:pt x="166" y="192"/>
                    </a:lnTo>
                    <a:lnTo>
                      <a:pt x="166" y="184"/>
                    </a:lnTo>
                    <a:lnTo>
                      <a:pt x="166" y="184"/>
                    </a:lnTo>
                    <a:lnTo>
                      <a:pt x="168" y="182"/>
                    </a:lnTo>
                    <a:lnTo>
                      <a:pt x="172" y="178"/>
                    </a:lnTo>
                    <a:lnTo>
                      <a:pt x="172" y="170"/>
                    </a:lnTo>
                    <a:lnTo>
                      <a:pt x="160" y="154"/>
                    </a:lnTo>
                    <a:lnTo>
                      <a:pt x="152" y="144"/>
                    </a:lnTo>
                    <a:lnTo>
                      <a:pt x="140" y="134"/>
                    </a:lnTo>
                    <a:lnTo>
                      <a:pt x="132" y="124"/>
                    </a:lnTo>
                    <a:lnTo>
                      <a:pt x="122" y="116"/>
                    </a:lnTo>
                    <a:lnTo>
                      <a:pt x="114" y="112"/>
                    </a:lnTo>
                    <a:lnTo>
                      <a:pt x="114" y="112"/>
                    </a:lnTo>
                    <a:lnTo>
                      <a:pt x="114" y="110"/>
                    </a:lnTo>
                    <a:lnTo>
                      <a:pt x="114" y="98"/>
                    </a:lnTo>
                    <a:lnTo>
                      <a:pt x="100" y="90"/>
                    </a:lnTo>
                    <a:lnTo>
                      <a:pt x="90" y="80"/>
                    </a:lnTo>
                    <a:lnTo>
                      <a:pt x="80" y="66"/>
                    </a:lnTo>
                    <a:lnTo>
                      <a:pt x="70" y="58"/>
                    </a:lnTo>
                    <a:lnTo>
                      <a:pt x="66" y="46"/>
                    </a:lnTo>
                    <a:lnTo>
                      <a:pt x="60" y="34"/>
                    </a:lnTo>
                    <a:lnTo>
                      <a:pt x="58" y="28"/>
                    </a:lnTo>
                    <a:lnTo>
                      <a:pt x="46" y="22"/>
                    </a:lnTo>
                    <a:lnTo>
                      <a:pt x="38" y="22"/>
                    </a:lnTo>
                    <a:lnTo>
                      <a:pt x="36" y="26"/>
                    </a:lnTo>
                    <a:lnTo>
                      <a:pt x="40" y="36"/>
                    </a:lnTo>
                    <a:lnTo>
                      <a:pt x="46" y="48"/>
                    </a:lnTo>
                    <a:lnTo>
                      <a:pt x="54" y="56"/>
                    </a:lnTo>
                    <a:lnTo>
                      <a:pt x="62" y="70"/>
                    </a:lnTo>
                    <a:lnTo>
                      <a:pt x="76" y="86"/>
                    </a:lnTo>
                    <a:lnTo>
                      <a:pt x="84" y="98"/>
                    </a:lnTo>
                    <a:lnTo>
                      <a:pt x="98" y="124"/>
                    </a:lnTo>
                    <a:lnTo>
                      <a:pt x="98" y="130"/>
                    </a:lnTo>
                    <a:lnTo>
                      <a:pt x="104" y="130"/>
                    </a:lnTo>
                    <a:lnTo>
                      <a:pt x="104" y="130"/>
                    </a:lnTo>
                    <a:lnTo>
                      <a:pt x="106" y="132"/>
                    </a:lnTo>
                    <a:lnTo>
                      <a:pt x="110" y="138"/>
                    </a:lnTo>
                    <a:lnTo>
                      <a:pt x="112" y="142"/>
                    </a:lnTo>
                    <a:lnTo>
                      <a:pt x="114" y="150"/>
                    </a:lnTo>
                    <a:lnTo>
                      <a:pt x="114" y="150"/>
                    </a:lnTo>
                    <a:lnTo>
                      <a:pt x="112" y="152"/>
                    </a:lnTo>
                    <a:lnTo>
                      <a:pt x="106" y="156"/>
                    </a:lnTo>
                    <a:lnTo>
                      <a:pt x="106" y="156"/>
                    </a:lnTo>
                    <a:lnTo>
                      <a:pt x="104" y="156"/>
                    </a:lnTo>
                    <a:lnTo>
                      <a:pt x="104" y="156"/>
                    </a:lnTo>
                    <a:lnTo>
                      <a:pt x="104" y="156"/>
                    </a:lnTo>
                    <a:lnTo>
                      <a:pt x="104" y="156"/>
                    </a:lnTo>
                    <a:lnTo>
                      <a:pt x="102" y="156"/>
                    </a:lnTo>
                    <a:lnTo>
                      <a:pt x="98" y="146"/>
                    </a:lnTo>
                    <a:lnTo>
                      <a:pt x="90" y="140"/>
                    </a:lnTo>
                    <a:lnTo>
                      <a:pt x="84" y="132"/>
                    </a:lnTo>
                    <a:lnTo>
                      <a:pt x="76" y="124"/>
                    </a:lnTo>
                    <a:lnTo>
                      <a:pt x="76" y="124"/>
                    </a:lnTo>
                    <a:lnTo>
                      <a:pt x="76" y="122"/>
                    </a:lnTo>
                    <a:lnTo>
                      <a:pt x="74" y="116"/>
                    </a:lnTo>
                    <a:lnTo>
                      <a:pt x="72" y="106"/>
                    </a:lnTo>
                    <a:lnTo>
                      <a:pt x="66" y="100"/>
                    </a:lnTo>
                    <a:lnTo>
                      <a:pt x="60" y="96"/>
                    </a:lnTo>
                    <a:lnTo>
                      <a:pt x="52" y="96"/>
                    </a:lnTo>
                    <a:lnTo>
                      <a:pt x="44" y="92"/>
                    </a:lnTo>
                    <a:lnTo>
                      <a:pt x="36" y="84"/>
                    </a:lnTo>
                    <a:lnTo>
                      <a:pt x="34" y="80"/>
                    </a:lnTo>
                    <a:lnTo>
                      <a:pt x="34" y="80"/>
                    </a:lnTo>
                    <a:lnTo>
                      <a:pt x="36" y="78"/>
                    </a:lnTo>
                    <a:lnTo>
                      <a:pt x="40" y="76"/>
                    </a:lnTo>
                    <a:lnTo>
                      <a:pt x="40" y="76"/>
                    </a:lnTo>
                    <a:lnTo>
                      <a:pt x="40" y="76"/>
                    </a:lnTo>
                    <a:lnTo>
                      <a:pt x="42" y="76"/>
                    </a:lnTo>
                    <a:lnTo>
                      <a:pt x="44" y="74"/>
                    </a:lnTo>
                    <a:lnTo>
                      <a:pt x="42" y="68"/>
                    </a:lnTo>
                    <a:lnTo>
                      <a:pt x="38" y="60"/>
                    </a:lnTo>
                    <a:lnTo>
                      <a:pt x="36" y="58"/>
                    </a:lnTo>
                    <a:lnTo>
                      <a:pt x="28" y="54"/>
                    </a:lnTo>
                    <a:lnTo>
                      <a:pt x="28" y="54"/>
                    </a:lnTo>
                    <a:lnTo>
                      <a:pt x="28" y="54"/>
                    </a:lnTo>
                    <a:lnTo>
                      <a:pt x="20" y="44"/>
                    </a:lnTo>
                    <a:lnTo>
                      <a:pt x="16" y="32"/>
                    </a:lnTo>
                    <a:lnTo>
                      <a:pt x="12" y="24"/>
                    </a:lnTo>
                    <a:lnTo>
                      <a:pt x="8" y="16"/>
                    </a:lnTo>
                    <a:lnTo>
                      <a:pt x="0" y="4"/>
                    </a:lnTo>
                    <a:lnTo>
                      <a:pt x="0" y="4"/>
                    </a:lnTo>
                    <a:lnTo>
                      <a:pt x="0" y="2"/>
                    </a:lnTo>
                    <a:lnTo>
                      <a:pt x="0" y="2"/>
                    </a:lnTo>
                    <a:lnTo>
                      <a:pt x="2" y="2"/>
                    </a:lnTo>
                    <a:lnTo>
                      <a:pt x="2" y="2"/>
                    </a:lnTo>
                    <a:lnTo>
                      <a:pt x="32" y="0"/>
                    </a:lnTo>
                    <a:lnTo>
                      <a:pt x="32" y="0"/>
                    </a:lnTo>
                    <a:lnTo>
                      <a:pt x="32" y="0"/>
                    </a:lnTo>
                    <a:lnTo>
                      <a:pt x="72" y="16"/>
                    </a:lnTo>
                    <a:lnTo>
                      <a:pt x="86" y="22"/>
                    </a:lnTo>
                    <a:lnTo>
                      <a:pt x="126" y="22"/>
                    </a:lnTo>
                    <a:lnTo>
                      <a:pt x="132" y="16"/>
                    </a:lnTo>
                    <a:lnTo>
                      <a:pt x="132" y="16"/>
                    </a:lnTo>
                    <a:lnTo>
                      <a:pt x="132" y="16"/>
                    </a:lnTo>
                    <a:lnTo>
                      <a:pt x="150" y="12"/>
                    </a:lnTo>
                    <a:lnTo>
                      <a:pt x="150" y="12"/>
                    </a:lnTo>
                    <a:lnTo>
                      <a:pt x="150" y="12"/>
                    </a:lnTo>
                    <a:lnTo>
                      <a:pt x="150" y="12"/>
                    </a:lnTo>
                    <a:lnTo>
                      <a:pt x="152" y="12"/>
                    </a:lnTo>
                    <a:lnTo>
                      <a:pt x="180" y="34"/>
                    </a:lnTo>
                    <a:lnTo>
                      <a:pt x="180" y="34"/>
                    </a:lnTo>
                    <a:lnTo>
                      <a:pt x="180" y="36"/>
                    </a:lnTo>
                    <a:lnTo>
                      <a:pt x="182" y="50"/>
                    </a:lnTo>
                    <a:lnTo>
                      <a:pt x="194" y="58"/>
                    </a:lnTo>
                    <a:lnTo>
                      <a:pt x="202" y="56"/>
                    </a:lnTo>
                    <a:lnTo>
                      <a:pt x="204" y="48"/>
                    </a:lnTo>
                    <a:lnTo>
                      <a:pt x="204" y="48"/>
                    </a:lnTo>
                    <a:lnTo>
                      <a:pt x="206" y="46"/>
                    </a:lnTo>
                    <a:lnTo>
                      <a:pt x="212" y="44"/>
                    </a:lnTo>
                    <a:lnTo>
                      <a:pt x="212" y="44"/>
                    </a:lnTo>
                    <a:lnTo>
                      <a:pt x="214" y="42"/>
                    </a:lnTo>
                    <a:lnTo>
                      <a:pt x="214" y="42"/>
                    </a:lnTo>
                    <a:lnTo>
                      <a:pt x="214" y="44"/>
                    </a:lnTo>
                    <a:lnTo>
                      <a:pt x="234" y="52"/>
                    </a:lnTo>
                    <a:lnTo>
                      <a:pt x="234" y="52"/>
                    </a:lnTo>
                    <a:lnTo>
                      <a:pt x="236" y="54"/>
                    </a:lnTo>
                    <a:lnTo>
                      <a:pt x="240" y="66"/>
                    </a:lnTo>
                    <a:lnTo>
                      <a:pt x="250" y="76"/>
                    </a:lnTo>
                    <a:lnTo>
                      <a:pt x="264" y="98"/>
                    </a:lnTo>
                    <a:lnTo>
                      <a:pt x="276" y="102"/>
                    </a:lnTo>
                    <a:lnTo>
                      <a:pt x="288" y="104"/>
                    </a:lnTo>
                    <a:lnTo>
                      <a:pt x="288" y="104"/>
                    </a:lnTo>
                    <a:lnTo>
                      <a:pt x="288" y="106"/>
                    </a:lnTo>
                    <a:lnTo>
                      <a:pt x="288" y="106"/>
                    </a:lnTo>
                    <a:lnTo>
                      <a:pt x="288" y="106"/>
                    </a:lnTo>
                    <a:lnTo>
                      <a:pt x="286" y="114"/>
                    </a:lnTo>
                    <a:lnTo>
                      <a:pt x="282" y="124"/>
                    </a:lnTo>
                    <a:lnTo>
                      <a:pt x="280" y="138"/>
                    </a:lnTo>
                    <a:lnTo>
                      <a:pt x="280" y="158"/>
                    </a:lnTo>
                    <a:lnTo>
                      <a:pt x="284" y="174"/>
                    </a:lnTo>
                    <a:lnTo>
                      <a:pt x="292" y="190"/>
                    </a:lnTo>
                    <a:lnTo>
                      <a:pt x="306" y="210"/>
                    </a:lnTo>
                    <a:lnTo>
                      <a:pt x="314" y="216"/>
                    </a:lnTo>
                    <a:lnTo>
                      <a:pt x="324" y="220"/>
                    </a:lnTo>
                    <a:lnTo>
                      <a:pt x="338" y="218"/>
                    </a:lnTo>
                    <a:lnTo>
                      <a:pt x="374" y="212"/>
                    </a:lnTo>
                    <a:lnTo>
                      <a:pt x="380" y="198"/>
                    </a:lnTo>
                    <a:lnTo>
                      <a:pt x="380" y="190"/>
                    </a:lnTo>
                    <a:lnTo>
                      <a:pt x="384" y="180"/>
                    </a:lnTo>
                    <a:lnTo>
                      <a:pt x="384" y="180"/>
                    </a:lnTo>
                    <a:lnTo>
                      <a:pt x="384" y="180"/>
                    </a:lnTo>
                    <a:lnTo>
                      <a:pt x="396" y="172"/>
                    </a:lnTo>
                    <a:lnTo>
                      <a:pt x="396" y="172"/>
                    </a:lnTo>
                    <a:lnTo>
                      <a:pt x="398" y="172"/>
                    </a:lnTo>
                    <a:lnTo>
                      <a:pt x="422" y="172"/>
                    </a:lnTo>
                    <a:lnTo>
                      <a:pt x="434" y="174"/>
                    </a:lnTo>
                    <a:lnTo>
                      <a:pt x="434" y="174"/>
                    </a:lnTo>
                    <a:lnTo>
                      <a:pt x="436" y="176"/>
                    </a:lnTo>
                    <a:lnTo>
                      <a:pt x="436" y="176"/>
                    </a:lnTo>
                    <a:lnTo>
                      <a:pt x="436" y="176"/>
                    </a:lnTo>
                    <a:lnTo>
                      <a:pt x="432" y="188"/>
                    </a:lnTo>
                    <a:lnTo>
                      <a:pt x="426" y="196"/>
                    </a:lnTo>
                    <a:lnTo>
                      <a:pt x="424" y="200"/>
                    </a:lnTo>
                    <a:lnTo>
                      <a:pt x="422" y="210"/>
                    </a:lnTo>
                    <a:lnTo>
                      <a:pt x="422" y="220"/>
                    </a:lnTo>
                    <a:lnTo>
                      <a:pt x="422" y="220"/>
                    </a:lnTo>
                    <a:lnTo>
                      <a:pt x="422" y="222"/>
                    </a:lnTo>
                    <a:lnTo>
                      <a:pt x="418" y="224"/>
                    </a:lnTo>
                    <a:lnTo>
                      <a:pt x="418" y="224"/>
                    </a:lnTo>
                    <a:lnTo>
                      <a:pt x="418" y="224"/>
                    </a:lnTo>
                    <a:lnTo>
                      <a:pt x="418" y="224"/>
                    </a:lnTo>
                    <a:lnTo>
                      <a:pt x="416" y="224"/>
                    </a:lnTo>
                    <a:lnTo>
                      <a:pt x="414" y="220"/>
                    </a:lnTo>
                    <a:lnTo>
                      <a:pt x="412" y="220"/>
                    </a:lnTo>
                    <a:lnTo>
                      <a:pt x="408" y="224"/>
                    </a:lnTo>
                    <a:lnTo>
                      <a:pt x="402" y="230"/>
                    </a:lnTo>
                    <a:lnTo>
                      <a:pt x="402" y="230"/>
                    </a:lnTo>
                    <a:lnTo>
                      <a:pt x="402" y="230"/>
                    </a:lnTo>
                    <a:lnTo>
                      <a:pt x="390" y="230"/>
                    </a:lnTo>
                    <a:lnTo>
                      <a:pt x="376" y="232"/>
                    </a:lnTo>
                    <a:lnTo>
                      <a:pt x="374" y="234"/>
                    </a:lnTo>
                    <a:lnTo>
                      <a:pt x="376" y="240"/>
                    </a:lnTo>
                    <a:lnTo>
                      <a:pt x="382" y="244"/>
                    </a:lnTo>
                    <a:lnTo>
                      <a:pt x="386" y="250"/>
                    </a:lnTo>
                    <a:lnTo>
                      <a:pt x="386" y="250"/>
                    </a:lnTo>
                    <a:lnTo>
                      <a:pt x="388" y="252"/>
                    </a:lnTo>
                    <a:lnTo>
                      <a:pt x="388" y="252"/>
                    </a:lnTo>
                    <a:lnTo>
                      <a:pt x="386" y="254"/>
                    </a:lnTo>
                    <a:lnTo>
                      <a:pt x="382" y="256"/>
                    </a:lnTo>
                    <a:lnTo>
                      <a:pt x="372" y="258"/>
                    </a:lnTo>
                    <a:lnTo>
                      <a:pt x="372" y="258"/>
                    </a:lnTo>
                    <a:lnTo>
                      <a:pt x="370" y="258"/>
                    </a:lnTo>
                    <a:lnTo>
                      <a:pt x="370" y="258"/>
                    </a:lnTo>
                    <a:lnTo>
                      <a:pt x="370" y="256"/>
                    </a:lnTo>
                    <a:lnTo>
                      <a:pt x="368" y="256"/>
                    </a:lnTo>
                    <a:lnTo>
                      <a:pt x="368" y="258"/>
                    </a:lnTo>
                    <a:lnTo>
                      <a:pt x="364" y="262"/>
                    </a:lnTo>
                    <a:lnTo>
                      <a:pt x="362" y="266"/>
                    </a:lnTo>
                    <a:lnTo>
                      <a:pt x="360" y="278"/>
                    </a:lnTo>
                    <a:lnTo>
                      <a:pt x="360" y="278"/>
                    </a:lnTo>
                    <a:lnTo>
                      <a:pt x="358" y="278"/>
                    </a:lnTo>
                    <a:lnTo>
                      <a:pt x="358" y="278"/>
                    </a:lnTo>
                    <a:lnTo>
                      <a:pt x="358" y="278"/>
                    </a:lnTo>
                    <a:lnTo>
                      <a:pt x="35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5" name="Freeform 14"/>
              <p:cNvSpPr>
                <a:spLocks noEditPoints="1"/>
              </p:cNvSpPr>
              <p:nvPr/>
            </p:nvSpPr>
            <p:spPr bwMode="auto">
              <a:xfrm>
                <a:off x="1201" y="2041"/>
                <a:ext cx="438" cy="282"/>
              </a:xfrm>
              <a:custGeom>
                <a:avLst/>
                <a:gdLst>
                  <a:gd name="T0" fmla="*/ 168 w 438"/>
                  <a:gd name="T1" fmla="*/ 30 h 282"/>
                  <a:gd name="T2" fmla="*/ 234 w 438"/>
                  <a:gd name="T3" fmla="*/ 56 h 282"/>
                  <a:gd name="T4" fmla="*/ 284 w 438"/>
                  <a:gd name="T5" fmla="*/ 116 h 282"/>
                  <a:gd name="T6" fmla="*/ 298 w 438"/>
                  <a:gd name="T7" fmla="*/ 204 h 282"/>
                  <a:gd name="T8" fmla="*/ 382 w 438"/>
                  <a:gd name="T9" fmla="*/ 202 h 282"/>
                  <a:gd name="T10" fmla="*/ 430 w 438"/>
                  <a:gd name="T11" fmla="*/ 188 h 282"/>
                  <a:gd name="T12" fmla="*/ 410 w 438"/>
                  <a:gd name="T13" fmla="*/ 222 h 282"/>
                  <a:gd name="T14" fmla="*/ 382 w 438"/>
                  <a:gd name="T15" fmla="*/ 248 h 282"/>
                  <a:gd name="T16" fmla="*/ 360 w 438"/>
                  <a:gd name="T17" fmla="*/ 268 h 282"/>
                  <a:gd name="T18" fmla="*/ 312 w 438"/>
                  <a:gd name="T19" fmla="*/ 256 h 282"/>
                  <a:gd name="T20" fmla="*/ 230 w 438"/>
                  <a:gd name="T21" fmla="*/ 238 h 282"/>
                  <a:gd name="T22" fmla="*/ 168 w 438"/>
                  <a:gd name="T23" fmla="*/ 186 h 282"/>
                  <a:gd name="T24" fmla="*/ 122 w 438"/>
                  <a:gd name="T25" fmla="*/ 116 h 282"/>
                  <a:gd name="T26" fmla="*/ 66 w 438"/>
                  <a:gd name="T27" fmla="*/ 46 h 282"/>
                  <a:gd name="T28" fmla="*/ 44 w 438"/>
                  <a:gd name="T29" fmla="*/ 50 h 282"/>
                  <a:gd name="T30" fmla="*/ 96 w 438"/>
                  <a:gd name="T31" fmla="*/ 126 h 282"/>
                  <a:gd name="T32" fmla="*/ 100 w 438"/>
                  <a:gd name="T33" fmla="*/ 146 h 282"/>
                  <a:gd name="T34" fmla="*/ 62 w 438"/>
                  <a:gd name="T35" fmla="*/ 98 h 282"/>
                  <a:gd name="T36" fmla="*/ 46 w 438"/>
                  <a:gd name="T37" fmla="*/ 76 h 282"/>
                  <a:gd name="T38" fmla="*/ 14 w 438"/>
                  <a:gd name="T39" fmla="*/ 26 h 282"/>
                  <a:gd name="T40" fmla="*/ 2 w 438"/>
                  <a:gd name="T41" fmla="*/ 2 h 282"/>
                  <a:gd name="T42" fmla="*/ 14 w 438"/>
                  <a:gd name="T43" fmla="*/ 34 h 282"/>
                  <a:gd name="T44" fmla="*/ 34 w 438"/>
                  <a:gd name="T45" fmla="*/ 60 h 282"/>
                  <a:gd name="T46" fmla="*/ 34 w 438"/>
                  <a:gd name="T47" fmla="*/ 78 h 282"/>
                  <a:gd name="T48" fmla="*/ 42 w 438"/>
                  <a:gd name="T49" fmla="*/ 94 h 282"/>
                  <a:gd name="T50" fmla="*/ 64 w 438"/>
                  <a:gd name="T51" fmla="*/ 104 h 282"/>
                  <a:gd name="T52" fmla="*/ 82 w 438"/>
                  <a:gd name="T53" fmla="*/ 136 h 282"/>
                  <a:gd name="T54" fmla="*/ 100 w 438"/>
                  <a:gd name="T55" fmla="*/ 158 h 282"/>
                  <a:gd name="T56" fmla="*/ 114 w 438"/>
                  <a:gd name="T57" fmla="*/ 156 h 282"/>
                  <a:gd name="T58" fmla="*/ 112 w 438"/>
                  <a:gd name="T59" fmla="*/ 138 h 282"/>
                  <a:gd name="T60" fmla="*/ 100 w 438"/>
                  <a:gd name="T61" fmla="*/ 126 h 282"/>
                  <a:gd name="T62" fmla="*/ 70 w 438"/>
                  <a:gd name="T63" fmla="*/ 78 h 282"/>
                  <a:gd name="T64" fmla="*/ 38 w 438"/>
                  <a:gd name="T65" fmla="*/ 28 h 282"/>
                  <a:gd name="T66" fmla="*/ 68 w 438"/>
                  <a:gd name="T67" fmla="*/ 60 h 282"/>
                  <a:gd name="T68" fmla="*/ 98 w 438"/>
                  <a:gd name="T69" fmla="*/ 92 h 282"/>
                  <a:gd name="T70" fmla="*/ 130 w 438"/>
                  <a:gd name="T71" fmla="*/ 128 h 282"/>
                  <a:gd name="T72" fmla="*/ 170 w 438"/>
                  <a:gd name="T73" fmla="*/ 178 h 282"/>
                  <a:gd name="T74" fmla="*/ 170 w 438"/>
                  <a:gd name="T75" fmla="*/ 206 h 282"/>
                  <a:gd name="T76" fmla="*/ 208 w 438"/>
                  <a:gd name="T77" fmla="*/ 230 h 282"/>
                  <a:gd name="T78" fmla="*/ 238 w 438"/>
                  <a:gd name="T79" fmla="*/ 244 h 282"/>
                  <a:gd name="T80" fmla="*/ 294 w 438"/>
                  <a:gd name="T81" fmla="*/ 264 h 282"/>
                  <a:gd name="T82" fmla="*/ 314 w 438"/>
                  <a:gd name="T83" fmla="*/ 260 h 282"/>
                  <a:gd name="T84" fmla="*/ 356 w 438"/>
                  <a:gd name="T85" fmla="*/ 282 h 282"/>
                  <a:gd name="T86" fmla="*/ 366 w 438"/>
                  <a:gd name="T87" fmla="*/ 264 h 282"/>
                  <a:gd name="T88" fmla="*/ 372 w 438"/>
                  <a:gd name="T89" fmla="*/ 262 h 282"/>
                  <a:gd name="T90" fmla="*/ 388 w 438"/>
                  <a:gd name="T91" fmla="*/ 254 h 282"/>
                  <a:gd name="T92" fmla="*/ 376 w 438"/>
                  <a:gd name="T93" fmla="*/ 236 h 282"/>
                  <a:gd name="T94" fmla="*/ 414 w 438"/>
                  <a:gd name="T95" fmla="*/ 226 h 282"/>
                  <a:gd name="T96" fmla="*/ 424 w 438"/>
                  <a:gd name="T97" fmla="*/ 222 h 282"/>
                  <a:gd name="T98" fmla="*/ 438 w 438"/>
                  <a:gd name="T99" fmla="*/ 180 h 282"/>
                  <a:gd name="T100" fmla="*/ 422 w 438"/>
                  <a:gd name="T101" fmla="*/ 172 h 282"/>
                  <a:gd name="T102" fmla="*/ 382 w 438"/>
                  <a:gd name="T103" fmla="*/ 182 h 282"/>
                  <a:gd name="T104" fmla="*/ 338 w 438"/>
                  <a:gd name="T105" fmla="*/ 218 h 282"/>
                  <a:gd name="T106" fmla="*/ 282 w 438"/>
                  <a:gd name="T107" fmla="*/ 160 h 282"/>
                  <a:gd name="T108" fmla="*/ 290 w 438"/>
                  <a:gd name="T109" fmla="*/ 106 h 282"/>
                  <a:gd name="T110" fmla="*/ 250 w 438"/>
                  <a:gd name="T111" fmla="*/ 78 h 282"/>
                  <a:gd name="T112" fmla="*/ 216 w 438"/>
                  <a:gd name="T113" fmla="*/ 44 h 282"/>
                  <a:gd name="T114" fmla="*/ 202 w 438"/>
                  <a:gd name="T115" fmla="*/ 56 h 282"/>
                  <a:gd name="T116" fmla="*/ 154 w 438"/>
                  <a:gd name="T117" fmla="*/ 14 h 282"/>
                  <a:gd name="T118" fmla="*/ 130 w 438"/>
                  <a:gd name="T119" fmla="*/ 16 h 282"/>
                  <a:gd name="T120" fmla="*/ 32 w 438"/>
                  <a:gd name="T121"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282">
                    <a:moveTo>
                      <a:pt x="32" y="4"/>
                    </a:moveTo>
                    <a:lnTo>
                      <a:pt x="70" y="20"/>
                    </a:lnTo>
                    <a:lnTo>
                      <a:pt x="84" y="26"/>
                    </a:lnTo>
                    <a:lnTo>
                      <a:pt x="126" y="26"/>
                    </a:lnTo>
                    <a:lnTo>
                      <a:pt x="134" y="20"/>
                    </a:lnTo>
                    <a:lnTo>
                      <a:pt x="150" y="16"/>
                    </a:lnTo>
                    <a:lnTo>
                      <a:pt x="168" y="30"/>
                    </a:lnTo>
                    <a:lnTo>
                      <a:pt x="178" y="38"/>
                    </a:lnTo>
                    <a:lnTo>
                      <a:pt x="180" y="52"/>
                    </a:lnTo>
                    <a:lnTo>
                      <a:pt x="194" y="62"/>
                    </a:lnTo>
                    <a:lnTo>
                      <a:pt x="204" y="60"/>
                    </a:lnTo>
                    <a:lnTo>
                      <a:pt x="206" y="50"/>
                    </a:lnTo>
                    <a:lnTo>
                      <a:pt x="214" y="46"/>
                    </a:lnTo>
                    <a:lnTo>
                      <a:pt x="234" y="56"/>
                    </a:lnTo>
                    <a:lnTo>
                      <a:pt x="238" y="68"/>
                    </a:lnTo>
                    <a:lnTo>
                      <a:pt x="248" y="80"/>
                    </a:lnTo>
                    <a:lnTo>
                      <a:pt x="254" y="90"/>
                    </a:lnTo>
                    <a:lnTo>
                      <a:pt x="262" y="100"/>
                    </a:lnTo>
                    <a:lnTo>
                      <a:pt x="276" y="106"/>
                    </a:lnTo>
                    <a:lnTo>
                      <a:pt x="286" y="108"/>
                    </a:lnTo>
                    <a:lnTo>
                      <a:pt x="284" y="116"/>
                    </a:lnTo>
                    <a:lnTo>
                      <a:pt x="280" y="126"/>
                    </a:lnTo>
                    <a:lnTo>
                      <a:pt x="278" y="140"/>
                    </a:lnTo>
                    <a:lnTo>
                      <a:pt x="278" y="150"/>
                    </a:lnTo>
                    <a:lnTo>
                      <a:pt x="278" y="160"/>
                    </a:lnTo>
                    <a:lnTo>
                      <a:pt x="282" y="176"/>
                    </a:lnTo>
                    <a:lnTo>
                      <a:pt x="290" y="192"/>
                    </a:lnTo>
                    <a:lnTo>
                      <a:pt x="298" y="204"/>
                    </a:lnTo>
                    <a:lnTo>
                      <a:pt x="304" y="214"/>
                    </a:lnTo>
                    <a:lnTo>
                      <a:pt x="314" y="220"/>
                    </a:lnTo>
                    <a:lnTo>
                      <a:pt x="324" y="222"/>
                    </a:lnTo>
                    <a:lnTo>
                      <a:pt x="338" y="222"/>
                    </a:lnTo>
                    <a:lnTo>
                      <a:pt x="356" y="220"/>
                    </a:lnTo>
                    <a:lnTo>
                      <a:pt x="374" y="216"/>
                    </a:lnTo>
                    <a:lnTo>
                      <a:pt x="382" y="202"/>
                    </a:lnTo>
                    <a:lnTo>
                      <a:pt x="382" y="192"/>
                    </a:lnTo>
                    <a:lnTo>
                      <a:pt x="386" y="184"/>
                    </a:lnTo>
                    <a:lnTo>
                      <a:pt x="398" y="176"/>
                    </a:lnTo>
                    <a:lnTo>
                      <a:pt x="406" y="176"/>
                    </a:lnTo>
                    <a:lnTo>
                      <a:pt x="422" y="176"/>
                    </a:lnTo>
                    <a:lnTo>
                      <a:pt x="434" y="178"/>
                    </a:lnTo>
                    <a:lnTo>
                      <a:pt x="430" y="188"/>
                    </a:lnTo>
                    <a:lnTo>
                      <a:pt x="424" y="196"/>
                    </a:lnTo>
                    <a:lnTo>
                      <a:pt x="422" y="202"/>
                    </a:lnTo>
                    <a:lnTo>
                      <a:pt x="420" y="212"/>
                    </a:lnTo>
                    <a:lnTo>
                      <a:pt x="420" y="222"/>
                    </a:lnTo>
                    <a:lnTo>
                      <a:pt x="418" y="224"/>
                    </a:lnTo>
                    <a:lnTo>
                      <a:pt x="414" y="220"/>
                    </a:lnTo>
                    <a:lnTo>
                      <a:pt x="410" y="222"/>
                    </a:lnTo>
                    <a:lnTo>
                      <a:pt x="406" y="224"/>
                    </a:lnTo>
                    <a:lnTo>
                      <a:pt x="402" y="230"/>
                    </a:lnTo>
                    <a:lnTo>
                      <a:pt x="390" y="230"/>
                    </a:lnTo>
                    <a:lnTo>
                      <a:pt x="374" y="232"/>
                    </a:lnTo>
                    <a:lnTo>
                      <a:pt x="372" y="236"/>
                    </a:lnTo>
                    <a:lnTo>
                      <a:pt x="374" y="242"/>
                    </a:lnTo>
                    <a:lnTo>
                      <a:pt x="382" y="248"/>
                    </a:lnTo>
                    <a:lnTo>
                      <a:pt x="386" y="254"/>
                    </a:lnTo>
                    <a:lnTo>
                      <a:pt x="382" y="256"/>
                    </a:lnTo>
                    <a:lnTo>
                      <a:pt x="370" y="258"/>
                    </a:lnTo>
                    <a:lnTo>
                      <a:pt x="368" y="256"/>
                    </a:lnTo>
                    <a:lnTo>
                      <a:pt x="366" y="258"/>
                    </a:lnTo>
                    <a:lnTo>
                      <a:pt x="362" y="262"/>
                    </a:lnTo>
                    <a:lnTo>
                      <a:pt x="360" y="268"/>
                    </a:lnTo>
                    <a:lnTo>
                      <a:pt x="358" y="278"/>
                    </a:lnTo>
                    <a:lnTo>
                      <a:pt x="352" y="274"/>
                    </a:lnTo>
                    <a:lnTo>
                      <a:pt x="344" y="264"/>
                    </a:lnTo>
                    <a:lnTo>
                      <a:pt x="336" y="258"/>
                    </a:lnTo>
                    <a:lnTo>
                      <a:pt x="328" y="256"/>
                    </a:lnTo>
                    <a:lnTo>
                      <a:pt x="320" y="254"/>
                    </a:lnTo>
                    <a:lnTo>
                      <a:pt x="312" y="256"/>
                    </a:lnTo>
                    <a:lnTo>
                      <a:pt x="304" y="258"/>
                    </a:lnTo>
                    <a:lnTo>
                      <a:pt x="296" y="260"/>
                    </a:lnTo>
                    <a:lnTo>
                      <a:pt x="282" y="258"/>
                    </a:lnTo>
                    <a:lnTo>
                      <a:pt x="268" y="252"/>
                    </a:lnTo>
                    <a:lnTo>
                      <a:pt x="254" y="246"/>
                    </a:lnTo>
                    <a:lnTo>
                      <a:pt x="238" y="240"/>
                    </a:lnTo>
                    <a:lnTo>
                      <a:pt x="230" y="238"/>
                    </a:lnTo>
                    <a:lnTo>
                      <a:pt x="222" y="226"/>
                    </a:lnTo>
                    <a:lnTo>
                      <a:pt x="210" y="226"/>
                    </a:lnTo>
                    <a:lnTo>
                      <a:pt x="198" y="220"/>
                    </a:lnTo>
                    <a:lnTo>
                      <a:pt x="184" y="212"/>
                    </a:lnTo>
                    <a:lnTo>
                      <a:pt x="174" y="204"/>
                    </a:lnTo>
                    <a:lnTo>
                      <a:pt x="168" y="194"/>
                    </a:lnTo>
                    <a:lnTo>
                      <a:pt x="168" y="186"/>
                    </a:lnTo>
                    <a:lnTo>
                      <a:pt x="174" y="180"/>
                    </a:lnTo>
                    <a:lnTo>
                      <a:pt x="174" y="170"/>
                    </a:lnTo>
                    <a:lnTo>
                      <a:pt x="162" y="154"/>
                    </a:lnTo>
                    <a:lnTo>
                      <a:pt x="152" y="144"/>
                    </a:lnTo>
                    <a:lnTo>
                      <a:pt x="142" y="134"/>
                    </a:lnTo>
                    <a:lnTo>
                      <a:pt x="134" y="124"/>
                    </a:lnTo>
                    <a:lnTo>
                      <a:pt x="122" y="116"/>
                    </a:lnTo>
                    <a:lnTo>
                      <a:pt x="116" y="112"/>
                    </a:lnTo>
                    <a:lnTo>
                      <a:pt x="116" y="100"/>
                    </a:lnTo>
                    <a:lnTo>
                      <a:pt x="100" y="90"/>
                    </a:lnTo>
                    <a:lnTo>
                      <a:pt x="92" y="82"/>
                    </a:lnTo>
                    <a:lnTo>
                      <a:pt x="82" y="66"/>
                    </a:lnTo>
                    <a:lnTo>
                      <a:pt x="72" y="58"/>
                    </a:lnTo>
                    <a:lnTo>
                      <a:pt x="66" y="46"/>
                    </a:lnTo>
                    <a:lnTo>
                      <a:pt x="62" y="34"/>
                    </a:lnTo>
                    <a:lnTo>
                      <a:pt x="60" y="28"/>
                    </a:lnTo>
                    <a:lnTo>
                      <a:pt x="48" y="22"/>
                    </a:lnTo>
                    <a:lnTo>
                      <a:pt x="36" y="22"/>
                    </a:lnTo>
                    <a:lnTo>
                      <a:pt x="34" y="28"/>
                    </a:lnTo>
                    <a:lnTo>
                      <a:pt x="38" y="38"/>
                    </a:lnTo>
                    <a:lnTo>
                      <a:pt x="44" y="50"/>
                    </a:lnTo>
                    <a:lnTo>
                      <a:pt x="52" y="60"/>
                    </a:lnTo>
                    <a:lnTo>
                      <a:pt x="60" y="72"/>
                    </a:lnTo>
                    <a:lnTo>
                      <a:pt x="66" y="82"/>
                    </a:lnTo>
                    <a:lnTo>
                      <a:pt x="74" y="90"/>
                    </a:lnTo>
                    <a:lnTo>
                      <a:pt x="84" y="100"/>
                    </a:lnTo>
                    <a:lnTo>
                      <a:pt x="90" y="116"/>
                    </a:lnTo>
                    <a:lnTo>
                      <a:pt x="96" y="126"/>
                    </a:lnTo>
                    <a:lnTo>
                      <a:pt x="98" y="134"/>
                    </a:lnTo>
                    <a:lnTo>
                      <a:pt x="104" y="134"/>
                    </a:lnTo>
                    <a:lnTo>
                      <a:pt x="108" y="140"/>
                    </a:lnTo>
                    <a:lnTo>
                      <a:pt x="110" y="144"/>
                    </a:lnTo>
                    <a:lnTo>
                      <a:pt x="112" y="152"/>
                    </a:lnTo>
                    <a:lnTo>
                      <a:pt x="104" y="156"/>
                    </a:lnTo>
                    <a:lnTo>
                      <a:pt x="100" y="146"/>
                    </a:lnTo>
                    <a:lnTo>
                      <a:pt x="92" y="140"/>
                    </a:lnTo>
                    <a:lnTo>
                      <a:pt x="84" y="134"/>
                    </a:lnTo>
                    <a:lnTo>
                      <a:pt x="78" y="124"/>
                    </a:lnTo>
                    <a:lnTo>
                      <a:pt x="76" y="116"/>
                    </a:lnTo>
                    <a:lnTo>
                      <a:pt x="74" y="108"/>
                    </a:lnTo>
                    <a:lnTo>
                      <a:pt x="66" y="100"/>
                    </a:lnTo>
                    <a:lnTo>
                      <a:pt x="62" y="98"/>
                    </a:lnTo>
                    <a:lnTo>
                      <a:pt x="52" y="96"/>
                    </a:lnTo>
                    <a:lnTo>
                      <a:pt x="46" y="92"/>
                    </a:lnTo>
                    <a:lnTo>
                      <a:pt x="38" y="84"/>
                    </a:lnTo>
                    <a:lnTo>
                      <a:pt x="36" y="82"/>
                    </a:lnTo>
                    <a:lnTo>
                      <a:pt x="40" y="80"/>
                    </a:lnTo>
                    <a:lnTo>
                      <a:pt x="44" y="80"/>
                    </a:lnTo>
                    <a:lnTo>
                      <a:pt x="46" y="76"/>
                    </a:lnTo>
                    <a:lnTo>
                      <a:pt x="44" y="70"/>
                    </a:lnTo>
                    <a:lnTo>
                      <a:pt x="40" y="62"/>
                    </a:lnTo>
                    <a:lnTo>
                      <a:pt x="36" y="58"/>
                    </a:lnTo>
                    <a:lnTo>
                      <a:pt x="30" y="54"/>
                    </a:lnTo>
                    <a:lnTo>
                      <a:pt x="22" y="46"/>
                    </a:lnTo>
                    <a:lnTo>
                      <a:pt x="16" y="32"/>
                    </a:lnTo>
                    <a:lnTo>
                      <a:pt x="14" y="26"/>
                    </a:lnTo>
                    <a:lnTo>
                      <a:pt x="10" y="16"/>
                    </a:lnTo>
                    <a:lnTo>
                      <a:pt x="2" y="6"/>
                    </a:lnTo>
                    <a:lnTo>
                      <a:pt x="32" y="4"/>
                    </a:lnTo>
                    <a:close/>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6" name="Freeform 15"/>
              <p:cNvSpPr>
                <a:spLocks/>
              </p:cNvSpPr>
              <p:nvPr/>
            </p:nvSpPr>
            <p:spPr bwMode="auto">
              <a:xfrm>
                <a:off x="1203" y="2045"/>
                <a:ext cx="432" cy="274"/>
              </a:xfrm>
              <a:custGeom>
                <a:avLst/>
                <a:gdLst>
                  <a:gd name="T0" fmla="*/ 82 w 432"/>
                  <a:gd name="T1" fmla="*/ 22 h 274"/>
                  <a:gd name="T2" fmla="*/ 148 w 432"/>
                  <a:gd name="T3" fmla="*/ 12 h 274"/>
                  <a:gd name="T4" fmla="*/ 178 w 432"/>
                  <a:gd name="T5" fmla="*/ 48 h 274"/>
                  <a:gd name="T6" fmla="*/ 204 w 432"/>
                  <a:gd name="T7" fmla="*/ 46 h 274"/>
                  <a:gd name="T8" fmla="*/ 236 w 432"/>
                  <a:gd name="T9" fmla="*/ 64 h 274"/>
                  <a:gd name="T10" fmla="*/ 260 w 432"/>
                  <a:gd name="T11" fmla="*/ 96 h 274"/>
                  <a:gd name="T12" fmla="*/ 282 w 432"/>
                  <a:gd name="T13" fmla="*/ 112 h 274"/>
                  <a:gd name="T14" fmla="*/ 276 w 432"/>
                  <a:gd name="T15" fmla="*/ 146 h 274"/>
                  <a:gd name="T16" fmla="*/ 288 w 432"/>
                  <a:gd name="T17" fmla="*/ 188 h 274"/>
                  <a:gd name="T18" fmla="*/ 312 w 432"/>
                  <a:gd name="T19" fmla="*/ 216 h 274"/>
                  <a:gd name="T20" fmla="*/ 354 w 432"/>
                  <a:gd name="T21" fmla="*/ 216 h 274"/>
                  <a:gd name="T22" fmla="*/ 380 w 432"/>
                  <a:gd name="T23" fmla="*/ 188 h 274"/>
                  <a:gd name="T24" fmla="*/ 404 w 432"/>
                  <a:gd name="T25" fmla="*/ 172 h 274"/>
                  <a:gd name="T26" fmla="*/ 428 w 432"/>
                  <a:gd name="T27" fmla="*/ 184 h 274"/>
                  <a:gd name="T28" fmla="*/ 418 w 432"/>
                  <a:gd name="T29" fmla="*/ 208 h 274"/>
                  <a:gd name="T30" fmla="*/ 412 w 432"/>
                  <a:gd name="T31" fmla="*/ 216 h 274"/>
                  <a:gd name="T32" fmla="*/ 400 w 432"/>
                  <a:gd name="T33" fmla="*/ 226 h 274"/>
                  <a:gd name="T34" fmla="*/ 370 w 432"/>
                  <a:gd name="T35" fmla="*/ 232 h 274"/>
                  <a:gd name="T36" fmla="*/ 384 w 432"/>
                  <a:gd name="T37" fmla="*/ 250 h 274"/>
                  <a:gd name="T38" fmla="*/ 366 w 432"/>
                  <a:gd name="T39" fmla="*/ 252 h 274"/>
                  <a:gd name="T40" fmla="*/ 358 w 432"/>
                  <a:gd name="T41" fmla="*/ 264 h 274"/>
                  <a:gd name="T42" fmla="*/ 342 w 432"/>
                  <a:gd name="T43" fmla="*/ 260 h 274"/>
                  <a:gd name="T44" fmla="*/ 318 w 432"/>
                  <a:gd name="T45" fmla="*/ 250 h 274"/>
                  <a:gd name="T46" fmla="*/ 294 w 432"/>
                  <a:gd name="T47" fmla="*/ 256 h 274"/>
                  <a:gd name="T48" fmla="*/ 252 w 432"/>
                  <a:gd name="T49" fmla="*/ 242 h 274"/>
                  <a:gd name="T50" fmla="*/ 220 w 432"/>
                  <a:gd name="T51" fmla="*/ 222 h 274"/>
                  <a:gd name="T52" fmla="*/ 182 w 432"/>
                  <a:gd name="T53" fmla="*/ 208 h 274"/>
                  <a:gd name="T54" fmla="*/ 166 w 432"/>
                  <a:gd name="T55" fmla="*/ 182 h 274"/>
                  <a:gd name="T56" fmla="*/ 160 w 432"/>
                  <a:gd name="T57" fmla="*/ 150 h 274"/>
                  <a:gd name="T58" fmla="*/ 132 w 432"/>
                  <a:gd name="T59" fmla="*/ 120 h 274"/>
                  <a:gd name="T60" fmla="*/ 114 w 432"/>
                  <a:gd name="T61" fmla="*/ 96 h 274"/>
                  <a:gd name="T62" fmla="*/ 80 w 432"/>
                  <a:gd name="T63" fmla="*/ 62 h 274"/>
                  <a:gd name="T64" fmla="*/ 60 w 432"/>
                  <a:gd name="T65" fmla="*/ 30 h 274"/>
                  <a:gd name="T66" fmla="*/ 34 w 432"/>
                  <a:gd name="T67" fmla="*/ 18 h 274"/>
                  <a:gd name="T68" fmla="*/ 42 w 432"/>
                  <a:gd name="T69" fmla="*/ 46 h 274"/>
                  <a:gd name="T70" fmla="*/ 64 w 432"/>
                  <a:gd name="T71" fmla="*/ 78 h 274"/>
                  <a:gd name="T72" fmla="*/ 88 w 432"/>
                  <a:gd name="T73" fmla="*/ 112 h 274"/>
                  <a:gd name="T74" fmla="*/ 102 w 432"/>
                  <a:gd name="T75" fmla="*/ 130 h 274"/>
                  <a:gd name="T76" fmla="*/ 110 w 432"/>
                  <a:gd name="T77" fmla="*/ 148 h 274"/>
                  <a:gd name="T78" fmla="*/ 90 w 432"/>
                  <a:gd name="T79" fmla="*/ 136 h 274"/>
                  <a:gd name="T80" fmla="*/ 74 w 432"/>
                  <a:gd name="T81" fmla="*/ 112 h 274"/>
                  <a:gd name="T82" fmla="*/ 60 w 432"/>
                  <a:gd name="T83" fmla="*/ 94 h 274"/>
                  <a:gd name="T84" fmla="*/ 36 w 432"/>
                  <a:gd name="T85" fmla="*/ 80 h 274"/>
                  <a:gd name="T86" fmla="*/ 42 w 432"/>
                  <a:gd name="T87" fmla="*/ 76 h 274"/>
                  <a:gd name="T88" fmla="*/ 38 w 432"/>
                  <a:gd name="T89" fmla="*/ 58 h 274"/>
                  <a:gd name="T90" fmla="*/ 20 w 432"/>
                  <a:gd name="T91" fmla="*/ 42 h 274"/>
                  <a:gd name="T92" fmla="*/ 8 w 432"/>
                  <a:gd name="T93"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274">
                    <a:moveTo>
                      <a:pt x="30" y="0"/>
                    </a:moveTo>
                    <a:lnTo>
                      <a:pt x="68" y="16"/>
                    </a:lnTo>
                    <a:lnTo>
                      <a:pt x="82" y="22"/>
                    </a:lnTo>
                    <a:lnTo>
                      <a:pt x="124" y="22"/>
                    </a:lnTo>
                    <a:lnTo>
                      <a:pt x="132" y="16"/>
                    </a:lnTo>
                    <a:lnTo>
                      <a:pt x="148" y="12"/>
                    </a:lnTo>
                    <a:lnTo>
                      <a:pt x="166" y="26"/>
                    </a:lnTo>
                    <a:lnTo>
                      <a:pt x="176" y="34"/>
                    </a:lnTo>
                    <a:lnTo>
                      <a:pt x="178" y="48"/>
                    </a:lnTo>
                    <a:lnTo>
                      <a:pt x="192" y="58"/>
                    </a:lnTo>
                    <a:lnTo>
                      <a:pt x="202" y="56"/>
                    </a:lnTo>
                    <a:lnTo>
                      <a:pt x="204" y="46"/>
                    </a:lnTo>
                    <a:lnTo>
                      <a:pt x="212" y="42"/>
                    </a:lnTo>
                    <a:lnTo>
                      <a:pt x="232" y="52"/>
                    </a:lnTo>
                    <a:lnTo>
                      <a:pt x="236" y="64"/>
                    </a:lnTo>
                    <a:lnTo>
                      <a:pt x="246" y="76"/>
                    </a:lnTo>
                    <a:lnTo>
                      <a:pt x="252" y="86"/>
                    </a:lnTo>
                    <a:lnTo>
                      <a:pt x="260" y="96"/>
                    </a:lnTo>
                    <a:lnTo>
                      <a:pt x="274" y="102"/>
                    </a:lnTo>
                    <a:lnTo>
                      <a:pt x="284" y="104"/>
                    </a:lnTo>
                    <a:lnTo>
                      <a:pt x="282" y="112"/>
                    </a:lnTo>
                    <a:lnTo>
                      <a:pt x="278" y="122"/>
                    </a:lnTo>
                    <a:lnTo>
                      <a:pt x="276" y="136"/>
                    </a:lnTo>
                    <a:lnTo>
                      <a:pt x="276" y="146"/>
                    </a:lnTo>
                    <a:lnTo>
                      <a:pt x="276" y="156"/>
                    </a:lnTo>
                    <a:lnTo>
                      <a:pt x="280" y="172"/>
                    </a:lnTo>
                    <a:lnTo>
                      <a:pt x="288" y="188"/>
                    </a:lnTo>
                    <a:lnTo>
                      <a:pt x="296" y="200"/>
                    </a:lnTo>
                    <a:lnTo>
                      <a:pt x="302" y="210"/>
                    </a:lnTo>
                    <a:lnTo>
                      <a:pt x="312" y="216"/>
                    </a:lnTo>
                    <a:lnTo>
                      <a:pt x="322" y="218"/>
                    </a:lnTo>
                    <a:lnTo>
                      <a:pt x="336" y="218"/>
                    </a:lnTo>
                    <a:lnTo>
                      <a:pt x="354" y="216"/>
                    </a:lnTo>
                    <a:lnTo>
                      <a:pt x="372" y="212"/>
                    </a:lnTo>
                    <a:lnTo>
                      <a:pt x="380" y="198"/>
                    </a:lnTo>
                    <a:lnTo>
                      <a:pt x="380" y="188"/>
                    </a:lnTo>
                    <a:lnTo>
                      <a:pt x="384" y="180"/>
                    </a:lnTo>
                    <a:lnTo>
                      <a:pt x="396" y="172"/>
                    </a:lnTo>
                    <a:lnTo>
                      <a:pt x="404" y="172"/>
                    </a:lnTo>
                    <a:lnTo>
                      <a:pt x="420" y="172"/>
                    </a:lnTo>
                    <a:lnTo>
                      <a:pt x="432" y="174"/>
                    </a:lnTo>
                    <a:lnTo>
                      <a:pt x="428" y="184"/>
                    </a:lnTo>
                    <a:lnTo>
                      <a:pt x="422" y="192"/>
                    </a:lnTo>
                    <a:lnTo>
                      <a:pt x="420" y="198"/>
                    </a:lnTo>
                    <a:lnTo>
                      <a:pt x="418" y="208"/>
                    </a:lnTo>
                    <a:lnTo>
                      <a:pt x="418" y="218"/>
                    </a:lnTo>
                    <a:lnTo>
                      <a:pt x="416" y="220"/>
                    </a:lnTo>
                    <a:lnTo>
                      <a:pt x="412" y="216"/>
                    </a:lnTo>
                    <a:lnTo>
                      <a:pt x="408" y="218"/>
                    </a:lnTo>
                    <a:lnTo>
                      <a:pt x="404" y="220"/>
                    </a:lnTo>
                    <a:lnTo>
                      <a:pt x="400" y="226"/>
                    </a:lnTo>
                    <a:lnTo>
                      <a:pt x="388" y="226"/>
                    </a:lnTo>
                    <a:lnTo>
                      <a:pt x="372" y="228"/>
                    </a:lnTo>
                    <a:lnTo>
                      <a:pt x="370" y="232"/>
                    </a:lnTo>
                    <a:lnTo>
                      <a:pt x="372" y="238"/>
                    </a:lnTo>
                    <a:lnTo>
                      <a:pt x="380" y="244"/>
                    </a:lnTo>
                    <a:lnTo>
                      <a:pt x="384" y="250"/>
                    </a:lnTo>
                    <a:lnTo>
                      <a:pt x="380" y="252"/>
                    </a:lnTo>
                    <a:lnTo>
                      <a:pt x="368" y="254"/>
                    </a:lnTo>
                    <a:lnTo>
                      <a:pt x="366" y="252"/>
                    </a:lnTo>
                    <a:lnTo>
                      <a:pt x="364" y="254"/>
                    </a:lnTo>
                    <a:lnTo>
                      <a:pt x="360" y="258"/>
                    </a:lnTo>
                    <a:lnTo>
                      <a:pt x="358" y="264"/>
                    </a:lnTo>
                    <a:lnTo>
                      <a:pt x="356" y="274"/>
                    </a:lnTo>
                    <a:lnTo>
                      <a:pt x="350" y="270"/>
                    </a:lnTo>
                    <a:lnTo>
                      <a:pt x="342" y="260"/>
                    </a:lnTo>
                    <a:lnTo>
                      <a:pt x="334" y="254"/>
                    </a:lnTo>
                    <a:lnTo>
                      <a:pt x="326" y="252"/>
                    </a:lnTo>
                    <a:lnTo>
                      <a:pt x="318" y="250"/>
                    </a:lnTo>
                    <a:lnTo>
                      <a:pt x="310" y="252"/>
                    </a:lnTo>
                    <a:lnTo>
                      <a:pt x="302" y="254"/>
                    </a:lnTo>
                    <a:lnTo>
                      <a:pt x="294" y="256"/>
                    </a:lnTo>
                    <a:lnTo>
                      <a:pt x="280" y="254"/>
                    </a:lnTo>
                    <a:lnTo>
                      <a:pt x="266" y="248"/>
                    </a:lnTo>
                    <a:lnTo>
                      <a:pt x="252" y="242"/>
                    </a:lnTo>
                    <a:lnTo>
                      <a:pt x="236" y="236"/>
                    </a:lnTo>
                    <a:lnTo>
                      <a:pt x="228" y="234"/>
                    </a:lnTo>
                    <a:lnTo>
                      <a:pt x="220" y="222"/>
                    </a:lnTo>
                    <a:lnTo>
                      <a:pt x="208" y="222"/>
                    </a:lnTo>
                    <a:lnTo>
                      <a:pt x="196" y="216"/>
                    </a:lnTo>
                    <a:lnTo>
                      <a:pt x="182" y="208"/>
                    </a:lnTo>
                    <a:lnTo>
                      <a:pt x="172" y="200"/>
                    </a:lnTo>
                    <a:lnTo>
                      <a:pt x="166" y="190"/>
                    </a:lnTo>
                    <a:lnTo>
                      <a:pt x="166" y="182"/>
                    </a:lnTo>
                    <a:lnTo>
                      <a:pt x="172" y="176"/>
                    </a:lnTo>
                    <a:lnTo>
                      <a:pt x="172" y="166"/>
                    </a:lnTo>
                    <a:lnTo>
                      <a:pt x="160" y="150"/>
                    </a:lnTo>
                    <a:lnTo>
                      <a:pt x="150" y="140"/>
                    </a:lnTo>
                    <a:lnTo>
                      <a:pt x="140" y="130"/>
                    </a:lnTo>
                    <a:lnTo>
                      <a:pt x="132" y="120"/>
                    </a:lnTo>
                    <a:lnTo>
                      <a:pt x="120" y="112"/>
                    </a:lnTo>
                    <a:lnTo>
                      <a:pt x="114" y="108"/>
                    </a:lnTo>
                    <a:lnTo>
                      <a:pt x="114" y="96"/>
                    </a:lnTo>
                    <a:lnTo>
                      <a:pt x="98" y="86"/>
                    </a:lnTo>
                    <a:lnTo>
                      <a:pt x="90" y="78"/>
                    </a:lnTo>
                    <a:lnTo>
                      <a:pt x="80" y="62"/>
                    </a:lnTo>
                    <a:lnTo>
                      <a:pt x="70" y="54"/>
                    </a:lnTo>
                    <a:lnTo>
                      <a:pt x="64" y="42"/>
                    </a:lnTo>
                    <a:lnTo>
                      <a:pt x="60" y="30"/>
                    </a:lnTo>
                    <a:lnTo>
                      <a:pt x="58" y="24"/>
                    </a:lnTo>
                    <a:lnTo>
                      <a:pt x="46" y="18"/>
                    </a:lnTo>
                    <a:lnTo>
                      <a:pt x="34" y="18"/>
                    </a:lnTo>
                    <a:lnTo>
                      <a:pt x="32" y="24"/>
                    </a:lnTo>
                    <a:lnTo>
                      <a:pt x="36" y="34"/>
                    </a:lnTo>
                    <a:lnTo>
                      <a:pt x="42" y="46"/>
                    </a:lnTo>
                    <a:lnTo>
                      <a:pt x="50" y="56"/>
                    </a:lnTo>
                    <a:lnTo>
                      <a:pt x="58" y="68"/>
                    </a:lnTo>
                    <a:lnTo>
                      <a:pt x="64" y="78"/>
                    </a:lnTo>
                    <a:lnTo>
                      <a:pt x="72" y="86"/>
                    </a:lnTo>
                    <a:lnTo>
                      <a:pt x="82" y="96"/>
                    </a:lnTo>
                    <a:lnTo>
                      <a:pt x="88" y="112"/>
                    </a:lnTo>
                    <a:lnTo>
                      <a:pt x="94" y="122"/>
                    </a:lnTo>
                    <a:lnTo>
                      <a:pt x="96" y="130"/>
                    </a:lnTo>
                    <a:lnTo>
                      <a:pt x="102" y="130"/>
                    </a:lnTo>
                    <a:lnTo>
                      <a:pt x="106" y="136"/>
                    </a:lnTo>
                    <a:lnTo>
                      <a:pt x="108" y="140"/>
                    </a:lnTo>
                    <a:lnTo>
                      <a:pt x="110" y="148"/>
                    </a:lnTo>
                    <a:lnTo>
                      <a:pt x="102" y="152"/>
                    </a:lnTo>
                    <a:lnTo>
                      <a:pt x="98" y="142"/>
                    </a:lnTo>
                    <a:lnTo>
                      <a:pt x="90" y="136"/>
                    </a:lnTo>
                    <a:lnTo>
                      <a:pt x="82" y="130"/>
                    </a:lnTo>
                    <a:lnTo>
                      <a:pt x="76" y="120"/>
                    </a:lnTo>
                    <a:lnTo>
                      <a:pt x="74" y="112"/>
                    </a:lnTo>
                    <a:lnTo>
                      <a:pt x="72" y="104"/>
                    </a:lnTo>
                    <a:lnTo>
                      <a:pt x="64" y="96"/>
                    </a:lnTo>
                    <a:lnTo>
                      <a:pt x="60" y="94"/>
                    </a:lnTo>
                    <a:lnTo>
                      <a:pt x="50" y="92"/>
                    </a:lnTo>
                    <a:lnTo>
                      <a:pt x="44" y="88"/>
                    </a:lnTo>
                    <a:lnTo>
                      <a:pt x="36" y="80"/>
                    </a:lnTo>
                    <a:lnTo>
                      <a:pt x="34" y="78"/>
                    </a:lnTo>
                    <a:lnTo>
                      <a:pt x="38" y="76"/>
                    </a:lnTo>
                    <a:lnTo>
                      <a:pt x="42" y="76"/>
                    </a:lnTo>
                    <a:lnTo>
                      <a:pt x="44" y="72"/>
                    </a:lnTo>
                    <a:lnTo>
                      <a:pt x="42" y="66"/>
                    </a:lnTo>
                    <a:lnTo>
                      <a:pt x="38" y="58"/>
                    </a:lnTo>
                    <a:lnTo>
                      <a:pt x="34" y="54"/>
                    </a:lnTo>
                    <a:lnTo>
                      <a:pt x="28" y="50"/>
                    </a:lnTo>
                    <a:lnTo>
                      <a:pt x="20" y="42"/>
                    </a:lnTo>
                    <a:lnTo>
                      <a:pt x="14" y="28"/>
                    </a:lnTo>
                    <a:lnTo>
                      <a:pt x="12" y="22"/>
                    </a:lnTo>
                    <a:lnTo>
                      <a:pt x="8" y="12"/>
                    </a:lnTo>
                    <a:lnTo>
                      <a:pt x="0"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7" name="Freeform 16"/>
              <p:cNvSpPr>
                <a:spLocks/>
              </p:cNvSpPr>
              <p:nvPr/>
            </p:nvSpPr>
            <p:spPr bwMode="auto">
              <a:xfrm>
                <a:off x="1201" y="2041"/>
                <a:ext cx="438" cy="282"/>
              </a:xfrm>
              <a:custGeom>
                <a:avLst/>
                <a:gdLst>
                  <a:gd name="T0" fmla="*/ 2 w 438"/>
                  <a:gd name="T1" fmla="*/ 2 h 282"/>
                  <a:gd name="T2" fmla="*/ 10 w 438"/>
                  <a:gd name="T3" fmla="*/ 26 h 282"/>
                  <a:gd name="T4" fmla="*/ 26 w 438"/>
                  <a:gd name="T5" fmla="*/ 56 h 282"/>
                  <a:gd name="T6" fmla="*/ 40 w 438"/>
                  <a:gd name="T7" fmla="*/ 72 h 282"/>
                  <a:gd name="T8" fmla="*/ 34 w 438"/>
                  <a:gd name="T9" fmla="*/ 78 h 282"/>
                  <a:gd name="T10" fmla="*/ 34 w 438"/>
                  <a:gd name="T11" fmla="*/ 86 h 282"/>
                  <a:gd name="T12" fmla="*/ 50 w 438"/>
                  <a:gd name="T13" fmla="*/ 98 h 282"/>
                  <a:gd name="T14" fmla="*/ 70 w 438"/>
                  <a:gd name="T15" fmla="*/ 110 h 282"/>
                  <a:gd name="T16" fmla="*/ 82 w 438"/>
                  <a:gd name="T17" fmla="*/ 136 h 282"/>
                  <a:gd name="T18" fmla="*/ 90 w 438"/>
                  <a:gd name="T19" fmla="*/ 144 h 282"/>
                  <a:gd name="T20" fmla="*/ 104 w 438"/>
                  <a:gd name="T21" fmla="*/ 160 h 282"/>
                  <a:gd name="T22" fmla="*/ 114 w 438"/>
                  <a:gd name="T23" fmla="*/ 156 h 282"/>
                  <a:gd name="T24" fmla="*/ 114 w 438"/>
                  <a:gd name="T25" fmla="*/ 142 h 282"/>
                  <a:gd name="T26" fmla="*/ 108 w 438"/>
                  <a:gd name="T27" fmla="*/ 132 h 282"/>
                  <a:gd name="T28" fmla="*/ 100 w 438"/>
                  <a:gd name="T29" fmla="*/ 124 h 282"/>
                  <a:gd name="T30" fmla="*/ 78 w 438"/>
                  <a:gd name="T31" fmla="*/ 88 h 282"/>
                  <a:gd name="T32" fmla="*/ 56 w 438"/>
                  <a:gd name="T33" fmla="*/ 56 h 282"/>
                  <a:gd name="T34" fmla="*/ 46 w 438"/>
                  <a:gd name="T35" fmla="*/ 26 h 282"/>
                  <a:gd name="T36" fmla="*/ 68 w 438"/>
                  <a:gd name="T37" fmla="*/ 60 h 282"/>
                  <a:gd name="T38" fmla="*/ 90 w 438"/>
                  <a:gd name="T39" fmla="*/ 84 h 282"/>
                  <a:gd name="T40" fmla="*/ 112 w 438"/>
                  <a:gd name="T41" fmla="*/ 112 h 282"/>
                  <a:gd name="T42" fmla="*/ 138 w 438"/>
                  <a:gd name="T43" fmla="*/ 138 h 282"/>
                  <a:gd name="T44" fmla="*/ 170 w 438"/>
                  <a:gd name="T45" fmla="*/ 172 h 282"/>
                  <a:gd name="T46" fmla="*/ 164 w 438"/>
                  <a:gd name="T47" fmla="*/ 194 h 282"/>
                  <a:gd name="T48" fmla="*/ 172 w 438"/>
                  <a:gd name="T49" fmla="*/ 206 h 282"/>
                  <a:gd name="T50" fmla="*/ 208 w 438"/>
                  <a:gd name="T51" fmla="*/ 230 h 282"/>
                  <a:gd name="T52" fmla="*/ 226 w 438"/>
                  <a:gd name="T53" fmla="*/ 240 h 282"/>
                  <a:gd name="T54" fmla="*/ 280 w 438"/>
                  <a:gd name="T55" fmla="*/ 260 h 282"/>
                  <a:gd name="T56" fmla="*/ 296 w 438"/>
                  <a:gd name="T57" fmla="*/ 264 h 282"/>
                  <a:gd name="T58" fmla="*/ 306 w 438"/>
                  <a:gd name="T59" fmla="*/ 262 h 282"/>
                  <a:gd name="T60" fmla="*/ 342 w 438"/>
                  <a:gd name="T61" fmla="*/ 268 h 282"/>
                  <a:gd name="T62" fmla="*/ 358 w 438"/>
                  <a:gd name="T63" fmla="*/ 282 h 282"/>
                  <a:gd name="T64" fmla="*/ 366 w 438"/>
                  <a:gd name="T65" fmla="*/ 264 h 282"/>
                  <a:gd name="T66" fmla="*/ 370 w 438"/>
                  <a:gd name="T67" fmla="*/ 262 h 282"/>
                  <a:gd name="T68" fmla="*/ 384 w 438"/>
                  <a:gd name="T69" fmla="*/ 258 h 282"/>
                  <a:gd name="T70" fmla="*/ 388 w 438"/>
                  <a:gd name="T71" fmla="*/ 252 h 282"/>
                  <a:gd name="T72" fmla="*/ 376 w 438"/>
                  <a:gd name="T73" fmla="*/ 236 h 282"/>
                  <a:gd name="T74" fmla="*/ 404 w 438"/>
                  <a:gd name="T75" fmla="*/ 232 h 282"/>
                  <a:gd name="T76" fmla="*/ 418 w 438"/>
                  <a:gd name="T77" fmla="*/ 228 h 282"/>
                  <a:gd name="T78" fmla="*/ 424 w 438"/>
                  <a:gd name="T79" fmla="*/ 222 h 282"/>
                  <a:gd name="T80" fmla="*/ 432 w 438"/>
                  <a:gd name="T81" fmla="*/ 192 h 282"/>
                  <a:gd name="T82" fmla="*/ 436 w 438"/>
                  <a:gd name="T83" fmla="*/ 176 h 282"/>
                  <a:gd name="T84" fmla="*/ 406 w 438"/>
                  <a:gd name="T85" fmla="*/ 172 h 282"/>
                  <a:gd name="T86" fmla="*/ 384 w 438"/>
                  <a:gd name="T87" fmla="*/ 180 h 282"/>
                  <a:gd name="T88" fmla="*/ 378 w 438"/>
                  <a:gd name="T89" fmla="*/ 200 h 282"/>
                  <a:gd name="T90" fmla="*/ 316 w 438"/>
                  <a:gd name="T91" fmla="*/ 216 h 282"/>
                  <a:gd name="T92" fmla="*/ 282 w 438"/>
                  <a:gd name="T93" fmla="*/ 160 h 282"/>
                  <a:gd name="T94" fmla="*/ 290 w 438"/>
                  <a:gd name="T95" fmla="*/ 110 h 282"/>
                  <a:gd name="T96" fmla="*/ 278 w 438"/>
                  <a:gd name="T97" fmla="*/ 102 h 282"/>
                  <a:gd name="T98" fmla="*/ 250 w 438"/>
                  <a:gd name="T99" fmla="*/ 76 h 282"/>
                  <a:gd name="T100" fmla="*/ 216 w 438"/>
                  <a:gd name="T101" fmla="*/ 44 h 282"/>
                  <a:gd name="T102" fmla="*/ 204 w 438"/>
                  <a:gd name="T103" fmla="*/ 46 h 282"/>
                  <a:gd name="T104" fmla="*/ 184 w 438"/>
                  <a:gd name="T105" fmla="*/ 50 h 282"/>
                  <a:gd name="T106" fmla="*/ 154 w 438"/>
                  <a:gd name="T107" fmla="*/ 14 h 282"/>
                  <a:gd name="T108" fmla="*/ 132 w 438"/>
                  <a:gd name="T109" fmla="*/ 16 h 282"/>
                  <a:gd name="T110" fmla="*/ 72 w 438"/>
                  <a:gd name="T111" fmla="*/ 1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8" h="282">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8" name="Freeform 17"/>
              <p:cNvSpPr>
                <a:spLocks/>
              </p:cNvSpPr>
              <p:nvPr/>
            </p:nvSpPr>
            <p:spPr bwMode="auto">
              <a:xfrm>
                <a:off x="2019" y="1717"/>
                <a:ext cx="98" cy="94"/>
              </a:xfrm>
              <a:custGeom>
                <a:avLst/>
                <a:gdLst>
                  <a:gd name="T0" fmla="*/ 80 w 98"/>
                  <a:gd name="T1" fmla="*/ 94 h 94"/>
                  <a:gd name="T2" fmla="*/ 74 w 98"/>
                  <a:gd name="T3" fmla="*/ 84 h 94"/>
                  <a:gd name="T4" fmla="*/ 66 w 98"/>
                  <a:gd name="T5" fmla="*/ 82 h 94"/>
                  <a:gd name="T6" fmla="*/ 64 w 98"/>
                  <a:gd name="T7" fmla="*/ 88 h 94"/>
                  <a:gd name="T8" fmla="*/ 62 w 98"/>
                  <a:gd name="T9" fmla="*/ 88 h 94"/>
                  <a:gd name="T10" fmla="*/ 62 w 98"/>
                  <a:gd name="T11" fmla="*/ 88 h 94"/>
                  <a:gd name="T12" fmla="*/ 52 w 98"/>
                  <a:gd name="T13" fmla="*/ 86 h 94"/>
                  <a:gd name="T14" fmla="*/ 52 w 98"/>
                  <a:gd name="T15" fmla="*/ 84 h 94"/>
                  <a:gd name="T16" fmla="*/ 28 w 98"/>
                  <a:gd name="T17" fmla="*/ 78 h 94"/>
                  <a:gd name="T18" fmla="*/ 2 w 98"/>
                  <a:gd name="T19" fmla="*/ 76 h 94"/>
                  <a:gd name="T20" fmla="*/ 0 w 98"/>
                  <a:gd name="T21" fmla="*/ 76 h 94"/>
                  <a:gd name="T22" fmla="*/ 2 w 98"/>
                  <a:gd name="T23" fmla="*/ 62 h 94"/>
                  <a:gd name="T24" fmla="*/ 2 w 98"/>
                  <a:gd name="T25" fmla="*/ 60 h 94"/>
                  <a:gd name="T26" fmla="*/ 18 w 98"/>
                  <a:gd name="T27" fmla="*/ 40 h 94"/>
                  <a:gd name="T28" fmla="*/ 34 w 98"/>
                  <a:gd name="T29" fmla="*/ 20 h 94"/>
                  <a:gd name="T30" fmla="*/ 58 w 98"/>
                  <a:gd name="T31" fmla="*/ 0 h 94"/>
                  <a:gd name="T32" fmla="*/ 58 w 98"/>
                  <a:gd name="T33" fmla="*/ 0 h 94"/>
                  <a:gd name="T34" fmla="*/ 60 w 98"/>
                  <a:gd name="T35" fmla="*/ 0 h 94"/>
                  <a:gd name="T36" fmla="*/ 60 w 98"/>
                  <a:gd name="T37" fmla="*/ 4 h 94"/>
                  <a:gd name="T38" fmla="*/ 54 w 98"/>
                  <a:gd name="T39" fmla="*/ 20 h 94"/>
                  <a:gd name="T40" fmla="*/ 64 w 98"/>
                  <a:gd name="T41" fmla="*/ 40 h 94"/>
                  <a:gd name="T42" fmla="*/ 72 w 98"/>
                  <a:gd name="T43" fmla="*/ 34 h 94"/>
                  <a:gd name="T44" fmla="*/ 72 w 98"/>
                  <a:gd name="T45" fmla="*/ 34 h 94"/>
                  <a:gd name="T46" fmla="*/ 78 w 98"/>
                  <a:gd name="T47" fmla="*/ 40 h 94"/>
                  <a:gd name="T48" fmla="*/ 84 w 98"/>
                  <a:gd name="T49" fmla="*/ 42 h 94"/>
                  <a:gd name="T50" fmla="*/ 84 w 98"/>
                  <a:gd name="T51" fmla="*/ 42 h 94"/>
                  <a:gd name="T52" fmla="*/ 82 w 98"/>
                  <a:gd name="T53" fmla="*/ 50 h 94"/>
                  <a:gd name="T54" fmla="*/ 94 w 98"/>
                  <a:gd name="T55" fmla="*/ 60 h 94"/>
                  <a:gd name="T56" fmla="*/ 94 w 98"/>
                  <a:gd name="T57" fmla="*/ 62 h 94"/>
                  <a:gd name="T58" fmla="*/ 98 w 98"/>
                  <a:gd name="T59" fmla="*/ 80 h 94"/>
                  <a:gd name="T60" fmla="*/ 98 w 98"/>
                  <a:gd name="T61" fmla="*/ 80 h 94"/>
                  <a:gd name="T62" fmla="*/ 94 w 98"/>
                  <a:gd name="T63" fmla="*/ 90 h 94"/>
                  <a:gd name="T64" fmla="*/ 82 w 98"/>
                  <a:gd name="T65" fmla="*/ 94 h 94"/>
                  <a:gd name="T66" fmla="*/ 80 w 98"/>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4">
                    <a:moveTo>
                      <a:pt x="80" y="94"/>
                    </a:moveTo>
                    <a:lnTo>
                      <a:pt x="80" y="94"/>
                    </a:lnTo>
                    <a:lnTo>
                      <a:pt x="80" y="94"/>
                    </a:lnTo>
                    <a:lnTo>
                      <a:pt x="74" y="84"/>
                    </a:lnTo>
                    <a:lnTo>
                      <a:pt x="68" y="78"/>
                    </a:lnTo>
                    <a:lnTo>
                      <a:pt x="66" y="82"/>
                    </a:lnTo>
                    <a:lnTo>
                      <a:pt x="64" y="88"/>
                    </a:lnTo>
                    <a:lnTo>
                      <a:pt x="64" y="88"/>
                    </a:lnTo>
                    <a:lnTo>
                      <a:pt x="62" y="88"/>
                    </a:lnTo>
                    <a:lnTo>
                      <a:pt x="62" y="88"/>
                    </a:lnTo>
                    <a:lnTo>
                      <a:pt x="62" y="88"/>
                    </a:lnTo>
                    <a:lnTo>
                      <a:pt x="62" y="88"/>
                    </a:lnTo>
                    <a:lnTo>
                      <a:pt x="62" y="88"/>
                    </a:lnTo>
                    <a:lnTo>
                      <a:pt x="52" y="86"/>
                    </a:lnTo>
                    <a:lnTo>
                      <a:pt x="52" y="86"/>
                    </a:lnTo>
                    <a:lnTo>
                      <a:pt x="52" y="84"/>
                    </a:lnTo>
                    <a:lnTo>
                      <a:pt x="50" y="74"/>
                    </a:lnTo>
                    <a:lnTo>
                      <a:pt x="28" y="78"/>
                    </a:lnTo>
                    <a:lnTo>
                      <a:pt x="2" y="76"/>
                    </a:lnTo>
                    <a:lnTo>
                      <a:pt x="2" y="76"/>
                    </a:lnTo>
                    <a:lnTo>
                      <a:pt x="0" y="76"/>
                    </a:lnTo>
                    <a:lnTo>
                      <a:pt x="0" y="76"/>
                    </a:lnTo>
                    <a:lnTo>
                      <a:pt x="0" y="74"/>
                    </a:lnTo>
                    <a:lnTo>
                      <a:pt x="2" y="62"/>
                    </a:lnTo>
                    <a:lnTo>
                      <a:pt x="2" y="62"/>
                    </a:lnTo>
                    <a:lnTo>
                      <a:pt x="2" y="60"/>
                    </a:lnTo>
                    <a:lnTo>
                      <a:pt x="14" y="48"/>
                    </a:lnTo>
                    <a:lnTo>
                      <a:pt x="18" y="40"/>
                    </a:lnTo>
                    <a:lnTo>
                      <a:pt x="26" y="34"/>
                    </a:lnTo>
                    <a:lnTo>
                      <a:pt x="34" y="20"/>
                    </a:lnTo>
                    <a:lnTo>
                      <a:pt x="46" y="6"/>
                    </a:lnTo>
                    <a:lnTo>
                      <a:pt x="58" y="0"/>
                    </a:lnTo>
                    <a:lnTo>
                      <a:pt x="58" y="0"/>
                    </a:lnTo>
                    <a:lnTo>
                      <a:pt x="58" y="0"/>
                    </a:lnTo>
                    <a:lnTo>
                      <a:pt x="58" y="0"/>
                    </a:lnTo>
                    <a:lnTo>
                      <a:pt x="60" y="0"/>
                    </a:lnTo>
                    <a:lnTo>
                      <a:pt x="60" y="0"/>
                    </a:lnTo>
                    <a:lnTo>
                      <a:pt x="60" y="4"/>
                    </a:lnTo>
                    <a:lnTo>
                      <a:pt x="56" y="10"/>
                    </a:lnTo>
                    <a:lnTo>
                      <a:pt x="54" y="20"/>
                    </a:lnTo>
                    <a:lnTo>
                      <a:pt x="56" y="32"/>
                    </a:lnTo>
                    <a:lnTo>
                      <a:pt x="64" y="40"/>
                    </a:lnTo>
                    <a:lnTo>
                      <a:pt x="72" y="34"/>
                    </a:lnTo>
                    <a:lnTo>
                      <a:pt x="72" y="34"/>
                    </a:lnTo>
                    <a:lnTo>
                      <a:pt x="72" y="34"/>
                    </a:lnTo>
                    <a:lnTo>
                      <a:pt x="72" y="34"/>
                    </a:lnTo>
                    <a:lnTo>
                      <a:pt x="74" y="36"/>
                    </a:lnTo>
                    <a:lnTo>
                      <a:pt x="78" y="40"/>
                    </a:lnTo>
                    <a:lnTo>
                      <a:pt x="84" y="42"/>
                    </a:lnTo>
                    <a:lnTo>
                      <a:pt x="84" y="42"/>
                    </a:lnTo>
                    <a:lnTo>
                      <a:pt x="84" y="42"/>
                    </a:lnTo>
                    <a:lnTo>
                      <a:pt x="84" y="42"/>
                    </a:lnTo>
                    <a:lnTo>
                      <a:pt x="84" y="44"/>
                    </a:lnTo>
                    <a:lnTo>
                      <a:pt x="82" y="50"/>
                    </a:lnTo>
                    <a:lnTo>
                      <a:pt x="88" y="58"/>
                    </a:lnTo>
                    <a:lnTo>
                      <a:pt x="94" y="60"/>
                    </a:lnTo>
                    <a:lnTo>
                      <a:pt x="94" y="60"/>
                    </a:lnTo>
                    <a:lnTo>
                      <a:pt x="94" y="62"/>
                    </a:lnTo>
                    <a:lnTo>
                      <a:pt x="96" y="68"/>
                    </a:lnTo>
                    <a:lnTo>
                      <a:pt x="98" y="80"/>
                    </a:lnTo>
                    <a:lnTo>
                      <a:pt x="98" y="80"/>
                    </a:lnTo>
                    <a:lnTo>
                      <a:pt x="98" y="80"/>
                    </a:lnTo>
                    <a:lnTo>
                      <a:pt x="94" y="90"/>
                    </a:lnTo>
                    <a:lnTo>
                      <a:pt x="94" y="90"/>
                    </a:lnTo>
                    <a:lnTo>
                      <a:pt x="94" y="90"/>
                    </a:lnTo>
                    <a:lnTo>
                      <a:pt x="82" y="94"/>
                    </a:lnTo>
                    <a:lnTo>
                      <a:pt x="82" y="94"/>
                    </a:lnTo>
                    <a:lnTo>
                      <a:pt x="80" y="94"/>
                    </a:lnTo>
                    <a:lnTo>
                      <a:pt x="80"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9" name="Freeform 18"/>
              <p:cNvSpPr>
                <a:spLocks noEditPoints="1"/>
              </p:cNvSpPr>
              <p:nvPr/>
            </p:nvSpPr>
            <p:spPr bwMode="auto">
              <a:xfrm>
                <a:off x="2017" y="1715"/>
                <a:ext cx="102" cy="98"/>
              </a:xfrm>
              <a:custGeom>
                <a:avLst/>
                <a:gdLst>
                  <a:gd name="T0" fmla="*/ 56 w 102"/>
                  <a:gd name="T1" fmla="*/ 12 h 98"/>
                  <a:gd name="T2" fmla="*/ 56 w 102"/>
                  <a:gd name="T3" fmla="*/ 34 h 98"/>
                  <a:gd name="T4" fmla="*/ 74 w 102"/>
                  <a:gd name="T5" fmla="*/ 38 h 98"/>
                  <a:gd name="T6" fmla="*/ 84 w 102"/>
                  <a:gd name="T7" fmla="*/ 46 h 98"/>
                  <a:gd name="T8" fmla="*/ 90 w 102"/>
                  <a:gd name="T9" fmla="*/ 62 h 98"/>
                  <a:gd name="T10" fmla="*/ 96 w 102"/>
                  <a:gd name="T11" fmla="*/ 70 h 98"/>
                  <a:gd name="T12" fmla="*/ 96 w 102"/>
                  <a:gd name="T13" fmla="*/ 90 h 98"/>
                  <a:gd name="T14" fmla="*/ 78 w 102"/>
                  <a:gd name="T15" fmla="*/ 86 h 98"/>
                  <a:gd name="T16" fmla="*/ 66 w 102"/>
                  <a:gd name="T17" fmla="*/ 84 h 98"/>
                  <a:gd name="T18" fmla="*/ 56 w 102"/>
                  <a:gd name="T19" fmla="*/ 86 h 98"/>
                  <a:gd name="T20" fmla="*/ 30 w 102"/>
                  <a:gd name="T21" fmla="*/ 78 h 98"/>
                  <a:gd name="T22" fmla="*/ 6 w 102"/>
                  <a:gd name="T23" fmla="*/ 64 h 98"/>
                  <a:gd name="T24" fmla="*/ 22 w 102"/>
                  <a:gd name="T25" fmla="*/ 44 h 98"/>
                  <a:gd name="T26" fmla="*/ 38 w 102"/>
                  <a:gd name="T27" fmla="*/ 22 h 98"/>
                  <a:gd name="T28" fmla="*/ 60 w 102"/>
                  <a:gd name="T29" fmla="*/ 4 h 98"/>
                  <a:gd name="T30" fmla="*/ 60 w 102"/>
                  <a:gd name="T31" fmla="*/ 0 h 98"/>
                  <a:gd name="T32" fmla="*/ 48 w 102"/>
                  <a:gd name="T33" fmla="*/ 6 h 98"/>
                  <a:gd name="T34" fmla="*/ 48 w 102"/>
                  <a:gd name="T35" fmla="*/ 6 h 98"/>
                  <a:gd name="T36" fmla="*/ 36 w 102"/>
                  <a:gd name="T37" fmla="*/ 20 h 98"/>
                  <a:gd name="T38" fmla="*/ 26 w 102"/>
                  <a:gd name="T39" fmla="*/ 34 h 98"/>
                  <a:gd name="T40" fmla="*/ 20 w 102"/>
                  <a:gd name="T41" fmla="*/ 42 h 98"/>
                  <a:gd name="T42" fmla="*/ 14 w 102"/>
                  <a:gd name="T43" fmla="*/ 48 h 98"/>
                  <a:gd name="T44" fmla="*/ 2 w 102"/>
                  <a:gd name="T45" fmla="*/ 60 h 98"/>
                  <a:gd name="T46" fmla="*/ 0 w 102"/>
                  <a:gd name="T47" fmla="*/ 76 h 98"/>
                  <a:gd name="T48" fmla="*/ 0 w 102"/>
                  <a:gd name="T49" fmla="*/ 78 h 98"/>
                  <a:gd name="T50" fmla="*/ 4 w 102"/>
                  <a:gd name="T51" fmla="*/ 80 h 98"/>
                  <a:gd name="T52" fmla="*/ 30 w 102"/>
                  <a:gd name="T53" fmla="*/ 82 h 98"/>
                  <a:gd name="T54" fmla="*/ 30 w 102"/>
                  <a:gd name="T55" fmla="*/ 82 h 98"/>
                  <a:gd name="T56" fmla="*/ 50 w 102"/>
                  <a:gd name="T57" fmla="*/ 78 h 98"/>
                  <a:gd name="T58" fmla="*/ 52 w 102"/>
                  <a:gd name="T59" fmla="*/ 86 h 98"/>
                  <a:gd name="T60" fmla="*/ 62 w 102"/>
                  <a:gd name="T61" fmla="*/ 92 h 98"/>
                  <a:gd name="T62" fmla="*/ 64 w 102"/>
                  <a:gd name="T63" fmla="*/ 92 h 98"/>
                  <a:gd name="T64" fmla="*/ 66 w 102"/>
                  <a:gd name="T65" fmla="*/ 92 h 98"/>
                  <a:gd name="T66" fmla="*/ 68 w 102"/>
                  <a:gd name="T67" fmla="*/ 90 h 98"/>
                  <a:gd name="T68" fmla="*/ 70 w 102"/>
                  <a:gd name="T69" fmla="*/ 84 h 98"/>
                  <a:gd name="T70" fmla="*/ 80 w 102"/>
                  <a:gd name="T71" fmla="*/ 96 h 98"/>
                  <a:gd name="T72" fmla="*/ 82 w 102"/>
                  <a:gd name="T73" fmla="*/ 98 h 98"/>
                  <a:gd name="T74" fmla="*/ 84 w 102"/>
                  <a:gd name="T75" fmla="*/ 98 h 98"/>
                  <a:gd name="T76" fmla="*/ 96 w 102"/>
                  <a:gd name="T77" fmla="*/ 94 h 98"/>
                  <a:gd name="T78" fmla="*/ 102 w 102"/>
                  <a:gd name="T79" fmla="*/ 84 h 98"/>
                  <a:gd name="T80" fmla="*/ 102 w 102"/>
                  <a:gd name="T81" fmla="*/ 80 h 98"/>
                  <a:gd name="T82" fmla="*/ 98 w 102"/>
                  <a:gd name="T83" fmla="*/ 62 h 98"/>
                  <a:gd name="T84" fmla="*/ 96 w 102"/>
                  <a:gd name="T85" fmla="*/ 60 h 98"/>
                  <a:gd name="T86" fmla="*/ 86 w 102"/>
                  <a:gd name="T87" fmla="*/ 52 h 98"/>
                  <a:gd name="T88" fmla="*/ 88 w 102"/>
                  <a:gd name="T89" fmla="*/ 48 h 98"/>
                  <a:gd name="T90" fmla="*/ 88 w 102"/>
                  <a:gd name="T91" fmla="*/ 44 h 98"/>
                  <a:gd name="T92" fmla="*/ 80 w 102"/>
                  <a:gd name="T93" fmla="*/ 40 h 98"/>
                  <a:gd name="T94" fmla="*/ 78 w 102"/>
                  <a:gd name="T95" fmla="*/ 36 h 98"/>
                  <a:gd name="T96" fmla="*/ 74 w 102"/>
                  <a:gd name="T97" fmla="*/ 34 h 98"/>
                  <a:gd name="T98" fmla="*/ 66 w 102"/>
                  <a:gd name="T99" fmla="*/ 38 h 98"/>
                  <a:gd name="T100" fmla="*/ 58 w 102"/>
                  <a:gd name="T101" fmla="*/ 22 h 98"/>
                  <a:gd name="T102" fmla="*/ 64 w 102"/>
                  <a:gd name="T103" fmla="*/ 6 h 98"/>
                  <a:gd name="T104" fmla="*/ 64 w 102"/>
                  <a:gd name="T105" fmla="*/ 4 h 98"/>
                  <a:gd name="T106" fmla="*/ 64 w 102"/>
                  <a:gd name="T107" fmla="*/ 2 h 98"/>
                  <a:gd name="T108" fmla="*/ 60 w 102"/>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98">
                    <a:moveTo>
                      <a:pt x="60" y="4"/>
                    </a:moveTo>
                    <a:lnTo>
                      <a:pt x="56" y="12"/>
                    </a:lnTo>
                    <a:lnTo>
                      <a:pt x="54" y="22"/>
                    </a:lnTo>
                    <a:lnTo>
                      <a:pt x="56" y="34"/>
                    </a:lnTo>
                    <a:lnTo>
                      <a:pt x="66" y="44"/>
                    </a:lnTo>
                    <a:lnTo>
                      <a:pt x="74" y="38"/>
                    </a:lnTo>
                    <a:lnTo>
                      <a:pt x="78" y="44"/>
                    </a:lnTo>
                    <a:lnTo>
                      <a:pt x="84" y="46"/>
                    </a:lnTo>
                    <a:lnTo>
                      <a:pt x="82" y="52"/>
                    </a:lnTo>
                    <a:lnTo>
                      <a:pt x="90" y="62"/>
                    </a:lnTo>
                    <a:lnTo>
                      <a:pt x="96" y="64"/>
                    </a:lnTo>
                    <a:lnTo>
                      <a:pt x="96" y="70"/>
                    </a:lnTo>
                    <a:lnTo>
                      <a:pt x="98" y="82"/>
                    </a:lnTo>
                    <a:lnTo>
                      <a:pt x="96" y="90"/>
                    </a:lnTo>
                    <a:lnTo>
                      <a:pt x="82" y="94"/>
                    </a:lnTo>
                    <a:lnTo>
                      <a:pt x="78" y="86"/>
                    </a:lnTo>
                    <a:lnTo>
                      <a:pt x="70" y="78"/>
                    </a:lnTo>
                    <a:lnTo>
                      <a:pt x="66" y="84"/>
                    </a:lnTo>
                    <a:lnTo>
                      <a:pt x="64" y="88"/>
                    </a:lnTo>
                    <a:lnTo>
                      <a:pt x="56" y="86"/>
                    </a:lnTo>
                    <a:lnTo>
                      <a:pt x="54" y="74"/>
                    </a:lnTo>
                    <a:lnTo>
                      <a:pt x="30" y="78"/>
                    </a:lnTo>
                    <a:lnTo>
                      <a:pt x="4" y="76"/>
                    </a:lnTo>
                    <a:lnTo>
                      <a:pt x="6" y="64"/>
                    </a:lnTo>
                    <a:lnTo>
                      <a:pt x="18" y="52"/>
                    </a:lnTo>
                    <a:lnTo>
                      <a:pt x="22" y="44"/>
                    </a:lnTo>
                    <a:lnTo>
                      <a:pt x="30" y="36"/>
                    </a:lnTo>
                    <a:lnTo>
                      <a:pt x="38" y="22"/>
                    </a:lnTo>
                    <a:lnTo>
                      <a:pt x="50" y="10"/>
                    </a:lnTo>
                    <a:lnTo>
                      <a:pt x="60" y="4"/>
                    </a:lnTo>
                    <a:close/>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0" name="Freeform 19"/>
              <p:cNvSpPr>
                <a:spLocks/>
              </p:cNvSpPr>
              <p:nvPr/>
            </p:nvSpPr>
            <p:spPr bwMode="auto">
              <a:xfrm>
                <a:off x="2021" y="1719"/>
                <a:ext cx="94" cy="90"/>
              </a:xfrm>
              <a:custGeom>
                <a:avLst/>
                <a:gdLst>
                  <a:gd name="T0" fmla="*/ 56 w 94"/>
                  <a:gd name="T1" fmla="*/ 0 h 90"/>
                  <a:gd name="T2" fmla="*/ 52 w 94"/>
                  <a:gd name="T3" fmla="*/ 8 h 90"/>
                  <a:gd name="T4" fmla="*/ 50 w 94"/>
                  <a:gd name="T5" fmla="*/ 18 h 90"/>
                  <a:gd name="T6" fmla="*/ 52 w 94"/>
                  <a:gd name="T7" fmla="*/ 30 h 90"/>
                  <a:gd name="T8" fmla="*/ 62 w 94"/>
                  <a:gd name="T9" fmla="*/ 40 h 90"/>
                  <a:gd name="T10" fmla="*/ 70 w 94"/>
                  <a:gd name="T11" fmla="*/ 34 h 90"/>
                  <a:gd name="T12" fmla="*/ 74 w 94"/>
                  <a:gd name="T13" fmla="*/ 40 h 90"/>
                  <a:gd name="T14" fmla="*/ 80 w 94"/>
                  <a:gd name="T15" fmla="*/ 42 h 90"/>
                  <a:gd name="T16" fmla="*/ 78 w 94"/>
                  <a:gd name="T17" fmla="*/ 48 h 90"/>
                  <a:gd name="T18" fmla="*/ 86 w 94"/>
                  <a:gd name="T19" fmla="*/ 58 h 90"/>
                  <a:gd name="T20" fmla="*/ 92 w 94"/>
                  <a:gd name="T21" fmla="*/ 60 h 90"/>
                  <a:gd name="T22" fmla="*/ 92 w 94"/>
                  <a:gd name="T23" fmla="*/ 66 h 90"/>
                  <a:gd name="T24" fmla="*/ 94 w 94"/>
                  <a:gd name="T25" fmla="*/ 78 h 90"/>
                  <a:gd name="T26" fmla="*/ 92 w 94"/>
                  <a:gd name="T27" fmla="*/ 86 h 90"/>
                  <a:gd name="T28" fmla="*/ 78 w 94"/>
                  <a:gd name="T29" fmla="*/ 90 h 90"/>
                  <a:gd name="T30" fmla="*/ 74 w 94"/>
                  <a:gd name="T31" fmla="*/ 82 h 90"/>
                  <a:gd name="T32" fmla="*/ 66 w 94"/>
                  <a:gd name="T33" fmla="*/ 74 h 90"/>
                  <a:gd name="T34" fmla="*/ 62 w 94"/>
                  <a:gd name="T35" fmla="*/ 80 h 90"/>
                  <a:gd name="T36" fmla="*/ 60 w 94"/>
                  <a:gd name="T37" fmla="*/ 84 h 90"/>
                  <a:gd name="T38" fmla="*/ 52 w 94"/>
                  <a:gd name="T39" fmla="*/ 82 h 90"/>
                  <a:gd name="T40" fmla="*/ 50 w 94"/>
                  <a:gd name="T41" fmla="*/ 70 h 90"/>
                  <a:gd name="T42" fmla="*/ 26 w 94"/>
                  <a:gd name="T43" fmla="*/ 74 h 90"/>
                  <a:gd name="T44" fmla="*/ 0 w 94"/>
                  <a:gd name="T45" fmla="*/ 72 h 90"/>
                  <a:gd name="T46" fmla="*/ 2 w 94"/>
                  <a:gd name="T47" fmla="*/ 60 h 90"/>
                  <a:gd name="T48" fmla="*/ 14 w 94"/>
                  <a:gd name="T49" fmla="*/ 48 h 90"/>
                  <a:gd name="T50" fmla="*/ 18 w 94"/>
                  <a:gd name="T51" fmla="*/ 40 h 90"/>
                  <a:gd name="T52" fmla="*/ 26 w 94"/>
                  <a:gd name="T53" fmla="*/ 32 h 90"/>
                  <a:gd name="T54" fmla="*/ 34 w 94"/>
                  <a:gd name="T55" fmla="*/ 18 h 90"/>
                  <a:gd name="T56" fmla="*/ 46 w 94"/>
                  <a:gd name="T57" fmla="*/ 6 h 90"/>
                  <a:gd name="T58" fmla="*/ 56 w 94"/>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0">
                    <a:moveTo>
                      <a:pt x="56" y="0"/>
                    </a:moveTo>
                    <a:lnTo>
                      <a:pt x="52" y="8"/>
                    </a:lnTo>
                    <a:lnTo>
                      <a:pt x="50" y="18"/>
                    </a:lnTo>
                    <a:lnTo>
                      <a:pt x="52" y="30"/>
                    </a:lnTo>
                    <a:lnTo>
                      <a:pt x="62" y="40"/>
                    </a:lnTo>
                    <a:lnTo>
                      <a:pt x="70" y="34"/>
                    </a:lnTo>
                    <a:lnTo>
                      <a:pt x="74" y="40"/>
                    </a:lnTo>
                    <a:lnTo>
                      <a:pt x="80" y="42"/>
                    </a:lnTo>
                    <a:lnTo>
                      <a:pt x="78" y="48"/>
                    </a:lnTo>
                    <a:lnTo>
                      <a:pt x="86" y="58"/>
                    </a:lnTo>
                    <a:lnTo>
                      <a:pt x="92" y="60"/>
                    </a:lnTo>
                    <a:lnTo>
                      <a:pt x="92" y="66"/>
                    </a:lnTo>
                    <a:lnTo>
                      <a:pt x="94" y="78"/>
                    </a:lnTo>
                    <a:lnTo>
                      <a:pt x="92" y="86"/>
                    </a:lnTo>
                    <a:lnTo>
                      <a:pt x="78" y="90"/>
                    </a:lnTo>
                    <a:lnTo>
                      <a:pt x="74" y="82"/>
                    </a:lnTo>
                    <a:lnTo>
                      <a:pt x="66" y="74"/>
                    </a:lnTo>
                    <a:lnTo>
                      <a:pt x="62" y="80"/>
                    </a:lnTo>
                    <a:lnTo>
                      <a:pt x="60" y="84"/>
                    </a:lnTo>
                    <a:lnTo>
                      <a:pt x="52" y="82"/>
                    </a:lnTo>
                    <a:lnTo>
                      <a:pt x="50" y="70"/>
                    </a:lnTo>
                    <a:lnTo>
                      <a:pt x="26" y="74"/>
                    </a:lnTo>
                    <a:lnTo>
                      <a:pt x="0" y="72"/>
                    </a:lnTo>
                    <a:lnTo>
                      <a:pt x="2" y="60"/>
                    </a:lnTo>
                    <a:lnTo>
                      <a:pt x="14" y="48"/>
                    </a:lnTo>
                    <a:lnTo>
                      <a:pt x="18" y="40"/>
                    </a:lnTo>
                    <a:lnTo>
                      <a:pt x="26" y="32"/>
                    </a:lnTo>
                    <a:lnTo>
                      <a:pt x="34" y="18"/>
                    </a:lnTo>
                    <a:lnTo>
                      <a:pt x="46"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1" name="Freeform 20"/>
              <p:cNvSpPr>
                <a:spLocks/>
              </p:cNvSpPr>
              <p:nvPr/>
            </p:nvSpPr>
            <p:spPr bwMode="auto">
              <a:xfrm>
                <a:off x="2017" y="1715"/>
                <a:ext cx="102" cy="98"/>
              </a:xfrm>
              <a:custGeom>
                <a:avLst/>
                <a:gdLst>
                  <a:gd name="T0" fmla="*/ 60 w 102"/>
                  <a:gd name="T1" fmla="*/ 0 h 98"/>
                  <a:gd name="T2" fmla="*/ 48 w 102"/>
                  <a:gd name="T3" fmla="*/ 6 h 98"/>
                  <a:gd name="T4" fmla="*/ 48 w 102"/>
                  <a:gd name="T5" fmla="*/ 6 h 98"/>
                  <a:gd name="T6" fmla="*/ 36 w 102"/>
                  <a:gd name="T7" fmla="*/ 20 h 98"/>
                  <a:gd name="T8" fmla="*/ 26 w 102"/>
                  <a:gd name="T9" fmla="*/ 34 h 98"/>
                  <a:gd name="T10" fmla="*/ 20 w 102"/>
                  <a:gd name="T11" fmla="*/ 42 h 98"/>
                  <a:gd name="T12" fmla="*/ 14 w 102"/>
                  <a:gd name="T13" fmla="*/ 48 h 98"/>
                  <a:gd name="T14" fmla="*/ 2 w 102"/>
                  <a:gd name="T15" fmla="*/ 60 h 98"/>
                  <a:gd name="T16" fmla="*/ 0 w 102"/>
                  <a:gd name="T17" fmla="*/ 76 h 98"/>
                  <a:gd name="T18" fmla="*/ 0 w 102"/>
                  <a:gd name="T19" fmla="*/ 78 h 98"/>
                  <a:gd name="T20" fmla="*/ 4 w 102"/>
                  <a:gd name="T21" fmla="*/ 80 h 98"/>
                  <a:gd name="T22" fmla="*/ 30 w 102"/>
                  <a:gd name="T23" fmla="*/ 82 h 98"/>
                  <a:gd name="T24" fmla="*/ 30 w 102"/>
                  <a:gd name="T25" fmla="*/ 82 h 98"/>
                  <a:gd name="T26" fmla="*/ 50 w 102"/>
                  <a:gd name="T27" fmla="*/ 78 h 98"/>
                  <a:gd name="T28" fmla="*/ 52 w 102"/>
                  <a:gd name="T29" fmla="*/ 86 h 98"/>
                  <a:gd name="T30" fmla="*/ 62 w 102"/>
                  <a:gd name="T31" fmla="*/ 92 h 98"/>
                  <a:gd name="T32" fmla="*/ 64 w 102"/>
                  <a:gd name="T33" fmla="*/ 92 h 98"/>
                  <a:gd name="T34" fmla="*/ 66 w 102"/>
                  <a:gd name="T35" fmla="*/ 92 h 98"/>
                  <a:gd name="T36" fmla="*/ 68 w 102"/>
                  <a:gd name="T37" fmla="*/ 90 h 98"/>
                  <a:gd name="T38" fmla="*/ 70 w 102"/>
                  <a:gd name="T39" fmla="*/ 84 h 98"/>
                  <a:gd name="T40" fmla="*/ 80 w 102"/>
                  <a:gd name="T41" fmla="*/ 96 h 98"/>
                  <a:gd name="T42" fmla="*/ 82 w 102"/>
                  <a:gd name="T43" fmla="*/ 98 h 98"/>
                  <a:gd name="T44" fmla="*/ 84 w 102"/>
                  <a:gd name="T45" fmla="*/ 98 h 98"/>
                  <a:gd name="T46" fmla="*/ 96 w 102"/>
                  <a:gd name="T47" fmla="*/ 94 h 98"/>
                  <a:gd name="T48" fmla="*/ 102 w 102"/>
                  <a:gd name="T49" fmla="*/ 84 h 98"/>
                  <a:gd name="T50" fmla="*/ 102 w 102"/>
                  <a:gd name="T51" fmla="*/ 80 h 98"/>
                  <a:gd name="T52" fmla="*/ 98 w 102"/>
                  <a:gd name="T53" fmla="*/ 62 h 98"/>
                  <a:gd name="T54" fmla="*/ 96 w 102"/>
                  <a:gd name="T55" fmla="*/ 60 h 98"/>
                  <a:gd name="T56" fmla="*/ 86 w 102"/>
                  <a:gd name="T57" fmla="*/ 52 h 98"/>
                  <a:gd name="T58" fmla="*/ 88 w 102"/>
                  <a:gd name="T59" fmla="*/ 48 h 98"/>
                  <a:gd name="T60" fmla="*/ 88 w 102"/>
                  <a:gd name="T61" fmla="*/ 44 h 98"/>
                  <a:gd name="T62" fmla="*/ 80 w 102"/>
                  <a:gd name="T63" fmla="*/ 40 h 98"/>
                  <a:gd name="T64" fmla="*/ 78 w 102"/>
                  <a:gd name="T65" fmla="*/ 36 h 98"/>
                  <a:gd name="T66" fmla="*/ 74 w 102"/>
                  <a:gd name="T67" fmla="*/ 34 h 98"/>
                  <a:gd name="T68" fmla="*/ 66 w 102"/>
                  <a:gd name="T69" fmla="*/ 38 h 98"/>
                  <a:gd name="T70" fmla="*/ 58 w 102"/>
                  <a:gd name="T71" fmla="*/ 22 h 98"/>
                  <a:gd name="T72" fmla="*/ 64 w 102"/>
                  <a:gd name="T73" fmla="*/ 6 h 98"/>
                  <a:gd name="T74" fmla="*/ 64 w 102"/>
                  <a:gd name="T75" fmla="*/ 4 h 98"/>
                  <a:gd name="T76" fmla="*/ 64 w 102"/>
                  <a:gd name="T77" fmla="*/ 2 h 98"/>
                  <a:gd name="T78" fmla="*/ 60 w 102"/>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98">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2" name="Freeform 21"/>
              <p:cNvSpPr>
                <a:spLocks/>
              </p:cNvSpPr>
              <p:nvPr/>
            </p:nvSpPr>
            <p:spPr bwMode="auto">
              <a:xfrm>
                <a:off x="1085" y="1195"/>
                <a:ext cx="148" cy="100"/>
              </a:xfrm>
              <a:custGeom>
                <a:avLst/>
                <a:gdLst>
                  <a:gd name="T0" fmla="*/ 38 w 148"/>
                  <a:gd name="T1" fmla="*/ 100 h 100"/>
                  <a:gd name="T2" fmla="*/ 28 w 148"/>
                  <a:gd name="T3" fmla="*/ 88 h 100"/>
                  <a:gd name="T4" fmla="*/ 10 w 148"/>
                  <a:gd name="T5" fmla="*/ 78 h 100"/>
                  <a:gd name="T6" fmla="*/ 0 w 148"/>
                  <a:gd name="T7" fmla="*/ 74 h 100"/>
                  <a:gd name="T8" fmla="*/ 0 w 148"/>
                  <a:gd name="T9" fmla="*/ 72 h 100"/>
                  <a:gd name="T10" fmla="*/ 6 w 148"/>
                  <a:gd name="T11" fmla="*/ 64 h 100"/>
                  <a:gd name="T12" fmla="*/ 18 w 148"/>
                  <a:gd name="T13" fmla="*/ 42 h 100"/>
                  <a:gd name="T14" fmla="*/ 24 w 148"/>
                  <a:gd name="T15" fmla="*/ 28 h 100"/>
                  <a:gd name="T16" fmla="*/ 18 w 148"/>
                  <a:gd name="T17" fmla="*/ 16 h 100"/>
                  <a:gd name="T18" fmla="*/ 16 w 148"/>
                  <a:gd name="T19" fmla="*/ 16 h 100"/>
                  <a:gd name="T20" fmla="*/ 16 w 148"/>
                  <a:gd name="T21" fmla="*/ 8 h 100"/>
                  <a:gd name="T22" fmla="*/ 30 w 148"/>
                  <a:gd name="T23" fmla="*/ 4 h 100"/>
                  <a:gd name="T24" fmla="*/ 46 w 148"/>
                  <a:gd name="T25" fmla="*/ 2 h 100"/>
                  <a:gd name="T26" fmla="*/ 48 w 148"/>
                  <a:gd name="T27" fmla="*/ 0 h 100"/>
                  <a:gd name="T28" fmla="*/ 64 w 148"/>
                  <a:gd name="T29" fmla="*/ 0 h 100"/>
                  <a:gd name="T30" fmla="*/ 68 w 148"/>
                  <a:gd name="T31" fmla="*/ 6 h 100"/>
                  <a:gd name="T32" fmla="*/ 94 w 148"/>
                  <a:gd name="T33" fmla="*/ 16 h 100"/>
                  <a:gd name="T34" fmla="*/ 100 w 148"/>
                  <a:gd name="T35" fmla="*/ 10 h 100"/>
                  <a:gd name="T36" fmla="*/ 100 w 148"/>
                  <a:gd name="T37" fmla="*/ 10 h 100"/>
                  <a:gd name="T38" fmla="*/ 114 w 148"/>
                  <a:gd name="T39" fmla="*/ 8 h 100"/>
                  <a:gd name="T40" fmla="*/ 126 w 148"/>
                  <a:gd name="T41" fmla="*/ 16 h 100"/>
                  <a:gd name="T42" fmla="*/ 148 w 148"/>
                  <a:gd name="T43" fmla="*/ 30 h 100"/>
                  <a:gd name="T44" fmla="*/ 148 w 148"/>
                  <a:gd name="T45" fmla="*/ 32 h 100"/>
                  <a:gd name="T46" fmla="*/ 148 w 148"/>
                  <a:gd name="T47" fmla="*/ 34 h 100"/>
                  <a:gd name="T48" fmla="*/ 108 w 148"/>
                  <a:gd name="T49" fmla="*/ 50 h 100"/>
                  <a:gd name="T50" fmla="*/ 92 w 148"/>
                  <a:gd name="T51" fmla="*/ 64 h 100"/>
                  <a:gd name="T52" fmla="*/ 92 w 148"/>
                  <a:gd name="T53" fmla="*/ 64 h 100"/>
                  <a:gd name="T54" fmla="*/ 78 w 148"/>
                  <a:gd name="T55" fmla="*/ 78 h 100"/>
                  <a:gd name="T56" fmla="*/ 72 w 148"/>
                  <a:gd name="T57" fmla="*/ 88 h 100"/>
                  <a:gd name="T58" fmla="*/ 62 w 148"/>
                  <a:gd name="T59" fmla="*/ 90 h 100"/>
                  <a:gd name="T60" fmla="*/ 38 w 148"/>
                  <a:gd name="T61" fmla="*/ 100 h 100"/>
                  <a:gd name="T62" fmla="*/ 38 w 148"/>
                  <a:gd name="T6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 h="100">
                    <a:moveTo>
                      <a:pt x="38" y="100"/>
                    </a:moveTo>
                    <a:lnTo>
                      <a:pt x="38" y="100"/>
                    </a:lnTo>
                    <a:lnTo>
                      <a:pt x="36" y="100"/>
                    </a:lnTo>
                    <a:lnTo>
                      <a:pt x="28" y="88"/>
                    </a:lnTo>
                    <a:lnTo>
                      <a:pt x="18" y="82"/>
                    </a:lnTo>
                    <a:lnTo>
                      <a:pt x="10" y="78"/>
                    </a:lnTo>
                    <a:lnTo>
                      <a:pt x="0" y="74"/>
                    </a:lnTo>
                    <a:lnTo>
                      <a:pt x="0" y="74"/>
                    </a:lnTo>
                    <a:lnTo>
                      <a:pt x="0" y="72"/>
                    </a:lnTo>
                    <a:lnTo>
                      <a:pt x="0" y="72"/>
                    </a:lnTo>
                    <a:lnTo>
                      <a:pt x="0" y="70"/>
                    </a:lnTo>
                    <a:lnTo>
                      <a:pt x="6" y="64"/>
                    </a:lnTo>
                    <a:lnTo>
                      <a:pt x="10" y="52"/>
                    </a:lnTo>
                    <a:lnTo>
                      <a:pt x="18" y="42"/>
                    </a:lnTo>
                    <a:lnTo>
                      <a:pt x="20" y="34"/>
                    </a:lnTo>
                    <a:lnTo>
                      <a:pt x="24" y="28"/>
                    </a:lnTo>
                    <a:lnTo>
                      <a:pt x="24" y="24"/>
                    </a:lnTo>
                    <a:lnTo>
                      <a:pt x="18" y="16"/>
                    </a:lnTo>
                    <a:lnTo>
                      <a:pt x="18" y="16"/>
                    </a:lnTo>
                    <a:lnTo>
                      <a:pt x="16" y="16"/>
                    </a:lnTo>
                    <a:lnTo>
                      <a:pt x="16" y="8"/>
                    </a:lnTo>
                    <a:lnTo>
                      <a:pt x="16" y="8"/>
                    </a:lnTo>
                    <a:lnTo>
                      <a:pt x="18" y="6"/>
                    </a:lnTo>
                    <a:lnTo>
                      <a:pt x="30" y="4"/>
                    </a:lnTo>
                    <a:lnTo>
                      <a:pt x="46" y="6"/>
                    </a:lnTo>
                    <a:lnTo>
                      <a:pt x="46" y="2"/>
                    </a:lnTo>
                    <a:lnTo>
                      <a:pt x="46" y="2"/>
                    </a:lnTo>
                    <a:lnTo>
                      <a:pt x="48" y="0"/>
                    </a:lnTo>
                    <a:lnTo>
                      <a:pt x="64" y="0"/>
                    </a:lnTo>
                    <a:lnTo>
                      <a:pt x="64" y="0"/>
                    </a:lnTo>
                    <a:lnTo>
                      <a:pt x="66" y="2"/>
                    </a:lnTo>
                    <a:lnTo>
                      <a:pt x="68" y="6"/>
                    </a:lnTo>
                    <a:lnTo>
                      <a:pt x="84" y="14"/>
                    </a:lnTo>
                    <a:lnTo>
                      <a:pt x="94" y="16"/>
                    </a:lnTo>
                    <a:lnTo>
                      <a:pt x="100" y="10"/>
                    </a:lnTo>
                    <a:lnTo>
                      <a:pt x="100" y="10"/>
                    </a:lnTo>
                    <a:lnTo>
                      <a:pt x="100" y="10"/>
                    </a:lnTo>
                    <a:lnTo>
                      <a:pt x="100" y="10"/>
                    </a:lnTo>
                    <a:lnTo>
                      <a:pt x="114" y="8"/>
                    </a:lnTo>
                    <a:lnTo>
                      <a:pt x="114" y="8"/>
                    </a:lnTo>
                    <a:lnTo>
                      <a:pt x="114" y="8"/>
                    </a:lnTo>
                    <a:lnTo>
                      <a:pt x="126" y="16"/>
                    </a:lnTo>
                    <a:lnTo>
                      <a:pt x="140" y="24"/>
                    </a:lnTo>
                    <a:lnTo>
                      <a:pt x="148" y="30"/>
                    </a:lnTo>
                    <a:lnTo>
                      <a:pt x="148" y="30"/>
                    </a:lnTo>
                    <a:lnTo>
                      <a:pt x="148" y="32"/>
                    </a:lnTo>
                    <a:lnTo>
                      <a:pt x="148" y="32"/>
                    </a:lnTo>
                    <a:lnTo>
                      <a:pt x="148" y="34"/>
                    </a:lnTo>
                    <a:lnTo>
                      <a:pt x="124" y="42"/>
                    </a:lnTo>
                    <a:lnTo>
                      <a:pt x="108" y="50"/>
                    </a:lnTo>
                    <a:lnTo>
                      <a:pt x="96" y="58"/>
                    </a:lnTo>
                    <a:lnTo>
                      <a:pt x="92" y="64"/>
                    </a:lnTo>
                    <a:lnTo>
                      <a:pt x="92" y="64"/>
                    </a:lnTo>
                    <a:lnTo>
                      <a:pt x="92" y="64"/>
                    </a:lnTo>
                    <a:lnTo>
                      <a:pt x="82" y="70"/>
                    </a:lnTo>
                    <a:lnTo>
                      <a:pt x="78" y="78"/>
                    </a:lnTo>
                    <a:lnTo>
                      <a:pt x="72" y="88"/>
                    </a:lnTo>
                    <a:lnTo>
                      <a:pt x="72" y="88"/>
                    </a:lnTo>
                    <a:lnTo>
                      <a:pt x="72" y="90"/>
                    </a:lnTo>
                    <a:lnTo>
                      <a:pt x="62" y="90"/>
                    </a:lnTo>
                    <a:lnTo>
                      <a:pt x="50" y="96"/>
                    </a:lnTo>
                    <a:lnTo>
                      <a:pt x="38" y="100"/>
                    </a:lnTo>
                    <a:lnTo>
                      <a:pt x="38" y="100"/>
                    </a:lnTo>
                    <a:lnTo>
                      <a:pt x="38" y="100"/>
                    </a:lnTo>
                    <a:lnTo>
                      <a:pt x="38"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3" name="Freeform 22"/>
              <p:cNvSpPr>
                <a:spLocks noEditPoints="1"/>
              </p:cNvSpPr>
              <p:nvPr/>
            </p:nvSpPr>
            <p:spPr bwMode="auto">
              <a:xfrm>
                <a:off x="1083" y="1193"/>
                <a:ext cx="152" cy="104"/>
              </a:xfrm>
              <a:custGeom>
                <a:avLst/>
                <a:gdLst>
                  <a:gd name="T0" fmla="*/ 68 w 152"/>
                  <a:gd name="T1" fmla="*/ 10 h 104"/>
                  <a:gd name="T2" fmla="*/ 96 w 152"/>
                  <a:gd name="T3" fmla="*/ 20 h 104"/>
                  <a:gd name="T4" fmla="*/ 116 w 152"/>
                  <a:gd name="T5" fmla="*/ 12 h 104"/>
                  <a:gd name="T6" fmla="*/ 142 w 152"/>
                  <a:gd name="T7" fmla="*/ 28 h 104"/>
                  <a:gd name="T8" fmla="*/ 126 w 152"/>
                  <a:gd name="T9" fmla="*/ 42 h 104"/>
                  <a:gd name="T10" fmla="*/ 96 w 152"/>
                  <a:gd name="T11" fmla="*/ 58 h 104"/>
                  <a:gd name="T12" fmla="*/ 82 w 152"/>
                  <a:gd name="T13" fmla="*/ 70 h 104"/>
                  <a:gd name="T14" fmla="*/ 74 w 152"/>
                  <a:gd name="T15" fmla="*/ 90 h 104"/>
                  <a:gd name="T16" fmla="*/ 50 w 152"/>
                  <a:gd name="T17" fmla="*/ 96 h 104"/>
                  <a:gd name="T18" fmla="*/ 32 w 152"/>
                  <a:gd name="T19" fmla="*/ 90 h 104"/>
                  <a:gd name="T20" fmla="*/ 14 w 152"/>
                  <a:gd name="T21" fmla="*/ 78 h 104"/>
                  <a:gd name="T22" fmla="*/ 10 w 152"/>
                  <a:gd name="T23" fmla="*/ 66 h 104"/>
                  <a:gd name="T24" fmla="*/ 20 w 152"/>
                  <a:gd name="T25" fmla="*/ 44 h 104"/>
                  <a:gd name="T26" fmla="*/ 28 w 152"/>
                  <a:gd name="T27" fmla="*/ 30 h 104"/>
                  <a:gd name="T28" fmla="*/ 20 w 152"/>
                  <a:gd name="T29" fmla="*/ 18 h 104"/>
                  <a:gd name="T30" fmla="*/ 32 w 152"/>
                  <a:gd name="T31" fmla="*/ 8 h 104"/>
                  <a:gd name="T32" fmla="*/ 50 w 152"/>
                  <a:gd name="T33" fmla="*/ 4 h 104"/>
                  <a:gd name="T34" fmla="*/ 66 w 152"/>
                  <a:gd name="T35" fmla="*/ 0 h 104"/>
                  <a:gd name="T36" fmla="*/ 50 w 152"/>
                  <a:gd name="T37" fmla="*/ 0 h 104"/>
                  <a:gd name="T38" fmla="*/ 46 w 152"/>
                  <a:gd name="T39" fmla="*/ 4 h 104"/>
                  <a:gd name="T40" fmla="*/ 34 w 152"/>
                  <a:gd name="T41" fmla="*/ 4 h 104"/>
                  <a:gd name="T42" fmla="*/ 32 w 152"/>
                  <a:gd name="T43" fmla="*/ 4 h 104"/>
                  <a:gd name="T44" fmla="*/ 32 w 152"/>
                  <a:gd name="T45" fmla="*/ 4 h 104"/>
                  <a:gd name="T46" fmla="*/ 20 w 152"/>
                  <a:gd name="T47" fmla="*/ 6 h 104"/>
                  <a:gd name="T48" fmla="*/ 16 w 152"/>
                  <a:gd name="T49" fmla="*/ 10 h 104"/>
                  <a:gd name="T50" fmla="*/ 16 w 152"/>
                  <a:gd name="T51" fmla="*/ 18 h 104"/>
                  <a:gd name="T52" fmla="*/ 24 w 152"/>
                  <a:gd name="T53" fmla="*/ 26 h 104"/>
                  <a:gd name="T54" fmla="*/ 20 w 152"/>
                  <a:gd name="T55" fmla="*/ 34 h 104"/>
                  <a:gd name="T56" fmla="*/ 20 w 152"/>
                  <a:gd name="T57" fmla="*/ 34 h 104"/>
                  <a:gd name="T58" fmla="*/ 10 w 152"/>
                  <a:gd name="T59" fmla="*/ 52 h 104"/>
                  <a:gd name="T60" fmla="*/ 10 w 152"/>
                  <a:gd name="T61" fmla="*/ 54 h 104"/>
                  <a:gd name="T62" fmla="*/ 0 w 152"/>
                  <a:gd name="T63" fmla="*/ 72 h 104"/>
                  <a:gd name="T64" fmla="*/ 0 w 152"/>
                  <a:gd name="T65" fmla="*/ 76 h 104"/>
                  <a:gd name="T66" fmla="*/ 2 w 152"/>
                  <a:gd name="T67" fmla="*/ 78 h 104"/>
                  <a:gd name="T68" fmla="*/ 18 w 152"/>
                  <a:gd name="T69" fmla="*/ 86 h 104"/>
                  <a:gd name="T70" fmla="*/ 36 w 152"/>
                  <a:gd name="T71" fmla="*/ 102 h 104"/>
                  <a:gd name="T72" fmla="*/ 40 w 152"/>
                  <a:gd name="T73" fmla="*/ 104 h 104"/>
                  <a:gd name="T74" fmla="*/ 42 w 152"/>
                  <a:gd name="T75" fmla="*/ 104 h 104"/>
                  <a:gd name="T76" fmla="*/ 52 w 152"/>
                  <a:gd name="T77" fmla="*/ 100 h 104"/>
                  <a:gd name="T78" fmla="*/ 64 w 152"/>
                  <a:gd name="T79" fmla="*/ 94 h 104"/>
                  <a:gd name="T80" fmla="*/ 74 w 152"/>
                  <a:gd name="T81" fmla="*/ 94 h 104"/>
                  <a:gd name="T82" fmla="*/ 82 w 152"/>
                  <a:gd name="T83" fmla="*/ 82 h 104"/>
                  <a:gd name="T84" fmla="*/ 82 w 152"/>
                  <a:gd name="T85" fmla="*/ 82 h 104"/>
                  <a:gd name="T86" fmla="*/ 94 w 152"/>
                  <a:gd name="T87" fmla="*/ 68 h 104"/>
                  <a:gd name="T88" fmla="*/ 96 w 152"/>
                  <a:gd name="T89" fmla="*/ 66 h 104"/>
                  <a:gd name="T90" fmla="*/ 110 w 152"/>
                  <a:gd name="T91" fmla="*/ 54 h 104"/>
                  <a:gd name="T92" fmla="*/ 150 w 152"/>
                  <a:gd name="T93" fmla="*/ 38 h 104"/>
                  <a:gd name="T94" fmla="*/ 152 w 152"/>
                  <a:gd name="T95" fmla="*/ 34 h 104"/>
                  <a:gd name="T96" fmla="*/ 152 w 152"/>
                  <a:gd name="T97" fmla="*/ 30 h 104"/>
                  <a:gd name="T98" fmla="*/ 130 w 152"/>
                  <a:gd name="T99" fmla="*/ 16 h 104"/>
                  <a:gd name="T100" fmla="*/ 118 w 152"/>
                  <a:gd name="T101" fmla="*/ 8 h 104"/>
                  <a:gd name="T102" fmla="*/ 116 w 152"/>
                  <a:gd name="T103" fmla="*/ 8 h 104"/>
                  <a:gd name="T104" fmla="*/ 102 w 152"/>
                  <a:gd name="T105" fmla="*/ 10 h 104"/>
                  <a:gd name="T106" fmla="*/ 100 w 152"/>
                  <a:gd name="T107" fmla="*/ 10 h 104"/>
                  <a:gd name="T108" fmla="*/ 86 w 152"/>
                  <a:gd name="T109" fmla="*/ 14 h 104"/>
                  <a:gd name="T110" fmla="*/ 70 w 152"/>
                  <a:gd name="T111" fmla="*/ 4 h 104"/>
                  <a:gd name="T112" fmla="*/ 68 w 152"/>
                  <a:gd name="T113" fmla="*/ 2 h 104"/>
                  <a:gd name="T114" fmla="*/ 66 w 152"/>
                  <a:gd name="T11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04">
                    <a:moveTo>
                      <a:pt x="66" y="4"/>
                    </a:moveTo>
                    <a:lnTo>
                      <a:pt x="68" y="10"/>
                    </a:lnTo>
                    <a:lnTo>
                      <a:pt x="86" y="18"/>
                    </a:lnTo>
                    <a:lnTo>
                      <a:pt x="96" y="20"/>
                    </a:lnTo>
                    <a:lnTo>
                      <a:pt x="102" y="14"/>
                    </a:lnTo>
                    <a:lnTo>
                      <a:pt x="116" y="12"/>
                    </a:lnTo>
                    <a:lnTo>
                      <a:pt x="128" y="20"/>
                    </a:lnTo>
                    <a:lnTo>
                      <a:pt x="142" y="28"/>
                    </a:lnTo>
                    <a:lnTo>
                      <a:pt x="148" y="34"/>
                    </a:lnTo>
                    <a:lnTo>
                      <a:pt x="126" y="42"/>
                    </a:lnTo>
                    <a:lnTo>
                      <a:pt x="108" y="50"/>
                    </a:lnTo>
                    <a:lnTo>
                      <a:pt x="96" y="58"/>
                    </a:lnTo>
                    <a:lnTo>
                      <a:pt x="92" y="66"/>
                    </a:lnTo>
                    <a:lnTo>
                      <a:pt x="82" y="70"/>
                    </a:lnTo>
                    <a:lnTo>
                      <a:pt x="78" y="80"/>
                    </a:lnTo>
                    <a:lnTo>
                      <a:pt x="74" y="90"/>
                    </a:lnTo>
                    <a:lnTo>
                      <a:pt x="62" y="90"/>
                    </a:lnTo>
                    <a:lnTo>
                      <a:pt x="50" y="96"/>
                    </a:lnTo>
                    <a:lnTo>
                      <a:pt x="40" y="100"/>
                    </a:lnTo>
                    <a:lnTo>
                      <a:pt x="32" y="90"/>
                    </a:lnTo>
                    <a:lnTo>
                      <a:pt x="20" y="82"/>
                    </a:lnTo>
                    <a:lnTo>
                      <a:pt x="14" y="78"/>
                    </a:lnTo>
                    <a:lnTo>
                      <a:pt x="4" y="74"/>
                    </a:lnTo>
                    <a:lnTo>
                      <a:pt x="10" y="66"/>
                    </a:lnTo>
                    <a:lnTo>
                      <a:pt x="14" y="54"/>
                    </a:lnTo>
                    <a:lnTo>
                      <a:pt x="20" y="44"/>
                    </a:lnTo>
                    <a:lnTo>
                      <a:pt x="24" y="36"/>
                    </a:lnTo>
                    <a:lnTo>
                      <a:pt x="28" y="30"/>
                    </a:lnTo>
                    <a:lnTo>
                      <a:pt x="28" y="24"/>
                    </a:lnTo>
                    <a:lnTo>
                      <a:pt x="20" y="18"/>
                    </a:lnTo>
                    <a:lnTo>
                      <a:pt x="20" y="10"/>
                    </a:lnTo>
                    <a:lnTo>
                      <a:pt x="32" y="8"/>
                    </a:lnTo>
                    <a:lnTo>
                      <a:pt x="48" y="10"/>
                    </a:lnTo>
                    <a:lnTo>
                      <a:pt x="50" y="4"/>
                    </a:lnTo>
                    <a:lnTo>
                      <a:pt x="66" y="4"/>
                    </a:lnTo>
                    <a:close/>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4" name="Freeform 23"/>
              <p:cNvSpPr>
                <a:spLocks/>
              </p:cNvSpPr>
              <p:nvPr/>
            </p:nvSpPr>
            <p:spPr bwMode="auto">
              <a:xfrm>
                <a:off x="1087" y="1197"/>
                <a:ext cx="144" cy="96"/>
              </a:xfrm>
              <a:custGeom>
                <a:avLst/>
                <a:gdLst>
                  <a:gd name="T0" fmla="*/ 62 w 144"/>
                  <a:gd name="T1" fmla="*/ 0 h 96"/>
                  <a:gd name="T2" fmla="*/ 64 w 144"/>
                  <a:gd name="T3" fmla="*/ 6 h 96"/>
                  <a:gd name="T4" fmla="*/ 82 w 144"/>
                  <a:gd name="T5" fmla="*/ 14 h 96"/>
                  <a:gd name="T6" fmla="*/ 92 w 144"/>
                  <a:gd name="T7" fmla="*/ 16 h 96"/>
                  <a:gd name="T8" fmla="*/ 98 w 144"/>
                  <a:gd name="T9" fmla="*/ 10 h 96"/>
                  <a:gd name="T10" fmla="*/ 112 w 144"/>
                  <a:gd name="T11" fmla="*/ 8 h 96"/>
                  <a:gd name="T12" fmla="*/ 124 w 144"/>
                  <a:gd name="T13" fmla="*/ 16 h 96"/>
                  <a:gd name="T14" fmla="*/ 138 w 144"/>
                  <a:gd name="T15" fmla="*/ 24 h 96"/>
                  <a:gd name="T16" fmla="*/ 144 w 144"/>
                  <a:gd name="T17" fmla="*/ 30 h 96"/>
                  <a:gd name="T18" fmla="*/ 122 w 144"/>
                  <a:gd name="T19" fmla="*/ 38 h 96"/>
                  <a:gd name="T20" fmla="*/ 104 w 144"/>
                  <a:gd name="T21" fmla="*/ 46 h 96"/>
                  <a:gd name="T22" fmla="*/ 92 w 144"/>
                  <a:gd name="T23" fmla="*/ 54 h 96"/>
                  <a:gd name="T24" fmla="*/ 88 w 144"/>
                  <a:gd name="T25" fmla="*/ 62 h 96"/>
                  <a:gd name="T26" fmla="*/ 78 w 144"/>
                  <a:gd name="T27" fmla="*/ 66 h 96"/>
                  <a:gd name="T28" fmla="*/ 74 w 144"/>
                  <a:gd name="T29" fmla="*/ 76 h 96"/>
                  <a:gd name="T30" fmla="*/ 70 w 144"/>
                  <a:gd name="T31" fmla="*/ 86 h 96"/>
                  <a:gd name="T32" fmla="*/ 58 w 144"/>
                  <a:gd name="T33" fmla="*/ 86 h 96"/>
                  <a:gd name="T34" fmla="*/ 46 w 144"/>
                  <a:gd name="T35" fmla="*/ 92 h 96"/>
                  <a:gd name="T36" fmla="*/ 36 w 144"/>
                  <a:gd name="T37" fmla="*/ 96 h 96"/>
                  <a:gd name="T38" fmla="*/ 28 w 144"/>
                  <a:gd name="T39" fmla="*/ 86 h 96"/>
                  <a:gd name="T40" fmla="*/ 16 w 144"/>
                  <a:gd name="T41" fmla="*/ 78 h 96"/>
                  <a:gd name="T42" fmla="*/ 10 w 144"/>
                  <a:gd name="T43" fmla="*/ 74 h 96"/>
                  <a:gd name="T44" fmla="*/ 0 w 144"/>
                  <a:gd name="T45" fmla="*/ 70 h 96"/>
                  <a:gd name="T46" fmla="*/ 6 w 144"/>
                  <a:gd name="T47" fmla="*/ 62 h 96"/>
                  <a:gd name="T48" fmla="*/ 10 w 144"/>
                  <a:gd name="T49" fmla="*/ 50 h 96"/>
                  <a:gd name="T50" fmla="*/ 16 w 144"/>
                  <a:gd name="T51" fmla="*/ 40 h 96"/>
                  <a:gd name="T52" fmla="*/ 20 w 144"/>
                  <a:gd name="T53" fmla="*/ 32 h 96"/>
                  <a:gd name="T54" fmla="*/ 24 w 144"/>
                  <a:gd name="T55" fmla="*/ 26 h 96"/>
                  <a:gd name="T56" fmla="*/ 24 w 144"/>
                  <a:gd name="T57" fmla="*/ 20 h 96"/>
                  <a:gd name="T58" fmla="*/ 16 w 144"/>
                  <a:gd name="T59" fmla="*/ 14 h 96"/>
                  <a:gd name="T60" fmla="*/ 16 w 144"/>
                  <a:gd name="T61" fmla="*/ 6 h 96"/>
                  <a:gd name="T62" fmla="*/ 28 w 144"/>
                  <a:gd name="T63" fmla="*/ 4 h 96"/>
                  <a:gd name="T64" fmla="*/ 44 w 144"/>
                  <a:gd name="T65" fmla="*/ 6 h 96"/>
                  <a:gd name="T66" fmla="*/ 46 w 144"/>
                  <a:gd name="T67" fmla="*/ 0 h 96"/>
                  <a:gd name="T68" fmla="*/ 62 w 144"/>
                  <a:gd name="T6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96">
                    <a:moveTo>
                      <a:pt x="62" y="0"/>
                    </a:moveTo>
                    <a:lnTo>
                      <a:pt x="64" y="6"/>
                    </a:lnTo>
                    <a:lnTo>
                      <a:pt x="82" y="14"/>
                    </a:lnTo>
                    <a:lnTo>
                      <a:pt x="92" y="16"/>
                    </a:lnTo>
                    <a:lnTo>
                      <a:pt x="98" y="10"/>
                    </a:lnTo>
                    <a:lnTo>
                      <a:pt x="112" y="8"/>
                    </a:lnTo>
                    <a:lnTo>
                      <a:pt x="124" y="16"/>
                    </a:lnTo>
                    <a:lnTo>
                      <a:pt x="138" y="24"/>
                    </a:lnTo>
                    <a:lnTo>
                      <a:pt x="144" y="30"/>
                    </a:lnTo>
                    <a:lnTo>
                      <a:pt x="122" y="38"/>
                    </a:lnTo>
                    <a:lnTo>
                      <a:pt x="104" y="46"/>
                    </a:lnTo>
                    <a:lnTo>
                      <a:pt x="92" y="54"/>
                    </a:lnTo>
                    <a:lnTo>
                      <a:pt x="88" y="62"/>
                    </a:lnTo>
                    <a:lnTo>
                      <a:pt x="78" y="66"/>
                    </a:lnTo>
                    <a:lnTo>
                      <a:pt x="74" y="76"/>
                    </a:lnTo>
                    <a:lnTo>
                      <a:pt x="70" y="86"/>
                    </a:lnTo>
                    <a:lnTo>
                      <a:pt x="58" y="86"/>
                    </a:lnTo>
                    <a:lnTo>
                      <a:pt x="46" y="92"/>
                    </a:lnTo>
                    <a:lnTo>
                      <a:pt x="36" y="96"/>
                    </a:lnTo>
                    <a:lnTo>
                      <a:pt x="28" y="86"/>
                    </a:lnTo>
                    <a:lnTo>
                      <a:pt x="16" y="78"/>
                    </a:lnTo>
                    <a:lnTo>
                      <a:pt x="10" y="74"/>
                    </a:lnTo>
                    <a:lnTo>
                      <a:pt x="0" y="70"/>
                    </a:lnTo>
                    <a:lnTo>
                      <a:pt x="6" y="62"/>
                    </a:lnTo>
                    <a:lnTo>
                      <a:pt x="10" y="50"/>
                    </a:lnTo>
                    <a:lnTo>
                      <a:pt x="16" y="40"/>
                    </a:lnTo>
                    <a:lnTo>
                      <a:pt x="20" y="32"/>
                    </a:lnTo>
                    <a:lnTo>
                      <a:pt x="24" y="26"/>
                    </a:lnTo>
                    <a:lnTo>
                      <a:pt x="24" y="20"/>
                    </a:lnTo>
                    <a:lnTo>
                      <a:pt x="16" y="14"/>
                    </a:lnTo>
                    <a:lnTo>
                      <a:pt x="16" y="6"/>
                    </a:lnTo>
                    <a:lnTo>
                      <a:pt x="28" y="4"/>
                    </a:lnTo>
                    <a:lnTo>
                      <a:pt x="44" y="6"/>
                    </a:lnTo>
                    <a:lnTo>
                      <a:pt x="46"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5" name="Freeform 24"/>
              <p:cNvSpPr>
                <a:spLocks/>
              </p:cNvSpPr>
              <p:nvPr/>
            </p:nvSpPr>
            <p:spPr bwMode="auto">
              <a:xfrm>
                <a:off x="1083" y="1193"/>
                <a:ext cx="152" cy="104"/>
              </a:xfrm>
              <a:custGeom>
                <a:avLst/>
                <a:gdLst>
                  <a:gd name="T0" fmla="*/ 50 w 152"/>
                  <a:gd name="T1" fmla="*/ 0 h 104"/>
                  <a:gd name="T2" fmla="*/ 48 w 152"/>
                  <a:gd name="T3" fmla="*/ 2 h 104"/>
                  <a:gd name="T4" fmla="*/ 46 w 152"/>
                  <a:gd name="T5" fmla="*/ 6 h 104"/>
                  <a:gd name="T6" fmla="*/ 34 w 152"/>
                  <a:gd name="T7" fmla="*/ 4 h 104"/>
                  <a:gd name="T8" fmla="*/ 32 w 152"/>
                  <a:gd name="T9" fmla="*/ 4 h 104"/>
                  <a:gd name="T10" fmla="*/ 20 w 152"/>
                  <a:gd name="T11" fmla="*/ 6 h 104"/>
                  <a:gd name="T12" fmla="*/ 18 w 152"/>
                  <a:gd name="T13" fmla="*/ 8 h 104"/>
                  <a:gd name="T14" fmla="*/ 16 w 152"/>
                  <a:gd name="T15" fmla="*/ 18 h 104"/>
                  <a:gd name="T16" fmla="*/ 18 w 152"/>
                  <a:gd name="T17" fmla="*/ 20 h 104"/>
                  <a:gd name="T18" fmla="*/ 24 w 152"/>
                  <a:gd name="T19" fmla="*/ 30 h 104"/>
                  <a:gd name="T20" fmla="*/ 20 w 152"/>
                  <a:gd name="T21" fmla="*/ 34 h 104"/>
                  <a:gd name="T22" fmla="*/ 18 w 152"/>
                  <a:gd name="T23" fmla="*/ 44 h 104"/>
                  <a:gd name="T24" fmla="*/ 10 w 152"/>
                  <a:gd name="T25" fmla="*/ 52 h 104"/>
                  <a:gd name="T26" fmla="*/ 6 w 152"/>
                  <a:gd name="T27" fmla="*/ 64 h 104"/>
                  <a:gd name="T28" fmla="*/ 0 w 152"/>
                  <a:gd name="T29" fmla="*/ 72 h 104"/>
                  <a:gd name="T30" fmla="*/ 0 w 152"/>
                  <a:gd name="T31" fmla="*/ 76 h 104"/>
                  <a:gd name="T32" fmla="*/ 12 w 152"/>
                  <a:gd name="T33" fmla="*/ 82 h 104"/>
                  <a:gd name="T34" fmla="*/ 28 w 152"/>
                  <a:gd name="T35" fmla="*/ 92 h 104"/>
                  <a:gd name="T36" fmla="*/ 36 w 152"/>
                  <a:gd name="T37" fmla="*/ 102 h 104"/>
                  <a:gd name="T38" fmla="*/ 40 w 152"/>
                  <a:gd name="T39" fmla="*/ 104 h 104"/>
                  <a:gd name="T40" fmla="*/ 52 w 152"/>
                  <a:gd name="T41" fmla="*/ 100 h 104"/>
                  <a:gd name="T42" fmla="*/ 52 w 152"/>
                  <a:gd name="T43" fmla="*/ 100 h 104"/>
                  <a:gd name="T44" fmla="*/ 74 w 152"/>
                  <a:gd name="T45" fmla="*/ 94 h 104"/>
                  <a:gd name="T46" fmla="*/ 76 w 152"/>
                  <a:gd name="T47" fmla="*/ 90 h 104"/>
                  <a:gd name="T48" fmla="*/ 82 w 152"/>
                  <a:gd name="T49" fmla="*/ 82 h 104"/>
                  <a:gd name="T50" fmla="*/ 86 w 152"/>
                  <a:gd name="T51" fmla="*/ 74 h 104"/>
                  <a:gd name="T52" fmla="*/ 94 w 152"/>
                  <a:gd name="T53" fmla="*/ 68 h 104"/>
                  <a:gd name="T54" fmla="*/ 100 w 152"/>
                  <a:gd name="T55" fmla="*/ 60 h 104"/>
                  <a:gd name="T56" fmla="*/ 128 w 152"/>
                  <a:gd name="T57" fmla="*/ 46 h 104"/>
                  <a:gd name="T58" fmla="*/ 150 w 152"/>
                  <a:gd name="T59" fmla="*/ 38 h 104"/>
                  <a:gd name="T60" fmla="*/ 152 w 152"/>
                  <a:gd name="T61" fmla="*/ 34 h 104"/>
                  <a:gd name="T62" fmla="*/ 144 w 152"/>
                  <a:gd name="T63" fmla="*/ 26 h 104"/>
                  <a:gd name="T64" fmla="*/ 118 w 152"/>
                  <a:gd name="T65" fmla="*/ 8 h 104"/>
                  <a:gd name="T66" fmla="*/ 116 w 152"/>
                  <a:gd name="T67" fmla="*/ 8 h 104"/>
                  <a:gd name="T68" fmla="*/ 114 w 152"/>
                  <a:gd name="T69" fmla="*/ 8 h 104"/>
                  <a:gd name="T70" fmla="*/ 102 w 152"/>
                  <a:gd name="T71" fmla="*/ 10 h 104"/>
                  <a:gd name="T72" fmla="*/ 94 w 152"/>
                  <a:gd name="T73" fmla="*/ 16 h 104"/>
                  <a:gd name="T74" fmla="*/ 72 w 152"/>
                  <a:gd name="T75" fmla="*/ 8 h 104"/>
                  <a:gd name="T76" fmla="*/ 70 w 152"/>
                  <a:gd name="T77" fmla="*/ 4 h 104"/>
                  <a:gd name="T78" fmla="*/ 66 w 152"/>
                  <a:gd name="T7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04">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6" name="Freeform 25"/>
              <p:cNvSpPr>
                <a:spLocks/>
              </p:cNvSpPr>
              <p:nvPr/>
            </p:nvSpPr>
            <p:spPr bwMode="auto">
              <a:xfrm>
                <a:off x="1179" y="1229"/>
                <a:ext cx="262" cy="128"/>
              </a:xfrm>
              <a:custGeom>
                <a:avLst/>
                <a:gdLst>
                  <a:gd name="T0" fmla="*/ 82 w 262"/>
                  <a:gd name="T1" fmla="*/ 128 h 128"/>
                  <a:gd name="T2" fmla="*/ 76 w 262"/>
                  <a:gd name="T3" fmla="*/ 120 h 128"/>
                  <a:gd name="T4" fmla="*/ 38 w 262"/>
                  <a:gd name="T5" fmla="*/ 112 h 128"/>
                  <a:gd name="T6" fmla="*/ 20 w 262"/>
                  <a:gd name="T7" fmla="*/ 94 h 128"/>
                  <a:gd name="T8" fmla="*/ 28 w 262"/>
                  <a:gd name="T9" fmla="*/ 84 h 128"/>
                  <a:gd name="T10" fmla="*/ 74 w 262"/>
                  <a:gd name="T11" fmla="*/ 80 h 128"/>
                  <a:gd name="T12" fmla="*/ 96 w 262"/>
                  <a:gd name="T13" fmla="*/ 78 h 128"/>
                  <a:gd name="T14" fmla="*/ 50 w 262"/>
                  <a:gd name="T15" fmla="*/ 76 h 128"/>
                  <a:gd name="T16" fmla="*/ 26 w 262"/>
                  <a:gd name="T17" fmla="*/ 76 h 128"/>
                  <a:gd name="T18" fmla="*/ 10 w 262"/>
                  <a:gd name="T19" fmla="*/ 68 h 128"/>
                  <a:gd name="T20" fmla="*/ 14 w 262"/>
                  <a:gd name="T21" fmla="*/ 56 h 128"/>
                  <a:gd name="T22" fmla="*/ 46 w 262"/>
                  <a:gd name="T23" fmla="*/ 52 h 128"/>
                  <a:gd name="T24" fmla="*/ 20 w 262"/>
                  <a:gd name="T25" fmla="*/ 56 h 128"/>
                  <a:gd name="T26" fmla="*/ 14 w 262"/>
                  <a:gd name="T27" fmla="*/ 52 h 128"/>
                  <a:gd name="T28" fmla="*/ 0 w 262"/>
                  <a:gd name="T29" fmla="*/ 48 h 128"/>
                  <a:gd name="T30" fmla="*/ 2 w 262"/>
                  <a:gd name="T31" fmla="*/ 38 h 128"/>
                  <a:gd name="T32" fmla="*/ 10 w 262"/>
                  <a:gd name="T33" fmla="*/ 22 h 128"/>
                  <a:gd name="T34" fmla="*/ 24 w 262"/>
                  <a:gd name="T35" fmla="*/ 14 h 128"/>
                  <a:gd name="T36" fmla="*/ 68 w 262"/>
                  <a:gd name="T37" fmla="*/ 0 h 128"/>
                  <a:gd name="T38" fmla="*/ 72 w 262"/>
                  <a:gd name="T39" fmla="*/ 2 h 128"/>
                  <a:gd name="T40" fmla="*/ 72 w 262"/>
                  <a:gd name="T41" fmla="*/ 10 h 128"/>
                  <a:gd name="T42" fmla="*/ 78 w 262"/>
                  <a:gd name="T43" fmla="*/ 20 h 128"/>
                  <a:gd name="T44" fmla="*/ 84 w 262"/>
                  <a:gd name="T45" fmla="*/ 8 h 128"/>
                  <a:gd name="T46" fmla="*/ 98 w 262"/>
                  <a:gd name="T47" fmla="*/ 12 h 128"/>
                  <a:gd name="T48" fmla="*/ 114 w 262"/>
                  <a:gd name="T49" fmla="*/ 18 h 128"/>
                  <a:gd name="T50" fmla="*/ 112 w 262"/>
                  <a:gd name="T51" fmla="*/ 24 h 128"/>
                  <a:gd name="T52" fmla="*/ 130 w 262"/>
                  <a:gd name="T53" fmla="*/ 24 h 128"/>
                  <a:gd name="T54" fmla="*/ 124 w 262"/>
                  <a:gd name="T55" fmla="*/ 14 h 128"/>
                  <a:gd name="T56" fmla="*/ 124 w 262"/>
                  <a:gd name="T57" fmla="*/ 12 h 128"/>
                  <a:gd name="T58" fmla="*/ 130 w 262"/>
                  <a:gd name="T59" fmla="*/ 10 h 128"/>
                  <a:gd name="T60" fmla="*/ 142 w 262"/>
                  <a:gd name="T61" fmla="*/ 16 h 128"/>
                  <a:gd name="T62" fmla="*/ 150 w 262"/>
                  <a:gd name="T63" fmla="*/ 24 h 128"/>
                  <a:gd name="T64" fmla="*/ 164 w 262"/>
                  <a:gd name="T65" fmla="*/ 42 h 128"/>
                  <a:gd name="T66" fmla="*/ 154 w 262"/>
                  <a:gd name="T67" fmla="*/ 6 h 128"/>
                  <a:gd name="T68" fmla="*/ 162 w 262"/>
                  <a:gd name="T69" fmla="*/ 0 h 128"/>
                  <a:gd name="T70" fmla="*/ 164 w 262"/>
                  <a:gd name="T71" fmla="*/ 0 h 128"/>
                  <a:gd name="T72" fmla="*/ 190 w 262"/>
                  <a:gd name="T73" fmla="*/ 12 h 128"/>
                  <a:gd name="T74" fmla="*/ 212 w 262"/>
                  <a:gd name="T75" fmla="*/ 48 h 128"/>
                  <a:gd name="T76" fmla="*/ 212 w 262"/>
                  <a:gd name="T77" fmla="*/ 56 h 128"/>
                  <a:gd name="T78" fmla="*/ 228 w 262"/>
                  <a:gd name="T79" fmla="*/ 74 h 128"/>
                  <a:gd name="T80" fmla="*/ 240 w 262"/>
                  <a:gd name="T81" fmla="*/ 76 h 128"/>
                  <a:gd name="T82" fmla="*/ 260 w 262"/>
                  <a:gd name="T83" fmla="*/ 92 h 128"/>
                  <a:gd name="T84" fmla="*/ 260 w 262"/>
                  <a:gd name="T85" fmla="*/ 94 h 128"/>
                  <a:gd name="T86" fmla="*/ 256 w 262"/>
                  <a:gd name="T87" fmla="*/ 98 h 128"/>
                  <a:gd name="T88" fmla="*/ 236 w 262"/>
                  <a:gd name="T89" fmla="*/ 102 h 128"/>
                  <a:gd name="T90" fmla="*/ 246 w 262"/>
                  <a:gd name="T91" fmla="*/ 106 h 128"/>
                  <a:gd name="T92" fmla="*/ 250 w 262"/>
                  <a:gd name="T93" fmla="*/ 118 h 128"/>
                  <a:gd name="T94" fmla="*/ 240 w 262"/>
                  <a:gd name="T95" fmla="*/ 120 h 128"/>
                  <a:gd name="T96" fmla="*/ 198 w 262"/>
                  <a:gd name="T97" fmla="*/ 120 h 128"/>
                  <a:gd name="T98" fmla="*/ 186 w 262"/>
                  <a:gd name="T99" fmla="*/ 116 h 128"/>
                  <a:gd name="T100" fmla="*/ 180 w 262"/>
                  <a:gd name="T101" fmla="*/ 104 h 128"/>
                  <a:gd name="T102" fmla="*/ 170 w 262"/>
                  <a:gd name="T103" fmla="*/ 114 h 128"/>
                  <a:gd name="T104" fmla="*/ 140 w 262"/>
                  <a:gd name="T105" fmla="*/ 126 h 128"/>
                  <a:gd name="T106" fmla="*/ 84 w 262"/>
                  <a:gd name="T10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28">
                    <a:moveTo>
                      <a:pt x="84" y="128"/>
                    </a:moveTo>
                    <a:lnTo>
                      <a:pt x="84" y="128"/>
                    </a:lnTo>
                    <a:lnTo>
                      <a:pt x="82" y="128"/>
                    </a:lnTo>
                    <a:lnTo>
                      <a:pt x="76" y="122"/>
                    </a:lnTo>
                    <a:lnTo>
                      <a:pt x="76" y="122"/>
                    </a:lnTo>
                    <a:lnTo>
                      <a:pt x="76" y="120"/>
                    </a:lnTo>
                    <a:lnTo>
                      <a:pt x="74" y="112"/>
                    </a:lnTo>
                    <a:lnTo>
                      <a:pt x="38" y="112"/>
                    </a:lnTo>
                    <a:lnTo>
                      <a:pt x="38" y="112"/>
                    </a:lnTo>
                    <a:lnTo>
                      <a:pt x="38" y="110"/>
                    </a:lnTo>
                    <a:lnTo>
                      <a:pt x="20" y="94"/>
                    </a:lnTo>
                    <a:lnTo>
                      <a:pt x="20" y="94"/>
                    </a:lnTo>
                    <a:lnTo>
                      <a:pt x="20" y="92"/>
                    </a:lnTo>
                    <a:lnTo>
                      <a:pt x="28" y="84"/>
                    </a:lnTo>
                    <a:lnTo>
                      <a:pt x="28" y="84"/>
                    </a:lnTo>
                    <a:lnTo>
                      <a:pt x="30" y="84"/>
                    </a:lnTo>
                    <a:lnTo>
                      <a:pt x="46" y="82"/>
                    </a:lnTo>
                    <a:lnTo>
                      <a:pt x="74" y="80"/>
                    </a:lnTo>
                    <a:lnTo>
                      <a:pt x="92" y="82"/>
                    </a:lnTo>
                    <a:lnTo>
                      <a:pt x="98" y="82"/>
                    </a:lnTo>
                    <a:lnTo>
                      <a:pt x="96" y="78"/>
                    </a:lnTo>
                    <a:lnTo>
                      <a:pt x="80" y="74"/>
                    </a:lnTo>
                    <a:lnTo>
                      <a:pt x="50" y="76"/>
                    </a:lnTo>
                    <a:lnTo>
                      <a:pt x="50" y="76"/>
                    </a:lnTo>
                    <a:lnTo>
                      <a:pt x="28" y="76"/>
                    </a:lnTo>
                    <a:lnTo>
                      <a:pt x="28" y="76"/>
                    </a:lnTo>
                    <a:lnTo>
                      <a:pt x="26" y="76"/>
                    </a:lnTo>
                    <a:lnTo>
                      <a:pt x="10" y="72"/>
                    </a:lnTo>
                    <a:lnTo>
                      <a:pt x="10" y="72"/>
                    </a:lnTo>
                    <a:lnTo>
                      <a:pt x="10" y="68"/>
                    </a:lnTo>
                    <a:lnTo>
                      <a:pt x="12" y="58"/>
                    </a:lnTo>
                    <a:lnTo>
                      <a:pt x="12" y="58"/>
                    </a:lnTo>
                    <a:lnTo>
                      <a:pt x="14" y="56"/>
                    </a:lnTo>
                    <a:lnTo>
                      <a:pt x="30" y="56"/>
                    </a:lnTo>
                    <a:lnTo>
                      <a:pt x="44" y="52"/>
                    </a:lnTo>
                    <a:lnTo>
                      <a:pt x="46" y="52"/>
                    </a:lnTo>
                    <a:lnTo>
                      <a:pt x="44" y="52"/>
                    </a:lnTo>
                    <a:lnTo>
                      <a:pt x="34" y="56"/>
                    </a:lnTo>
                    <a:lnTo>
                      <a:pt x="20" y="56"/>
                    </a:lnTo>
                    <a:lnTo>
                      <a:pt x="20" y="56"/>
                    </a:lnTo>
                    <a:lnTo>
                      <a:pt x="20" y="54"/>
                    </a:lnTo>
                    <a:lnTo>
                      <a:pt x="14" y="52"/>
                    </a:lnTo>
                    <a:lnTo>
                      <a:pt x="2" y="50"/>
                    </a:lnTo>
                    <a:lnTo>
                      <a:pt x="2" y="50"/>
                    </a:lnTo>
                    <a:lnTo>
                      <a:pt x="0" y="48"/>
                    </a:lnTo>
                    <a:lnTo>
                      <a:pt x="0" y="40"/>
                    </a:lnTo>
                    <a:lnTo>
                      <a:pt x="0" y="40"/>
                    </a:lnTo>
                    <a:lnTo>
                      <a:pt x="2" y="38"/>
                    </a:lnTo>
                    <a:lnTo>
                      <a:pt x="8" y="34"/>
                    </a:lnTo>
                    <a:lnTo>
                      <a:pt x="10" y="30"/>
                    </a:lnTo>
                    <a:lnTo>
                      <a:pt x="10" y="22"/>
                    </a:lnTo>
                    <a:lnTo>
                      <a:pt x="10" y="22"/>
                    </a:lnTo>
                    <a:lnTo>
                      <a:pt x="10" y="20"/>
                    </a:lnTo>
                    <a:lnTo>
                      <a:pt x="24" y="14"/>
                    </a:lnTo>
                    <a:lnTo>
                      <a:pt x="46" y="4"/>
                    </a:lnTo>
                    <a:lnTo>
                      <a:pt x="68" y="0"/>
                    </a:lnTo>
                    <a:lnTo>
                      <a:pt x="68" y="0"/>
                    </a:lnTo>
                    <a:lnTo>
                      <a:pt x="70" y="0"/>
                    </a:lnTo>
                    <a:lnTo>
                      <a:pt x="70" y="0"/>
                    </a:lnTo>
                    <a:lnTo>
                      <a:pt x="72" y="2"/>
                    </a:lnTo>
                    <a:lnTo>
                      <a:pt x="74" y="10"/>
                    </a:lnTo>
                    <a:lnTo>
                      <a:pt x="74" y="10"/>
                    </a:lnTo>
                    <a:lnTo>
                      <a:pt x="72" y="10"/>
                    </a:lnTo>
                    <a:lnTo>
                      <a:pt x="72" y="14"/>
                    </a:lnTo>
                    <a:lnTo>
                      <a:pt x="68" y="18"/>
                    </a:lnTo>
                    <a:lnTo>
                      <a:pt x="78" y="20"/>
                    </a:lnTo>
                    <a:lnTo>
                      <a:pt x="82" y="8"/>
                    </a:lnTo>
                    <a:lnTo>
                      <a:pt x="82" y="8"/>
                    </a:lnTo>
                    <a:lnTo>
                      <a:pt x="84" y="8"/>
                    </a:lnTo>
                    <a:lnTo>
                      <a:pt x="84" y="8"/>
                    </a:lnTo>
                    <a:lnTo>
                      <a:pt x="84" y="8"/>
                    </a:lnTo>
                    <a:lnTo>
                      <a:pt x="98" y="12"/>
                    </a:lnTo>
                    <a:lnTo>
                      <a:pt x="114" y="16"/>
                    </a:lnTo>
                    <a:lnTo>
                      <a:pt x="114" y="16"/>
                    </a:lnTo>
                    <a:lnTo>
                      <a:pt x="114" y="18"/>
                    </a:lnTo>
                    <a:lnTo>
                      <a:pt x="114" y="18"/>
                    </a:lnTo>
                    <a:lnTo>
                      <a:pt x="114" y="20"/>
                    </a:lnTo>
                    <a:lnTo>
                      <a:pt x="112" y="24"/>
                    </a:lnTo>
                    <a:lnTo>
                      <a:pt x="112" y="26"/>
                    </a:lnTo>
                    <a:lnTo>
                      <a:pt x="118" y="24"/>
                    </a:lnTo>
                    <a:lnTo>
                      <a:pt x="130" y="24"/>
                    </a:lnTo>
                    <a:lnTo>
                      <a:pt x="130" y="20"/>
                    </a:lnTo>
                    <a:lnTo>
                      <a:pt x="124" y="14"/>
                    </a:lnTo>
                    <a:lnTo>
                      <a:pt x="124" y="14"/>
                    </a:lnTo>
                    <a:lnTo>
                      <a:pt x="124" y="12"/>
                    </a:lnTo>
                    <a:lnTo>
                      <a:pt x="124" y="12"/>
                    </a:lnTo>
                    <a:lnTo>
                      <a:pt x="124" y="12"/>
                    </a:lnTo>
                    <a:lnTo>
                      <a:pt x="130" y="10"/>
                    </a:lnTo>
                    <a:lnTo>
                      <a:pt x="130" y="10"/>
                    </a:lnTo>
                    <a:lnTo>
                      <a:pt x="130" y="10"/>
                    </a:lnTo>
                    <a:lnTo>
                      <a:pt x="130" y="10"/>
                    </a:lnTo>
                    <a:lnTo>
                      <a:pt x="132" y="10"/>
                    </a:lnTo>
                    <a:lnTo>
                      <a:pt x="142" y="16"/>
                    </a:lnTo>
                    <a:lnTo>
                      <a:pt x="142" y="16"/>
                    </a:lnTo>
                    <a:lnTo>
                      <a:pt x="144" y="16"/>
                    </a:lnTo>
                    <a:lnTo>
                      <a:pt x="150" y="24"/>
                    </a:lnTo>
                    <a:lnTo>
                      <a:pt x="154" y="36"/>
                    </a:lnTo>
                    <a:lnTo>
                      <a:pt x="158" y="44"/>
                    </a:lnTo>
                    <a:lnTo>
                      <a:pt x="164" y="42"/>
                    </a:lnTo>
                    <a:lnTo>
                      <a:pt x="160" y="34"/>
                    </a:lnTo>
                    <a:lnTo>
                      <a:pt x="156" y="18"/>
                    </a:lnTo>
                    <a:lnTo>
                      <a:pt x="154" y="6"/>
                    </a:lnTo>
                    <a:lnTo>
                      <a:pt x="154" y="6"/>
                    </a:lnTo>
                    <a:lnTo>
                      <a:pt x="156" y="4"/>
                    </a:lnTo>
                    <a:lnTo>
                      <a:pt x="162" y="0"/>
                    </a:lnTo>
                    <a:lnTo>
                      <a:pt x="162" y="0"/>
                    </a:lnTo>
                    <a:lnTo>
                      <a:pt x="164" y="0"/>
                    </a:lnTo>
                    <a:lnTo>
                      <a:pt x="164" y="0"/>
                    </a:lnTo>
                    <a:lnTo>
                      <a:pt x="164" y="0"/>
                    </a:lnTo>
                    <a:lnTo>
                      <a:pt x="176" y="4"/>
                    </a:lnTo>
                    <a:lnTo>
                      <a:pt x="190" y="12"/>
                    </a:lnTo>
                    <a:lnTo>
                      <a:pt x="200" y="22"/>
                    </a:lnTo>
                    <a:lnTo>
                      <a:pt x="206" y="38"/>
                    </a:lnTo>
                    <a:lnTo>
                      <a:pt x="212" y="48"/>
                    </a:lnTo>
                    <a:lnTo>
                      <a:pt x="212" y="48"/>
                    </a:lnTo>
                    <a:lnTo>
                      <a:pt x="212" y="50"/>
                    </a:lnTo>
                    <a:lnTo>
                      <a:pt x="212" y="56"/>
                    </a:lnTo>
                    <a:lnTo>
                      <a:pt x="212" y="62"/>
                    </a:lnTo>
                    <a:lnTo>
                      <a:pt x="220" y="72"/>
                    </a:lnTo>
                    <a:lnTo>
                      <a:pt x="228" y="74"/>
                    </a:lnTo>
                    <a:lnTo>
                      <a:pt x="238" y="76"/>
                    </a:lnTo>
                    <a:lnTo>
                      <a:pt x="238" y="76"/>
                    </a:lnTo>
                    <a:lnTo>
                      <a:pt x="240" y="76"/>
                    </a:lnTo>
                    <a:lnTo>
                      <a:pt x="246" y="82"/>
                    </a:lnTo>
                    <a:lnTo>
                      <a:pt x="260" y="92"/>
                    </a:lnTo>
                    <a:lnTo>
                      <a:pt x="260" y="92"/>
                    </a:lnTo>
                    <a:lnTo>
                      <a:pt x="262" y="92"/>
                    </a:lnTo>
                    <a:lnTo>
                      <a:pt x="262" y="92"/>
                    </a:lnTo>
                    <a:lnTo>
                      <a:pt x="260" y="94"/>
                    </a:lnTo>
                    <a:lnTo>
                      <a:pt x="258" y="98"/>
                    </a:lnTo>
                    <a:lnTo>
                      <a:pt x="258" y="98"/>
                    </a:lnTo>
                    <a:lnTo>
                      <a:pt x="256" y="98"/>
                    </a:lnTo>
                    <a:lnTo>
                      <a:pt x="242" y="98"/>
                    </a:lnTo>
                    <a:lnTo>
                      <a:pt x="234" y="100"/>
                    </a:lnTo>
                    <a:lnTo>
                      <a:pt x="236" y="102"/>
                    </a:lnTo>
                    <a:lnTo>
                      <a:pt x="246" y="106"/>
                    </a:lnTo>
                    <a:lnTo>
                      <a:pt x="246" y="106"/>
                    </a:lnTo>
                    <a:lnTo>
                      <a:pt x="246" y="106"/>
                    </a:lnTo>
                    <a:lnTo>
                      <a:pt x="250" y="116"/>
                    </a:lnTo>
                    <a:lnTo>
                      <a:pt x="250" y="116"/>
                    </a:lnTo>
                    <a:lnTo>
                      <a:pt x="250" y="118"/>
                    </a:lnTo>
                    <a:lnTo>
                      <a:pt x="250" y="118"/>
                    </a:lnTo>
                    <a:lnTo>
                      <a:pt x="250" y="118"/>
                    </a:lnTo>
                    <a:lnTo>
                      <a:pt x="240" y="120"/>
                    </a:lnTo>
                    <a:lnTo>
                      <a:pt x="220" y="122"/>
                    </a:lnTo>
                    <a:lnTo>
                      <a:pt x="198" y="120"/>
                    </a:lnTo>
                    <a:lnTo>
                      <a:pt x="198" y="120"/>
                    </a:lnTo>
                    <a:lnTo>
                      <a:pt x="196" y="120"/>
                    </a:lnTo>
                    <a:lnTo>
                      <a:pt x="194" y="116"/>
                    </a:lnTo>
                    <a:lnTo>
                      <a:pt x="186" y="116"/>
                    </a:lnTo>
                    <a:lnTo>
                      <a:pt x="186" y="116"/>
                    </a:lnTo>
                    <a:lnTo>
                      <a:pt x="184" y="114"/>
                    </a:lnTo>
                    <a:lnTo>
                      <a:pt x="180" y="104"/>
                    </a:lnTo>
                    <a:lnTo>
                      <a:pt x="170" y="114"/>
                    </a:lnTo>
                    <a:lnTo>
                      <a:pt x="170" y="114"/>
                    </a:lnTo>
                    <a:lnTo>
                      <a:pt x="170" y="114"/>
                    </a:lnTo>
                    <a:lnTo>
                      <a:pt x="154" y="118"/>
                    </a:lnTo>
                    <a:lnTo>
                      <a:pt x="140" y="126"/>
                    </a:lnTo>
                    <a:lnTo>
                      <a:pt x="140" y="126"/>
                    </a:lnTo>
                    <a:lnTo>
                      <a:pt x="140" y="126"/>
                    </a:lnTo>
                    <a:lnTo>
                      <a:pt x="140" y="126"/>
                    </a:lnTo>
                    <a:lnTo>
                      <a:pt x="84" y="128"/>
                    </a:lnTo>
                    <a:lnTo>
                      <a:pt x="84"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7" name="Freeform 26"/>
              <p:cNvSpPr>
                <a:spLocks noEditPoints="1"/>
              </p:cNvSpPr>
              <p:nvPr/>
            </p:nvSpPr>
            <p:spPr bwMode="auto">
              <a:xfrm>
                <a:off x="1177" y="1227"/>
                <a:ext cx="266" cy="132"/>
              </a:xfrm>
              <a:custGeom>
                <a:avLst/>
                <a:gdLst>
                  <a:gd name="T0" fmla="*/ 206 w 266"/>
                  <a:gd name="T1" fmla="*/ 40 h 132"/>
                  <a:gd name="T2" fmla="*/ 228 w 266"/>
                  <a:gd name="T3" fmla="*/ 78 h 132"/>
                  <a:gd name="T4" fmla="*/ 244 w 266"/>
                  <a:gd name="T5" fmla="*/ 98 h 132"/>
                  <a:gd name="T6" fmla="*/ 242 w 266"/>
                  <a:gd name="T7" fmla="*/ 120 h 132"/>
                  <a:gd name="T8" fmla="*/ 182 w 266"/>
                  <a:gd name="T9" fmla="*/ 102 h 132"/>
                  <a:gd name="T10" fmla="*/ 80 w 266"/>
                  <a:gd name="T11" fmla="*/ 122 h 132"/>
                  <a:gd name="T12" fmla="*/ 48 w 266"/>
                  <a:gd name="T13" fmla="*/ 86 h 132"/>
                  <a:gd name="T14" fmla="*/ 82 w 266"/>
                  <a:gd name="T15" fmla="*/ 74 h 132"/>
                  <a:gd name="T16" fmla="*/ 32 w 266"/>
                  <a:gd name="T17" fmla="*/ 60 h 132"/>
                  <a:gd name="T18" fmla="*/ 22 w 266"/>
                  <a:gd name="T19" fmla="*/ 56 h 132"/>
                  <a:gd name="T20" fmla="*/ 16 w 266"/>
                  <a:gd name="T21" fmla="*/ 32 h 132"/>
                  <a:gd name="T22" fmla="*/ 74 w 266"/>
                  <a:gd name="T23" fmla="*/ 12 h 132"/>
                  <a:gd name="T24" fmla="*/ 100 w 266"/>
                  <a:gd name="T25" fmla="*/ 16 h 132"/>
                  <a:gd name="T26" fmla="*/ 132 w 266"/>
                  <a:gd name="T27" fmla="*/ 28 h 132"/>
                  <a:gd name="T28" fmla="*/ 150 w 266"/>
                  <a:gd name="T29" fmla="*/ 28 h 132"/>
                  <a:gd name="T30" fmla="*/ 160 w 266"/>
                  <a:gd name="T31" fmla="*/ 18 h 132"/>
                  <a:gd name="T32" fmla="*/ 70 w 266"/>
                  <a:gd name="T33" fmla="*/ 0 h 132"/>
                  <a:gd name="T34" fmla="*/ 12 w 266"/>
                  <a:gd name="T35" fmla="*/ 20 h 132"/>
                  <a:gd name="T36" fmla="*/ 8 w 266"/>
                  <a:gd name="T37" fmla="*/ 34 h 132"/>
                  <a:gd name="T38" fmla="*/ 0 w 266"/>
                  <a:gd name="T39" fmla="*/ 50 h 132"/>
                  <a:gd name="T40" fmla="*/ 16 w 266"/>
                  <a:gd name="T41" fmla="*/ 56 h 132"/>
                  <a:gd name="T42" fmla="*/ 10 w 266"/>
                  <a:gd name="T43" fmla="*/ 70 h 132"/>
                  <a:gd name="T44" fmla="*/ 30 w 266"/>
                  <a:gd name="T45" fmla="*/ 80 h 132"/>
                  <a:gd name="T46" fmla="*/ 96 w 266"/>
                  <a:gd name="T47" fmla="*/ 82 h 132"/>
                  <a:gd name="T48" fmla="*/ 76 w 266"/>
                  <a:gd name="T49" fmla="*/ 80 h 132"/>
                  <a:gd name="T50" fmla="*/ 28 w 266"/>
                  <a:gd name="T51" fmla="*/ 84 h 132"/>
                  <a:gd name="T52" fmla="*/ 38 w 266"/>
                  <a:gd name="T53" fmla="*/ 114 h 132"/>
                  <a:gd name="T54" fmla="*/ 76 w 266"/>
                  <a:gd name="T55" fmla="*/ 122 h 132"/>
                  <a:gd name="T56" fmla="*/ 86 w 266"/>
                  <a:gd name="T57" fmla="*/ 132 h 132"/>
                  <a:gd name="T58" fmla="*/ 158 w 266"/>
                  <a:gd name="T59" fmla="*/ 122 h 132"/>
                  <a:gd name="T60" fmla="*/ 184 w 266"/>
                  <a:gd name="T61" fmla="*/ 116 h 132"/>
                  <a:gd name="T62" fmla="*/ 196 w 266"/>
                  <a:gd name="T63" fmla="*/ 122 h 132"/>
                  <a:gd name="T64" fmla="*/ 222 w 266"/>
                  <a:gd name="T65" fmla="*/ 126 h 132"/>
                  <a:gd name="T66" fmla="*/ 242 w 266"/>
                  <a:gd name="T67" fmla="*/ 124 h 132"/>
                  <a:gd name="T68" fmla="*/ 254 w 266"/>
                  <a:gd name="T69" fmla="*/ 118 h 132"/>
                  <a:gd name="T70" fmla="*/ 244 w 266"/>
                  <a:gd name="T71" fmla="*/ 102 h 132"/>
                  <a:gd name="T72" fmla="*/ 264 w 266"/>
                  <a:gd name="T73" fmla="*/ 98 h 132"/>
                  <a:gd name="T74" fmla="*/ 242 w 266"/>
                  <a:gd name="T75" fmla="*/ 78 h 132"/>
                  <a:gd name="T76" fmla="*/ 216 w 266"/>
                  <a:gd name="T77" fmla="*/ 64 h 132"/>
                  <a:gd name="T78" fmla="*/ 216 w 266"/>
                  <a:gd name="T79" fmla="*/ 52 h 132"/>
                  <a:gd name="T80" fmla="*/ 204 w 266"/>
                  <a:gd name="T81" fmla="*/ 24 h 132"/>
                  <a:gd name="T82" fmla="*/ 180 w 266"/>
                  <a:gd name="T83" fmla="*/ 4 h 132"/>
                  <a:gd name="T84" fmla="*/ 166 w 266"/>
                  <a:gd name="T85" fmla="*/ 0 h 132"/>
                  <a:gd name="T86" fmla="*/ 154 w 266"/>
                  <a:gd name="T87" fmla="*/ 8 h 132"/>
                  <a:gd name="T88" fmla="*/ 164 w 266"/>
                  <a:gd name="T89" fmla="*/ 42 h 132"/>
                  <a:gd name="T90" fmla="*/ 154 w 266"/>
                  <a:gd name="T91" fmla="*/ 26 h 132"/>
                  <a:gd name="T92" fmla="*/ 134 w 266"/>
                  <a:gd name="T93" fmla="*/ 10 h 132"/>
                  <a:gd name="T94" fmla="*/ 126 w 266"/>
                  <a:gd name="T95" fmla="*/ 12 h 132"/>
                  <a:gd name="T96" fmla="*/ 130 w 266"/>
                  <a:gd name="T97" fmla="*/ 24 h 132"/>
                  <a:gd name="T98" fmla="*/ 118 w 266"/>
                  <a:gd name="T99" fmla="*/ 22 h 132"/>
                  <a:gd name="T100" fmla="*/ 102 w 266"/>
                  <a:gd name="T101" fmla="*/ 12 h 132"/>
                  <a:gd name="T102" fmla="*/ 86 w 266"/>
                  <a:gd name="T103" fmla="*/ 8 h 132"/>
                  <a:gd name="T104" fmla="*/ 74 w 266"/>
                  <a:gd name="T105" fmla="*/ 18 h 132"/>
                  <a:gd name="T106" fmla="*/ 76 w 266"/>
                  <a:gd name="T107" fmla="*/ 14 h 132"/>
                  <a:gd name="T108" fmla="*/ 72 w 266"/>
                  <a:gd name="T10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132">
                    <a:moveTo>
                      <a:pt x="166" y="4"/>
                    </a:moveTo>
                    <a:lnTo>
                      <a:pt x="178" y="8"/>
                    </a:lnTo>
                    <a:lnTo>
                      <a:pt x="190" y="16"/>
                    </a:lnTo>
                    <a:lnTo>
                      <a:pt x="200" y="26"/>
                    </a:lnTo>
                    <a:lnTo>
                      <a:pt x="206" y="40"/>
                    </a:lnTo>
                    <a:lnTo>
                      <a:pt x="212" y="52"/>
                    </a:lnTo>
                    <a:lnTo>
                      <a:pt x="212" y="58"/>
                    </a:lnTo>
                    <a:lnTo>
                      <a:pt x="210" y="64"/>
                    </a:lnTo>
                    <a:lnTo>
                      <a:pt x="220" y="76"/>
                    </a:lnTo>
                    <a:lnTo>
                      <a:pt x="228" y="78"/>
                    </a:lnTo>
                    <a:lnTo>
                      <a:pt x="240" y="80"/>
                    </a:lnTo>
                    <a:lnTo>
                      <a:pt x="248" y="86"/>
                    </a:lnTo>
                    <a:lnTo>
                      <a:pt x="262" y="96"/>
                    </a:lnTo>
                    <a:lnTo>
                      <a:pt x="258" y="98"/>
                    </a:lnTo>
                    <a:lnTo>
                      <a:pt x="244" y="98"/>
                    </a:lnTo>
                    <a:lnTo>
                      <a:pt x="234" y="100"/>
                    </a:lnTo>
                    <a:lnTo>
                      <a:pt x="236" y="106"/>
                    </a:lnTo>
                    <a:lnTo>
                      <a:pt x="248" y="110"/>
                    </a:lnTo>
                    <a:lnTo>
                      <a:pt x="250" y="118"/>
                    </a:lnTo>
                    <a:lnTo>
                      <a:pt x="242" y="120"/>
                    </a:lnTo>
                    <a:lnTo>
                      <a:pt x="222" y="122"/>
                    </a:lnTo>
                    <a:lnTo>
                      <a:pt x="200" y="120"/>
                    </a:lnTo>
                    <a:lnTo>
                      <a:pt x="196" y="116"/>
                    </a:lnTo>
                    <a:lnTo>
                      <a:pt x="188" y="116"/>
                    </a:lnTo>
                    <a:lnTo>
                      <a:pt x="182" y="102"/>
                    </a:lnTo>
                    <a:lnTo>
                      <a:pt x="170" y="116"/>
                    </a:lnTo>
                    <a:lnTo>
                      <a:pt x="156" y="118"/>
                    </a:lnTo>
                    <a:lnTo>
                      <a:pt x="142" y="126"/>
                    </a:lnTo>
                    <a:lnTo>
                      <a:pt x="86" y="128"/>
                    </a:lnTo>
                    <a:lnTo>
                      <a:pt x="80" y="122"/>
                    </a:lnTo>
                    <a:lnTo>
                      <a:pt x="78" y="112"/>
                    </a:lnTo>
                    <a:lnTo>
                      <a:pt x="40" y="112"/>
                    </a:lnTo>
                    <a:lnTo>
                      <a:pt x="24" y="96"/>
                    </a:lnTo>
                    <a:lnTo>
                      <a:pt x="32" y="88"/>
                    </a:lnTo>
                    <a:lnTo>
                      <a:pt x="48" y="86"/>
                    </a:lnTo>
                    <a:lnTo>
                      <a:pt x="76" y="84"/>
                    </a:lnTo>
                    <a:lnTo>
                      <a:pt x="94" y="86"/>
                    </a:lnTo>
                    <a:lnTo>
                      <a:pt x="104" y="86"/>
                    </a:lnTo>
                    <a:lnTo>
                      <a:pt x="98" y="78"/>
                    </a:lnTo>
                    <a:lnTo>
                      <a:pt x="82" y="74"/>
                    </a:lnTo>
                    <a:lnTo>
                      <a:pt x="52" y="76"/>
                    </a:lnTo>
                    <a:lnTo>
                      <a:pt x="30" y="76"/>
                    </a:lnTo>
                    <a:lnTo>
                      <a:pt x="14" y="72"/>
                    </a:lnTo>
                    <a:lnTo>
                      <a:pt x="16" y="60"/>
                    </a:lnTo>
                    <a:lnTo>
                      <a:pt x="32" y="60"/>
                    </a:lnTo>
                    <a:lnTo>
                      <a:pt x="46" y="56"/>
                    </a:lnTo>
                    <a:lnTo>
                      <a:pt x="54" y="54"/>
                    </a:lnTo>
                    <a:lnTo>
                      <a:pt x="46" y="52"/>
                    </a:lnTo>
                    <a:lnTo>
                      <a:pt x="36" y="56"/>
                    </a:lnTo>
                    <a:lnTo>
                      <a:pt x="22" y="56"/>
                    </a:lnTo>
                    <a:lnTo>
                      <a:pt x="16" y="52"/>
                    </a:lnTo>
                    <a:lnTo>
                      <a:pt x="4" y="50"/>
                    </a:lnTo>
                    <a:lnTo>
                      <a:pt x="4" y="42"/>
                    </a:lnTo>
                    <a:lnTo>
                      <a:pt x="12" y="36"/>
                    </a:lnTo>
                    <a:lnTo>
                      <a:pt x="16" y="32"/>
                    </a:lnTo>
                    <a:lnTo>
                      <a:pt x="14" y="24"/>
                    </a:lnTo>
                    <a:lnTo>
                      <a:pt x="28" y="18"/>
                    </a:lnTo>
                    <a:lnTo>
                      <a:pt x="50" y="8"/>
                    </a:lnTo>
                    <a:lnTo>
                      <a:pt x="72" y="4"/>
                    </a:lnTo>
                    <a:lnTo>
                      <a:pt x="74" y="12"/>
                    </a:lnTo>
                    <a:lnTo>
                      <a:pt x="72" y="16"/>
                    </a:lnTo>
                    <a:lnTo>
                      <a:pt x="68" y="20"/>
                    </a:lnTo>
                    <a:lnTo>
                      <a:pt x="80" y="24"/>
                    </a:lnTo>
                    <a:lnTo>
                      <a:pt x="86" y="12"/>
                    </a:lnTo>
                    <a:lnTo>
                      <a:pt x="100" y="16"/>
                    </a:lnTo>
                    <a:lnTo>
                      <a:pt x="114" y="20"/>
                    </a:lnTo>
                    <a:lnTo>
                      <a:pt x="112" y="26"/>
                    </a:lnTo>
                    <a:lnTo>
                      <a:pt x="112" y="30"/>
                    </a:lnTo>
                    <a:lnTo>
                      <a:pt x="120" y="28"/>
                    </a:lnTo>
                    <a:lnTo>
                      <a:pt x="132" y="28"/>
                    </a:lnTo>
                    <a:lnTo>
                      <a:pt x="134" y="20"/>
                    </a:lnTo>
                    <a:lnTo>
                      <a:pt x="128" y="16"/>
                    </a:lnTo>
                    <a:lnTo>
                      <a:pt x="132" y="14"/>
                    </a:lnTo>
                    <a:lnTo>
                      <a:pt x="144" y="18"/>
                    </a:lnTo>
                    <a:lnTo>
                      <a:pt x="150" y="28"/>
                    </a:lnTo>
                    <a:lnTo>
                      <a:pt x="154" y="38"/>
                    </a:lnTo>
                    <a:lnTo>
                      <a:pt x="160" y="48"/>
                    </a:lnTo>
                    <a:lnTo>
                      <a:pt x="170" y="44"/>
                    </a:lnTo>
                    <a:lnTo>
                      <a:pt x="164" y="36"/>
                    </a:lnTo>
                    <a:lnTo>
                      <a:pt x="160" y="18"/>
                    </a:lnTo>
                    <a:lnTo>
                      <a:pt x="158" y="8"/>
                    </a:lnTo>
                    <a:lnTo>
                      <a:pt x="166" y="4"/>
                    </a:lnTo>
                    <a:close/>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8" name="Freeform 27"/>
              <p:cNvSpPr>
                <a:spLocks/>
              </p:cNvSpPr>
              <p:nvPr/>
            </p:nvSpPr>
            <p:spPr bwMode="auto">
              <a:xfrm>
                <a:off x="1181" y="1231"/>
                <a:ext cx="258" cy="124"/>
              </a:xfrm>
              <a:custGeom>
                <a:avLst/>
                <a:gdLst>
                  <a:gd name="T0" fmla="*/ 174 w 258"/>
                  <a:gd name="T1" fmla="*/ 4 h 124"/>
                  <a:gd name="T2" fmla="*/ 196 w 258"/>
                  <a:gd name="T3" fmla="*/ 22 h 124"/>
                  <a:gd name="T4" fmla="*/ 208 w 258"/>
                  <a:gd name="T5" fmla="*/ 48 h 124"/>
                  <a:gd name="T6" fmla="*/ 206 w 258"/>
                  <a:gd name="T7" fmla="*/ 60 h 124"/>
                  <a:gd name="T8" fmla="*/ 224 w 258"/>
                  <a:gd name="T9" fmla="*/ 74 h 124"/>
                  <a:gd name="T10" fmla="*/ 244 w 258"/>
                  <a:gd name="T11" fmla="*/ 82 h 124"/>
                  <a:gd name="T12" fmla="*/ 254 w 258"/>
                  <a:gd name="T13" fmla="*/ 94 h 124"/>
                  <a:gd name="T14" fmla="*/ 230 w 258"/>
                  <a:gd name="T15" fmla="*/ 96 h 124"/>
                  <a:gd name="T16" fmla="*/ 244 w 258"/>
                  <a:gd name="T17" fmla="*/ 106 h 124"/>
                  <a:gd name="T18" fmla="*/ 238 w 258"/>
                  <a:gd name="T19" fmla="*/ 116 h 124"/>
                  <a:gd name="T20" fmla="*/ 196 w 258"/>
                  <a:gd name="T21" fmla="*/ 116 h 124"/>
                  <a:gd name="T22" fmla="*/ 184 w 258"/>
                  <a:gd name="T23" fmla="*/ 112 h 124"/>
                  <a:gd name="T24" fmla="*/ 166 w 258"/>
                  <a:gd name="T25" fmla="*/ 112 h 124"/>
                  <a:gd name="T26" fmla="*/ 138 w 258"/>
                  <a:gd name="T27" fmla="*/ 122 h 124"/>
                  <a:gd name="T28" fmla="*/ 76 w 258"/>
                  <a:gd name="T29" fmla="*/ 118 h 124"/>
                  <a:gd name="T30" fmla="*/ 36 w 258"/>
                  <a:gd name="T31" fmla="*/ 108 h 124"/>
                  <a:gd name="T32" fmla="*/ 28 w 258"/>
                  <a:gd name="T33" fmla="*/ 84 h 124"/>
                  <a:gd name="T34" fmla="*/ 72 w 258"/>
                  <a:gd name="T35" fmla="*/ 80 h 124"/>
                  <a:gd name="T36" fmla="*/ 100 w 258"/>
                  <a:gd name="T37" fmla="*/ 82 h 124"/>
                  <a:gd name="T38" fmla="*/ 78 w 258"/>
                  <a:gd name="T39" fmla="*/ 70 h 124"/>
                  <a:gd name="T40" fmla="*/ 26 w 258"/>
                  <a:gd name="T41" fmla="*/ 72 h 124"/>
                  <a:gd name="T42" fmla="*/ 12 w 258"/>
                  <a:gd name="T43" fmla="*/ 56 h 124"/>
                  <a:gd name="T44" fmla="*/ 42 w 258"/>
                  <a:gd name="T45" fmla="*/ 52 h 124"/>
                  <a:gd name="T46" fmla="*/ 42 w 258"/>
                  <a:gd name="T47" fmla="*/ 48 h 124"/>
                  <a:gd name="T48" fmla="*/ 18 w 258"/>
                  <a:gd name="T49" fmla="*/ 52 h 124"/>
                  <a:gd name="T50" fmla="*/ 0 w 258"/>
                  <a:gd name="T51" fmla="*/ 46 h 124"/>
                  <a:gd name="T52" fmla="*/ 8 w 258"/>
                  <a:gd name="T53" fmla="*/ 32 h 124"/>
                  <a:gd name="T54" fmla="*/ 10 w 258"/>
                  <a:gd name="T55" fmla="*/ 20 h 124"/>
                  <a:gd name="T56" fmla="*/ 46 w 258"/>
                  <a:gd name="T57" fmla="*/ 4 h 124"/>
                  <a:gd name="T58" fmla="*/ 70 w 258"/>
                  <a:gd name="T59" fmla="*/ 8 h 124"/>
                  <a:gd name="T60" fmla="*/ 64 w 258"/>
                  <a:gd name="T61" fmla="*/ 16 h 124"/>
                  <a:gd name="T62" fmla="*/ 82 w 258"/>
                  <a:gd name="T63" fmla="*/ 8 h 124"/>
                  <a:gd name="T64" fmla="*/ 110 w 258"/>
                  <a:gd name="T65" fmla="*/ 16 h 124"/>
                  <a:gd name="T66" fmla="*/ 108 w 258"/>
                  <a:gd name="T67" fmla="*/ 26 h 124"/>
                  <a:gd name="T68" fmla="*/ 128 w 258"/>
                  <a:gd name="T69" fmla="*/ 24 h 124"/>
                  <a:gd name="T70" fmla="*/ 124 w 258"/>
                  <a:gd name="T71" fmla="*/ 12 h 124"/>
                  <a:gd name="T72" fmla="*/ 140 w 258"/>
                  <a:gd name="T73" fmla="*/ 14 h 124"/>
                  <a:gd name="T74" fmla="*/ 150 w 258"/>
                  <a:gd name="T75" fmla="*/ 34 h 124"/>
                  <a:gd name="T76" fmla="*/ 166 w 258"/>
                  <a:gd name="T77" fmla="*/ 40 h 124"/>
                  <a:gd name="T78" fmla="*/ 156 w 258"/>
                  <a:gd name="T79" fmla="*/ 14 h 124"/>
                  <a:gd name="T80" fmla="*/ 162 w 258"/>
                  <a:gd name="T8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124">
                    <a:moveTo>
                      <a:pt x="162" y="0"/>
                    </a:moveTo>
                    <a:lnTo>
                      <a:pt x="174" y="4"/>
                    </a:lnTo>
                    <a:lnTo>
                      <a:pt x="186" y="12"/>
                    </a:lnTo>
                    <a:lnTo>
                      <a:pt x="196" y="22"/>
                    </a:lnTo>
                    <a:lnTo>
                      <a:pt x="202" y="36"/>
                    </a:lnTo>
                    <a:lnTo>
                      <a:pt x="208" y="48"/>
                    </a:lnTo>
                    <a:lnTo>
                      <a:pt x="208" y="54"/>
                    </a:lnTo>
                    <a:lnTo>
                      <a:pt x="206" y="60"/>
                    </a:lnTo>
                    <a:lnTo>
                      <a:pt x="216" y="72"/>
                    </a:lnTo>
                    <a:lnTo>
                      <a:pt x="224" y="74"/>
                    </a:lnTo>
                    <a:lnTo>
                      <a:pt x="236" y="76"/>
                    </a:lnTo>
                    <a:lnTo>
                      <a:pt x="244" y="82"/>
                    </a:lnTo>
                    <a:lnTo>
                      <a:pt x="258" y="92"/>
                    </a:lnTo>
                    <a:lnTo>
                      <a:pt x="254" y="94"/>
                    </a:lnTo>
                    <a:lnTo>
                      <a:pt x="240" y="94"/>
                    </a:lnTo>
                    <a:lnTo>
                      <a:pt x="230" y="96"/>
                    </a:lnTo>
                    <a:lnTo>
                      <a:pt x="232" y="102"/>
                    </a:lnTo>
                    <a:lnTo>
                      <a:pt x="244" y="106"/>
                    </a:lnTo>
                    <a:lnTo>
                      <a:pt x="246" y="114"/>
                    </a:lnTo>
                    <a:lnTo>
                      <a:pt x="238" y="116"/>
                    </a:lnTo>
                    <a:lnTo>
                      <a:pt x="218" y="118"/>
                    </a:lnTo>
                    <a:lnTo>
                      <a:pt x="196" y="116"/>
                    </a:lnTo>
                    <a:lnTo>
                      <a:pt x="192" y="112"/>
                    </a:lnTo>
                    <a:lnTo>
                      <a:pt x="184" y="112"/>
                    </a:lnTo>
                    <a:lnTo>
                      <a:pt x="178" y="98"/>
                    </a:lnTo>
                    <a:lnTo>
                      <a:pt x="166" y="112"/>
                    </a:lnTo>
                    <a:lnTo>
                      <a:pt x="152" y="114"/>
                    </a:lnTo>
                    <a:lnTo>
                      <a:pt x="138" y="122"/>
                    </a:lnTo>
                    <a:lnTo>
                      <a:pt x="82" y="124"/>
                    </a:lnTo>
                    <a:lnTo>
                      <a:pt x="76" y="118"/>
                    </a:lnTo>
                    <a:lnTo>
                      <a:pt x="74" y="108"/>
                    </a:lnTo>
                    <a:lnTo>
                      <a:pt x="36" y="108"/>
                    </a:lnTo>
                    <a:lnTo>
                      <a:pt x="20" y="92"/>
                    </a:lnTo>
                    <a:lnTo>
                      <a:pt x="28" y="84"/>
                    </a:lnTo>
                    <a:lnTo>
                      <a:pt x="44" y="82"/>
                    </a:lnTo>
                    <a:lnTo>
                      <a:pt x="72" y="80"/>
                    </a:lnTo>
                    <a:lnTo>
                      <a:pt x="90" y="82"/>
                    </a:lnTo>
                    <a:lnTo>
                      <a:pt x="100" y="82"/>
                    </a:lnTo>
                    <a:lnTo>
                      <a:pt x="94" y="74"/>
                    </a:lnTo>
                    <a:lnTo>
                      <a:pt x="78" y="70"/>
                    </a:lnTo>
                    <a:lnTo>
                      <a:pt x="48" y="72"/>
                    </a:lnTo>
                    <a:lnTo>
                      <a:pt x="26" y="72"/>
                    </a:lnTo>
                    <a:lnTo>
                      <a:pt x="10" y="68"/>
                    </a:lnTo>
                    <a:lnTo>
                      <a:pt x="12" y="56"/>
                    </a:lnTo>
                    <a:lnTo>
                      <a:pt x="28" y="56"/>
                    </a:lnTo>
                    <a:lnTo>
                      <a:pt x="42" y="52"/>
                    </a:lnTo>
                    <a:lnTo>
                      <a:pt x="50" y="50"/>
                    </a:lnTo>
                    <a:lnTo>
                      <a:pt x="42" y="48"/>
                    </a:lnTo>
                    <a:lnTo>
                      <a:pt x="32" y="52"/>
                    </a:lnTo>
                    <a:lnTo>
                      <a:pt x="18" y="52"/>
                    </a:lnTo>
                    <a:lnTo>
                      <a:pt x="12" y="48"/>
                    </a:lnTo>
                    <a:lnTo>
                      <a:pt x="0" y="46"/>
                    </a:lnTo>
                    <a:lnTo>
                      <a:pt x="0" y="38"/>
                    </a:lnTo>
                    <a:lnTo>
                      <a:pt x="8" y="32"/>
                    </a:lnTo>
                    <a:lnTo>
                      <a:pt x="12" y="28"/>
                    </a:lnTo>
                    <a:lnTo>
                      <a:pt x="10" y="20"/>
                    </a:lnTo>
                    <a:lnTo>
                      <a:pt x="24" y="14"/>
                    </a:lnTo>
                    <a:lnTo>
                      <a:pt x="46" y="4"/>
                    </a:lnTo>
                    <a:lnTo>
                      <a:pt x="68" y="0"/>
                    </a:lnTo>
                    <a:lnTo>
                      <a:pt x="70" y="8"/>
                    </a:lnTo>
                    <a:lnTo>
                      <a:pt x="68" y="12"/>
                    </a:lnTo>
                    <a:lnTo>
                      <a:pt x="64" y="16"/>
                    </a:lnTo>
                    <a:lnTo>
                      <a:pt x="76" y="20"/>
                    </a:lnTo>
                    <a:lnTo>
                      <a:pt x="82" y="8"/>
                    </a:lnTo>
                    <a:lnTo>
                      <a:pt x="96" y="12"/>
                    </a:lnTo>
                    <a:lnTo>
                      <a:pt x="110" y="16"/>
                    </a:lnTo>
                    <a:lnTo>
                      <a:pt x="108" y="22"/>
                    </a:lnTo>
                    <a:lnTo>
                      <a:pt x="108" y="26"/>
                    </a:lnTo>
                    <a:lnTo>
                      <a:pt x="116" y="24"/>
                    </a:lnTo>
                    <a:lnTo>
                      <a:pt x="128" y="24"/>
                    </a:lnTo>
                    <a:lnTo>
                      <a:pt x="130" y="16"/>
                    </a:lnTo>
                    <a:lnTo>
                      <a:pt x="124" y="12"/>
                    </a:lnTo>
                    <a:lnTo>
                      <a:pt x="128" y="10"/>
                    </a:lnTo>
                    <a:lnTo>
                      <a:pt x="140" y="14"/>
                    </a:lnTo>
                    <a:lnTo>
                      <a:pt x="146" y="24"/>
                    </a:lnTo>
                    <a:lnTo>
                      <a:pt x="150" y="34"/>
                    </a:lnTo>
                    <a:lnTo>
                      <a:pt x="156" y="44"/>
                    </a:lnTo>
                    <a:lnTo>
                      <a:pt x="166" y="40"/>
                    </a:lnTo>
                    <a:lnTo>
                      <a:pt x="160" y="32"/>
                    </a:lnTo>
                    <a:lnTo>
                      <a:pt x="156" y="14"/>
                    </a:lnTo>
                    <a:lnTo>
                      <a:pt x="154" y="4"/>
                    </a:lnTo>
                    <a:lnTo>
                      <a:pt x="1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9" name="Freeform 28"/>
              <p:cNvSpPr>
                <a:spLocks/>
              </p:cNvSpPr>
              <p:nvPr/>
            </p:nvSpPr>
            <p:spPr bwMode="auto">
              <a:xfrm>
                <a:off x="1177" y="1227"/>
                <a:ext cx="266" cy="132"/>
              </a:xfrm>
              <a:custGeom>
                <a:avLst/>
                <a:gdLst>
                  <a:gd name="T0" fmla="*/ 48 w 266"/>
                  <a:gd name="T1" fmla="*/ 4 h 132"/>
                  <a:gd name="T2" fmla="*/ 12 w 266"/>
                  <a:gd name="T3" fmla="*/ 20 h 132"/>
                  <a:gd name="T4" fmla="*/ 10 w 266"/>
                  <a:gd name="T5" fmla="*/ 30 h 132"/>
                  <a:gd name="T6" fmla="*/ 0 w 266"/>
                  <a:gd name="T7" fmla="*/ 42 h 132"/>
                  <a:gd name="T8" fmla="*/ 4 w 266"/>
                  <a:gd name="T9" fmla="*/ 54 h 132"/>
                  <a:gd name="T10" fmla="*/ 16 w 266"/>
                  <a:gd name="T11" fmla="*/ 56 h 132"/>
                  <a:gd name="T12" fmla="*/ 10 w 266"/>
                  <a:gd name="T13" fmla="*/ 70 h 132"/>
                  <a:gd name="T14" fmla="*/ 28 w 266"/>
                  <a:gd name="T15" fmla="*/ 80 h 132"/>
                  <a:gd name="T16" fmla="*/ 52 w 266"/>
                  <a:gd name="T17" fmla="*/ 80 h 132"/>
                  <a:gd name="T18" fmla="*/ 78 w 266"/>
                  <a:gd name="T19" fmla="*/ 80 h 132"/>
                  <a:gd name="T20" fmla="*/ 76 w 266"/>
                  <a:gd name="T21" fmla="*/ 80 h 132"/>
                  <a:gd name="T22" fmla="*/ 28 w 266"/>
                  <a:gd name="T23" fmla="*/ 84 h 132"/>
                  <a:gd name="T24" fmla="*/ 22 w 266"/>
                  <a:gd name="T25" fmla="*/ 98 h 132"/>
                  <a:gd name="T26" fmla="*/ 76 w 266"/>
                  <a:gd name="T27" fmla="*/ 116 h 132"/>
                  <a:gd name="T28" fmla="*/ 82 w 266"/>
                  <a:gd name="T29" fmla="*/ 130 h 132"/>
                  <a:gd name="T30" fmla="*/ 86 w 266"/>
                  <a:gd name="T31" fmla="*/ 132 h 132"/>
                  <a:gd name="T32" fmla="*/ 158 w 266"/>
                  <a:gd name="T33" fmla="*/ 122 h 132"/>
                  <a:gd name="T34" fmla="*/ 180 w 266"/>
                  <a:gd name="T35" fmla="*/ 110 h 132"/>
                  <a:gd name="T36" fmla="*/ 188 w 266"/>
                  <a:gd name="T37" fmla="*/ 120 h 132"/>
                  <a:gd name="T38" fmla="*/ 200 w 266"/>
                  <a:gd name="T39" fmla="*/ 124 h 132"/>
                  <a:gd name="T40" fmla="*/ 222 w 266"/>
                  <a:gd name="T41" fmla="*/ 126 h 132"/>
                  <a:gd name="T42" fmla="*/ 242 w 266"/>
                  <a:gd name="T43" fmla="*/ 124 h 132"/>
                  <a:gd name="T44" fmla="*/ 254 w 266"/>
                  <a:gd name="T45" fmla="*/ 120 h 132"/>
                  <a:gd name="T46" fmla="*/ 248 w 266"/>
                  <a:gd name="T47" fmla="*/ 106 h 132"/>
                  <a:gd name="T48" fmla="*/ 258 w 266"/>
                  <a:gd name="T49" fmla="*/ 102 h 132"/>
                  <a:gd name="T50" fmla="*/ 266 w 266"/>
                  <a:gd name="T51" fmla="*/ 94 h 132"/>
                  <a:gd name="T52" fmla="*/ 242 w 266"/>
                  <a:gd name="T53" fmla="*/ 78 h 132"/>
                  <a:gd name="T54" fmla="*/ 222 w 266"/>
                  <a:gd name="T55" fmla="*/ 72 h 132"/>
                  <a:gd name="T56" fmla="*/ 216 w 266"/>
                  <a:gd name="T57" fmla="*/ 58 h 132"/>
                  <a:gd name="T58" fmla="*/ 208 w 266"/>
                  <a:gd name="T59" fmla="*/ 38 h 132"/>
                  <a:gd name="T60" fmla="*/ 194 w 266"/>
                  <a:gd name="T61" fmla="*/ 12 h 132"/>
                  <a:gd name="T62" fmla="*/ 180 w 266"/>
                  <a:gd name="T63" fmla="*/ 4 h 132"/>
                  <a:gd name="T64" fmla="*/ 166 w 266"/>
                  <a:gd name="T65" fmla="*/ 0 h 132"/>
                  <a:gd name="T66" fmla="*/ 156 w 266"/>
                  <a:gd name="T67" fmla="*/ 4 h 132"/>
                  <a:gd name="T68" fmla="*/ 160 w 266"/>
                  <a:gd name="T69" fmla="*/ 36 h 132"/>
                  <a:gd name="T70" fmla="*/ 162 w 266"/>
                  <a:gd name="T71" fmla="*/ 42 h 132"/>
                  <a:gd name="T72" fmla="*/ 154 w 266"/>
                  <a:gd name="T73" fmla="*/ 26 h 132"/>
                  <a:gd name="T74" fmla="*/ 134 w 266"/>
                  <a:gd name="T75" fmla="*/ 10 h 132"/>
                  <a:gd name="T76" fmla="*/ 132 w 266"/>
                  <a:gd name="T77" fmla="*/ 10 h 132"/>
                  <a:gd name="T78" fmla="*/ 124 w 266"/>
                  <a:gd name="T79" fmla="*/ 14 h 132"/>
                  <a:gd name="T80" fmla="*/ 120 w 266"/>
                  <a:gd name="T81" fmla="*/ 24 h 132"/>
                  <a:gd name="T82" fmla="*/ 118 w 266"/>
                  <a:gd name="T83" fmla="*/ 22 h 132"/>
                  <a:gd name="T84" fmla="*/ 116 w 266"/>
                  <a:gd name="T85" fmla="*/ 16 h 132"/>
                  <a:gd name="T86" fmla="*/ 86 w 266"/>
                  <a:gd name="T87" fmla="*/ 8 h 132"/>
                  <a:gd name="T88" fmla="*/ 84 w 266"/>
                  <a:gd name="T89" fmla="*/ 8 h 132"/>
                  <a:gd name="T90" fmla="*/ 74 w 266"/>
                  <a:gd name="T91" fmla="*/ 18 h 132"/>
                  <a:gd name="T92" fmla="*/ 76 w 266"/>
                  <a:gd name="T93" fmla="*/ 14 h 132"/>
                  <a:gd name="T94" fmla="*/ 74 w 266"/>
                  <a:gd name="T95"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6" h="132">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0" name="Freeform 29"/>
              <p:cNvSpPr>
                <a:spLocks/>
              </p:cNvSpPr>
              <p:nvPr/>
            </p:nvSpPr>
            <p:spPr bwMode="auto">
              <a:xfrm>
                <a:off x="1201" y="1129"/>
                <a:ext cx="172" cy="76"/>
              </a:xfrm>
              <a:custGeom>
                <a:avLst/>
                <a:gdLst>
                  <a:gd name="T0" fmla="*/ 54 w 172"/>
                  <a:gd name="T1" fmla="*/ 72 h 76"/>
                  <a:gd name="T2" fmla="*/ 46 w 172"/>
                  <a:gd name="T3" fmla="*/ 64 h 76"/>
                  <a:gd name="T4" fmla="*/ 46 w 172"/>
                  <a:gd name="T5" fmla="*/ 62 h 76"/>
                  <a:gd name="T6" fmla="*/ 58 w 172"/>
                  <a:gd name="T7" fmla="*/ 56 h 76"/>
                  <a:gd name="T8" fmla="*/ 86 w 172"/>
                  <a:gd name="T9" fmla="*/ 54 h 76"/>
                  <a:gd name="T10" fmla="*/ 52 w 172"/>
                  <a:gd name="T11" fmla="*/ 52 h 76"/>
                  <a:gd name="T12" fmla="*/ 54 w 172"/>
                  <a:gd name="T13" fmla="*/ 46 h 76"/>
                  <a:gd name="T14" fmla="*/ 46 w 172"/>
                  <a:gd name="T15" fmla="*/ 54 h 76"/>
                  <a:gd name="T16" fmla="*/ 30 w 172"/>
                  <a:gd name="T17" fmla="*/ 58 h 76"/>
                  <a:gd name="T18" fmla="*/ 28 w 172"/>
                  <a:gd name="T19" fmla="*/ 58 h 76"/>
                  <a:gd name="T20" fmla="*/ 4 w 172"/>
                  <a:gd name="T21" fmla="*/ 54 h 76"/>
                  <a:gd name="T22" fmla="*/ 0 w 172"/>
                  <a:gd name="T23" fmla="*/ 44 h 76"/>
                  <a:gd name="T24" fmla="*/ 2 w 172"/>
                  <a:gd name="T25" fmla="*/ 42 h 76"/>
                  <a:gd name="T26" fmla="*/ 6 w 172"/>
                  <a:gd name="T27" fmla="*/ 40 h 76"/>
                  <a:gd name="T28" fmla="*/ 4 w 172"/>
                  <a:gd name="T29" fmla="*/ 38 h 76"/>
                  <a:gd name="T30" fmla="*/ 12 w 172"/>
                  <a:gd name="T31" fmla="*/ 32 h 76"/>
                  <a:gd name="T32" fmla="*/ 16 w 172"/>
                  <a:gd name="T33" fmla="*/ 30 h 76"/>
                  <a:gd name="T34" fmla="*/ 14 w 172"/>
                  <a:gd name="T35" fmla="*/ 28 h 76"/>
                  <a:gd name="T36" fmla="*/ 18 w 172"/>
                  <a:gd name="T37" fmla="*/ 20 h 76"/>
                  <a:gd name="T38" fmla="*/ 46 w 172"/>
                  <a:gd name="T39" fmla="*/ 12 h 76"/>
                  <a:gd name="T40" fmla="*/ 54 w 172"/>
                  <a:gd name="T41" fmla="*/ 18 h 76"/>
                  <a:gd name="T42" fmla="*/ 68 w 172"/>
                  <a:gd name="T43" fmla="*/ 18 h 76"/>
                  <a:gd name="T44" fmla="*/ 90 w 172"/>
                  <a:gd name="T45" fmla="*/ 32 h 76"/>
                  <a:gd name="T46" fmla="*/ 92 w 172"/>
                  <a:gd name="T47" fmla="*/ 38 h 76"/>
                  <a:gd name="T48" fmla="*/ 120 w 172"/>
                  <a:gd name="T49" fmla="*/ 36 h 76"/>
                  <a:gd name="T50" fmla="*/ 104 w 172"/>
                  <a:gd name="T51" fmla="*/ 32 h 76"/>
                  <a:gd name="T52" fmla="*/ 114 w 172"/>
                  <a:gd name="T53" fmla="*/ 26 h 76"/>
                  <a:gd name="T54" fmla="*/ 104 w 172"/>
                  <a:gd name="T55" fmla="*/ 20 h 76"/>
                  <a:gd name="T56" fmla="*/ 104 w 172"/>
                  <a:gd name="T57" fmla="*/ 18 h 76"/>
                  <a:gd name="T58" fmla="*/ 116 w 172"/>
                  <a:gd name="T59" fmla="*/ 0 h 76"/>
                  <a:gd name="T60" fmla="*/ 118 w 172"/>
                  <a:gd name="T61" fmla="*/ 0 h 76"/>
                  <a:gd name="T62" fmla="*/ 128 w 172"/>
                  <a:gd name="T63" fmla="*/ 2 h 76"/>
                  <a:gd name="T64" fmla="*/ 134 w 172"/>
                  <a:gd name="T65" fmla="*/ 14 h 76"/>
                  <a:gd name="T66" fmla="*/ 134 w 172"/>
                  <a:gd name="T67" fmla="*/ 26 h 76"/>
                  <a:gd name="T68" fmla="*/ 152 w 172"/>
                  <a:gd name="T69" fmla="*/ 26 h 76"/>
                  <a:gd name="T70" fmla="*/ 166 w 172"/>
                  <a:gd name="T71" fmla="*/ 24 h 76"/>
                  <a:gd name="T72" fmla="*/ 172 w 172"/>
                  <a:gd name="T73" fmla="*/ 30 h 76"/>
                  <a:gd name="T74" fmla="*/ 172 w 172"/>
                  <a:gd name="T75" fmla="*/ 44 h 76"/>
                  <a:gd name="T76" fmla="*/ 164 w 172"/>
                  <a:gd name="T77" fmla="*/ 54 h 76"/>
                  <a:gd name="T78" fmla="*/ 152 w 172"/>
                  <a:gd name="T79" fmla="*/ 60 h 76"/>
                  <a:gd name="T80" fmla="*/ 150 w 172"/>
                  <a:gd name="T81" fmla="*/ 60 h 76"/>
                  <a:gd name="T82" fmla="*/ 122 w 172"/>
                  <a:gd name="T83" fmla="*/ 60 h 76"/>
                  <a:gd name="T84" fmla="*/ 68 w 172"/>
                  <a:gd name="T85" fmla="*/ 76 h 76"/>
                  <a:gd name="T86" fmla="*/ 68 w 172"/>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76">
                    <a:moveTo>
                      <a:pt x="68" y="76"/>
                    </a:moveTo>
                    <a:lnTo>
                      <a:pt x="54" y="72"/>
                    </a:lnTo>
                    <a:lnTo>
                      <a:pt x="54" y="72"/>
                    </a:lnTo>
                    <a:lnTo>
                      <a:pt x="52" y="72"/>
                    </a:lnTo>
                    <a:lnTo>
                      <a:pt x="46" y="64"/>
                    </a:lnTo>
                    <a:lnTo>
                      <a:pt x="46" y="64"/>
                    </a:lnTo>
                    <a:lnTo>
                      <a:pt x="44" y="64"/>
                    </a:lnTo>
                    <a:lnTo>
                      <a:pt x="44" y="64"/>
                    </a:lnTo>
                    <a:lnTo>
                      <a:pt x="46" y="62"/>
                    </a:lnTo>
                    <a:lnTo>
                      <a:pt x="56" y="56"/>
                    </a:lnTo>
                    <a:lnTo>
                      <a:pt x="56" y="56"/>
                    </a:lnTo>
                    <a:lnTo>
                      <a:pt x="58" y="56"/>
                    </a:lnTo>
                    <a:lnTo>
                      <a:pt x="74" y="56"/>
                    </a:lnTo>
                    <a:lnTo>
                      <a:pt x="86" y="54"/>
                    </a:lnTo>
                    <a:lnTo>
                      <a:pt x="86" y="54"/>
                    </a:lnTo>
                    <a:lnTo>
                      <a:pt x="54" y="54"/>
                    </a:lnTo>
                    <a:lnTo>
                      <a:pt x="54" y="54"/>
                    </a:lnTo>
                    <a:lnTo>
                      <a:pt x="52" y="52"/>
                    </a:lnTo>
                    <a:lnTo>
                      <a:pt x="52" y="52"/>
                    </a:lnTo>
                    <a:lnTo>
                      <a:pt x="52" y="50"/>
                    </a:lnTo>
                    <a:lnTo>
                      <a:pt x="54" y="46"/>
                    </a:lnTo>
                    <a:lnTo>
                      <a:pt x="50" y="48"/>
                    </a:lnTo>
                    <a:lnTo>
                      <a:pt x="46" y="54"/>
                    </a:lnTo>
                    <a:lnTo>
                      <a:pt x="46" y="54"/>
                    </a:lnTo>
                    <a:lnTo>
                      <a:pt x="46" y="54"/>
                    </a:lnTo>
                    <a:lnTo>
                      <a:pt x="30" y="58"/>
                    </a:lnTo>
                    <a:lnTo>
                      <a:pt x="30" y="58"/>
                    </a:lnTo>
                    <a:lnTo>
                      <a:pt x="30" y="58"/>
                    </a:lnTo>
                    <a:lnTo>
                      <a:pt x="30" y="58"/>
                    </a:lnTo>
                    <a:lnTo>
                      <a:pt x="28" y="58"/>
                    </a:lnTo>
                    <a:lnTo>
                      <a:pt x="20" y="54"/>
                    </a:lnTo>
                    <a:lnTo>
                      <a:pt x="4" y="54"/>
                    </a:lnTo>
                    <a:lnTo>
                      <a:pt x="4" y="54"/>
                    </a:lnTo>
                    <a:lnTo>
                      <a:pt x="2" y="52"/>
                    </a:lnTo>
                    <a:lnTo>
                      <a:pt x="0" y="44"/>
                    </a:lnTo>
                    <a:lnTo>
                      <a:pt x="0" y="44"/>
                    </a:lnTo>
                    <a:lnTo>
                      <a:pt x="0" y="42"/>
                    </a:lnTo>
                    <a:lnTo>
                      <a:pt x="0" y="42"/>
                    </a:lnTo>
                    <a:lnTo>
                      <a:pt x="2" y="42"/>
                    </a:lnTo>
                    <a:lnTo>
                      <a:pt x="8" y="42"/>
                    </a:lnTo>
                    <a:lnTo>
                      <a:pt x="6" y="40"/>
                    </a:lnTo>
                    <a:lnTo>
                      <a:pt x="6" y="40"/>
                    </a:lnTo>
                    <a:lnTo>
                      <a:pt x="4" y="40"/>
                    </a:lnTo>
                    <a:lnTo>
                      <a:pt x="4" y="40"/>
                    </a:lnTo>
                    <a:lnTo>
                      <a:pt x="4" y="38"/>
                    </a:lnTo>
                    <a:lnTo>
                      <a:pt x="10" y="32"/>
                    </a:lnTo>
                    <a:lnTo>
                      <a:pt x="10" y="32"/>
                    </a:lnTo>
                    <a:lnTo>
                      <a:pt x="12" y="32"/>
                    </a:lnTo>
                    <a:lnTo>
                      <a:pt x="20" y="30"/>
                    </a:lnTo>
                    <a:lnTo>
                      <a:pt x="16" y="30"/>
                    </a:lnTo>
                    <a:lnTo>
                      <a:pt x="16" y="30"/>
                    </a:lnTo>
                    <a:lnTo>
                      <a:pt x="14" y="28"/>
                    </a:lnTo>
                    <a:lnTo>
                      <a:pt x="14" y="28"/>
                    </a:lnTo>
                    <a:lnTo>
                      <a:pt x="14" y="28"/>
                    </a:lnTo>
                    <a:lnTo>
                      <a:pt x="16" y="22"/>
                    </a:lnTo>
                    <a:lnTo>
                      <a:pt x="16" y="22"/>
                    </a:lnTo>
                    <a:lnTo>
                      <a:pt x="18" y="20"/>
                    </a:lnTo>
                    <a:lnTo>
                      <a:pt x="32" y="14"/>
                    </a:lnTo>
                    <a:lnTo>
                      <a:pt x="32" y="14"/>
                    </a:lnTo>
                    <a:lnTo>
                      <a:pt x="46" y="12"/>
                    </a:lnTo>
                    <a:lnTo>
                      <a:pt x="46" y="12"/>
                    </a:lnTo>
                    <a:lnTo>
                      <a:pt x="48" y="12"/>
                    </a:lnTo>
                    <a:lnTo>
                      <a:pt x="54" y="18"/>
                    </a:lnTo>
                    <a:lnTo>
                      <a:pt x="60" y="18"/>
                    </a:lnTo>
                    <a:lnTo>
                      <a:pt x="68" y="18"/>
                    </a:lnTo>
                    <a:lnTo>
                      <a:pt x="68" y="18"/>
                    </a:lnTo>
                    <a:lnTo>
                      <a:pt x="68" y="18"/>
                    </a:lnTo>
                    <a:lnTo>
                      <a:pt x="82" y="24"/>
                    </a:lnTo>
                    <a:lnTo>
                      <a:pt x="90" y="32"/>
                    </a:lnTo>
                    <a:lnTo>
                      <a:pt x="90" y="32"/>
                    </a:lnTo>
                    <a:lnTo>
                      <a:pt x="92" y="34"/>
                    </a:lnTo>
                    <a:lnTo>
                      <a:pt x="92" y="38"/>
                    </a:lnTo>
                    <a:lnTo>
                      <a:pt x="92" y="38"/>
                    </a:lnTo>
                    <a:lnTo>
                      <a:pt x="120" y="38"/>
                    </a:lnTo>
                    <a:lnTo>
                      <a:pt x="120" y="36"/>
                    </a:lnTo>
                    <a:lnTo>
                      <a:pt x="106" y="34"/>
                    </a:lnTo>
                    <a:lnTo>
                      <a:pt x="106" y="34"/>
                    </a:lnTo>
                    <a:lnTo>
                      <a:pt x="104" y="32"/>
                    </a:lnTo>
                    <a:lnTo>
                      <a:pt x="104" y="32"/>
                    </a:lnTo>
                    <a:lnTo>
                      <a:pt x="106" y="30"/>
                    </a:lnTo>
                    <a:lnTo>
                      <a:pt x="114" y="26"/>
                    </a:lnTo>
                    <a:lnTo>
                      <a:pt x="114" y="24"/>
                    </a:lnTo>
                    <a:lnTo>
                      <a:pt x="104" y="20"/>
                    </a:lnTo>
                    <a:lnTo>
                      <a:pt x="104" y="20"/>
                    </a:lnTo>
                    <a:lnTo>
                      <a:pt x="104" y="20"/>
                    </a:lnTo>
                    <a:lnTo>
                      <a:pt x="104" y="20"/>
                    </a:lnTo>
                    <a:lnTo>
                      <a:pt x="104" y="18"/>
                    </a:lnTo>
                    <a:lnTo>
                      <a:pt x="108" y="10"/>
                    </a:lnTo>
                    <a:lnTo>
                      <a:pt x="116" y="0"/>
                    </a:lnTo>
                    <a:lnTo>
                      <a:pt x="116" y="0"/>
                    </a:lnTo>
                    <a:lnTo>
                      <a:pt x="118" y="0"/>
                    </a:lnTo>
                    <a:lnTo>
                      <a:pt x="118" y="0"/>
                    </a:lnTo>
                    <a:lnTo>
                      <a:pt x="118" y="0"/>
                    </a:lnTo>
                    <a:lnTo>
                      <a:pt x="126" y="2"/>
                    </a:lnTo>
                    <a:lnTo>
                      <a:pt x="126" y="2"/>
                    </a:lnTo>
                    <a:lnTo>
                      <a:pt x="128" y="2"/>
                    </a:lnTo>
                    <a:lnTo>
                      <a:pt x="130" y="8"/>
                    </a:lnTo>
                    <a:lnTo>
                      <a:pt x="134" y="14"/>
                    </a:lnTo>
                    <a:lnTo>
                      <a:pt x="134" y="14"/>
                    </a:lnTo>
                    <a:lnTo>
                      <a:pt x="136" y="16"/>
                    </a:lnTo>
                    <a:lnTo>
                      <a:pt x="134" y="20"/>
                    </a:lnTo>
                    <a:lnTo>
                      <a:pt x="134" y="26"/>
                    </a:lnTo>
                    <a:lnTo>
                      <a:pt x="146" y="30"/>
                    </a:lnTo>
                    <a:lnTo>
                      <a:pt x="150" y="30"/>
                    </a:lnTo>
                    <a:lnTo>
                      <a:pt x="152" y="26"/>
                    </a:lnTo>
                    <a:lnTo>
                      <a:pt x="152" y="26"/>
                    </a:lnTo>
                    <a:lnTo>
                      <a:pt x="154" y="24"/>
                    </a:lnTo>
                    <a:lnTo>
                      <a:pt x="166" y="24"/>
                    </a:lnTo>
                    <a:lnTo>
                      <a:pt x="166" y="24"/>
                    </a:lnTo>
                    <a:lnTo>
                      <a:pt x="166" y="24"/>
                    </a:lnTo>
                    <a:lnTo>
                      <a:pt x="172" y="30"/>
                    </a:lnTo>
                    <a:lnTo>
                      <a:pt x="172" y="30"/>
                    </a:lnTo>
                    <a:lnTo>
                      <a:pt x="172" y="32"/>
                    </a:lnTo>
                    <a:lnTo>
                      <a:pt x="172" y="44"/>
                    </a:lnTo>
                    <a:lnTo>
                      <a:pt x="172" y="44"/>
                    </a:lnTo>
                    <a:lnTo>
                      <a:pt x="172" y="46"/>
                    </a:lnTo>
                    <a:lnTo>
                      <a:pt x="164" y="54"/>
                    </a:lnTo>
                    <a:lnTo>
                      <a:pt x="164" y="54"/>
                    </a:lnTo>
                    <a:lnTo>
                      <a:pt x="164" y="54"/>
                    </a:lnTo>
                    <a:lnTo>
                      <a:pt x="152" y="60"/>
                    </a:lnTo>
                    <a:lnTo>
                      <a:pt x="152" y="60"/>
                    </a:lnTo>
                    <a:lnTo>
                      <a:pt x="150" y="60"/>
                    </a:lnTo>
                    <a:lnTo>
                      <a:pt x="150" y="60"/>
                    </a:lnTo>
                    <a:lnTo>
                      <a:pt x="150" y="60"/>
                    </a:lnTo>
                    <a:lnTo>
                      <a:pt x="134" y="56"/>
                    </a:lnTo>
                    <a:lnTo>
                      <a:pt x="122" y="60"/>
                    </a:lnTo>
                    <a:lnTo>
                      <a:pt x="104" y="62"/>
                    </a:lnTo>
                    <a:lnTo>
                      <a:pt x="88" y="70"/>
                    </a:lnTo>
                    <a:lnTo>
                      <a:pt x="68" y="76"/>
                    </a:lnTo>
                    <a:lnTo>
                      <a:pt x="68" y="76"/>
                    </a:lnTo>
                    <a:lnTo>
                      <a:pt x="68" y="76"/>
                    </a:lnTo>
                    <a:lnTo>
                      <a:pt x="68" y="76"/>
                    </a:lnTo>
                    <a:lnTo>
                      <a:pt x="68" y="76"/>
                    </a:lnTo>
                    <a:lnTo>
                      <a:pt x="68"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1" name="Freeform 30"/>
              <p:cNvSpPr>
                <a:spLocks noEditPoints="1"/>
              </p:cNvSpPr>
              <p:nvPr/>
            </p:nvSpPr>
            <p:spPr bwMode="auto">
              <a:xfrm>
                <a:off x="1199" y="1127"/>
                <a:ext cx="176" cy="80"/>
              </a:xfrm>
              <a:custGeom>
                <a:avLst/>
                <a:gdLst>
                  <a:gd name="T0" fmla="*/ 136 w 176"/>
                  <a:gd name="T1" fmla="*/ 18 h 80"/>
                  <a:gd name="T2" fmla="*/ 152 w 176"/>
                  <a:gd name="T3" fmla="*/ 34 h 80"/>
                  <a:gd name="T4" fmla="*/ 172 w 176"/>
                  <a:gd name="T5" fmla="*/ 46 h 80"/>
                  <a:gd name="T6" fmla="*/ 122 w 176"/>
                  <a:gd name="T7" fmla="*/ 60 h 80"/>
                  <a:gd name="T8" fmla="*/ 56 w 176"/>
                  <a:gd name="T9" fmla="*/ 72 h 80"/>
                  <a:gd name="T10" fmla="*/ 90 w 176"/>
                  <a:gd name="T11" fmla="*/ 58 h 80"/>
                  <a:gd name="T12" fmla="*/ 60 w 176"/>
                  <a:gd name="T13" fmla="*/ 46 h 80"/>
                  <a:gd name="T14" fmla="*/ 22 w 176"/>
                  <a:gd name="T15" fmla="*/ 54 h 80"/>
                  <a:gd name="T16" fmla="*/ 8 w 176"/>
                  <a:gd name="T17" fmla="*/ 40 h 80"/>
                  <a:gd name="T18" fmla="*/ 20 w 176"/>
                  <a:gd name="T19" fmla="*/ 24 h 80"/>
                  <a:gd name="T20" fmla="*/ 56 w 176"/>
                  <a:gd name="T21" fmla="*/ 22 h 80"/>
                  <a:gd name="T22" fmla="*/ 92 w 176"/>
                  <a:gd name="T23" fmla="*/ 36 h 80"/>
                  <a:gd name="T24" fmla="*/ 124 w 176"/>
                  <a:gd name="T25" fmla="*/ 42 h 80"/>
                  <a:gd name="T26" fmla="*/ 118 w 176"/>
                  <a:gd name="T27" fmla="*/ 24 h 80"/>
                  <a:gd name="T28" fmla="*/ 120 w 176"/>
                  <a:gd name="T29" fmla="*/ 0 h 80"/>
                  <a:gd name="T30" fmla="*/ 110 w 176"/>
                  <a:gd name="T31" fmla="*/ 10 h 80"/>
                  <a:gd name="T32" fmla="*/ 104 w 176"/>
                  <a:gd name="T33" fmla="*/ 22 h 80"/>
                  <a:gd name="T34" fmla="*/ 108 w 176"/>
                  <a:gd name="T35" fmla="*/ 30 h 80"/>
                  <a:gd name="T36" fmla="*/ 104 w 176"/>
                  <a:gd name="T37" fmla="*/ 34 h 80"/>
                  <a:gd name="T38" fmla="*/ 96 w 176"/>
                  <a:gd name="T39" fmla="*/ 38 h 80"/>
                  <a:gd name="T40" fmla="*/ 84 w 176"/>
                  <a:gd name="T41" fmla="*/ 26 h 80"/>
                  <a:gd name="T42" fmla="*/ 72 w 176"/>
                  <a:gd name="T43" fmla="*/ 18 h 80"/>
                  <a:gd name="T44" fmla="*/ 62 w 176"/>
                  <a:gd name="T45" fmla="*/ 18 h 80"/>
                  <a:gd name="T46" fmla="*/ 48 w 176"/>
                  <a:gd name="T47" fmla="*/ 12 h 80"/>
                  <a:gd name="T48" fmla="*/ 34 w 176"/>
                  <a:gd name="T49" fmla="*/ 14 h 80"/>
                  <a:gd name="T50" fmla="*/ 18 w 176"/>
                  <a:gd name="T51" fmla="*/ 22 h 80"/>
                  <a:gd name="T52" fmla="*/ 14 w 176"/>
                  <a:gd name="T53" fmla="*/ 32 h 80"/>
                  <a:gd name="T54" fmla="*/ 6 w 176"/>
                  <a:gd name="T55" fmla="*/ 38 h 80"/>
                  <a:gd name="T56" fmla="*/ 4 w 176"/>
                  <a:gd name="T57" fmla="*/ 42 h 80"/>
                  <a:gd name="T58" fmla="*/ 2 w 176"/>
                  <a:gd name="T59" fmla="*/ 44 h 80"/>
                  <a:gd name="T60" fmla="*/ 4 w 176"/>
                  <a:gd name="T61" fmla="*/ 56 h 80"/>
                  <a:gd name="T62" fmla="*/ 30 w 176"/>
                  <a:gd name="T63" fmla="*/ 62 h 80"/>
                  <a:gd name="T64" fmla="*/ 48 w 176"/>
                  <a:gd name="T65" fmla="*/ 58 h 80"/>
                  <a:gd name="T66" fmla="*/ 52 w 176"/>
                  <a:gd name="T67" fmla="*/ 54 h 80"/>
                  <a:gd name="T68" fmla="*/ 56 w 176"/>
                  <a:gd name="T69" fmla="*/ 58 h 80"/>
                  <a:gd name="T70" fmla="*/ 44 w 176"/>
                  <a:gd name="T71" fmla="*/ 64 h 80"/>
                  <a:gd name="T72" fmla="*/ 54 w 176"/>
                  <a:gd name="T73" fmla="*/ 76 h 80"/>
                  <a:gd name="T74" fmla="*/ 70 w 176"/>
                  <a:gd name="T75" fmla="*/ 80 h 80"/>
                  <a:gd name="T76" fmla="*/ 92 w 176"/>
                  <a:gd name="T77" fmla="*/ 74 h 80"/>
                  <a:gd name="T78" fmla="*/ 124 w 176"/>
                  <a:gd name="T79" fmla="*/ 64 h 80"/>
                  <a:gd name="T80" fmla="*/ 152 w 176"/>
                  <a:gd name="T81" fmla="*/ 64 h 80"/>
                  <a:gd name="T82" fmla="*/ 166 w 176"/>
                  <a:gd name="T83" fmla="*/ 58 h 80"/>
                  <a:gd name="T84" fmla="*/ 176 w 176"/>
                  <a:gd name="T85" fmla="*/ 46 h 80"/>
                  <a:gd name="T86" fmla="*/ 170 w 176"/>
                  <a:gd name="T87" fmla="*/ 26 h 80"/>
                  <a:gd name="T88" fmla="*/ 156 w 176"/>
                  <a:gd name="T89" fmla="*/ 24 h 80"/>
                  <a:gd name="T90" fmla="*/ 138 w 176"/>
                  <a:gd name="T91" fmla="*/ 26 h 80"/>
                  <a:gd name="T92" fmla="*/ 138 w 176"/>
                  <a:gd name="T93" fmla="*/ 16 h 80"/>
                  <a:gd name="T94" fmla="*/ 130 w 176"/>
                  <a:gd name="T95" fmla="*/ 2 h 80"/>
                  <a:gd name="T96" fmla="*/ 120 w 176"/>
                  <a:gd name="T9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 h="80">
                    <a:moveTo>
                      <a:pt x="120" y="4"/>
                    </a:moveTo>
                    <a:lnTo>
                      <a:pt x="128" y="6"/>
                    </a:lnTo>
                    <a:lnTo>
                      <a:pt x="130" y="10"/>
                    </a:lnTo>
                    <a:lnTo>
                      <a:pt x="136" y="18"/>
                    </a:lnTo>
                    <a:lnTo>
                      <a:pt x="134" y="22"/>
                    </a:lnTo>
                    <a:lnTo>
                      <a:pt x="136" y="30"/>
                    </a:lnTo>
                    <a:lnTo>
                      <a:pt x="148" y="34"/>
                    </a:lnTo>
                    <a:lnTo>
                      <a:pt x="152" y="34"/>
                    </a:lnTo>
                    <a:lnTo>
                      <a:pt x="156" y="28"/>
                    </a:lnTo>
                    <a:lnTo>
                      <a:pt x="168" y="28"/>
                    </a:lnTo>
                    <a:lnTo>
                      <a:pt x="172" y="34"/>
                    </a:lnTo>
                    <a:lnTo>
                      <a:pt x="172" y="46"/>
                    </a:lnTo>
                    <a:lnTo>
                      <a:pt x="166" y="54"/>
                    </a:lnTo>
                    <a:lnTo>
                      <a:pt x="152" y="60"/>
                    </a:lnTo>
                    <a:lnTo>
                      <a:pt x="136" y="54"/>
                    </a:lnTo>
                    <a:lnTo>
                      <a:pt x="122" y="60"/>
                    </a:lnTo>
                    <a:lnTo>
                      <a:pt x="106" y="62"/>
                    </a:lnTo>
                    <a:lnTo>
                      <a:pt x="90" y="70"/>
                    </a:lnTo>
                    <a:lnTo>
                      <a:pt x="70" y="76"/>
                    </a:lnTo>
                    <a:lnTo>
                      <a:pt x="56" y="72"/>
                    </a:lnTo>
                    <a:lnTo>
                      <a:pt x="48" y="66"/>
                    </a:lnTo>
                    <a:lnTo>
                      <a:pt x="60" y="60"/>
                    </a:lnTo>
                    <a:lnTo>
                      <a:pt x="76" y="60"/>
                    </a:lnTo>
                    <a:lnTo>
                      <a:pt x="90" y="58"/>
                    </a:lnTo>
                    <a:lnTo>
                      <a:pt x="92" y="54"/>
                    </a:lnTo>
                    <a:lnTo>
                      <a:pt x="76" y="54"/>
                    </a:lnTo>
                    <a:lnTo>
                      <a:pt x="56" y="54"/>
                    </a:lnTo>
                    <a:lnTo>
                      <a:pt x="60" y="46"/>
                    </a:lnTo>
                    <a:lnTo>
                      <a:pt x="50" y="48"/>
                    </a:lnTo>
                    <a:lnTo>
                      <a:pt x="46" y="54"/>
                    </a:lnTo>
                    <a:lnTo>
                      <a:pt x="32" y="58"/>
                    </a:lnTo>
                    <a:lnTo>
                      <a:pt x="22" y="54"/>
                    </a:lnTo>
                    <a:lnTo>
                      <a:pt x="6" y="54"/>
                    </a:lnTo>
                    <a:lnTo>
                      <a:pt x="4" y="46"/>
                    </a:lnTo>
                    <a:lnTo>
                      <a:pt x="20" y="44"/>
                    </a:lnTo>
                    <a:lnTo>
                      <a:pt x="8" y="40"/>
                    </a:lnTo>
                    <a:lnTo>
                      <a:pt x="14" y="36"/>
                    </a:lnTo>
                    <a:lnTo>
                      <a:pt x="34" y="34"/>
                    </a:lnTo>
                    <a:lnTo>
                      <a:pt x="18" y="30"/>
                    </a:lnTo>
                    <a:lnTo>
                      <a:pt x="20" y="24"/>
                    </a:lnTo>
                    <a:lnTo>
                      <a:pt x="28" y="22"/>
                    </a:lnTo>
                    <a:lnTo>
                      <a:pt x="34" y="18"/>
                    </a:lnTo>
                    <a:lnTo>
                      <a:pt x="48" y="16"/>
                    </a:lnTo>
                    <a:lnTo>
                      <a:pt x="56" y="22"/>
                    </a:lnTo>
                    <a:lnTo>
                      <a:pt x="62" y="22"/>
                    </a:lnTo>
                    <a:lnTo>
                      <a:pt x="70" y="22"/>
                    </a:lnTo>
                    <a:lnTo>
                      <a:pt x="82" y="28"/>
                    </a:lnTo>
                    <a:lnTo>
                      <a:pt x="92" y="36"/>
                    </a:lnTo>
                    <a:lnTo>
                      <a:pt x="92" y="38"/>
                    </a:lnTo>
                    <a:lnTo>
                      <a:pt x="92" y="40"/>
                    </a:lnTo>
                    <a:lnTo>
                      <a:pt x="92" y="42"/>
                    </a:lnTo>
                    <a:lnTo>
                      <a:pt x="124" y="42"/>
                    </a:lnTo>
                    <a:lnTo>
                      <a:pt x="124" y="38"/>
                    </a:lnTo>
                    <a:lnTo>
                      <a:pt x="108" y="34"/>
                    </a:lnTo>
                    <a:lnTo>
                      <a:pt x="120" y="28"/>
                    </a:lnTo>
                    <a:lnTo>
                      <a:pt x="118" y="24"/>
                    </a:lnTo>
                    <a:lnTo>
                      <a:pt x="108" y="22"/>
                    </a:lnTo>
                    <a:lnTo>
                      <a:pt x="112" y="12"/>
                    </a:lnTo>
                    <a:lnTo>
                      <a:pt x="120" y="4"/>
                    </a:lnTo>
                    <a:close/>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2" name="Freeform 31"/>
              <p:cNvSpPr>
                <a:spLocks/>
              </p:cNvSpPr>
              <p:nvPr/>
            </p:nvSpPr>
            <p:spPr bwMode="auto">
              <a:xfrm>
                <a:off x="1203" y="1131"/>
                <a:ext cx="168" cy="72"/>
              </a:xfrm>
              <a:custGeom>
                <a:avLst/>
                <a:gdLst>
                  <a:gd name="T0" fmla="*/ 116 w 168"/>
                  <a:gd name="T1" fmla="*/ 0 h 72"/>
                  <a:gd name="T2" fmla="*/ 124 w 168"/>
                  <a:gd name="T3" fmla="*/ 2 h 72"/>
                  <a:gd name="T4" fmla="*/ 126 w 168"/>
                  <a:gd name="T5" fmla="*/ 6 h 72"/>
                  <a:gd name="T6" fmla="*/ 132 w 168"/>
                  <a:gd name="T7" fmla="*/ 14 h 72"/>
                  <a:gd name="T8" fmla="*/ 130 w 168"/>
                  <a:gd name="T9" fmla="*/ 18 h 72"/>
                  <a:gd name="T10" fmla="*/ 132 w 168"/>
                  <a:gd name="T11" fmla="*/ 26 h 72"/>
                  <a:gd name="T12" fmla="*/ 144 w 168"/>
                  <a:gd name="T13" fmla="*/ 30 h 72"/>
                  <a:gd name="T14" fmla="*/ 148 w 168"/>
                  <a:gd name="T15" fmla="*/ 30 h 72"/>
                  <a:gd name="T16" fmla="*/ 152 w 168"/>
                  <a:gd name="T17" fmla="*/ 24 h 72"/>
                  <a:gd name="T18" fmla="*/ 164 w 168"/>
                  <a:gd name="T19" fmla="*/ 24 h 72"/>
                  <a:gd name="T20" fmla="*/ 168 w 168"/>
                  <a:gd name="T21" fmla="*/ 30 h 72"/>
                  <a:gd name="T22" fmla="*/ 168 w 168"/>
                  <a:gd name="T23" fmla="*/ 42 h 72"/>
                  <a:gd name="T24" fmla="*/ 162 w 168"/>
                  <a:gd name="T25" fmla="*/ 50 h 72"/>
                  <a:gd name="T26" fmla="*/ 148 w 168"/>
                  <a:gd name="T27" fmla="*/ 56 h 72"/>
                  <a:gd name="T28" fmla="*/ 132 w 168"/>
                  <a:gd name="T29" fmla="*/ 50 h 72"/>
                  <a:gd name="T30" fmla="*/ 118 w 168"/>
                  <a:gd name="T31" fmla="*/ 56 h 72"/>
                  <a:gd name="T32" fmla="*/ 102 w 168"/>
                  <a:gd name="T33" fmla="*/ 58 h 72"/>
                  <a:gd name="T34" fmla="*/ 86 w 168"/>
                  <a:gd name="T35" fmla="*/ 66 h 72"/>
                  <a:gd name="T36" fmla="*/ 66 w 168"/>
                  <a:gd name="T37" fmla="*/ 72 h 72"/>
                  <a:gd name="T38" fmla="*/ 52 w 168"/>
                  <a:gd name="T39" fmla="*/ 68 h 72"/>
                  <a:gd name="T40" fmla="*/ 44 w 168"/>
                  <a:gd name="T41" fmla="*/ 62 h 72"/>
                  <a:gd name="T42" fmla="*/ 56 w 168"/>
                  <a:gd name="T43" fmla="*/ 56 h 72"/>
                  <a:gd name="T44" fmla="*/ 72 w 168"/>
                  <a:gd name="T45" fmla="*/ 56 h 72"/>
                  <a:gd name="T46" fmla="*/ 86 w 168"/>
                  <a:gd name="T47" fmla="*/ 54 h 72"/>
                  <a:gd name="T48" fmla="*/ 88 w 168"/>
                  <a:gd name="T49" fmla="*/ 50 h 72"/>
                  <a:gd name="T50" fmla="*/ 72 w 168"/>
                  <a:gd name="T51" fmla="*/ 50 h 72"/>
                  <a:gd name="T52" fmla="*/ 52 w 168"/>
                  <a:gd name="T53" fmla="*/ 50 h 72"/>
                  <a:gd name="T54" fmla="*/ 56 w 168"/>
                  <a:gd name="T55" fmla="*/ 42 h 72"/>
                  <a:gd name="T56" fmla="*/ 46 w 168"/>
                  <a:gd name="T57" fmla="*/ 44 h 72"/>
                  <a:gd name="T58" fmla="*/ 42 w 168"/>
                  <a:gd name="T59" fmla="*/ 50 h 72"/>
                  <a:gd name="T60" fmla="*/ 28 w 168"/>
                  <a:gd name="T61" fmla="*/ 54 h 72"/>
                  <a:gd name="T62" fmla="*/ 18 w 168"/>
                  <a:gd name="T63" fmla="*/ 50 h 72"/>
                  <a:gd name="T64" fmla="*/ 2 w 168"/>
                  <a:gd name="T65" fmla="*/ 50 h 72"/>
                  <a:gd name="T66" fmla="*/ 0 w 168"/>
                  <a:gd name="T67" fmla="*/ 42 h 72"/>
                  <a:gd name="T68" fmla="*/ 16 w 168"/>
                  <a:gd name="T69" fmla="*/ 40 h 72"/>
                  <a:gd name="T70" fmla="*/ 4 w 168"/>
                  <a:gd name="T71" fmla="*/ 36 h 72"/>
                  <a:gd name="T72" fmla="*/ 10 w 168"/>
                  <a:gd name="T73" fmla="*/ 32 h 72"/>
                  <a:gd name="T74" fmla="*/ 30 w 168"/>
                  <a:gd name="T75" fmla="*/ 30 h 72"/>
                  <a:gd name="T76" fmla="*/ 14 w 168"/>
                  <a:gd name="T77" fmla="*/ 26 h 72"/>
                  <a:gd name="T78" fmla="*/ 16 w 168"/>
                  <a:gd name="T79" fmla="*/ 20 h 72"/>
                  <a:gd name="T80" fmla="*/ 24 w 168"/>
                  <a:gd name="T81" fmla="*/ 18 h 72"/>
                  <a:gd name="T82" fmla="*/ 30 w 168"/>
                  <a:gd name="T83" fmla="*/ 14 h 72"/>
                  <a:gd name="T84" fmla="*/ 44 w 168"/>
                  <a:gd name="T85" fmla="*/ 12 h 72"/>
                  <a:gd name="T86" fmla="*/ 52 w 168"/>
                  <a:gd name="T87" fmla="*/ 18 h 72"/>
                  <a:gd name="T88" fmla="*/ 58 w 168"/>
                  <a:gd name="T89" fmla="*/ 18 h 72"/>
                  <a:gd name="T90" fmla="*/ 66 w 168"/>
                  <a:gd name="T91" fmla="*/ 18 h 72"/>
                  <a:gd name="T92" fmla="*/ 78 w 168"/>
                  <a:gd name="T93" fmla="*/ 24 h 72"/>
                  <a:gd name="T94" fmla="*/ 88 w 168"/>
                  <a:gd name="T95" fmla="*/ 32 h 72"/>
                  <a:gd name="T96" fmla="*/ 88 w 168"/>
                  <a:gd name="T97" fmla="*/ 34 h 72"/>
                  <a:gd name="T98" fmla="*/ 88 w 168"/>
                  <a:gd name="T99" fmla="*/ 36 h 72"/>
                  <a:gd name="T100" fmla="*/ 88 w 168"/>
                  <a:gd name="T101" fmla="*/ 38 h 72"/>
                  <a:gd name="T102" fmla="*/ 120 w 168"/>
                  <a:gd name="T103" fmla="*/ 38 h 72"/>
                  <a:gd name="T104" fmla="*/ 120 w 168"/>
                  <a:gd name="T105" fmla="*/ 34 h 72"/>
                  <a:gd name="T106" fmla="*/ 104 w 168"/>
                  <a:gd name="T107" fmla="*/ 30 h 72"/>
                  <a:gd name="T108" fmla="*/ 116 w 168"/>
                  <a:gd name="T109" fmla="*/ 24 h 72"/>
                  <a:gd name="T110" fmla="*/ 114 w 168"/>
                  <a:gd name="T111" fmla="*/ 20 h 72"/>
                  <a:gd name="T112" fmla="*/ 104 w 168"/>
                  <a:gd name="T113" fmla="*/ 18 h 72"/>
                  <a:gd name="T114" fmla="*/ 108 w 168"/>
                  <a:gd name="T115" fmla="*/ 8 h 72"/>
                  <a:gd name="T116" fmla="*/ 116 w 168"/>
                  <a:gd name="T1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72">
                    <a:moveTo>
                      <a:pt x="116" y="0"/>
                    </a:moveTo>
                    <a:lnTo>
                      <a:pt x="124" y="2"/>
                    </a:lnTo>
                    <a:lnTo>
                      <a:pt x="126" y="6"/>
                    </a:lnTo>
                    <a:lnTo>
                      <a:pt x="132" y="14"/>
                    </a:lnTo>
                    <a:lnTo>
                      <a:pt x="130" y="18"/>
                    </a:lnTo>
                    <a:lnTo>
                      <a:pt x="132" y="26"/>
                    </a:lnTo>
                    <a:lnTo>
                      <a:pt x="144" y="30"/>
                    </a:lnTo>
                    <a:lnTo>
                      <a:pt x="148" y="30"/>
                    </a:lnTo>
                    <a:lnTo>
                      <a:pt x="152" y="24"/>
                    </a:lnTo>
                    <a:lnTo>
                      <a:pt x="164" y="24"/>
                    </a:lnTo>
                    <a:lnTo>
                      <a:pt x="168" y="30"/>
                    </a:lnTo>
                    <a:lnTo>
                      <a:pt x="168" y="42"/>
                    </a:lnTo>
                    <a:lnTo>
                      <a:pt x="162" y="50"/>
                    </a:lnTo>
                    <a:lnTo>
                      <a:pt x="148" y="56"/>
                    </a:lnTo>
                    <a:lnTo>
                      <a:pt x="132" y="50"/>
                    </a:lnTo>
                    <a:lnTo>
                      <a:pt x="118" y="56"/>
                    </a:lnTo>
                    <a:lnTo>
                      <a:pt x="102" y="58"/>
                    </a:lnTo>
                    <a:lnTo>
                      <a:pt x="86" y="66"/>
                    </a:lnTo>
                    <a:lnTo>
                      <a:pt x="66" y="72"/>
                    </a:lnTo>
                    <a:lnTo>
                      <a:pt x="52" y="68"/>
                    </a:lnTo>
                    <a:lnTo>
                      <a:pt x="44" y="62"/>
                    </a:lnTo>
                    <a:lnTo>
                      <a:pt x="56" y="56"/>
                    </a:lnTo>
                    <a:lnTo>
                      <a:pt x="72" y="56"/>
                    </a:lnTo>
                    <a:lnTo>
                      <a:pt x="86" y="54"/>
                    </a:lnTo>
                    <a:lnTo>
                      <a:pt x="88" y="50"/>
                    </a:lnTo>
                    <a:lnTo>
                      <a:pt x="72" y="50"/>
                    </a:lnTo>
                    <a:lnTo>
                      <a:pt x="52" y="50"/>
                    </a:lnTo>
                    <a:lnTo>
                      <a:pt x="56" y="42"/>
                    </a:lnTo>
                    <a:lnTo>
                      <a:pt x="46" y="44"/>
                    </a:lnTo>
                    <a:lnTo>
                      <a:pt x="42" y="50"/>
                    </a:lnTo>
                    <a:lnTo>
                      <a:pt x="28" y="54"/>
                    </a:lnTo>
                    <a:lnTo>
                      <a:pt x="18" y="50"/>
                    </a:lnTo>
                    <a:lnTo>
                      <a:pt x="2" y="50"/>
                    </a:lnTo>
                    <a:lnTo>
                      <a:pt x="0" y="42"/>
                    </a:lnTo>
                    <a:lnTo>
                      <a:pt x="16" y="40"/>
                    </a:lnTo>
                    <a:lnTo>
                      <a:pt x="4" y="36"/>
                    </a:lnTo>
                    <a:lnTo>
                      <a:pt x="10" y="32"/>
                    </a:lnTo>
                    <a:lnTo>
                      <a:pt x="30" y="30"/>
                    </a:lnTo>
                    <a:lnTo>
                      <a:pt x="14" y="26"/>
                    </a:lnTo>
                    <a:lnTo>
                      <a:pt x="16" y="20"/>
                    </a:lnTo>
                    <a:lnTo>
                      <a:pt x="24" y="18"/>
                    </a:lnTo>
                    <a:lnTo>
                      <a:pt x="30" y="14"/>
                    </a:lnTo>
                    <a:lnTo>
                      <a:pt x="44" y="12"/>
                    </a:lnTo>
                    <a:lnTo>
                      <a:pt x="52" y="18"/>
                    </a:lnTo>
                    <a:lnTo>
                      <a:pt x="58" y="18"/>
                    </a:lnTo>
                    <a:lnTo>
                      <a:pt x="66" y="18"/>
                    </a:lnTo>
                    <a:lnTo>
                      <a:pt x="78" y="24"/>
                    </a:lnTo>
                    <a:lnTo>
                      <a:pt x="88" y="32"/>
                    </a:lnTo>
                    <a:lnTo>
                      <a:pt x="88" y="34"/>
                    </a:lnTo>
                    <a:lnTo>
                      <a:pt x="88" y="36"/>
                    </a:lnTo>
                    <a:lnTo>
                      <a:pt x="88" y="38"/>
                    </a:lnTo>
                    <a:lnTo>
                      <a:pt x="120" y="38"/>
                    </a:lnTo>
                    <a:lnTo>
                      <a:pt x="120" y="34"/>
                    </a:lnTo>
                    <a:lnTo>
                      <a:pt x="104" y="30"/>
                    </a:lnTo>
                    <a:lnTo>
                      <a:pt x="116" y="24"/>
                    </a:lnTo>
                    <a:lnTo>
                      <a:pt x="114" y="20"/>
                    </a:lnTo>
                    <a:lnTo>
                      <a:pt x="104" y="18"/>
                    </a:lnTo>
                    <a:lnTo>
                      <a:pt x="108" y="8"/>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3" name="Freeform 32"/>
              <p:cNvSpPr>
                <a:spLocks/>
              </p:cNvSpPr>
              <p:nvPr/>
            </p:nvSpPr>
            <p:spPr bwMode="auto">
              <a:xfrm>
                <a:off x="1199" y="1127"/>
                <a:ext cx="176" cy="80"/>
              </a:xfrm>
              <a:custGeom>
                <a:avLst/>
                <a:gdLst>
                  <a:gd name="T0" fmla="*/ 116 w 176"/>
                  <a:gd name="T1" fmla="*/ 0 h 80"/>
                  <a:gd name="T2" fmla="*/ 108 w 176"/>
                  <a:gd name="T3" fmla="*/ 10 h 80"/>
                  <a:gd name="T4" fmla="*/ 104 w 176"/>
                  <a:gd name="T5" fmla="*/ 22 h 80"/>
                  <a:gd name="T6" fmla="*/ 112 w 176"/>
                  <a:gd name="T7" fmla="*/ 28 h 80"/>
                  <a:gd name="T8" fmla="*/ 106 w 176"/>
                  <a:gd name="T9" fmla="*/ 32 h 80"/>
                  <a:gd name="T10" fmla="*/ 106 w 176"/>
                  <a:gd name="T11" fmla="*/ 36 h 80"/>
                  <a:gd name="T12" fmla="*/ 96 w 176"/>
                  <a:gd name="T13" fmla="*/ 38 h 80"/>
                  <a:gd name="T14" fmla="*/ 94 w 176"/>
                  <a:gd name="T15" fmla="*/ 32 h 80"/>
                  <a:gd name="T16" fmla="*/ 84 w 176"/>
                  <a:gd name="T17" fmla="*/ 24 h 80"/>
                  <a:gd name="T18" fmla="*/ 70 w 176"/>
                  <a:gd name="T19" fmla="*/ 18 h 80"/>
                  <a:gd name="T20" fmla="*/ 62 w 176"/>
                  <a:gd name="T21" fmla="*/ 18 h 80"/>
                  <a:gd name="T22" fmla="*/ 52 w 176"/>
                  <a:gd name="T23" fmla="*/ 12 h 80"/>
                  <a:gd name="T24" fmla="*/ 48 w 176"/>
                  <a:gd name="T25" fmla="*/ 12 h 80"/>
                  <a:gd name="T26" fmla="*/ 32 w 176"/>
                  <a:gd name="T27" fmla="*/ 14 h 80"/>
                  <a:gd name="T28" fmla="*/ 18 w 176"/>
                  <a:gd name="T29" fmla="*/ 22 h 80"/>
                  <a:gd name="T30" fmla="*/ 14 w 176"/>
                  <a:gd name="T31" fmla="*/ 28 h 80"/>
                  <a:gd name="T32" fmla="*/ 14 w 176"/>
                  <a:gd name="T33" fmla="*/ 32 h 80"/>
                  <a:gd name="T34" fmla="*/ 6 w 176"/>
                  <a:gd name="T35" fmla="*/ 38 h 80"/>
                  <a:gd name="T36" fmla="*/ 4 w 176"/>
                  <a:gd name="T37" fmla="*/ 42 h 80"/>
                  <a:gd name="T38" fmla="*/ 2 w 176"/>
                  <a:gd name="T39" fmla="*/ 44 h 80"/>
                  <a:gd name="T40" fmla="*/ 2 w 176"/>
                  <a:gd name="T41" fmla="*/ 54 h 80"/>
                  <a:gd name="T42" fmla="*/ 6 w 176"/>
                  <a:gd name="T43" fmla="*/ 58 h 80"/>
                  <a:gd name="T44" fmla="*/ 30 w 176"/>
                  <a:gd name="T45" fmla="*/ 62 h 80"/>
                  <a:gd name="T46" fmla="*/ 32 w 176"/>
                  <a:gd name="T47" fmla="*/ 62 h 80"/>
                  <a:gd name="T48" fmla="*/ 50 w 176"/>
                  <a:gd name="T49" fmla="*/ 56 h 80"/>
                  <a:gd name="T50" fmla="*/ 52 w 176"/>
                  <a:gd name="T51" fmla="*/ 56 h 80"/>
                  <a:gd name="T52" fmla="*/ 56 w 176"/>
                  <a:gd name="T53" fmla="*/ 58 h 80"/>
                  <a:gd name="T54" fmla="*/ 44 w 176"/>
                  <a:gd name="T55" fmla="*/ 64 h 80"/>
                  <a:gd name="T56" fmla="*/ 52 w 176"/>
                  <a:gd name="T57" fmla="*/ 76 h 80"/>
                  <a:gd name="T58" fmla="*/ 68 w 176"/>
                  <a:gd name="T59" fmla="*/ 80 h 80"/>
                  <a:gd name="T60" fmla="*/ 70 w 176"/>
                  <a:gd name="T61" fmla="*/ 80 h 80"/>
                  <a:gd name="T62" fmla="*/ 90 w 176"/>
                  <a:gd name="T63" fmla="*/ 74 h 80"/>
                  <a:gd name="T64" fmla="*/ 124 w 176"/>
                  <a:gd name="T65" fmla="*/ 64 h 80"/>
                  <a:gd name="T66" fmla="*/ 136 w 176"/>
                  <a:gd name="T67" fmla="*/ 60 h 80"/>
                  <a:gd name="T68" fmla="*/ 152 w 176"/>
                  <a:gd name="T69" fmla="*/ 64 h 80"/>
                  <a:gd name="T70" fmla="*/ 166 w 176"/>
                  <a:gd name="T71" fmla="*/ 58 h 80"/>
                  <a:gd name="T72" fmla="*/ 176 w 176"/>
                  <a:gd name="T73" fmla="*/ 48 h 80"/>
                  <a:gd name="T74" fmla="*/ 176 w 176"/>
                  <a:gd name="T75" fmla="*/ 34 h 80"/>
                  <a:gd name="T76" fmla="*/ 170 w 176"/>
                  <a:gd name="T77" fmla="*/ 26 h 80"/>
                  <a:gd name="T78" fmla="*/ 156 w 176"/>
                  <a:gd name="T79" fmla="*/ 24 h 80"/>
                  <a:gd name="T80" fmla="*/ 150 w 176"/>
                  <a:gd name="T81" fmla="*/ 30 h 80"/>
                  <a:gd name="T82" fmla="*/ 138 w 176"/>
                  <a:gd name="T83" fmla="*/ 24 h 80"/>
                  <a:gd name="T84" fmla="*/ 138 w 176"/>
                  <a:gd name="T85" fmla="*/ 16 h 80"/>
                  <a:gd name="T86" fmla="*/ 132 w 176"/>
                  <a:gd name="T87" fmla="*/ 4 h 80"/>
                  <a:gd name="T88" fmla="*/ 120 w 176"/>
                  <a:gd name="T8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80">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4" name="Freeform 33"/>
              <p:cNvSpPr>
                <a:spLocks/>
              </p:cNvSpPr>
              <p:nvPr/>
            </p:nvSpPr>
            <p:spPr bwMode="auto">
              <a:xfrm>
                <a:off x="1369" y="1049"/>
                <a:ext cx="100" cy="56"/>
              </a:xfrm>
              <a:custGeom>
                <a:avLst/>
                <a:gdLst>
                  <a:gd name="T0" fmla="*/ 76 w 100"/>
                  <a:gd name="T1" fmla="*/ 56 h 56"/>
                  <a:gd name="T2" fmla="*/ 76 w 100"/>
                  <a:gd name="T3" fmla="*/ 56 h 56"/>
                  <a:gd name="T4" fmla="*/ 74 w 100"/>
                  <a:gd name="T5" fmla="*/ 54 h 56"/>
                  <a:gd name="T6" fmla="*/ 68 w 100"/>
                  <a:gd name="T7" fmla="*/ 46 h 56"/>
                  <a:gd name="T8" fmla="*/ 60 w 100"/>
                  <a:gd name="T9" fmla="*/ 40 h 56"/>
                  <a:gd name="T10" fmla="*/ 48 w 100"/>
                  <a:gd name="T11" fmla="*/ 40 h 56"/>
                  <a:gd name="T12" fmla="*/ 34 w 100"/>
                  <a:gd name="T13" fmla="*/ 40 h 56"/>
                  <a:gd name="T14" fmla="*/ 20 w 100"/>
                  <a:gd name="T15" fmla="*/ 42 h 56"/>
                  <a:gd name="T16" fmla="*/ 10 w 100"/>
                  <a:gd name="T17" fmla="*/ 40 h 56"/>
                  <a:gd name="T18" fmla="*/ 10 w 100"/>
                  <a:gd name="T19" fmla="*/ 40 h 56"/>
                  <a:gd name="T20" fmla="*/ 8 w 100"/>
                  <a:gd name="T21" fmla="*/ 40 h 56"/>
                  <a:gd name="T22" fmla="*/ 8 w 100"/>
                  <a:gd name="T23" fmla="*/ 40 h 56"/>
                  <a:gd name="T24" fmla="*/ 8 w 100"/>
                  <a:gd name="T25" fmla="*/ 38 h 56"/>
                  <a:gd name="T26" fmla="*/ 10 w 100"/>
                  <a:gd name="T27" fmla="*/ 30 h 56"/>
                  <a:gd name="T28" fmla="*/ 10 w 100"/>
                  <a:gd name="T29" fmla="*/ 30 h 56"/>
                  <a:gd name="T30" fmla="*/ 10 w 100"/>
                  <a:gd name="T31" fmla="*/ 28 h 56"/>
                  <a:gd name="T32" fmla="*/ 18 w 100"/>
                  <a:gd name="T33" fmla="*/ 26 h 56"/>
                  <a:gd name="T34" fmla="*/ 30 w 100"/>
                  <a:gd name="T35" fmla="*/ 28 h 56"/>
                  <a:gd name="T36" fmla="*/ 24 w 100"/>
                  <a:gd name="T37" fmla="*/ 22 h 56"/>
                  <a:gd name="T38" fmla="*/ 16 w 100"/>
                  <a:gd name="T39" fmla="*/ 20 h 56"/>
                  <a:gd name="T40" fmla="*/ 2 w 100"/>
                  <a:gd name="T41" fmla="*/ 16 h 56"/>
                  <a:gd name="T42" fmla="*/ 2 w 100"/>
                  <a:gd name="T43" fmla="*/ 16 h 56"/>
                  <a:gd name="T44" fmla="*/ 0 w 100"/>
                  <a:gd name="T45" fmla="*/ 14 h 56"/>
                  <a:gd name="T46" fmla="*/ 0 w 100"/>
                  <a:gd name="T47" fmla="*/ 4 h 56"/>
                  <a:gd name="T48" fmla="*/ 0 w 100"/>
                  <a:gd name="T49" fmla="*/ 4 h 56"/>
                  <a:gd name="T50" fmla="*/ 2 w 100"/>
                  <a:gd name="T51" fmla="*/ 2 h 56"/>
                  <a:gd name="T52" fmla="*/ 18 w 100"/>
                  <a:gd name="T53" fmla="*/ 0 h 56"/>
                  <a:gd name="T54" fmla="*/ 38 w 100"/>
                  <a:gd name="T55" fmla="*/ 2 h 56"/>
                  <a:gd name="T56" fmla="*/ 38 w 100"/>
                  <a:gd name="T57" fmla="*/ 2 h 56"/>
                  <a:gd name="T58" fmla="*/ 40 w 100"/>
                  <a:gd name="T59" fmla="*/ 4 h 56"/>
                  <a:gd name="T60" fmla="*/ 42 w 100"/>
                  <a:gd name="T61" fmla="*/ 12 h 56"/>
                  <a:gd name="T62" fmla="*/ 42 w 100"/>
                  <a:gd name="T63" fmla="*/ 16 h 56"/>
                  <a:gd name="T64" fmla="*/ 46 w 100"/>
                  <a:gd name="T65" fmla="*/ 10 h 56"/>
                  <a:gd name="T66" fmla="*/ 46 w 100"/>
                  <a:gd name="T67" fmla="*/ 10 h 56"/>
                  <a:gd name="T68" fmla="*/ 48 w 100"/>
                  <a:gd name="T69" fmla="*/ 10 h 56"/>
                  <a:gd name="T70" fmla="*/ 48 w 100"/>
                  <a:gd name="T71" fmla="*/ 10 h 56"/>
                  <a:gd name="T72" fmla="*/ 60 w 100"/>
                  <a:gd name="T73" fmla="*/ 12 h 56"/>
                  <a:gd name="T74" fmla="*/ 60 w 100"/>
                  <a:gd name="T75" fmla="*/ 12 h 56"/>
                  <a:gd name="T76" fmla="*/ 62 w 100"/>
                  <a:gd name="T77" fmla="*/ 12 h 56"/>
                  <a:gd name="T78" fmla="*/ 66 w 100"/>
                  <a:gd name="T79" fmla="*/ 18 h 56"/>
                  <a:gd name="T80" fmla="*/ 74 w 100"/>
                  <a:gd name="T81" fmla="*/ 18 h 56"/>
                  <a:gd name="T82" fmla="*/ 74 w 100"/>
                  <a:gd name="T83" fmla="*/ 18 h 56"/>
                  <a:gd name="T84" fmla="*/ 76 w 100"/>
                  <a:gd name="T85" fmla="*/ 20 h 56"/>
                  <a:gd name="T86" fmla="*/ 84 w 100"/>
                  <a:gd name="T87" fmla="*/ 26 h 56"/>
                  <a:gd name="T88" fmla="*/ 84 w 100"/>
                  <a:gd name="T89" fmla="*/ 26 h 56"/>
                  <a:gd name="T90" fmla="*/ 86 w 100"/>
                  <a:gd name="T91" fmla="*/ 28 h 56"/>
                  <a:gd name="T92" fmla="*/ 88 w 100"/>
                  <a:gd name="T93" fmla="*/ 36 h 56"/>
                  <a:gd name="T94" fmla="*/ 98 w 100"/>
                  <a:gd name="T95" fmla="*/ 44 h 56"/>
                  <a:gd name="T96" fmla="*/ 98 w 100"/>
                  <a:gd name="T97" fmla="*/ 44 h 56"/>
                  <a:gd name="T98" fmla="*/ 100 w 100"/>
                  <a:gd name="T99" fmla="*/ 46 h 56"/>
                  <a:gd name="T100" fmla="*/ 100 w 100"/>
                  <a:gd name="T101" fmla="*/ 46 h 56"/>
                  <a:gd name="T102" fmla="*/ 98 w 100"/>
                  <a:gd name="T103" fmla="*/ 48 h 56"/>
                  <a:gd name="T104" fmla="*/ 92 w 100"/>
                  <a:gd name="T105" fmla="*/ 54 h 56"/>
                  <a:gd name="T106" fmla="*/ 92 w 100"/>
                  <a:gd name="T107" fmla="*/ 54 h 56"/>
                  <a:gd name="T108" fmla="*/ 90 w 100"/>
                  <a:gd name="T109" fmla="*/ 56 h 56"/>
                  <a:gd name="T110" fmla="*/ 76 w 100"/>
                  <a:gd name="T11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56">
                    <a:moveTo>
                      <a:pt x="76" y="56"/>
                    </a:moveTo>
                    <a:lnTo>
                      <a:pt x="76" y="56"/>
                    </a:lnTo>
                    <a:lnTo>
                      <a:pt x="74" y="54"/>
                    </a:lnTo>
                    <a:lnTo>
                      <a:pt x="68" y="46"/>
                    </a:lnTo>
                    <a:lnTo>
                      <a:pt x="60" y="40"/>
                    </a:lnTo>
                    <a:lnTo>
                      <a:pt x="48" y="40"/>
                    </a:lnTo>
                    <a:lnTo>
                      <a:pt x="34" y="40"/>
                    </a:lnTo>
                    <a:lnTo>
                      <a:pt x="20" y="42"/>
                    </a:lnTo>
                    <a:lnTo>
                      <a:pt x="10" y="40"/>
                    </a:lnTo>
                    <a:lnTo>
                      <a:pt x="10" y="40"/>
                    </a:lnTo>
                    <a:lnTo>
                      <a:pt x="8" y="40"/>
                    </a:lnTo>
                    <a:lnTo>
                      <a:pt x="8" y="40"/>
                    </a:lnTo>
                    <a:lnTo>
                      <a:pt x="8" y="38"/>
                    </a:lnTo>
                    <a:lnTo>
                      <a:pt x="10" y="30"/>
                    </a:lnTo>
                    <a:lnTo>
                      <a:pt x="10" y="30"/>
                    </a:lnTo>
                    <a:lnTo>
                      <a:pt x="10" y="28"/>
                    </a:lnTo>
                    <a:lnTo>
                      <a:pt x="18" y="26"/>
                    </a:lnTo>
                    <a:lnTo>
                      <a:pt x="30" y="28"/>
                    </a:lnTo>
                    <a:lnTo>
                      <a:pt x="24" y="22"/>
                    </a:lnTo>
                    <a:lnTo>
                      <a:pt x="16" y="20"/>
                    </a:lnTo>
                    <a:lnTo>
                      <a:pt x="2" y="16"/>
                    </a:lnTo>
                    <a:lnTo>
                      <a:pt x="2" y="16"/>
                    </a:lnTo>
                    <a:lnTo>
                      <a:pt x="0" y="14"/>
                    </a:lnTo>
                    <a:lnTo>
                      <a:pt x="0" y="4"/>
                    </a:lnTo>
                    <a:lnTo>
                      <a:pt x="0" y="4"/>
                    </a:lnTo>
                    <a:lnTo>
                      <a:pt x="2" y="2"/>
                    </a:lnTo>
                    <a:lnTo>
                      <a:pt x="18" y="0"/>
                    </a:lnTo>
                    <a:lnTo>
                      <a:pt x="38" y="2"/>
                    </a:lnTo>
                    <a:lnTo>
                      <a:pt x="38" y="2"/>
                    </a:lnTo>
                    <a:lnTo>
                      <a:pt x="40" y="4"/>
                    </a:lnTo>
                    <a:lnTo>
                      <a:pt x="42" y="12"/>
                    </a:lnTo>
                    <a:lnTo>
                      <a:pt x="42" y="16"/>
                    </a:lnTo>
                    <a:lnTo>
                      <a:pt x="46" y="10"/>
                    </a:lnTo>
                    <a:lnTo>
                      <a:pt x="46" y="10"/>
                    </a:lnTo>
                    <a:lnTo>
                      <a:pt x="48" y="10"/>
                    </a:lnTo>
                    <a:lnTo>
                      <a:pt x="48" y="10"/>
                    </a:lnTo>
                    <a:lnTo>
                      <a:pt x="60" y="12"/>
                    </a:lnTo>
                    <a:lnTo>
                      <a:pt x="60" y="12"/>
                    </a:lnTo>
                    <a:lnTo>
                      <a:pt x="62" y="12"/>
                    </a:lnTo>
                    <a:lnTo>
                      <a:pt x="66" y="18"/>
                    </a:lnTo>
                    <a:lnTo>
                      <a:pt x="74" y="18"/>
                    </a:lnTo>
                    <a:lnTo>
                      <a:pt x="74" y="18"/>
                    </a:lnTo>
                    <a:lnTo>
                      <a:pt x="76" y="20"/>
                    </a:lnTo>
                    <a:lnTo>
                      <a:pt x="84" y="26"/>
                    </a:lnTo>
                    <a:lnTo>
                      <a:pt x="84" y="26"/>
                    </a:lnTo>
                    <a:lnTo>
                      <a:pt x="86" y="28"/>
                    </a:lnTo>
                    <a:lnTo>
                      <a:pt x="88" y="36"/>
                    </a:lnTo>
                    <a:lnTo>
                      <a:pt x="98" y="44"/>
                    </a:lnTo>
                    <a:lnTo>
                      <a:pt x="98" y="44"/>
                    </a:lnTo>
                    <a:lnTo>
                      <a:pt x="100" y="46"/>
                    </a:lnTo>
                    <a:lnTo>
                      <a:pt x="100" y="46"/>
                    </a:lnTo>
                    <a:lnTo>
                      <a:pt x="98" y="48"/>
                    </a:lnTo>
                    <a:lnTo>
                      <a:pt x="92" y="54"/>
                    </a:lnTo>
                    <a:lnTo>
                      <a:pt x="92" y="54"/>
                    </a:lnTo>
                    <a:lnTo>
                      <a:pt x="90" y="56"/>
                    </a:lnTo>
                    <a:lnTo>
                      <a:pt x="76"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5" name="Freeform 34"/>
              <p:cNvSpPr>
                <a:spLocks noEditPoints="1"/>
              </p:cNvSpPr>
              <p:nvPr/>
            </p:nvSpPr>
            <p:spPr bwMode="auto">
              <a:xfrm>
                <a:off x="1367" y="1047"/>
                <a:ext cx="104" cy="60"/>
              </a:xfrm>
              <a:custGeom>
                <a:avLst/>
                <a:gdLst>
                  <a:gd name="T0" fmla="*/ 40 w 104"/>
                  <a:gd name="T1" fmla="*/ 6 h 60"/>
                  <a:gd name="T2" fmla="*/ 44 w 104"/>
                  <a:gd name="T3" fmla="*/ 22 h 60"/>
                  <a:gd name="T4" fmla="*/ 62 w 104"/>
                  <a:gd name="T5" fmla="*/ 16 h 60"/>
                  <a:gd name="T6" fmla="*/ 76 w 104"/>
                  <a:gd name="T7" fmla="*/ 22 h 60"/>
                  <a:gd name="T8" fmla="*/ 88 w 104"/>
                  <a:gd name="T9" fmla="*/ 40 h 60"/>
                  <a:gd name="T10" fmla="*/ 92 w 104"/>
                  <a:gd name="T11" fmla="*/ 56 h 60"/>
                  <a:gd name="T12" fmla="*/ 70 w 104"/>
                  <a:gd name="T13" fmla="*/ 46 h 60"/>
                  <a:gd name="T14" fmla="*/ 50 w 104"/>
                  <a:gd name="T15" fmla="*/ 40 h 60"/>
                  <a:gd name="T16" fmla="*/ 22 w 104"/>
                  <a:gd name="T17" fmla="*/ 42 h 60"/>
                  <a:gd name="T18" fmla="*/ 14 w 104"/>
                  <a:gd name="T19" fmla="*/ 32 h 60"/>
                  <a:gd name="T20" fmla="*/ 34 w 104"/>
                  <a:gd name="T21" fmla="*/ 32 h 60"/>
                  <a:gd name="T22" fmla="*/ 28 w 104"/>
                  <a:gd name="T23" fmla="*/ 22 h 60"/>
                  <a:gd name="T24" fmla="*/ 4 w 104"/>
                  <a:gd name="T25" fmla="*/ 16 h 60"/>
                  <a:gd name="T26" fmla="*/ 20 w 104"/>
                  <a:gd name="T27" fmla="*/ 4 h 60"/>
                  <a:gd name="T28" fmla="*/ 20 w 104"/>
                  <a:gd name="T29" fmla="*/ 0 h 60"/>
                  <a:gd name="T30" fmla="*/ 4 w 104"/>
                  <a:gd name="T31" fmla="*/ 2 h 60"/>
                  <a:gd name="T32" fmla="*/ 2 w 104"/>
                  <a:gd name="T33" fmla="*/ 4 h 60"/>
                  <a:gd name="T34" fmla="*/ 0 w 104"/>
                  <a:gd name="T35" fmla="*/ 16 h 60"/>
                  <a:gd name="T36" fmla="*/ 2 w 104"/>
                  <a:gd name="T37" fmla="*/ 18 h 60"/>
                  <a:gd name="T38" fmla="*/ 18 w 104"/>
                  <a:gd name="T39" fmla="*/ 24 h 60"/>
                  <a:gd name="T40" fmla="*/ 26 w 104"/>
                  <a:gd name="T41" fmla="*/ 26 h 60"/>
                  <a:gd name="T42" fmla="*/ 22 w 104"/>
                  <a:gd name="T43" fmla="*/ 26 h 60"/>
                  <a:gd name="T44" fmla="*/ 20 w 104"/>
                  <a:gd name="T45" fmla="*/ 26 h 60"/>
                  <a:gd name="T46" fmla="*/ 12 w 104"/>
                  <a:gd name="T47" fmla="*/ 28 h 60"/>
                  <a:gd name="T48" fmla="*/ 10 w 104"/>
                  <a:gd name="T49" fmla="*/ 30 h 60"/>
                  <a:gd name="T50" fmla="*/ 8 w 104"/>
                  <a:gd name="T51" fmla="*/ 40 h 60"/>
                  <a:gd name="T52" fmla="*/ 8 w 104"/>
                  <a:gd name="T53" fmla="*/ 44 h 60"/>
                  <a:gd name="T54" fmla="*/ 10 w 104"/>
                  <a:gd name="T55" fmla="*/ 44 h 60"/>
                  <a:gd name="T56" fmla="*/ 22 w 104"/>
                  <a:gd name="T57" fmla="*/ 46 h 60"/>
                  <a:gd name="T58" fmla="*/ 22 w 104"/>
                  <a:gd name="T59" fmla="*/ 46 h 60"/>
                  <a:gd name="T60" fmla="*/ 36 w 104"/>
                  <a:gd name="T61" fmla="*/ 44 h 60"/>
                  <a:gd name="T62" fmla="*/ 62 w 104"/>
                  <a:gd name="T63" fmla="*/ 44 h 60"/>
                  <a:gd name="T64" fmla="*/ 74 w 104"/>
                  <a:gd name="T65" fmla="*/ 58 h 60"/>
                  <a:gd name="T66" fmla="*/ 78 w 104"/>
                  <a:gd name="T67" fmla="*/ 60 h 60"/>
                  <a:gd name="T68" fmla="*/ 92 w 104"/>
                  <a:gd name="T69" fmla="*/ 60 h 60"/>
                  <a:gd name="T70" fmla="*/ 102 w 104"/>
                  <a:gd name="T71" fmla="*/ 50 h 60"/>
                  <a:gd name="T72" fmla="*/ 104 w 104"/>
                  <a:gd name="T73" fmla="*/ 48 h 60"/>
                  <a:gd name="T74" fmla="*/ 102 w 104"/>
                  <a:gd name="T75" fmla="*/ 44 h 60"/>
                  <a:gd name="T76" fmla="*/ 88 w 104"/>
                  <a:gd name="T77" fmla="*/ 28 h 60"/>
                  <a:gd name="T78" fmla="*/ 88 w 104"/>
                  <a:gd name="T79" fmla="*/ 26 h 60"/>
                  <a:gd name="T80" fmla="*/ 78 w 104"/>
                  <a:gd name="T81" fmla="*/ 20 h 60"/>
                  <a:gd name="T82" fmla="*/ 70 w 104"/>
                  <a:gd name="T83" fmla="*/ 18 h 60"/>
                  <a:gd name="T84" fmla="*/ 64 w 104"/>
                  <a:gd name="T85" fmla="*/ 12 h 60"/>
                  <a:gd name="T86" fmla="*/ 50 w 104"/>
                  <a:gd name="T87" fmla="*/ 10 h 60"/>
                  <a:gd name="T88" fmla="*/ 50 w 104"/>
                  <a:gd name="T89" fmla="*/ 10 h 60"/>
                  <a:gd name="T90" fmla="*/ 46 w 104"/>
                  <a:gd name="T91" fmla="*/ 12 h 60"/>
                  <a:gd name="T92" fmla="*/ 44 w 104"/>
                  <a:gd name="T93" fmla="*/ 6 h 60"/>
                  <a:gd name="T94" fmla="*/ 42 w 104"/>
                  <a:gd name="T95" fmla="*/ 4 h 60"/>
                  <a:gd name="T96" fmla="*/ 20 w 104"/>
                  <a:gd name="T97" fmla="*/ 0 h 60"/>
                  <a:gd name="T98" fmla="*/ 20 w 104"/>
                  <a:gd name="T9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60">
                    <a:moveTo>
                      <a:pt x="20" y="4"/>
                    </a:moveTo>
                    <a:lnTo>
                      <a:pt x="40" y="6"/>
                    </a:lnTo>
                    <a:lnTo>
                      <a:pt x="42" y="14"/>
                    </a:lnTo>
                    <a:lnTo>
                      <a:pt x="44" y="22"/>
                    </a:lnTo>
                    <a:lnTo>
                      <a:pt x="50" y="14"/>
                    </a:lnTo>
                    <a:lnTo>
                      <a:pt x="62" y="16"/>
                    </a:lnTo>
                    <a:lnTo>
                      <a:pt x="68" y="22"/>
                    </a:lnTo>
                    <a:lnTo>
                      <a:pt x="76" y="22"/>
                    </a:lnTo>
                    <a:lnTo>
                      <a:pt x="86" y="30"/>
                    </a:lnTo>
                    <a:lnTo>
                      <a:pt x="88" y="40"/>
                    </a:lnTo>
                    <a:lnTo>
                      <a:pt x="100" y="48"/>
                    </a:lnTo>
                    <a:lnTo>
                      <a:pt x="92" y="56"/>
                    </a:lnTo>
                    <a:lnTo>
                      <a:pt x="78" y="56"/>
                    </a:lnTo>
                    <a:lnTo>
                      <a:pt x="70" y="46"/>
                    </a:lnTo>
                    <a:lnTo>
                      <a:pt x="64" y="40"/>
                    </a:lnTo>
                    <a:lnTo>
                      <a:pt x="50" y="40"/>
                    </a:lnTo>
                    <a:lnTo>
                      <a:pt x="34" y="40"/>
                    </a:lnTo>
                    <a:lnTo>
                      <a:pt x="22" y="42"/>
                    </a:lnTo>
                    <a:lnTo>
                      <a:pt x="12" y="40"/>
                    </a:lnTo>
                    <a:lnTo>
                      <a:pt x="14" y="32"/>
                    </a:lnTo>
                    <a:lnTo>
                      <a:pt x="20" y="30"/>
                    </a:lnTo>
                    <a:lnTo>
                      <a:pt x="34" y="32"/>
                    </a:lnTo>
                    <a:lnTo>
                      <a:pt x="34" y="30"/>
                    </a:lnTo>
                    <a:lnTo>
                      <a:pt x="28" y="22"/>
                    </a:lnTo>
                    <a:lnTo>
                      <a:pt x="18" y="20"/>
                    </a:lnTo>
                    <a:lnTo>
                      <a:pt x="4" y="16"/>
                    </a:lnTo>
                    <a:lnTo>
                      <a:pt x="4" y="6"/>
                    </a:lnTo>
                    <a:lnTo>
                      <a:pt x="20" y="4"/>
                    </a:lnTo>
                    <a:close/>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6" name="Freeform 35"/>
              <p:cNvSpPr>
                <a:spLocks/>
              </p:cNvSpPr>
              <p:nvPr/>
            </p:nvSpPr>
            <p:spPr bwMode="auto">
              <a:xfrm>
                <a:off x="1371" y="1051"/>
                <a:ext cx="96" cy="52"/>
              </a:xfrm>
              <a:custGeom>
                <a:avLst/>
                <a:gdLst>
                  <a:gd name="T0" fmla="*/ 16 w 96"/>
                  <a:gd name="T1" fmla="*/ 0 h 52"/>
                  <a:gd name="T2" fmla="*/ 36 w 96"/>
                  <a:gd name="T3" fmla="*/ 2 h 52"/>
                  <a:gd name="T4" fmla="*/ 38 w 96"/>
                  <a:gd name="T5" fmla="*/ 10 h 52"/>
                  <a:gd name="T6" fmla="*/ 40 w 96"/>
                  <a:gd name="T7" fmla="*/ 18 h 52"/>
                  <a:gd name="T8" fmla="*/ 46 w 96"/>
                  <a:gd name="T9" fmla="*/ 10 h 52"/>
                  <a:gd name="T10" fmla="*/ 58 w 96"/>
                  <a:gd name="T11" fmla="*/ 12 h 52"/>
                  <a:gd name="T12" fmla="*/ 64 w 96"/>
                  <a:gd name="T13" fmla="*/ 18 h 52"/>
                  <a:gd name="T14" fmla="*/ 72 w 96"/>
                  <a:gd name="T15" fmla="*/ 18 h 52"/>
                  <a:gd name="T16" fmla="*/ 82 w 96"/>
                  <a:gd name="T17" fmla="*/ 26 h 52"/>
                  <a:gd name="T18" fmla="*/ 84 w 96"/>
                  <a:gd name="T19" fmla="*/ 36 h 52"/>
                  <a:gd name="T20" fmla="*/ 96 w 96"/>
                  <a:gd name="T21" fmla="*/ 44 h 52"/>
                  <a:gd name="T22" fmla="*/ 88 w 96"/>
                  <a:gd name="T23" fmla="*/ 52 h 52"/>
                  <a:gd name="T24" fmla="*/ 74 w 96"/>
                  <a:gd name="T25" fmla="*/ 52 h 52"/>
                  <a:gd name="T26" fmla="*/ 66 w 96"/>
                  <a:gd name="T27" fmla="*/ 42 h 52"/>
                  <a:gd name="T28" fmla="*/ 60 w 96"/>
                  <a:gd name="T29" fmla="*/ 36 h 52"/>
                  <a:gd name="T30" fmla="*/ 46 w 96"/>
                  <a:gd name="T31" fmla="*/ 36 h 52"/>
                  <a:gd name="T32" fmla="*/ 30 w 96"/>
                  <a:gd name="T33" fmla="*/ 36 h 52"/>
                  <a:gd name="T34" fmla="*/ 18 w 96"/>
                  <a:gd name="T35" fmla="*/ 38 h 52"/>
                  <a:gd name="T36" fmla="*/ 8 w 96"/>
                  <a:gd name="T37" fmla="*/ 36 h 52"/>
                  <a:gd name="T38" fmla="*/ 10 w 96"/>
                  <a:gd name="T39" fmla="*/ 28 h 52"/>
                  <a:gd name="T40" fmla="*/ 16 w 96"/>
                  <a:gd name="T41" fmla="*/ 26 h 52"/>
                  <a:gd name="T42" fmla="*/ 30 w 96"/>
                  <a:gd name="T43" fmla="*/ 28 h 52"/>
                  <a:gd name="T44" fmla="*/ 30 w 96"/>
                  <a:gd name="T45" fmla="*/ 26 h 52"/>
                  <a:gd name="T46" fmla="*/ 24 w 96"/>
                  <a:gd name="T47" fmla="*/ 18 h 52"/>
                  <a:gd name="T48" fmla="*/ 14 w 96"/>
                  <a:gd name="T49" fmla="*/ 16 h 52"/>
                  <a:gd name="T50" fmla="*/ 0 w 96"/>
                  <a:gd name="T51" fmla="*/ 12 h 52"/>
                  <a:gd name="T52" fmla="*/ 0 w 96"/>
                  <a:gd name="T53" fmla="*/ 2 h 52"/>
                  <a:gd name="T54" fmla="*/ 16 w 96"/>
                  <a:gd name="T5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52">
                    <a:moveTo>
                      <a:pt x="16" y="0"/>
                    </a:moveTo>
                    <a:lnTo>
                      <a:pt x="36" y="2"/>
                    </a:lnTo>
                    <a:lnTo>
                      <a:pt x="38" y="10"/>
                    </a:lnTo>
                    <a:lnTo>
                      <a:pt x="40" y="18"/>
                    </a:lnTo>
                    <a:lnTo>
                      <a:pt x="46" y="10"/>
                    </a:lnTo>
                    <a:lnTo>
                      <a:pt x="58" y="12"/>
                    </a:lnTo>
                    <a:lnTo>
                      <a:pt x="64" y="18"/>
                    </a:lnTo>
                    <a:lnTo>
                      <a:pt x="72" y="18"/>
                    </a:lnTo>
                    <a:lnTo>
                      <a:pt x="82" y="26"/>
                    </a:lnTo>
                    <a:lnTo>
                      <a:pt x="84" y="36"/>
                    </a:lnTo>
                    <a:lnTo>
                      <a:pt x="96" y="44"/>
                    </a:lnTo>
                    <a:lnTo>
                      <a:pt x="88" y="52"/>
                    </a:lnTo>
                    <a:lnTo>
                      <a:pt x="74" y="52"/>
                    </a:lnTo>
                    <a:lnTo>
                      <a:pt x="66" y="42"/>
                    </a:lnTo>
                    <a:lnTo>
                      <a:pt x="60" y="36"/>
                    </a:lnTo>
                    <a:lnTo>
                      <a:pt x="46" y="36"/>
                    </a:lnTo>
                    <a:lnTo>
                      <a:pt x="30" y="36"/>
                    </a:lnTo>
                    <a:lnTo>
                      <a:pt x="18" y="38"/>
                    </a:lnTo>
                    <a:lnTo>
                      <a:pt x="8" y="36"/>
                    </a:lnTo>
                    <a:lnTo>
                      <a:pt x="10" y="28"/>
                    </a:lnTo>
                    <a:lnTo>
                      <a:pt x="16" y="26"/>
                    </a:lnTo>
                    <a:lnTo>
                      <a:pt x="30" y="28"/>
                    </a:lnTo>
                    <a:lnTo>
                      <a:pt x="30" y="26"/>
                    </a:lnTo>
                    <a:lnTo>
                      <a:pt x="24" y="18"/>
                    </a:lnTo>
                    <a:lnTo>
                      <a:pt x="14" y="16"/>
                    </a:lnTo>
                    <a:lnTo>
                      <a:pt x="0" y="12"/>
                    </a:lnTo>
                    <a:lnTo>
                      <a:pt x="0" y="2"/>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7" name="Freeform 36"/>
              <p:cNvSpPr>
                <a:spLocks/>
              </p:cNvSpPr>
              <p:nvPr/>
            </p:nvSpPr>
            <p:spPr bwMode="auto">
              <a:xfrm>
                <a:off x="1367" y="1047"/>
                <a:ext cx="104" cy="60"/>
              </a:xfrm>
              <a:custGeom>
                <a:avLst/>
                <a:gdLst>
                  <a:gd name="T0" fmla="*/ 20 w 104"/>
                  <a:gd name="T1" fmla="*/ 0 h 60"/>
                  <a:gd name="T2" fmla="*/ 4 w 104"/>
                  <a:gd name="T3" fmla="*/ 2 h 60"/>
                  <a:gd name="T4" fmla="*/ 2 w 104"/>
                  <a:gd name="T5" fmla="*/ 4 h 60"/>
                  <a:gd name="T6" fmla="*/ 0 w 104"/>
                  <a:gd name="T7" fmla="*/ 16 h 60"/>
                  <a:gd name="T8" fmla="*/ 2 w 104"/>
                  <a:gd name="T9" fmla="*/ 18 h 60"/>
                  <a:gd name="T10" fmla="*/ 18 w 104"/>
                  <a:gd name="T11" fmla="*/ 24 h 60"/>
                  <a:gd name="T12" fmla="*/ 26 w 104"/>
                  <a:gd name="T13" fmla="*/ 26 h 60"/>
                  <a:gd name="T14" fmla="*/ 22 w 104"/>
                  <a:gd name="T15" fmla="*/ 26 h 60"/>
                  <a:gd name="T16" fmla="*/ 20 w 104"/>
                  <a:gd name="T17" fmla="*/ 26 h 60"/>
                  <a:gd name="T18" fmla="*/ 12 w 104"/>
                  <a:gd name="T19" fmla="*/ 28 h 60"/>
                  <a:gd name="T20" fmla="*/ 10 w 104"/>
                  <a:gd name="T21" fmla="*/ 30 h 60"/>
                  <a:gd name="T22" fmla="*/ 8 w 104"/>
                  <a:gd name="T23" fmla="*/ 40 h 60"/>
                  <a:gd name="T24" fmla="*/ 8 w 104"/>
                  <a:gd name="T25" fmla="*/ 44 h 60"/>
                  <a:gd name="T26" fmla="*/ 10 w 104"/>
                  <a:gd name="T27" fmla="*/ 44 h 60"/>
                  <a:gd name="T28" fmla="*/ 22 w 104"/>
                  <a:gd name="T29" fmla="*/ 46 h 60"/>
                  <a:gd name="T30" fmla="*/ 22 w 104"/>
                  <a:gd name="T31" fmla="*/ 46 h 60"/>
                  <a:gd name="T32" fmla="*/ 36 w 104"/>
                  <a:gd name="T33" fmla="*/ 44 h 60"/>
                  <a:gd name="T34" fmla="*/ 62 w 104"/>
                  <a:gd name="T35" fmla="*/ 44 h 60"/>
                  <a:gd name="T36" fmla="*/ 74 w 104"/>
                  <a:gd name="T37" fmla="*/ 58 h 60"/>
                  <a:gd name="T38" fmla="*/ 78 w 104"/>
                  <a:gd name="T39" fmla="*/ 60 h 60"/>
                  <a:gd name="T40" fmla="*/ 92 w 104"/>
                  <a:gd name="T41" fmla="*/ 60 h 60"/>
                  <a:gd name="T42" fmla="*/ 102 w 104"/>
                  <a:gd name="T43" fmla="*/ 50 h 60"/>
                  <a:gd name="T44" fmla="*/ 104 w 104"/>
                  <a:gd name="T45" fmla="*/ 48 h 60"/>
                  <a:gd name="T46" fmla="*/ 102 w 104"/>
                  <a:gd name="T47" fmla="*/ 44 h 60"/>
                  <a:gd name="T48" fmla="*/ 88 w 104"/>
                  <a:gd name="T49" fmla="*/ 28 h 60"/>
                  <a:gd name="T50" fmla="*/ 88 w 104"/>
                  <a:gd name="T51" fmla="*/ 26 h 60"/>
                  <a:gd name="T52" fmla="*/ 78 w 104"/>
                  <a:gd name="T53" fmla="*/ 20 h 60"/>
                  <a:gd name="T54" fmla="*/ 70 w 104"/>
                  <a:gd name="T55" fmla="*/ 18 h 60"/>
                  <a:gd name="T56" fmla="*/ 64 w 104"/>
                  <a:gd name="T57" fmla="*/ 12 h 60"/>
                  <a:gd name="T58" fmla="*/ 50 w 104"/>
                  <a:gd name="T59" fmla="*/ 10 h 60"/>
                  <a:gd name="T60" fmla="*/ 50 w 104"/>
                  <a:gd name="T61" fmla="*/ 10 h 60"/>
                  <a:gd name="T62" fmla="*/ 46 w 104"/>
                  <a:gd name="T63" fmla="*/ 12 h 60"/>
                  <a:gd name="T64" fmla="*/ 44 w 104"/>
                  <a:gd name="T65" fmla="*/ 6 h 60"/>
                  <a:gd name="T66" fmla="*/ 42 w 104"/>
                  <a:gd name="T67" fmla="*/ 4 h 60"/>
                  <a:gd name="T68" fmla="*/ 20 w 104"/>
                  <a:gd name="T69" fmla="*/ 0 h 60"/>
                  <a:gd name="T70" fmla="*/ 20 w 104"/>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60">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8" name="Freeform 37"/>
              <p:cNvSpPr>
                <a:spLocks/>
              </p:cNvSpPr>
              <p:nvPr/>
            </p:nvSpPr>
            <p:spPr bwMode="auto">
              <a:xfrm>
                <a:off x="1387" y="1133"/>
                <a:ext cx="104" cy="56"/>
              </a:xfrm>
              <a:custGeom>
                <a:avLst/>
                <a:gdLst>
                  <a:gd name="T0" fmla="*/ 64 w 104"/>
                  <a:gd name="T1" fmla="*/ 56 h 56"/>
                  <a:gd name="T2" fmla="*/ 58 w 104"/>
                  <a:gd name="T3" fmla="*/ 44 h 56"/>
                  <a:gd name="T4" fmla="*/ 60 w 104"/>
                  <a:gd name="T5" fmla="*/ 42 h 56"/>
                  <a:gd name="T6" fmla="*/ 62 w 104"/>
                  <a:gd name="T7" fmla="*/ 38 h 56"/>
                  <a:gd name="T8" fmla="*/ 44 w 104"/>
                  <a:gd name="T9" fmla="*/ 36 h 56"/>
                  <a:gd name="T10" fmla="*/ 34 w 104"/>
                  <a:gd name="T11" fmla="*/ 40 h 56"/>
                  <a:gd name="T12" fmla="*/ 34 w 104"/>
                  <a:gd name="T13" fmla="*/ 40 h 56"/>
                  <a:gd name="T14" fmla="*/ 24 w 104"/>
                  <a:gd name="T15" fmla="*/ 36 h 56"/>
                  <a:gd name="T16" fmla="*/ 8 w 104"/>
                  <a:gd name="T17" fmla="*/ 22 h 56"/>
                  <a:gd name="T18" fmla="*/ 0 w 104"/>
                  <a:gd name="T19" fmla="*/ 8 h 56"/>
                  <a:gd name="T20" fmla="*/ 0 w 104"/>
                  <a:gd name="T21" fmla="*/ 4 h 56"/>
                  <a:gd name="T22" fmla="*/ 8 w 104"/>
                  <a:gd name="T23" fmla="*/ 2 h 56"/>
                  <a:gd name="T24" fmla="*/ 8 w 104"/>
                  <a:gd name="T25" fmla="*/ 0 h 56"/>
                  <a:gd name="T26" fmla="*/ 18 w 104"/>
                  <a:gd name="T27" fmla="*/ 6 h 56"/>
                  <a:gd name="T28" fmla="*/ 38 w 104"/>
                  <a:gd name="T29" fmla="*/ 24 h 56"/>
                  <a:gd name="T30" fmla="*/ 36 w 104"/>
                  <a:gd name="T31" fmla="*/ 18 h 56"/>
                  <a:gd name="T32" fmla="*/ 36 w 104"/>
                  <a:gd name="T33" fmla="*/ 18 h 56"/>
                  <a:gd name="T34" fmla="*/ 36 w 104"/>
                  <a:gd name="T35" fmla="*/ 12 h 56"/>
                  <a:gd name="T36" fmla="*/ 44 w 104"/>
                  <a:gd name="T37" fmla="*/ 8 h 56"/>
                  <a:gd name="T38" fmla="*/ 44 w 104"/>
                  <a:gd name="T39" fmla="*/ 8 h 56"/>
                  <a:gd name="T40" fmla="*/ 46 w 104"/>
                  <a:gd name="T41" fmla="*/ 8 h 56"/>
                  <a:gd name="T42" fmla="*/ 64 w 104"/>
                  <a:gd name="T43" fmla="*/ 24 h 56"/>
                  <a:gd name="T44" fmla="*/ 56 w 104"/>
                  <a:gd name="T45" fmla="*/ 8 h 56"/>
                  <a:gd name="T46" fmla="*/ 56 w 104"/>
                  <a:gd name="T47" fmla="*/ 6 h 56"/>
                  <a:gd name="T48" fmla="*/ 56 w 104"/>
                  <a:gd name="T49" fmla="*/ 2 h 56"/>
                  <a:gd name="T50" fmla="*/ 58 w 104"/>
                  <a:gd name="T51" fmla="*/ 0 h 56"/>
                  <a:gd name="T52" fmla="*/ 72 w 104"/>
                  <a:gd name="T53" fmla="*/ 2 h 56"/>
                  <a:gd name="T54" fmla="*/ 78 w 104"/>
                  <a:gd name="T55" fmla="*/ 8 h 56"/>
                  <a:gd name="T56" fmla="*/ 84 w 104"/>
                  <a:gd name="T57" fmla="*/ 4 h 56"/>
                  <a:gd name="T58" fmla="*/ 94 w 104"/>
                  <a:gd name="T59" fmla="*/ 4 h 56"/>
                  <a:gd name="T60" fmla="*/ 96 w 104"/>
                  <a:gd name="T61" fmla="*/ 6 h 56"/>
                  <a:gd name="T62" fmla="*/ 100 w 104"/>
                  <a:gd name="T63" fmla="*/ 10 h 56"/>
                  <a:gd name="T64" fmla="*/ 102 w 104"/>
                  <a:gd name="T65" fmla="*/ 28 h 56"/>
                  <a:gd name="T66" fmla="*/ 104 w 104"/>
                  <a:gd name="T67" fmla="*/ 34 h 56"/>
                  <a:gd name="T68" fmla="*/ 96 w 104"/>
                  <a:gd name="T69" fmla="*/ 40 h 56"/>
                  <a:gd name="T70" fmla="*/ 96 w 104"/>
                  <a:gd name="T71" fmla="*/ 50 h 56"/>
                  <a:gd name="T72" fmla="*/ 84 w 104"/>
                  <a:gd name="T73" fmla="*/ 54 h 56"/>
                  <a:gd name="T74" fmla="*/ 64 w 104"/>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56">
                    <a:moveTo>
                      <a:pt x="64" y="56"/>
                    </a:moveTo>
                    <a:lnTo>
                      <a:pt x="64" y="56"/>
                    </a:lnTo>
                    <a:lnTo>
                      <a:pt x="62" y="54"/>
                    </a:lnTo>
                    <a:lnTo>
                      <a:pt x="58" y="44"/>
                    </a:lnTo>
                    <a:lnTo>
                      <a:pt x="58" y="44"/>
                    </a:lnTo>
                    <a:lnTo>
                      <a:pt x="60" y="42"/>
                    </a:lnTo>
                    <a:lnTo>
                      <a:pt x="62" y="38"/>
                    </a:lnTo>
                    <a:lnTo>
                      <a:pt x="62" y="38"/>
                    </a:lnTo>
                    <a:lnTo>
                      <a:pt x="52" y="36"/>
                    </a:lnTo>
                    <a:lnTo>
                      <a:pt x="44" y="36"/>
                    </a:lnTo>
                    <a:lnTo>
                      <a:pt x="34" y="40"/>
                    </a:lnTo>
                    <a:lnTo>
                      <a:pt x="34" y="40"/>
                    </a:lnTo>
                    <a:lnTo>
                      <a:pt x="34" y="40"/>
                    </a:lnTo>
                    <a:lnTo>
                      <a:pt x="34" y="40"/>
                    </a:lnTo>
                    <a:lnTo>
                      <a:pt x="32" y="40"/>
                    </a:lnTo>
                    <a:lnTo>
                      <a:pt x="24" y="36"/>
                    </a:lnTo>
                    <a:lnTo>
                      <a:pt x="8" y="22"/>
                    </a:lnTo>
                    <a:lnTo>
                      <a:pt x="8" y="22"/>
                    </a:lnTo>
                    <a:lnTo>
                      <a:pt x="6" y="22"/>
                    </a:lnTo>
                    <a:lnTo>
                      <a:pt x="0" y="8"/>
                    </a:lnTo>
                    <a:lnTo>
                      <a:pt x="0" y="8"/>
                    </a:lnTo>
                    <a:lnTo>
                      <a:pt x="0" y="4"/>
                    </a:lnTo>
                    <a:lnTo>
                      <a:pt x="8" y="2"/>
                    </a:lnTo>
                    <a:lnTo>
                      <a:pt x="8" y="2"/>
                    </a:lnTo>
                    <a:lnTo>
                      <a:pt x="8" y="0"/>
                    </a:lnTo>
                    <a:lnTo>
                      <a:pt x="8" y="0"/>
                    </a:lnTo>
                    <a:lnTo>
                      <a:pt x="10" y="2"/>
                    </a:lnTo>
                    <a:lnTo>
                      <a:pt x="18" y="6"/>
                    </a:lnTo>
                    <a:lnTo>
                      <a:pt x="26" y="14"/>
                    </a:lnTo>
                    <a:lnTo>
                      <a:pt x="38" y="24"/>
                    </a:lnTo>
                    <a:lnTo>
                      <a:pt x="40" y="24"/>
                    </a:lnTo>
                    <a:lnTo>
                      <a:pt x="36" y="18"/>
                    </a:lnTo>
                    <a:lnTo>
                      <a:pt x="36" y="18"/>
                    </a:lnTo>
                    <a:lnTo>
                      <a:pt x="36" y="18"/>
                    </a:lnTo>
                    <a:lnTo>
                      <a:pt x="36" y="12"/>
                    </a:lnTo>
                    <a:lnTo>
                      <a:pt x="36" y="12"/>
                    </a:lnTo>
                    <a:lnTo>
                      <a:pt x="36" y="10"/>
                    </a:lnTo>
                    <a:lnTo>
                      <a:pt x="44" y="8"/>
                    </a:lnTo>
                    <a:lnTo>
                      <a:pt x="44" y="8"/>
                    </a:lnTo>
                    <a:lnTo>
                      <a:pt x="44" y="8"/>
                    </a:lnTo>
                    <a:lnTo>
                      <a:pt x="44" y="8"/>
                    </a:lnTo>
                    <a:lnTo>
                      <a:pt x="46" y="8"/>
                    </a:lnTo>
                    <a:lnTo>
                      <a:pt x="54" y="16"/>
                    </a:lnTo>
                    <a:lnTo>
                      <a:pt x="64" y="24"/>
                    </a:lnTo>
                    <a:lnTo>
                      <a:pt x="66" y="22"/>
                    </a:lnTo>
                    <a:lnTo>
                      <a:pt x="56" y="8"/>
                    </a:lnTo>
                    <a:lnTo>
                      <a:pt x="56" y="8"/>
                    </a:lnTo>
                    <a:lnTo>
                      <a:pt x="56" y="6"/>
                    </a:lnTo>
                    <a:lnTo>
                      <a:pt x="56" y="2"/>
                    </a:lnTo>
                    <a:lnTo>
                      <a:pt x="56" y="2"/>
                    </a:lnTo>
                    <a:lnTo>
                      <a:pt x="58" y="0"/>
                    </a:lnTo>
                    <a:lnTo>
                      <a:pt x="58" y="0"/>
                    </a:lnTo>
                    <a:lnTo>
                      <a:pt x="72" y="2"/>
                    </a:lnTo>
                    <a:lnTo>
                      <a:pt x="72" y="2"/>
                    </a:lnTo>
                    <a:lnTo>
                      <a:pt x="72" y="4"/>
                    </a:lnTo>
                    <a:lnTo>
                      <a:pt x="78" y="8"/>
                    </a:lnTo>
                    <a:lnTo>
                      <a:pt x="84" y="4"/>
                    </a:lnTo>
                    <a:lnTo>
                      <a:pt x="84" y="4"/>
                    </a:lnTo>
                    <a:lnTo>
                      <a:pt x="84" y="4"/>
                    </a:lnTo>
                    <a:lnTo>
                      <a:pt x="94" y="4"/>
                    </a:lnTo>
                    <a:lnTo>
                      <a:pt x="94" y="4"/>
                    </a:lnTo>
                    <a:lnTo>
                      <a:pt x="96" y="6"/>
                    </a:lnTo>
                    <a:lnTo>
                      <a:pt x="100" y="10"/>
                    </a:lnTo>
                    <a:lnTo>
                      <a:pt x="100" y="10"/>
                    </a:lnTo>
                    <a:lnTo>
                      <a:pt x="100" y="12"/>
                    </a:lnTo>
                    <a:lnTo>
                      <a:pt x="102" y="28"/>
                    </a:lnTo>
                    <a:lnTo>
                      <a:pt x="104" y="34"/>
                    </a:lnTo>
                    <a:lnTo>
                      <a:pt x="104" y="34"/>
                    </a:lnTo>
                    <a:lnTo>
                      <a:pt x="102" y="38"/>
                    </a:lnTo>
                    <a:lnTo>
                      <a:pt x="96" y="40"/>
                    </a:lnTo>
                    <a:lnTo>
                      <a:pt x="96" y="50"/>
                    </a:lnTo>
                    <a:lnTo>
                      <a:pt x="96" y="50"/>
                    </a:lnTo>
                    <a:lnTo>
                      <a:pt x="96" y="52"/>
                    </a:lnTo>
                    <a:lnTo>
                      <a:pt x="84" y="54"/>
                    </a:lnTo>
                    <a:lnTo>
                      <a:pt x="84" y="54"/>
                    </a:lnTo>
                    <a:lnTo>
                      <a:pt x="64" y="56"/>
                    </a:lnTo>
                    <a:lnTo>
                      <a:pt x="6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9" name="Freeform 38"/>
              <p:cNvSpPr>
                <a:spLocks noEditPoints="1"/>
              </p:cNvSpPr>
              <p:nvPr/>
            </p:nvSpPr>
            <p:spPr bwMode="auto">
              <a:xfrm>
                <a:off x="1385" y="1131"/>
                <a:ext cx="108" cy="60"/>
              </a:xfrm>
              <a:custGeom>
                <a:avLst/>
                <a:gdLst>
                  <a:gd name="T0" fmla="*/ 74 w 108"/>
                  <a:gd name="T1" fmla="*/ 6 h 60"/>
                  <a:gd name="T2" fmla="*/ 86 w 108"/>
                  <a:gd name="T3" fmla="*/ 8 h 60"/>
                  <a:gd name="T4" fmla="*/ 100 w 108"/>
                  <a:gd name="T5" fmla="*/ 14 h 60"/>
                  <a:gd name="T6" fmla="*/ 104 w 108"/>
                  <a:gd name="T7" fmla="*/ 38 h 60"/>
                  <a:gd name="T8" fmla="*/ 96 w 108"/>
                  <a:gd name="T9" fmla="*/ 52 h 60"/>
                  <a:gd name="T10" fmla="*/ 66 w 108"/>
                  <a:gd name="T11" fmla="*/ 56 h 60"/>
                  <a:gd name="T12" fmla="*/ 70 w 108"/>
                  <a:gd name="T13" fmla="*/ 38 h 60"/>
                  <a:gd name="T14" fmla="*/ 56 w 108"/>
                  <a:gd name="T15" fmla="*/ 36 h 60"/>
                  <a:gd name="T16" fmla="*/ 36 w 108"/>
                  <a:gd name="T17" fmla="*/ 40 h 60"/>
                  <a:gd name="T18" fmla="*/ 10 w 108"/>
                  <a:gd name="T19" fmla="*/ 22 h 60"/>
                  <a:gd name="T20" fmla="*/ 10 w 108"/>
                  <a:gd name="T21" fmla="*/ 4 h 60"/>
                  <a:gd name="T22" fmla="*/ 26 w 108"/>
                  <a:gd name="T23" fmla="*/ 18 h 60"/>
                  <a:gd name="T24" fmla="*/ 46 w 108"/>
                  <a:gd name="T25" fmla="*/ 26 h 60"/>
                  <a:gd name="T26" fmla="*/ 40 w 108"/>
                  <a:gd name="T27" fmla="*/ 14 h 60"/>
                  <a:gd name="T28" fmla="*/ 56 w 108"/>
                  <a:gd name="T29" fmla="*/ 20 h 60"/>
                  <a:gd name="T30" fmla="*/ 70 w 108"/>
                  <a:gd name="T31" fmla="*/ 22 h 60"/>
                  <a:gd name="T32" fmla="*/ 58 w 108"/>
                  <a:gd name="T33" fmla="*/ 8 h 60"/>
                  <a:gd name="T34" fmla="*/ 60 w 108"/>
                  <a:gd name="T35" fmla="*/ 0 h 60"/>
                  <a:gd name="T36" fmla="*/ 58 w 108"/>
                  <a:gd name="T37" fmla="*/ 2 h 60"/>
                  <a:gd name="T38" fmla="*/ 56 w 108"/>
                  <a:gd name="T39" fmla="*/ 6 h 60"/>
                  <a:gd name="T40" fmla="*/ 56 w 108"/>
                  <a:gd name="T41" fmla="*/ 10 h 60"/>
                  <a:gd name="T42" fmla="*/ 62 w 108"/>
                  <a:gd name="T43" fmla="*/ 20 h 60"/>
                  <a:gd name="T44" fmla="*/ 48 w 108"/>
                  <a:gd name="T45" fmla="*/ 10 h 60"/>
                  <a:gd name="T46" fmla="*/ 46 w 108"/>
                  <a:gd name="T47" fmla="*/ 8 h 60"/>
                  <a:gd name="T48" fmla="*/ 46 w 108"/>
                  <a:gd name="T49" fmla="*/ 8 h 60"/>
                  <a:gd name="T50" fmla="*/ 38 w 108"/>
                  <a:gd name="T51" fmla="*/ 10 h 60"/>
                  <a:gd name="T52" fmla="*/ 36 w 108"/>
                  <a:gd name="T53" fmla="*/ 14 h 60"/>
                  <a:gd name="T54" fmla="*/ 36 w 108"/>
                  <a:gd name="T55" fmla="*/ 20 h 60"/>
                  <a:gd name="T56" fmla="*/ 30 w 108"/>
                  <a:gd name="T57" fmla="*/ 14 h 60"/>
                  <a:gd name="T58" fmla="*/ 22 w 108"/>
                  <a:gd name="T59" fmla="*/ 8 h 60"/>
                  <a:gd name="T60" fmla="*/ 12 w 108"/>
                  <a:gd name="T61" fmla="*/ 2 h 60"/>
                  <a:gd name="T62" fmla="*/ 10 w 108"/>
                  <a:gd name="T63" fmla="*/ 0 h 60"/>
                  <a:gd name="T64" fmla="*/ 8 w 108"/>
                  <a:gd name="T65" fmla="*/ 2 h 60"/>
                  <a:gd name="T66" fmla="*/ 2 w 108"/>
                  <a:gd name="T67" fmla="*/ 4 h 60"/>
                  <a:gd name="T68" fmla="*/ 0 w 108"/>
                  <a:gd name="T69" fmla="*/ 10 h 60"/>
                  <a:gd name="T70" fmla="*/ 6 w 108"/>
                  <a:gd name="T71" fmla="*/ 24 h 60"/>
                  <a:gd name="T72" fmla="*/ 24 w 108"/>
                  <a:gd name="T73" fmla="*/ 38 h 60"/>
                  <a:gd name="T74" fmla="*/ 26 w 108"/>
                  <a:gd name="T75" fmla="*/ 40 h 60"/>
                  <a:gd name="T76" fmla="*/ 34 w 108"/>
                  <a:gd name="T77" fmla="*/ 42 h 60"/>
                  <a:gd name="T78" fmla="*/ 36 w 108"/>
                  <a:gd name="T79" fmla="*/ 44 h 60"/>
                  <a:gd name="T80" fmla="*/ 48 w 108"/>
                  <a:gd name="T81" fmla="*/ 40 h 60"/>
                  <a:gd name="T82" fmla="*/ 60 w 108"/>
                  <a:gd name="T83" fmla="*/ 40 h 60"/>
                  <a:gd name="T84" fmla="*/ 60 w 108"/>
                  <a:gd name="T85" fmla="*/ 42 h 60"/>
                  <a:gd name="T86" fmla="*/ 62 w 108"/>
                  <a:gd name="T87" fmla="*/ 56 h 60"/>
                  <a:gd name="T88" fmla="*/ 64 w 108"/>
                  <a:gd name="T89" fmla="*/ 58 h 60"/>
                  <a:gd name="T90" fmla="*/ 66 w 108"/>
                  <a:gd name="T91" fmla="*/ 60 h 60"/>
                  <a:gd name="T92" fmla="*/ 86 w 108"/>
                  <a:gd name="T93" fmla="*/ 58 h 60"/>
                  <a:gd name="T94" fmla="*/ 98 w 108"/>
                  <a:gd name="T95" fmla="*/ 56 h 60"/>
                  <a:gd name="T96" fmla="*/ 100 w 108"/>
                  <a:gd name="T97" fmla="*/ 52 h 60"/>
                  <a:gd name="T98" fmla="*/ 106 w 108"/>
                  <a:gd name="T99" fmla="*/ 40 h 60"/>
                  <a:gd name="T100" fmla="*/ 108 w 108"/>
                  <a:gd name="T101" fmla="*/ 40 h 60"/>
                  <a:gd name="T102" fmla="*/ 106 w 108"/>
                  <a:gd name="T103" fmla="*/ 30 h 60"/>
                  <a:gd name="T104" fmla="*/ 104 w 108"/>
                  <a:gd name="T105" fmla="*/ 14 h 60"/>
                  <a:gd name="T106" fmla="*/ 100 w 108"/>
                  <a:gd name="T107" fmla="*/ 6 h 60"/>
                  <a:gd name="T108" fmla="*/ 96 w 108"/>
                  <a:gd name="T109" fmla="*/ 4 h 60"/>
                  <a:gd name="T110" fmla="*/ 86 w 108"/>
                  <a:gd name="T111" fmla="*/ 4 h 60"/>
                  <a:gd name="T112" fmla="*/ 80 w 108"/>
                  <a:gd name="T113" fmla="*/ 8 h 60"/>
                  <a:gd name="T114" fmla="*/ 76 w 108"/>
                  <a:gd name="T115" fmla="*/ 4 h 60"/>
                  <a:gd name="T116" fmla="*/ 62 w 108"/>
                  <a:gd name="T117" fmla="*/ 0 h 60"/>
                  <a:gd name="T118" fmla="*/ 60 w 108"/>
                  <a:gd name="T1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60">
                    <a:moveTo>
                      <a:pt x="60" y="4"/>
                    </a:moveTo>
                    <a:lnTo>
                      <a:pt x="74" y="6"/>
                    </a:lnTo>
                    <a:lnTo>
                      <a:pt x="78" y="12"/>
                    </a:lnTo>
                    <a:lnTo>
                      <a:pt x="86" y="8"/>
                    </a:lnTo>
                    <a:lnTo>
                      <a:pt x="96" y="8"/>
                    </a:lnTo>
                    <a:lnTo>
                      <a:pt x="100" y="14"/>
                    </a:lnTo>
                    <a:lnTo>
                      <a:pt x="102" y="30"/>
                    </a:lnTo>
                    <a:lnTo>
                      <a:pt x="104" y="38"/>
                    </a:lnTo>
                    <a:lnTo>
                      <a:pt x="96" y="40"/>
                    </a:lnTo>
                    <a:lnTo>
                      <a:pt x="96" y="52"/>
                    </a:lnTo>
                    <a:lnTo>
                      <a:pt x="86" y="54"/>
                    </a:lnTo>
                    <a:lnTo>
                      <a:pt x="66" y="56"/>
                    </a:lnTo>
                    <a:lnTo>
                      <a:pt x="62" y="44"/>
                    </a:lnTo>
                    <a:lnTo>
                      <a:pt x="70" y="38"/>
                    </a:lnTo>
                    <a:lnTo>
                      <a:pt x="64" y="38"/>
                    </a:lnTo>
                    <a:lnTo>
                      <a:pt x="56" y="36"/>
                    </a:lnTo>
                    <a:lnTo>
                      <a:pt x="46" y="36"/>
                    </a:lnTo>
                    <a:lnTo>
                      <a:pt x="36" y="40"/>
                    </a:lnTo>
                    <a:lnTo>
                      <a:pt x="26" y="36"/>
                    </a:lnTo>
                    <a:lnTo>
                      <a:pt x="10" y="22"/>
                    </a:lnTo>
                    <a:lnTo>
                      <a:pt x="4" y="8"/>
                    </a:lnTo>
                    <a:lnTo>
                      <a:pt x="10" y="4"/>
                    </a:lnTo>
                    <a:lnTo>
                      <a:pt x="20" y="10"/>
                    </a:lnTo>
                    <a:lnTo>
                      <a:pt x="26" y="18"/>
                    </a:lnTo>
                    <a:lnTo>
                      <a:pt x="40" y="28"/>
                    </a:lnTo>
                    <a:lnTo>
                      <a:pt x="46" y="26"/>
                    </a:lnTo>
                    <a:lnTo>
                      <a:pt x="40" y="20"/>
                    </a:lnTo>
                    <a:lnTo>
                      <a:pt x="40" y="14"/>
                    </a:lnTo>
                    <a:lnTo>
                      <a:pt x="46" y="12"/>
                    </a:lnTo>
                    <a:lnTo>
                      <a:pt x="56" y="20"/>
                    </a:lnTo>
                    <a:lnTo>
                      <a:pt x="66" y="28"/>
                    </a:lnTo>
                    <a:lnTo>
                      <a:pt x="70" y="22"/>
                    </a:lnTo>
                    <a:lnTo>
                      <a:pt x="64" y="16"/>
                    </a:lnTo>
                    <a:lnTo>
                      <a:pt x="58" y="8"/>
                    </a:lnTo>
                    <a:lnTo>
                      <a:pt x="60" y="4"/>
                    </a:lnTo>
                    <a:close/>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0" name="Freeform 39"/>
              <p:cNvSpPr>
                <a:spLocks/>
              </p:cNvSpPr>
              <p:nvPr/>
            </p:nvSpPr>
            <p:spPr bwMode="auto">
              <a:xfrm>
                <a:off x="1389" y="1135"/>
                <a:ext cx="100" cy="52"/>
              </a:xfrm>
              <a:custGeom>
                <a:avLst/>
                <a:gdLst>
                  <a:gd name="T0" fmla="*/ 56 w 100"/>
                  <a:gd name="T1" fmla="*/ 0 h 52"/>
                  <a:gd name="T2" fmla="*/ 70 w 100"/>
                  <a:gd name="T3" fmla="*/ 2 h 52"/>
                  <a:gd name="T4" fmla="*/ 74 w 100"/>
                  <a:gd name="T5" fmla="*/ 8 h 52"/>
                  <a:gd name="T6" fmla="*/ 82 w 100"/>
                  <a:gd name="T7" fmla="*/ 4 h 52"/>
                  <a:gd name="T8" fmla="*/ 92 w 100"/>
                  <a:gd name="T9" fmla="*/ 4 h 52"/>
                  <a:gd name="T10" fmla="*/ 96 w 100"/>
                  <a:gd name="T11" fmla="*/ 10 h 52"/>
                  <a:gd name="T12" fmla="*/ 98 w 100"/>
                  <a:gd name="T13" fmla="*/ 26 h 52"/>
                  <a:gd name="T14" fmla="*/ 100 w 100"/>
                  <a:gd name="T15" fmla="*/ 34 h 52"/>
                  <a:gd name="T16" fmla="*/ 92 w 100"/>
                  <a:gd name="T17" fmla="*/ 36 h 52"/>
                  <a:gd name="T18" fmla="*/ 92 w 100"/>
                  <a:gd name="T19" fmla="*/ 48 h 52"/>
                  <a:gd name="T20" fmla="*/ 82 w 100"/>
                  <a:gd name="T21" fmla="*/ 50 h 52"/>
                  <a:gd name="T22" fmla="*/ 62 w 100"/>
                  <a:gd name="T23" fmla="*/ 52 h 52"/>
                  <a:gd name="T24" fmla="*/ 58 w 100"/>
                  <a:gd name="T25" fmla="*/ 40 h 52"/>
                  <a:gd name="T26" fmla="*/ 66 w 100"/>
                  <a:gd name="T27" fmla="*/ 34 h 52"/>
                  <a:gd name="T28" fmla="*/ 60 w 100"/>
                  <a:gd name="T29" fmla="*/ 34 h 52"/>
                  <a:gd name="T30" fmla="*/ 52 w 100"/>
                  <a:gd name="T31" fmla="*/ 32 h 52"/>
                  <a:gd name="T32" fmla="*/ 42 w 100"/>
                  <a:gd name="T33" fmla="*/ 32 h 52"/>
                  <a:gd name="T34" fmla="*/ 32 w 100"/>
                  <a:gd name="T35" fmla="*/ 36 h 52"/>
                  <a:gd name="T36" fmla="*/ 22 w 100"/>
                  <a:gd name="T37" fmla="*/ 32 h 52"/>
                  <a:gd name="T38" fmla="*/ 6 w 100"/>
                  <a:gd name="T39" fmla="*/ 18 h 52"/>
                  <a:gd name="T40" fmla="*/ 0 w 100"/>
                  <a:gd name="T41" fmla="*/ 4 h 52"/>
                  <a:gd name="T42" fmla="*/ 6 w 100"/>
                  <a:gd name="T43" fmla="*/ 0 h 52"/>
                  <a:gd name="T44" fmla="*/ 16 w 100"/>
                  <a:gd name="T45" fmla="*/ 6 h 52"/>
                  <a:gd name="T46" fmla="*/ 22 w 100"/>
                  <a:gd name="T47" fmla="*/ 14 h 52"/>
                  <a:gd name="T48" fmla="*/ 36 w 100"/>
                  <a:gd name="T49" fmla="*/ 24 h 52"/>
                  <a:gd name="T50" fmla="*/ 42 w 100"/>
                  <a:gd name="T51" fmla="*/ 22 h 52"/>
                  <a:gd name="T52" fmla="*/ 36 w 100"/>
                  <a:gd name="T53" fmla="*/ 16 h 52"/>
                  <a:gd name="T54" fmla="*/ 36 w 100"/>
                  <a:gd name="T55" fmla="*/ 10 h 52"/>
                  <a:gd name="T56" fmla="*/ 42 w 100"/>
                  <a:gd name="T57" fmla="*/ 8 h 52"/>
                  <a:gd name="T58" fmla="*/ 52 w 100"/>
                  <a:gd name="T59" fmla="*/ 16 h 52"/>
                  <a:gd name="T60" fmla="*/ 62 w 100"/>
                  <a:gd name="T61" fmla="*/ 24 h 52"/>
                  <a:gd name="T62" fmla="*/ 66 w 100"/>
                  <a:gd name="T63" fmla="*/ 18 h 52"/>
                  <a:gd name="T64" fmla="*/ 60 w 100"/>
                  <a:gd name="T65" fmla="*/ 12 h 52"/>
                  <a:gd name="T66" fmla="*/ 54 w 100"/>
                  <a:gd name="T67" fmla="*/ 4 h 52"/>
                  <a:gd name="T68" fmla="*/ 56 w 100"/>
                  <a:gd name="T6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0" h="52">
                    <a:moveTo>
                      <a:pt x="56" y="0"/>
                    </a:moveTo>
                    <a:lnTo>
                      <a:pt x="70" y="2"/>
                    </a:lnTo>
                    <a:lnTo>
                      <a:pt x="74" y="8"/>
                    </a:lnTo>
                    <a:lnTo>
                      <a:pt x="82" y="4"/>
                    </a:lnTo>
                    <a:lnTo>
                      <a:pt x="92" y="4"/>
                    </a:lnTo>
                    <a:lnTo>
                      <a:pt x="96" y="10"/>
                    </a:lnTo>
                    <a:lnTo>
                      <a:pt x="98" y="26"/>
                    </a:lnTo>
                    <a:lnTo>
                      <a:pt x="100" y="34"/>
                    </a:lnTo>
                    <a:lnTo>
                      <a:pt x="92" y="36"/>
                    </a:lnTo>
                    <a:lnTo>
                      <a:pt x="92" y="48"/>
                    </a:lnTo>
                    <a:lnTo>
                      <a:pt x="82" y="50"/>
                    </a:lnTo>
                    <a:lnTo>
                      <a:pt x="62" y="52"/>
                    </a:lnTo>
                    <a:lnTo>
                      <a:pt x="58" y="40"/>
                    </a:lnTo>
                    <a:lnTo>
                      <a:pt x="66" y="34"/>
                    </a:lnTo>
                    <a:lnTo>
                      <a:pt x="60" y="34"/>
                    </a:lnTo>
                    <a:lnTo>
                      <a:pt x="52" y="32"/>
                    </a:lnTo>
                    <a:lnTo>
                      <a:pt x="42" y="32"/>
                    </a:lnTo>
                    <a:lnTo>
                      <a:pt x="32" y="36"/>
                    </a:lnTo>
                    <a:lnTo>
                      <a:pt x="22" y="32"/>
                    </a:lnTo>
                    <a:lnTo>
                      <a:pt x="6" y="18"/>
                    </a:lnTo>
                    <a:lnTo>
                      <a:pt x="0" y="4"/>
                    </a:lnTo>
                    <a:lnTo>
                      <a:pt x="6" y="0"/>
                    </a:lnTo>
                    <a:lnTo>
                      <a:pt x="16" y="6"/>
                    </a:lnTo>
                    <a:lnTo>
                      <a:pt x="22" y="14"/>
                    </a:lnTo>
                    <a:lnTo>
                      <a:pt x="36" y="24"/>
                    </a:lnTo>
                    <a:lnTo>
                      <a:pt x="42" y="22"/>
                    </a:lnTo>
                    <a:lnTo>
                      <a:pt x="36" y="16"/>
                    </a:lnTo>
                    <a:lnTo>
                      <a:pt x="36" y="10"/>
                    </a:lnTo>
                    <a:lnTo>
                      <a:pt x="42" y="8"/>
                    </a:lnTo>
                    <a:lnTo>
                      <a:pt x="52" y="16"/>
                    </a:lnTo>
                    <a:lnTo>
                      <a:pt x="62" y="24"/>
                    </a:lnTo>
                    <a:lnTo>
                      <a:pt x="66" y="18"/>
                    </a:lnTo>
                    <a:lnTo>
                      <a:pt x="60" y="12"/>
                    </a:lnTo>
                    <a:lnTo>
                      <a:pt x="54" y="4"/>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1" name="Freeform 40"/>
              <p:cNvSpPr>
                <a:spLocks/>
              </p:cNvSpPr>
              <p:nvPr/>
            </p:nvSpPr>
            <p:spPr bwMode="auto">
              <a:xfrm>
                <a:off x="1385" y="1131"/>
                <a:ext cx="108" cy="60"/>
              </a:xfrm>
              <a:custGeom>
                <a:avLst/>
                <a:gdLst>
                  <a:gd name="T0" fmla="*/ 60 w 108"/>
                  <a:gd name="T1" fmla="*/ 0 h 60"/>
                  <a:gd name="T2" fmla="*/ 58 w 108"/>
                  <a:gd name="T3" fmla="*/ 4 h 60"/>
                  <a:gd name="T4" fmla="*/ 56 w 108"/>
                  <a:gd name="T5" fmla="*/ 6 h 60"/>
                  <a:gd name="T6" fmla="*/ 62 w 108"/>
                  <a:gd name="T7" fmla="*/ 18 h 60"/>
                  <a:gd name="T8" fmla="*/ 58 w 108"/>
                  <a:gd name="T9" fmla="*/ 16 h 60"/>
                  <a:gd name="T10" fmla="*/ 48 w 108"/>
                  <a:gd name="T11" fmla="*/ 10 h 60"/>
                  <a:gd name="T12" fmla="*/ 46 w 108"/>
                  <a:gd name="T13" fmla="*/ 8 h 60"/>
                  <a:gd name="T14" fmla="*/ 38 w 108"/>
                  <a:gd name="T15" fmla="*/ 10 h 60"/>
                  <a:gd name="T16" fmla="*/ 36 w 108"/>
                  <a:gd name="T17" fmla="*/ 12 h 60"/>
                  <a:gd name="T18" fmla="*/ 36 w 108"/>
                  <a:gd name="T19" fmla="*/ 20 h 60"/>
                  <a:gd name="T20" fmla="*/ 36 w 108"/>
                  <a:gd name="T21" fmla="*/ 20 h 60"/>
                  <a:gd name="T22" fmla="*/ 22 w 108"/>
                  <a:gd name="T23" fmla="*/ 8 h 60"/>
                  <a:gd name="T24" fmla="*/ 22 w 108"/>
                  <a:gd name="T25" fmla="*/ 6 h 60"/>
                  <a:gd name="T26" fmla="*/ 12 w 108"/>
                  <a:gd name="T27" fmla="*/ 2 h 60"/>
                  <a:gd name="T28" fmla="*/ 10 w 108"/>
                  <a:gd name="T29" fmla="*/ 0 h 60"/>
                  <a:gd name="T30" fmla="*/ 2 w 108"/>
                  <a:gd name="T31" fmla="*/ 4 h 60"/>
                  <a:gd name="T32" fmla="*/ 0 w 108"/>
                  <a:gd name="T33" fmla="*/ 8 h 60"/>
                  <a:gd name="T34" fmla="*/ 6 w 108"/>
                  <a:gd name="T35" fmla="*/ 24 h 60"/>
                  <a:gd name="T36" fmla="*/ 8 w 108"/>
                  <a:gd name="T37" fmla="*/ 26 h 60"/>
                  <a:gd name="T38" fmla="*/ 24 w 108"/>
                  <a:gd name="T39" fmla="*/ 38 h 60"/>
                  <a:gd name="T40" fmla="*/ 34 w 108"/>
                  <a:gd name="T41" fmla="*/ 42 h 60"/>
                  <a:gd name="T42" fmla="*/ 36 w 108"/>
                  <a:gd name="T43" fmla="*/ 44 h 60"/>
                  <a:gd name="T44" fmla="*/ 36 w 108"/>
                  <a:gd name="T45" fmla="*/ 42 h 60"/>
                  <a:gd name="T46" fmla="*/ 54 w 108"/>
                  <a:gd name="T47" fmla="*/ 40 h 60"/>
                  <a:gd name="T48" fmla="*/ 60 w 108"/>
                  <a:gd name="T49" fmla="*/ 42 h 60"/>
                  <a:gd name="T50" fmla="*/ 58 w 108"/>
                  <a:gd name="T51" fmla="*/ 46 h 60"/>
                  <a:gd name="T52" fmla="*/ 62 w 108"/>
                  <a:gd name="T53" fmla="*/ 56 h 60"/>
                  <a:gd name="T54" fmla="*/ 66 w 108"/>
                  <a:gd name="T55" fmla="*/ 60 h 60"/>
                  <a:gd name="T56" fmla="*/ 66 w 108"/>
                  <a:gd name="T57" fmla="*/ 60 h 60"/>
                  <a:gd name="T58" fmla="*/ 98 w 108"/>
                  <a:gd name="T59" fmla="*/ 56 h 60"/>
                  <a:gd name="T60" fmla="*/ 100 w 108"/>
                  <a:gd name="T61" fmla="*/ 54 h 60"/>
                  <a:gd name="T62" fmla="*/ 100 w 108"/>
                  <a:gd name="T63" fmla="*/ 44 h 60"/>
                  <a:gd name="T64" fmla="*/ 106 w 108"/>
                  <a:gd name="T65" fmla="*/ 40 h 60"/>
                  <a:gd name="T66" fmla="*/ 108 w 108"/>
                  <a:gd name="T67" fmla="*/ 36 h 60"/>
                  <a:gd name="T68" fmla="*/ 104 w 108"/>
                  <a:gd name="T69" fmla="*/ 14 h 60"/>
                  <a:gd name="T70" fmla="*/ 104 w 108"/>
                  <a:gd name="T71" fmla="*/ 12 h 60"/>
                  <a:gd name="T72" fmla="*/ 100 w 108"/>
                  <a:gd name="T73" fmla="*/ 6 h 60"/>
                  <a:gd name="T74" fmla="*/ 86 w 108"/>
                  <a:gd name="T75" fmla="*/ 4 h 60"/>
                  <a:gd name="T76" fmla="*/ 84 w 108"/>
                  <a:gd name="T77" fmla="*/ 4 h 60"/>
                  <a:gd name="T78" fmla="*/ 76 w 108"/>
                  <a:gd name="T79" fmla="*/ 4 h 60"/>
                  <a:gd name="T80" fmla="*/ 74 w 108"/>
                  <a:gd name="T81" fmla="*/ 2 h 60"/>
                  <a:gd name="T82" fmla="*/ 62 w 108"/>
                  <a:gd name="T83" fmla="*/ 0 h 60"/>
                  <a:gd name="T84" fmla="*/ 60 w 108"/>
                  <a:gd name="T8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60">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2" name="Freeform 41"/>
              <p:cNvSpPr>
                <a:spLocks/>
              </p:cNvSpPr>
              <p:nvPr/>
            </p:nvSpPr>
            <p:spPr bwMode="auto">
              <a:xfrm>
                <a:off x="1499" y="1123"/>
                <a:ext cx="244" cy="76"/>
              </a:xfrm>
              <a:custGeom>
                <a:avLst/>
                <a:gdLst>
                  <a:gd name="T0" fmla="*/ 82 w 244"/>
                  <a:gd name="T1" fmla="*/ 74 h 76"/>
                  <a:gd name="T2" fmla="*/ 80 w 244"/>
                  <a:gd name="T3" fmla="*/ 70 h 76"/>
                  <a:gd name="T4" fmla="*/ 78 w 244"/>
                  <a:gd name="T5" fmla="*/ 70 h 76"/>
                  <a:gd name="T6" fmla="*/ 70 w 244"/>
                  <a:gd name="T7" fmla="*/ 72 h 76"/>
                  <a:gd name="T8" fmla="*/ 70 w 244"/>
                  <a:gd name="T9" fmla="*/ 70 h 76"/>
                  <a:gd name="T10" fmla="*/ 60 w 244"/>
                  <a:gd name="T11" fmla="*/ 52 h 76"/>
                  <a:gd name="T12" fmla="*/ 60 w 244"/>
                  <a:gd name="T13" fmla="*/ 48 h 76"/>
                  <a:gd name="T14" fmla="*/ 62 w 244"/>
                  <a:gd name="T15" fmla="*/ 44 h 76"/>
                  <a:gd name="T16" fmla="*/ 52 w 244"/>
                  <a:gd name="T17" fmla="*/ 28 h 76"/>
                  <a:gd name="T18" fmla="*/ 32 w 244"/>
                  <a:gd name="T19" fmla="*/ 28 h 76"/>
                  <a:gd name="T20" fmla="*/ 6 w 244"/>
                  <a:gd name="T21" fmla="*/ 20 h 76"/>
                  <a:gd name="T22" fmla="*/ 0 w 244"/>
                  <a:gd name="T23" fmla="*/ 16 h 76"/>
                  <a:gd name="T24" fmla="*/ 0 w 244"/>
                  <a:gd name="T25" fmla="*/ 4 h 76"/>
                  <a:gd name="T26" fmla="*/ 2 w 244"/>
                  <a:gd name="T27" fmla="*/ 4 h 76"/>
                  <a:gd name="T28" fmla="*/ 12 w 244"/>
                  <a:gd name="T29" fmla="*/ 0 h 76"/>
                  <a:gd name="T30" fmla="*/ 14 w 244"/>
                  <a:gd name="T31" fmla="*/ 0 h 76"/>
                  <a:gd name="T32" fmla="*/ 30 w 244"/>
                  <a:gd name="T33" fmla="*/ 6 h 76"/>
                  <a:gd name="T34" fmla="*/ 44 w 244"/>
                  <a:gd name="T35" fmla="*/ 8 h 76"/>
                  <a:gd name="T36" fmla="*/ 50 w 244"/>
                  <a:gd name="T37" fmla="*/ 16 h 76"/>
                  <a:gd name="T38" fmla="*/ 80 w 244"/>
                  <a:gd name="T39" fmla="*/ 12 h 76"/>
                  <a:gd name="T40" fmla="*/ 80 w 244"/>
                  <a:gd name="T41" fmla="*/ 12 h 76"/>
                  <a:gd name="T42" fmla="*/ 82 w 244"/>
                  <a:gd name="T43" fmla="*/ 12 h 76"/>
                  <a:gd name="T44" fmla="*/ 88 w 244"/>
                  <a:gd name="T45" fmla="*/ 22 h 76"/>
                  <a:gd name="T46" fmla="*/ 88 w 244"/>
                  <a:gd name="T47" fmla="*/ 30 h 76"/>
                  <a:gd name="T48" fmla="*/ 108 w 244"/>
                  <a:gd name="T49" fmla="*/ 44 h 76"/>
                  <a:gd name="T50" fmla="*/ 154 w 244"/>
                  <a:gd name="T51" fmla="*/ 46 h 76"/>
                  <a:gd name="T52" fmla="*/ 176 w 244"/>
                  <a:gd name="T53" fmla="*/ 38 h 76"/>
                  <a:gd name="T54" fmla="*/ 178 w 244"/>
                  <a:gd name="T55" fmla="*/ 38 h 76"/>
                  <a:gd name="T56" fmla="*/ 230 w 244"/>
                  <a:gd name="T57" fmla="*/ 44 h 76"/>
                  <a:gd name="T58" fmla="*/ 242 w 244"/>
                  <a:gd name="T59" fmla="*/ 48 h 76"/>
                  <a:gd name="T60" fmla="*/ 242 w 244"/>
                  <a:gd name="T61" fmla="*/ 60 h 76"/>
                  <a:gd name="T62" fmla="*/ 240 w 244"/>
                  <a:gd name="T63" fmla="*/ 60 h 76"/>
                  <a:gd name="T64" fmla="*/ 234 w 244"/>
                  <a:gd name="T65" fmla="*/ 74 h 76"/>
                  <a:gd name="T66" fmla="*/ 232 w 244"/>
                  <a:gd name="T67" fmla="*/ 74 h 76"/>
                  <a:gd name="T68" fmla="*/ 198 w 244"/>
                  <a:gd name="T69" fmla="*/ 76 h 76"/>
                  <a:gd name="T70" fmla="*/ 198 w 244"/>
                  <a:gd name="T71" fmla="*/ 76 h 76"/>
                  <a:gd name="T72" fmla="*/ 186 w 244"/>
                  <a:gd name="T73" fmla="*/ 76 h 76"/>
                  <a:gd name="T74" fmla="*/ 184 w 244"/>
                  <a:gd name="T75" fmla="*/ 76 h 76"/>
                  <a:gd name="T76" fmla="*/ 118 w 244"/>
                  <a:gd name="T77" fmla="*/ 76 h 76"/>
                  <a:gd name="T78" fmla="*/ 116 w 244"/>
                  <a:gd name="T79" fmla="*/ 68 h 76"/>
                  <a:gd name="T80" fmla="*/ 110 w 244"/>
                  <a:gd name="T81" fmla="*/ 70 h 76"/>
                  <a:gd name="T82" fmla="*/ 106 w 244"/>
                  <a:gd name="T83" fmla="*/ 76 h 76"/>
                  <a:gd name="T84" fmla="*/ 104 w 244"/>
                  <a:gd name="T85" fmla="*/ 76 h 76"/>
                  <a:gd name="T86" fmla="*/ 82 w 244"/>
                  <a:gd name="T87"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76">
                    <a:moveTo>
                      <a:pt x="82" y="74"/>
                    </a:moveTo>
                    <a:lnTo>
                      <a:pt x="82" y="74"/>
                    </a:lnTo>
                    <a:lnTo>
                      <a:pt x="82" y="72"/>
                    </a:lnTo>
                    <a:lnTo>
                      <a:pt x="80" y="70"/>
                    </a:lnTo>
                    <a:lnTo>
                      <a:pt x="78" y="70"/>
                    </a:lnTo>
                    <a:lnTo>
                      <a:pt x="78" y="70"/>
                    </a:lnTo>
                    <a:lnTo>
                      <a:pt x="76" y="72"/>
                    </a:lnTo>
                    <a:lnTo>
                      <a:pt x="70" y="72"/>
                    </a:lnTo>
                    <a:lnTo>
                      <a:pt x="70" y="72"/>
                    </a:lnTo>
                    <a:lnTo>
                      <a:pt x="70" y="70"/>
                    </a:lnTo>
                    <a:lnTo>
                      <a:pt x="64" y="64"/>
                    </a:lnTo>
                    <a:lnTo>
                      <a:pt x="60" y="52"/>
                    </a:lnTo>
                    <a:lnTo>
                      <a:pt x="60" y="48"/>
                    </a:lnTo>
                    <a:lnTo>
                      <a:pt x="60" y="48"/>
                    </a:lnTo>
                    <a:lnTo>
                      <a:pt x="60" y="48"/>
                    </a:lnTo>
                    <a:lnTo>
                      <a:pt x="62" y="44"/>
                    </a:lnTo>
                    <a:lnTo>
                      <a:pt x="56" y="36"/>
                    </a:lnTo>
                    <a:lnTo>
                      <a:pt x="52" y="28"/>
                    </a:lnTo>
                    <a:lnTo>
                      <a:pt x="44" y="26"/>
                    </a:lnTo>
                    <a:lnTo>
                      <a:pt x="32" y="28"/>
                    </a:lnTo>
                    <a:lnTo>
                      <a:pt x="18" y="26"/>
                    </a:lnTo>
                    <a:lnTo>
                      <a:pt x="6" y="20"/>
                    </a:lnTo>
                    <a:lnTo>
                      <a:pt x="0" y="16"/>
                    </a:lnTo>
                    <a:lnTo>
                      <a:pt x="0" y="16"/>
                    </a:lnTo>
                    <a:lnTo>
                      <a:pt x="0" y="14"/>
                    </a:lnTo>
                    <a:lnTo>
                      <a:pt x="0" y="4"/>
                    </a:lnTo>
                    <a:lnTo>
                      <a:pt x="0" y="4"/>
                    </a:lnTo>
                    <a:lnTo>
                      <a:pt x="2" y="4"/>
                    </a:lnTo>
                    <a:lnTo>
                      <a:pt x="12" y="0"/>
                    </a:lnTo>
                    <a:lnTo>
                      <a:pt x="12" y="0"/>
                    </a:lnTo>
                    <a:lnTo>
                      <a:pt x="14" y="0"/>
                    </a:lnTo>
                    <a:lnTo>
                      <a:pt x="14" y="0"/>
                    </a:lnTo>
                    <a:lnTo>
                      <a:pt x="14" y="0"/>
                    </a:lnTo>
                    <a:lnTo>
                      <a:pt x="30" y="6"/>
                    </a:lnTo>
                    <a:lnTo>
                      <a:pt x="44" y="8"/>
                    </a:lnTo>
                    <a:lnTo>
                      <a:pt x="44" y="8"/>
                    </a:lnTo>
                    <a:lnTo>
                      <a:pt x="46" y="10"/>
                    </a:lnTo>
                    <a:lnTo>
                      <a:pt x="50" y="16"/>
                    </a:lnTo>
                    <a:lnTo>
                      <a:pt x="64" y="16"/>
                    </a:lnTo>
                    <a:lnTo>
                      <a:pt x="80" y="12"/>
                    </a:lnTo>
                    <a:lnTo>
                      <a:pt x="80" y="12"/>
                    </a:lnTo>
                    <a:lnTo>
                      <a:pt x="80" y="12"/>
                    </a:lnTo>
                    <a:lnTo>
                      <a:pt x="80" y="12"/>
                    </a:lnTo>
                    <a:lnTo>
                      <a:pt x="82" y="12"/>
                    </a:lnTo>
                    <a:lnTo>
                      <a:pt x="88" y="22"/>
                    </a:lnTo>
                    <a:lnTo>
                      <a:pt x="88" y="22"/>
                    </a:lnTo>
                    <a:lnTo>
                      <a:pt x="88" y="22"/>
                    </a:lnTo>
                    <a:lnTo>
                      <a:pt x="88" y="30"/>
                    </a:lnTo>
                    <a:lnTo>
                      <a:pt x="92" y="34"/>
                    </a:lnTo>
                    <a:lnTo>
                      <a:pt x="108" y="44"/>
                    </a:lnTo>
                    <a:lnTo>
                      <a:pt x="134" y="44"/>
                    </a:lnTo>
                    <a:lnTo>
                      <a:pt x="154" y="46"/>
                    </a:lnTo>
                    <a:lnTo>
                      <a:pt x="176" y="38"/>
                    </a:lnTo>
                    <a:lnTo>
                      <a:pt x="176" y="38"/>
                    </a:lnTo>
                    <a:lnTo>
                      <a:pt x="178" y="38"/>
                    </a:lnTo>
                    <a:lnTo>
                      <a:pt x="178" y="38"/>
                    </a:lnTo>
                    <a:lnTo>
                      <a:pt x="212" y="40"/>
                    </a:lnTo>
                    <a:lnTo>
                      <a:pt x="230" y="44"/>
                    </a:lnTo>
                    <a:lnTo>
                      <a:pt x="242" y="48"/>
                    </a:lnTo>
                    <a:lnTo>
                      <a:pt x="242" y="48"/>
                    </a:lnTo>
                    <a:lnTo>
                      <a:pt x="244" y="50"/>
                    </a:lnTo>
                    <a:lnTo>
                      <a:pt x="242" y="60"/>
                    </a:lnTo>
                    <a:lnTo>
                      <a:pt x="242" y="60"/>
                    </a:lnTo>
                    <a:lnTo>
                      <a:pt x="240" y="60"/>
                    </a:lnTo>
                    <a:lnTo>
                      <a:pt x="236" y="64"/>
                    </a:lnTo>
                    <a:lnTo>
                      <a:pt x="234" y="74"/>
                    </a:lnTo>
                    <a:lnTo>
                      <a:pt x="234" y="74"/>
                    </a:lnTo>
                    <a:lnTo>
                      <a:pt x="232" y="74"/>
                    </a:lnTo>
                    <a:lnTo>
                      <a:pt x="232" y="74"/>
                    </a:lnTo>
                    <a:lnTo>
                      <a:pt x="198" y="76"/>
                    </a:lnTo>
                    <a:lnTo>
                      <a:pt x="198" y="76"/>
                    </a:lnTo>
                    <a:lnTo>
                      <a:pt x="198" y="76"/>
                    </a:lnTo>
                    <a:lnTo>
                      <a:pt x="190" y="70"/>
                    </a:lnTo>
                    <a:lnTo>
                      <a:pt x="186" y="76"/>
                    </a:lnTo>
                    <a:lnTo>
                      <a:pt x="186" y="76"/>
                    </a:lnTo>
                    <a:lnTo>
                      <a:pt x="184" y="76"/>
                    </a:lnTo>
                    <a:lnTo>
                      <a:pt x="118" y="76"/>
                    </a:lnTo>
                    <a:lnTo>
                      <a:pt x="118" y="76"/>
                    </a:lnTo>
                    <a:lnTo>
                      <a:pt x="116" y="76"/>
                    </a:lnTo>
                    <a:lnTo>
                      <a:pt x="116" y="68"/>
                    </a:lnTo>
                    <a:lnTo>
                      <a:pt x="114" y="66"/>
                    </a:lnTo>
                    <a:lnTo>
                      <a:pt x="110" y="70"/>
                    </a:lnTo>
                    <a:lnTo>
                      <a:pt x="106" y="76"/>
                    </a:lnTo>
                    <a:lnTo>
                      <a:pt x="106" y="76"/>
                    </a:lnTo>
                    <a:lnTo>
                      <a:pt x="104" y="76"/>
                    </a:lnTo>
                    <a:lnTo>
                      <a:pt x="104" y="76"/>
                    </a:lnTo>
                    <a:lnTo>
                      <a:pt x="82" y="74"/>
                    </a:lnTo>
                    <a:lnTo>
                      <a:pt x="82"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3" name="Freeform 42"/>
              <p:cNvSpPr>
                <a:spLocks noEditPoints="1"/>
              </p:cNvSpPr>
              <p:nvPr/>
            </p:nvSpPr>
            <p:spPr bwMode="auto">
              <a:xfrm>
                <a:off x="1497" y="1121"/>
                <a:ext cx="248" cy="80"/>
              </a:xfrm>
              <a:custGeom>
                <a:avLst/>
                <a:gdLst>
                  <a:gd name="T0" fmla="*/ 46 w 248"/>
                  <a:gd name="T1" fmla="*/ 12 h 80"/>
                  <a:gd name="T2" fmla="*/ 82 w 248"/>
                  <a:gd name="T3" fmla="*/ 16 h 80"/>
                  <a:gd name="T4" fmla="*/ 92 w 248"/>
                  <a:gd name="T5" fmla="*/ 38 h 80"/>
                  <a:gd name="T6" fmla="*/ 156 w 248"/>
                  <a:gd name="T7" fmla="*/ 50 h 80"/>
                  <a:gd name="T8" fmla="*/ 232 w 248"/>
                  <a:gd name="T9" fmla="*/ 48 h 80"/>
                  <a:gd name="T10" fmla="*/ 236 w 248"/>
                  <a:gd name="T11" fmla="*/ 64 h 80"/>
                  <a:gd name="T12" fmla="*/ 192 w 248"/>
                  <a:gd name="T13" fmla="*/ 70 h 80"/>
                  <a:gd name="T14" fmla="*/ 118 w 248"/>
                  <a:gd name="T15" fmla="*/ 68 h 80"/>
                  <a:gd name="T16" fmla="*/ 106 w 248"/>
                  <a:gd name="T17" fmla="*/ 76 h 80"/>
                  <a:gd name="T18" fmla="*/ 78 w 248"/>
                  <a:gd name="T19" fmla="*/ 72 h 80"/>
                  <a:gd name="T20" fmla="*/ 64 w 248"/>
                  <a:gd name="T21" fmla="*/ 54 h 80"/>
                  <a:gd name="T22" fmla="*/ 60 w 248"/>
                  <a:gd name="T23" fmla="*/ 36 h 80"/>
                  <a:gd name="T24" fmla="*/ 34 w 248"/>
                  <a:gd name="T25" fmla="*/ 28 h 80"/>
                  <a:gd name="T26" fmla="*/ 4 w 248"/>
                  <a:gd name="T27" fmla="*/ 16 h 80"/>
                  <a:gd name="T28" fmla="*/ 16 w 248"/>
                  <a:gd name="T29" fmla="*/ 0 h 80"/>
                  <a:gd name="T30" fmla="*/ 4 w 248"/>
                  <a:gd name="T31" fmla="*/ 4 h 80"/>
                  <a:gd name="T32" fmla="*/ 0 w 248"/>
                  <a:gd name="T33" fmla="*/ 16 h 80"/>
                  <a:gd name="T34" fmla="*/ 6 w 248"/>
                  <a:gd name="T35" fmla="*/ 24 h 80"/>
                  <a:gd name="T36" fmla="*/ 20 w 248"/>
                  <a:gd name="T37" fmla="*/ 30 h 80"/>
                  <a:gd name="T38" fmla="*/ 32 w 248"/>
                  <a:gd name="T39" fmla="*/ 32 h 80"/>
                  <a:gd name="T40" fmla="*/ 34 w 248"/>
                  <a:gd name="T41" fmla="*/ 32 h 80"/>
                  <a:gd name="T42" fmla="*/ 52 w 248"/>
                  <a:gd name="T43" fmla="*/ 32 h 80"/>
                  <a:gd name="T44" fmla="*/ 58 w 248"/>
                  <a:gd name="T45" fmla="*/ 40 h 80"/>
                  <a:gd name="T46" fmla="*/ 60 w 248"/>
                  <a:gd name="T47" fmla="*/ 48 h 80"/>
                  <a:gd name="T48" fmla="*/ 60 w 248"/>
                  <a:gd name="T49" fmla="*/ 54 h 80"/>
                  <a:gd name="T50" fmla="*/ 64 w 248"/>
                  <a:gd name="T51" fmla="*/ 66 h 80"/>
                  <a:gd name="T52" fmla="*/ 70 w 248"/>
                  <a:gd name="T53" fmla="*/ 74 h 80"/>
                  <a:gd name="T54" fmla="*/ 78 w 248"/>
                  <a:gd name="T55" fmla="*/ 76 h 80"/>
                  <a:gd name="T56" fmla="*/ 82 w 248"/>
                  <a:gd name="T57" fmla="*/ 76 h 80"/>
                  <a:gd name="T58" fmla="*/ 106 w 248"/>
                  <a:gd name="T59" fmla="*/ 80 h 80"/>
                  <a:gd name="T60" fmla="*/ 106 w 248"/>
                  <a:gd name="T61" fmla="*/ 80 h 80"/>
                  <a:gd name="T62" fmla="*/ 116 w 248"/>
                  <a:gd name="T63" fmla="*/ 72 h 80"/>
                  <a:gd name="T64" fmla="*/ 118 w 248"/>
                  <a:gd name="T65" fmla="*/ 80 h 80"/>
                  <a:gd name="T66" fmla="*/ 186 w 248"/>
                  <a:gd name="T67" fmla="*/ 80 h 80"/>
                  <a:gd name="T68" fmla="*/ 198 w 248"/>
                  <a:gd name="T69" fmla="*/ 80 h 80"/>
                  <a:gd name="T70" fmla="*/ 200 w 248"/>
                  <a:gd name="T71" fmla="*/ 80 h 80"/>
                  <a:gd name="T72" fmla="*/ 234 w 248"/>
                  <a:gd name="T73" fmla="*/ 78 h 80"/>
                  <a:gd name="T74" fmla="*/ 240 w 248"/>
                  <a:gd name="T75" fmla="*/ 66 h 80"/>
                  <a:gd name="T76" fmla="*/ 246 w 248"/>
                  <a:gd name="T77" fmla="*/ 62 h 80"/>
                  <a:gd name="T78" fmla="*/ 248 w 248"/>
                  <a:gd name="T79" fmla="*/ 50 h 80"/>
                  <a:gd name="T80" fmla="*/ 232 w 248"/>
                  <a:gd name="T81" fmla="*/ 44 h 80"/>
                  <a:gd name="T82" fmla="*/ 214 w 248"/>
                  <a:gd name="T83" fmla="*/ 40 h 80"/>
                  <a:gd name="T84" fmla="*/ 180 w 248"/>
                  <a:gd name="T85" fmla="*/ 38 h 80"/>
                  <a:gd name="T86" fmla="*/ 178 w 248"/>
                  <a:gd name="T87" fmla="*/ 38 h 80"/>
                  <a:gd name="T88" fmla="*/ 112 w 248"/>
                  <a:gd name="T89" fmla="*/ 44 h 80"/>
                  <a:gd name="T90" fmla="*/ 92 w 248"/>
                  <a:gd name="T91" fmla="*/ 24 h 80"/>
                  <a:gd name="T92" fmla="*/ 84 w 248"/>
                  <a:gd name="T93" fmla="*/ 14 h 80"/>
                  <a:gd name="T94" fmla="*/ 82 w 248"/>
                  <a:gd name="T95" fmla="*/ 12 h 80"/>
                  <a:gd name="T96" fmla="*/ 54 w 248"/>
                  <a:gd name="T97" fmla="*/ 16 h 80"/>
                  <a:gd name="T98" fmla="*/ 46 w 248"/>
                  <a:gd name="T99" fmla="*/ 8 h 80"/>
                  <a:gd name="T100" fmla="*/ 16 w 248"/>
                  <a:gd name="T10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80">
                    <a:moveTo>
                      <a:pt x="16" y="4"/>
                    </a:moveTo>
                    <a:lnTo>
                      <a:pt x="32" y="8"/>
                    </a:lnTo>
                    <a:lnTo>
                      <a:pt x="46" y="12"/>
                    </a:lnTo>
                    <a:lnTo>
                      <a:pt x="52" y="20"/>
                    </a:lnTo>
                    <a:lnTo>
                      <a:pt x="66" y="20"/>
                    </a:lnTo>
                    <a:lnTo>
                      <a:pt x="82" y="16"/>
                    </a:lnTo>
                    <a:lnTo>
                      <a:pt x="88" y="24"/>
                    </a:lnTo>
                    <a:lnTo>
                      <a:pt x="88" y="34"/>
                    </a:lnTo>
                    <a:lnTo>
                      <a:pt x="92" y="38"/>
                    </a:lnTo>
                    <a:lnTo>
                      <a:pt x="110" y="48"/>
                    </a:lnTo>
                    <a:lnTo>
                      <a:pt x="136" y="48"/>
                    </a:lnTo>
                    <a:lnTo>
                      <a:pt x="156" y="50"/>
                    </a:lnTo>
                    <a:lnTo>
                      <a:pt x="180" y="42"/>
                    </a:lnTo>
                    <a:lnTo>
                      <a:pt x="214" y="44"/>
                    </a:lnTo>
                    <a:lnTo>
                      <a:pt x="232" y="48"/>
                    </a:lnTo>
                    <a:lnTo>
                      <a:pt x="244" y="52"/>
                    </a:lnTo>
                    <a:lnTo>
                      <a:pt x="242" y="62"/>
                    </a:lnTo>
                    <a:lnTo>
                      <a:pt x="236" y="64"/>
                    </a:lnTo>
                    <a:lnTo>
                      <a:pt x="234" y="74"/>
                    </a:lnTo>
                    <a:lnTo>
                      <a:pt x="200" y="76"/>
                    </a:lnTo>
                    <a:lnTo>
                      <a:pt x="192" y="70"/>
                    </a:lnTo>
                    <a:lnTo>
                      <a:pt x="186" y="76"/>
                    </a:lnTo>
                    <a:lnTo>
                      <a:pt x="120" y="76"/>
                    </a:lnTo>
                    <a:lnTo>
                      <a:pt x="118" y="68"/>
                    </a:lnTo>
                    <a:lnTo>
                      <a:pt x="116" y="66"/>
                    </a:lnTo>
                    <a:lnTo>
                      <a:pt x="110" y="72"/>
                    </a:lnTo>
                    <a:lnTo>
                      <a:pt x="106" y="76"/>
                    </a:lnTo>
                    <a:lnTo>
                      <a:pt x="86" y="74"/>
                    </a:lnTo>
                    <a:lnTo>
                      <a:pt x="82" y="68"/>
                    </a:lnTo>
                    <a:lnTo>
                      <a:pt x="78" y="72"/>
                    </a:lnTo>
                    <a:lnTo>
                      <a:pt x="72" y="72"/>
                    </a:lnTo>
                    <a:lnTo>
                      <a:pt x="68" y="64"/>
                    </a:lnTo>
                    <a:lnTo>
                      <a:pt x="64" y="54"/>
                    </a:lnTo>
                    <a:lnTo>
                      <a:pt x="64" y="50"/>
                    </a:lnTo>
                    <a:lnTo>
                      <a:pt x="68" y="46"/>
                    </a:lnTo>
                    <a:lnTo>
                      <a:pt x="60" y="36"/>
                    </a:lnTo>
                    <a:lnTo>
                      <a:pt x="54" y="28"/>
                    </a:lnTo>
                    <a:lnTo>
                      <a:pt x="46" y="26"/>
                    </a:lnTo>
                    <a:lnTo>
                      <a:pt x="34" y="28"/>
                    </a:lnTo>
                    <a:lnTo>
                      <a:pt x="20" y="26"/>
                    </a:lnTo>
                    <a:lnTo>
                      <a:pt x="8" y="22"/>
                    </a:lnTo>
                    <a:lnTo>
                      <a:pt x="4" y="16"/>
                    </a:lnTo>
                    <a:lnTo>
                      <a:pt x="4" y="8"/>
                    </a:lnTo>
                    <a:lnTo>
                      <a:pt x="16" y="4"/>
                    </a:lnTo>
                    <a:close/>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4" name="Freeform 43"/>
              <p:cNvSpPr>
                <a:spLocks/>
              </p:cNvSpPr>
              <p:nvPr/>
            </p:nvSpPr>
            <p:spPr bwMode="auto">
              <a:xfrm>
                <a:off x="1501" y="1125"/>
                <a:ext cx="240" cy="72"/>
              </a:xfrm>
              <a:custGeom>
                <a:avLst/>
                <a:gdLst>
                  <a:gd name="T0" fmla="*/ 12 w 240"/>
                  <a:gd name="T1" fmla="*/ 0 h 72"/>
                  <a:gd name="T2" fmla="*/ 28 w 240"/>
                  <a:gd name="T3" fmla="*/ 4 h 72"/>
                  <a:gd name="T4" fmla="*/ 42 w 240"/>
                  <a:gd name="T5" fmla="*/ 8 h 72"/>
                  <a:gd name="T6" fmla="*/ 48 w 240"/>
                  <a:gd name="T7" fmla="*/ 16 h 72"/>
                  <a:gd name="T8" fmla="*/ 62 w 240"/>
                  <a:gd name="T9" fmla="*/ 16 h 72"/>
                  <a:gd name="T10" fmla="*/ 78 w 240"/>
                  <a:gd name="T11" fmla="*/ 12 h 72"/>
                  <a:gd name="T12" fmla="*/ 84 w 240"/>
                  <a:gd name="T13" fmla="*/ 20 h 72"/>
                  <a:gd name="T14" fmla="*/ 84 w 240"/>
                  <a:gd name="T15" fmla="*/ 30 h 72"/>
                  <a:gd name="T16" fmla="*/ 88 w 240"/>
                  <a:gd name="T17" fmla="*/ 34 h 72"/>
                  <a:gd name="T18" fmla="*/ 106 w 240"/>
                  <a:gd name="T19" fmla="*/ 44 h 72"/>
                  <a:gd name="T20" fmla="*/ 132 w 240"/>
                  <a:gd name="T21" fmla="*/ 44 h 72"/>
                  <a:gd name="T22" fmla="*/ 152 w 240"/>
                  <a:gd name="T23" fmla="*/ 46 h 72"/>
                  <a:gd name="T24" fmla="*/ 176 w 240"/>
                  <a:gd name="T25" fmla="*/ 38 h 72"/>
                  <a:gd name="T26" fmla="*/ 210 w 240"/>
                  <a:gd name="T27" fmla="*/ 40 h 72"/>
                  <a:gd name="T28" fmla="*/ 228 w 240"/>
                  <a:gd name="T29" fmla="*/ 44 h 72"/>
                  <a:gd name="T30" fmla="*/ 240 w 240"/>
                  <a:gd name="T31" fmla="*/ 48 h 72"/>
                  <a:gd name="T32" fmla="*/ 238 w 240"/>
                  <a:gd name="T33" fmla="*/ 58 h 72"/>
                  <a:gd name="T34" fmla="*/ 232 w 240"/>
                  <a:gd name="T35" fmla="*/ 60 h 72"/>
                  <a:gd name="T36" fmla="*/ 230 w 240"/>
                  <a:gd name="T37" fmla="*/ 70 h 72"/>
                  <a:gd name="T38" fmla="*/ 196 w 240"/>
                  <a:gd name="T39" fmla="*/ 72 h 72"/>
                  <a:gd name="T40" fmla="*/ 188 w 240"/>
                  <a:gd name="T41" fmla="*/ 66 h 72"/>
                  <a:gd name="T42" fmla="*/ 182 w 240"/>
                  <a:gd name="T43" fmla="*/ 72 h 72"/>
                  <a:gd name="T44" fmla="*/ 116 w 240"/>
                  <a:gd name="T45" fmla="*/ 72 h 72"/>
                  <a:gd name="T46" fmla="*/ 114 w 240"/>
                  <a:gd name="T47" fmla="*/ 64 h 72"/>
                  <a:gd name="T48" fmla="*/ 112 w 240"/>
                  <a:gd name="T49" fmla="*/ 62 h 72"/>
                  <a:gd name="T50" fmla="*/ 106 w 240"/>
                  <a:gd name="T51" fmla="*/ 68 h 72"/>
                  <a:gd name="T52" fmla="*/ 102 w 240"/>
                  <a:gd name="T53" fmla="*/ 72 h 72"/>
                  <a:gd name="T54" fmla="*/ 82 w 240"/>
                  <a:gd name="T55" fmla="*/ 70 h 72"/>
                  <a:gd name="T56" fmla="*/ 78 w 240"/>
                  <a:gd name="T57" fmla="*/ 64 h 72"/>
                  <a:gd name="T58" fmla="*/ 74 w 240"/>
                  <a:gd name="T59" fmla="*/ 68 h 72"/>
                  <a:gd name="T60" fmla="*/ 68 w 240"/>
                  <a:gd name="T61" fmla="*/ 68 h 72"/>
                  <a:gd name="T62" fmla="*/ 64 w 240"/>
                  <a:gd name="T63" fmla="*/ 60 h 72"/>
                  <a:gd name="T64" fmla="*/ 60 w 240"/>
                  <a:gd name="T65" fmla="*/ 50 h 72"/>
                  <a:gd name="T66" fmla="*/ 60 w 240"/>
                  <a:gd name="T67" fmla="*/ 46 h 72"/>
                  <a:gd name="T68" fmla="*/ 64 w 240"/>
                  <a:gd name="T69" fmla="*/ 42 h 72"/>
                  <a:gd name="T70" fmla="*/ 56 w 240"/>
                  <a:gd name="T71" fmla="*/ 32 h 72"/>
                  <a:gd name="T72" fmla="*/ 50 w 240"/>
                  <a:gd name="T73" fmla="*/ 24 h 72"/>
                  <a:gd name="T74" fmla="*/ 42 w 240"/>
                  <a:gd name="T75" fmla="*/ 22 h 72"/>
                  <a:gd name="T76" fmla="*/ 30 w 240"/>
                  <a:gd name="T77" fmla="*/ 24 h 72"/>
                  <a:gd name="T78" fmla="*/ 16 w 240"/>
                  <a:gd name="T79" fmla="*/ 22 h 72"/>
                  <a:gd name="T80" fmla="*/ 4 w 240"/>
                  <a:gd name="T81" fmla="*/ 18 h 72"/>
                  <a:gd name="T82" fmla="*/ 0 w 240"/>
                  <a:gd name="T83" fmla="*/ 12 h 72"/>
                  <a:gd name="T84" fmla="*/ 0 w 240"/>
                  <a:gd name="T85" fmla="*/ 4 h 72"/>
                  <a:gd name="T86" fmla="*/ 12 w 240"/>
                  <a:gd name="T8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72">
                    <a:moveTo>
                      <a:pt x="12" y="0"/>
                    </a:moveTo>
                    <a:lnTo>
                      <a:pt x="28" y="4"/>
                    </a:lnTo>
                    <a:lnTo>
                      <a:pt x="42" y="8"/>
                    </a:lnTo>
                    <a:lnTo>
                      <a:pt x="48" y="16"/>
                    </a:lnTo>
                    <a:lnTo>
                      <a:pt x="62" y="16"/>
                    </a:lnTo>
                    <a:lnTo>
                      <a:pt x="78" y="12"/>
                    </a:lnTo>
                    <a:lnTo>
                      <a:pt x="84" y="20"/>
                    </a:lnTo>
                    <a:lnTo>
                      <a:pt x="84" y="30"/>
                    </a:lnTo>
                    <a:lnTo>
                      <a:pt x="88" y="34"/>
                    </a:lnTo>
                    <a:lnTo>
                      <a:pt x="106" y="44"/>
                    </a:lnTo>
                    <a:lnTo>
                      <a:pt x="132" y="44"/>
                    </a:lnTo>
                    <a:lnTo>
                      <a:pt x="152" y="46"/>
                    </a:lnTo>
                    <a:lnTo>
                      <a:pt x="176" y="38"/>
                    </a:lnTo>
                    <a:lnTo>
                      <a:pt x="210" y="40"/>
                    </a:lnTo>
                    <a:lnTo>
                      <a:pt x="228" y="44"/>
                    </a:lnTo>
                    <a:lnTo>
                      <a:pt x="240" y="48"/>
                    </a:lnTo>
                    <a:lnTo>
                      <a:pt x="238" y="58"/>
                    </a:lnTo>
                    <a:lnTo>
                      <a:pt x="232" y="60"/>
                    </a:lnTo>
                    <a:lnTo>
                      <a:pt x="230" y="70"/>
                    </a:lnTo>
                    <a:lnTo>
                      <a:pt x="196" y="72"/>
                    </a:lnTo>
                    <a:lnTo>
                      <a:pt x="188" y="66"/>
                    </a:lnTo>
                    <a:lnTo>
                      <a:pt x="182" y="72"/>
                    </a:lnTo>
                    <a:lnTo>
                      <a:pt x="116" y="72"/>
                    </a:lnTo>
                    <a:lnTo>
                      <a:pt x="114" y="64"/>
                    </a:lnTo>
                    <a:lnTo>
                      <a:pt x="112" y="62"/>
                    </a:lnTo>
                    <a:lnTo>
                      <a:pt x="106" y="68"/>
                    </a:lnTo>
                    <a:lnTo>
                      <a:pt x="102" y="72"/>
                    </a:lnTo>
                    <a:lnTo>
                      <a:pt x="82" y="70"/>
                    </a:lnTo>
                    <a:lnTo>
                      <a:pt x="78" y="64"/>
                    </a:lnTo>
                    <a:lnTo>
                      <a:pt x="74" y="68"/>
                    </a:lnTo>
                    <a:lnTo>
                      <a:pt x="68" y="68"/>
                    </a:lnTo>
                    <a:lnTo>
                      <a:pt x="64" y="60"/>
                    </a:lnTo>
                    <a:lnTo>
                      <a:pt x="60" y="50"/>
                    </a:lnTo>
                    <a:lnTo>
                      <a:pt x="60" y="46"/>
                    </a:lnTo>
                    <a:lnTo>
                      <a:pt x="64" y="42"/>
                    </a:lnTo>
                    <a:lnTo>
                      <a:pt x="56" y="32"/>
                    </a:lnTo>
                    <a:lnTo>
                      <a:pt x="50" y="24"/>
                    </a:lnTo>
                    <a:lnTo>
                      <a:pt x="42" y="22"/>
                    </a:lnTo>
                    <a:lnTo>
                      <a:pt x="30" y="24"/>
                    </a:lnTo>
                    <a:lnTo>
                      <a:pt x="16" y="22"/>
                    </a:lnTo>
                    <a:lnTo>
                      <a:pt x="4" y="18"/>
                    </a:lnTo>
                    <a:lnTo>
                      <a:pt x="0"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5" name="Freeform 44"/>
              <p:cNvSpPr>
                <a:spLocks/>
              </p:cNvSpPr>
              <p:nvPr/>
            </p:nvSpPr>
            <p:spPr bwMode="auto">
              <a:xfrm>
                <a:off x="1497" y="1121"/>
                <a:ext cx="248" cy="80"/>
              </a:xfrm>
              <a:custGeom>
                <a:avLst/>
                <a:gdLst>
                  <a:gd name="T0" fmla="*/ 16 w 248"/>
                  <a:gd name="T1" fmla="*/ 0 h 80"/>
                  <a:gd name="T2" fmla="*/ 4 w 248"/>
                  <a:gd name="T3" fmla="*/ 4 h 80"/>
                  <a:gd name="T4" fmla="*/ 0 w 248"/>
                  <a:gd name="T5" fmla="*/ 6 h 80"/>
                  <a:gd name="T6" fmla="*/ 0 w 248"/>
                  <a:gd name="T7" fmla="*/ 16 h 80"/>
                  <a:gd name="T8" fmla="*/ 6 w 248"/>
                  <a:gd name="T9" fmla="*/ 24 h 80"/>
                  <a:gd name="T10" fmla="*/ 6 w 248"/>
                  <a:gd name="T11" fmla="*/ 24 h 80"/>
                  <a:gd name="T12" fmla="*/ 20 w 248"/>
                  <a:gd name="T13" fmla="*/ 30 h 80"/>
                  <a:gd name="T14" fmla="*/ 32 w 248"/>
                  <a:gd name="T15" fmla="*/ 32 h 80"/>
                  <a:gd name="T16" fmla="*/ 34 w 248"/>
                  <a:gd name="T17" fmla="*/ 32 h 80"/>
                  <a:gd name="T18" fmla="*/ 34 w 248"/>
                  <a:gd name="T19" fmla="*/ 32 h 80"/>
                  <a:gd name="T20" fmla="*/ 52 w 248"/>
                  <a:gd name="T21" fmla="*/ 32 h 80"/>
                  <a:gd name="T22" fmla="*/ 56 w 248"/>
                  <a:gd name="T23" fmla="*/ 38 h 80"/>
                  <a:gd name="T24" fmla="*/ 62 w 248"/>
                  <a:gd name="T25" fmla="*/ 46 h 80"/>
                  <a:gd name="T26" fmla="*/ 60 w 248"/>
                  <a:gd name="T27" fmla="*/ 48 h 80"/>
                  <a:gd name="T28" fmla="*/ 60 w 248"/>
                  <a:gd name="T29" fmla="*/ 54 h 80"/>
                  <a:gd name="T30" fmla="*/ 60 w 248"/>
                  <a:gd name="T31" fmla="*/ 56 h 80"/>
                  <a:gd name="T32" fmla="*/ 64 w 248"/>
                  <a:gd name="T33" fmla="*/ 66 h 80"/>
                  <a:gd name="T34" fmla="*/ 70 w 248"/>
                  <a:gd name="T35" fmla="*/ 74 h 80"/>
                  <a:gd name="T36" fmla="*/ 72 w 248"/>
                  <a:gd name="T37" fmla="*/ 76 h 80"/>
                  <a:gd name="T38" fmla="*/ 78 w 248"/>
                  <a:gd name="T39" fmla="*/ 76 h 80"/>
                  <a:gd name="T40" fmla="*/ 80 w 248"/>
                  <a:gd name="T41" fmla="*/ 74 h 80"/>
                  <a:gd name="T42" fmla="*/ 82 w 248"/>
                  <a:gd name="T43" fmla="*/ 76 h 80"/>
                  <a:gd name="T44" fmla="*/ 106 w 248"/>
                  <a:gd name="T45" fmla="*/ 80 h 80"/>
                  <a:gd name="T46" fmla="*/ 106 w 248"/>
                  <a:gd name="T47" fmla="*/ 80 h 80"/>
                  <a:gd name="T48" fmla="*/ 110 w 248"/>
                  <a:gd name="T49" fmla="*/ 78 h 80"/>
                  <a:gd name="T50" fmla="*/ 116 w 248"/>
                  <a:gd name="T51" fmla="*/ 72 h 80"/>
                  <a:gd name="T52" fmla="*/ 116 w 248"/>
                  <a:gd name="T53" fmla="*/ 78 h 80"/>
                  <a:gd name="T54" fmla="*/ 120 w 248"/>
                  <a:gd name="T55" fmla="*/ 80 h 80"/>
                  <a:gd name="T56" fmla="*/ 186 w 248"/>
                  <a:gd name="T57" fmla="*/ 80 h 80"/>
                  <a:gd name="T58" fmla="*/ 192 w 248"/>
                  <a:gd name="T59" fmla="*/ 76 h 80"/>
                  <a:gd name="T60" fmla="*/ 198 w 248"/>
                  <a:gd name="T61" fmla="*/ 80 h 80"/>
                  <a:gd name="T62" fmla="*/ 200 w 248"/>
                  <a:gd name="T63" fmla="*/ 80 h 80"/>
                  <a:gd name="T64" fmla="*/ 234 w 248"/>
                  <a:gd name="T65" fmla="*/ 78 h 80"/>
                  <a:gd name="T66" fmla="*/ 238 w 248"/>
                  <a:gd name="T67" fmla="*/ 78 h 80"/>
                  <a:gd name="T68" fmla="*/ 240 w 248"/>
                  <a:gd name="T69" fmla="*/ 66 h 80"/>
                  <a:gd name="T70" fmla="*/ 244 w 248"/>
                  <a:gd name="T71" fmla="*/ 64 h 80"/>
                  <a:gd name="T72" fmla="*/ 248 w 248"/>
                  <a:gd name="T73" fmla="*/ 54 h 80"/>
                  <a:gd name="T74" fmla="*/ 248 w 248"/>
                  <a:gd name="T75" fmla="*/ 50 h 80"/>
                  <a:gd name="T76" fmla="*/ 232 w 248"/>
                  <a:gd name="T77" fmla="*/ 44 h 80"/>
                  <a:gd name="T78" fmla="*/ 232 w 248"/>
                  <a:gd name="T79" fmla="*/ 44 h 80"/>
                  <a:gd name="T80" fmla="*/ 214 w 248"/>
                  <a:gd name="T81" fmla="*/ 40 h 80"/>
                  <a:gd name="T82" fmla="*/ 180 w 248"/>
                  <a:gd name="T83" fmla="*/ 38 h 80"/>
                  <a:gd name="T84" fmla="*/ 180 w 248"/>
                  <a:gd name="T85" fmla="*/ 38 h 80"/>
                  <a:gd name="T86" fmla="*/ 178 w 248"/>
                  <a:gd name="T87" fmla="*/ 38 h 80"/>
                  <a:gd name="T88" fmla="*/ 138 w 248"/>
                  <a:gd name="T89" fmla="*/ 44 h 80"/>
                  <a:gd name="T90" fmla="*/ 94 w 248"/>
                  <a:gd name="T91" fmla="*/ 36 h 80"/>
                  <a:gd name="T92" fmla="*/ 92 w 248"/>
                  <a:gd name="T93" fmla="*/ 24 h 80"/>
                  <a:gd name="T94" fmla="*/ 92 w 248"/>
                  <a:gd name="T95" fmla="*/ 22 h 80"/>
                  <a:gd name="T96" fmla="*/ 84 w 248"/>
                  <a:gd name="T97" fmla="*/ 14 h 80"/>
                  <a:gd name="T98" fmla="*/ 82 w 248"/>
                  <a:gd name="T99" fmla="*/ 12 h 80"/>
                  <a:gd name="T100" fmla="*/ 66 w 248"/>
                  <a:gd name="T101" fmla="*/ 16 h 80"/>
                  <a:gd name="T102" fmla="*/ 50 w 248"/>
                  <a:gd name="T103" fmla="*/ 10 h 80"/>
                  <a:gd name="T104" fmla="*/ 46 w 248"/>
                  <a:gd name="T105" fmla="*/ 8 h 80"/>
                  <a:gd name="T106" fmla="*/ 16 w 248"/>
                  <a:gd name="T107" fmla="*/ 0 h 80"/>
                  <a:gd name="T108" fmla="*/ 16 w 248"/>
                  <a:gd name="T10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80">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6" name="Freeform 45"/>
              <p:cNvSpPr>
                <a:spLocks/>
              </p:cNvSpPr>
              <p:nvPr/>
            </p:nvSpPr>
            <p:spPr bwMode="auto">
              <a:xfrm>
                <a:off x="1509" y="1207"/>
                <a:ext cx="88" cy="66"/>
              </a:xfrm>
              <a:custGeom>
                <a:avLst/>
                <a:gdLst>
                  <a:gd name="T0" fmla="*/ 24 w 88"/>
                  <a:gd name="T1" fmla="*/ 66 h 66"/>
                  <a:gd name="T2" fmla="*/ 14 w 88"/>
                  <a:gd name="T3" fmla="*/ 64 h 66"/>
                  <a:gd name="T4" fmla="*/ 14 w 88"/>
                  <a:gd name="T5" fmla="*/ 64 h 66"/>
                  <a:gd name="T6" fmla="*/ 12 w 88"/>
                  <a:gd name="T7" fmla="*/ 62 h 66"/>
                  <a:gd name="T8" fmla="*/ 8 w 88"/>
                  <a:gd name="T9" fmla="*/ 50 h 66"/>
                  <a:gd name="T10" fmla="*/ 4 w 88"/>
                  <a:gd name="T11" fmla="*/ 38 h 66"/>
                  <a:gd name="T12" fmla="*/ 0 w 88"/>
                  <a:gd name="T13" fmla="*/ 16 h 66"/>
                  <a:gd name="T14" fmla="*/ 0 w 88"/>
                  <a:gd name="T15" fmla="*/ 16 h 66"/>
                  <a:gd name="T16" fmla="*/ 0 w 88"/>
                  <a:gd name="T17" fmla="*/ 14 h 66"/>
                  <a:gd name="T18" fmla="*/ 8 w 88"/>
                  <a:gd name="T19" fmla="*/ 2 h 66"/>
                  <a:gd name="T20" fmla="*/ 8 w 88"/>
                  <a:gd name="T21" fmla="*/ 2 h 66"/>
                  <a:gd name="T22" fmla="*/ 10 w 88"/>
                  <a:gd name="T23" fmla="*/ 2 h 66"/>
                  <a:gd name="T24" fmla="*/ 20 w 88"/>
                  <a:gd name="T25" fmla="*/ 0 h 66"/>
                  <a:gd name="T26" fmla="*/ 42 w 88"/>
                  <a:gd name="T27" fmla="*/ 0 h 66"/>
                  <a:gd name="T28" fmla="*/ 58 w 88"/>
                  <a:gd name="T29" fmla="*/ 2 h 66"/>
                  <a:gd name="T30" fmla="*/ 86 w 88"/>
                  <a:gd name="T31" fmla="*/ 2 h 66"/>
                  <a:gd name="T32" fmla="*/ 86 w 88"/>
                  <a:gd name="T33" fmla="*/ 2 h 66"/>
                  <a:gd name="T34" fmla="*/ 88 w 88"/>
                  <a:gd name="T35" fmla="*/ 2 h 66"/>
                  <a:gd name="T36" fmla="*/ 88 w 88"/>
                  <a:gd name="T37" fmla="*/ 2 h 66"/>
                  <a:gd name="T38" fmla="*/ 88 w 88"/>
                  <a:gd name="T39" fmla="*/ 4 h 66"/>
                  <a:gd name="T40" fmla="*/ 76 w 88"/>
                  <a:gd name="T41" fmla="*/ 20 h 66"/>
                  <a:gd name="T42" fmla="*/ 60 w 88"/>
                  <a:gd name="T43" fmla="*/ 42 h 66"/>
                  <a:gd name="T44" fmla="*/ 60 w 88"/>
                  <a:gd name="T45" fmla="*/ 42 h 66"/>
                  <a:gd name="T46" fmla="*/ 58 w 88"/>
                  <a:gd name="T47" fmla="*/ 42 h 66"/>
                  <a:gd name="T48" fmla="*/ 42 w 88"/>
                  <a:gd name="T49" fmla="*/ 42 h 66"/>
                  <a:gd name="T50" fmla="*/ 34 w 88"/>
                  <a:gd name="T51" fmla="*/ 44 h 66"/>
                  <a:gd name="T52" fmla="*/ 36 w 88"/>
                  <a:gd name="T53" fmla="*/ 52 h 66"/>
                  <a:gd name="T54" fmla="*/ 36 w 88"/>
                  <a:gd name="T55" fmla="*/ 52 h 66"/>
                  <a:gd name="T56" fmla="*/ 36 w 88"/>
                  <a:gd name="T57" fmla="*/ 54 h 66"/>
                  <a:gd name="T58" fmla="*/ 26 w 88"/>
                  <a:gd name="T59" fmla="*/ 64 h 66"/>
                  <a:gd name="T60" fmla="*/ 26 w 88"/>
                  <a:gd name="T61" fmla="*/ 64 h 66"/>
                  <a:gd name="T62" fmla="*/ 24 w 88"/>
                  <a:gd name="T63" fmla="*/ 66 h 66"/>
                  <a:gd name="T64" fmla="*/ 24 w 88"/>
                  <a:gd name="T65" fmla="*/ 66 h 66"/>
                  <a:gd name="T66" fmla="*/ 24 w 88"/>
                  <a:gd name="T67" fmla="*/ 66 h 66"/>
                  <a:gd name="T68" fmla="*/ 24 w 88"/>
                  <a:gd name="T6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66">
                    <a:moveTo>
                      <a:pt x="24" y="66"/>
                    </a:moveTo>
                    <a:lnTo>
                      <a:pt x="14" y="64"/>
                    </a:lnTo>
                    <a:lnTo>
                      <a:pt x="14" y="64"/>
                    </a:lnTo>
                    <a:lnTo>
                      <a:pt x="12" y="62"/>
                    </a:lnTo>
                    <a:lnTo>
                      <a:pt x="8" y="50"/>
                    </a:lnTo>
                    <a:lnTo>
                      <a:pt x="4" y="38"/>
                    </a:lnTo>
                    <a:lnTo>
                      <a:pt x="0" y="16"/>
                    </a:lnTo>
                    <a:lnTo>
                      <a:pt x="0" y="16"/>
                    </a:lnTo>
                    <a:lnTo>
                      <a:pt x="0" y="14"/>
                    </a:lnTo>
                    <a:lnTo>
                      <a:pt x="8" y="2"/>
                    </a:lnTo>
                    <a:lnTo>
                      <a:pt x="8" y="2"/>
                    </a:lnTo>
                    <a:lnTo>
                      <a:pt x="10" y="2"/>
                    </a:lnTo>
                    <a:lnTo>
                      <a:pt x="20" y="0"/>
                    </a:lnTo>
                    <a:lnTo>
                      <a:pt x="42" y="0"/>
                    </a:lnTo>
                    <a:lnTo>
                      <a:pt x="58" y="2"/>
                    </a:lnTo>
                    <a:lnTo>
                      <a:pt x="86" y="2"/>
                    </a:lnTo>
                    <a:lnTo>
                      <a:pt x="86" y="2"/>
                    </a:lnTo>
                    <a:lnTo>
                      <a:pt x="88" y="2"/>
                    </a:lnTo>
                    <a:lnTo>
                      <a:pt x="88" y="2"/>
                    </a:lnTo>
                    <a:lnTo>
                      <a:pt x="88" y="4"/>
                    </a:lnTo>
                    <a:lnTo>
                      <a:pt x="76" y="20"/>
                    </a:lnTo>
                    <a:lnTo>
                      <a:pt x="60" y="42"/>
                    </a:lnTo>
                    <a:lnTo>
                      <a:pt x="60" y="42"/>
                    </a:lnTo>
                    <a:lnTo>
                      <a:pt x="58" y="42"/>
                    </a:lnTo>
                    <a:lnTo>
                      <a:pt x="42" y="42"/>
                    </a:lnTo>
                    <a:lnTo>
                      <a:pt x="34" y="44"/>
                    </a:lnTo>
                    <a:lnTo>
                      <a:pt x="36" y="52"/>
                    </a:lnTo>
                    <a:lnTo>
                      <a:pt x="36" y="52"/>
                    </a:lnTo>
                    <a:lnTo>
                      <a:pt x="36" y="54"/>
                    </a:lnTo>
                    <a:lnTo>
                      <a:pt x="26" y="64"/>
                    </a:lnTo>
                    <a:lnTo>
                      <a:pt x="26" y="64"/>
                    </a:lnTo>
                    <a:lnTo>
                      <a:pt x="24" y="66"/>
                    </a:lnTo>
                    <a:lnTo>
                      <a:pt x="24" y="66"/>
                    </a:lnTo>
                    <a:lnTo>
                      <a:pt x="24" y="66"/>
                    </a:lnTo>
                    <a:lnTo>
                      <a:pt x="2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7" name="Freeform 46"/>
              <p:cNvSpPr>
                <a:spLocks noEditPoints="1"/>
              </p:cNvSpPr>
              <p:nvPr/>
            </p:nvSpPr>
            <p:spPr bwMode="auto">
              <a:xfrm>
                <a:off x="1507" y="1205"/>
                <a:ext cx="92" cy="70"/>
              </a:xfrm>
              <a:custGeom>
                <a:avLst/>
                <a:gdLst>
                  <a:gd name="T0" fmla="*/ 44 w 92"/>
                  <a:gd name="T1" fmla="*/ 4 h 70"/>
                  <a:gd name="T2" fmla="*/ 60 w 92"/>
                  <a:gd name="T3" fmla="*/ 6 h 70"/>
                  <a:gd name="T4" fmla="*/ 88 w 92"/>
                  <a:gd name="T5" fmla="*/ 6 h 70"/>
                  <a:gd name="T6" fmla="*/ 78 w 92"/>
                  <a:gd name="T7" fmla="*/ 22 h 70"/>
                  <a:gd name="T8" fmla="*/ 60 w 92"/>
                  <a:gd name="T9" fmla="*/ 42 h 70"/>
                  <a:gd name="T10" fmla="*/ 44 w 92"/>
                  <a:gd name="T11" fmla="*/ 42 h 70"/>
                  <a:gd name="T12" fmla="*/ 32 w 92"/>
                  <a:gd name="T13" fmla="*/ 44 h 70"/>
                  <a:gd name="T14" fmla="*/ 36 w 92"/>
                  <a:gd name="T15" fmla="*/ 54 h 70"/>
                  <a:gd name="T16" fmla="*/ 26 w 92"/>
                  <a:gd name="T17" fmla="*/ 66 h 70"/>
                  <a:gd name="T18" fmla="*/ 16 w 92"/>
                  <a:gd name="T19" fmla="*/ 64 h 70"/>
                  <a:gd name="T20" fmla="*/ 12 w 92"/>
                  <a:gd name="T21" fmla="*/ 52 h 70"/>
                  <a:gd name="T22" fmla="*/ 8 w 92"/>
                  <a:gd name="T23" fmla="*/ 38 h 70"/>
                  <a:gd name="T24" fmla="*/ 4 w 92"/>
                  <a:gd name="T25" fmla="*/ 18 h 70"/>
                  <a:gd name="T26" fmla="*/ 12 w 92"/>
                  <a:gd name="T27" fmla="*/ 6 h 70"/>
                  <a:gd name="T28" fmla="*/ 22 w 92"/>
                  <a:gd name="T29" fmla="*/ 4 h 70"/>
                  <a:gd name="T30" fmla="*/ 44 w 92"/>
                  <a:gd name="T31" fmla="*/ 4 h 70"/>
                  <a:gd name="T32" fmla="*/ 44 w 92"/>
                  <a:gd name="T33" fmla="*/ 0 h 70"/>
                  <a:gd name="T34" fmla="*/ 22 w 92"/>
                  <a:gd name="T35" fmla="*/ 0 h 70"/>
                  <a:gd name="T36" fmla="*/ 22 w 92"/>
                  <a:gd name="T37" fmla="*/ 0 h 70"/>
                  <a:gd name="T38" fmla="*/ 22 w 92"/>
                  <a:gd name="T39" fmla="*/ 0 h 70"/>
                  <a:gd name="T40" fmla="*/ 12 w 92"/>
                  <a:gd name="T41" fmla="*/ 2 h 70"/>
                  <a:gd name="T42" fmla="*/ 12 w 92"/>
                  <a:gd name="T43" fmla="*/ 2 h 70"/>
                  <a:gd name="T44" fmla="*/ 8 w 92"/>
                  <a:gd name="T45" fmla="*/ 4 h 70"/>
                  <a:gd name="T46" fmla="*/ 0 w 92"/>
                  <a:gd name="T47" fmla="*/ 16 h 70"/>
                  <a:gd name="T48" fmla="*/ 0 w 92"/>
                  <a:gd name="T49" fmla="*/ 16 h 70"/>
                  <a:gd name="T50" fmla="*/ 0 w 92"/>
                  <a:gd name="T51" fmla="*/ 18 h 70"/>
                  <a:gd name="T52" fmla="*/ 4 w 92"/>
                  <a:gd name="T53" fmla="*/ 40 h 70"/>
                  <a:gd name="T54" fmla="*/ 8 w 92"/>
                  <a:gd name="T55" fmla="*/ 54 h 70"/>
                  <a:gd name="T56" fmla="*/ 12 w 92"/>
                  <a:gd name="T57" fmla="*/ 64 h 70"/>
                  <a:gd name="T58" fmla="*/ 12 w 92"/>
                  <a:gd name="T59" fmla="*/ 64 h 70"/>
                  <a:gd name="T60" fmla="*/ 14 w 92"/>
                  <a:gd name="T61" fmla="*/ 68 h 70"/>
                  <a:gd name="T62" fmla="*/ 26 w 92"/>
                  <a:gd name="T63" fmla="*/ 70 h 70"/>
                  <a:gd name="T64" fmla="*/ 26 w 92"/>
                  <a:gd name="T65" fmla="*/ 70 h 70"/>
                  <a:gd name="T66" fmla="*/ 26 w 92"/>
                  <a:gd name="T67" fmla="*/ 70 h 70"/>
                  <a:gd name="T68" fmla="*/ 26 w 92"/>
                  <a:gd name="T69" fmla="*/ 70 h 70"/>
                  <a:gd name="T70" fmla="*/ 30 w 92"/>
                  <a:gd name="T71" fmla="*/ 68 h 70"/>
                  <a:gd name="T72" fmla="*/ 40 w 92"/>
                  <a:gd name="T73" fmla="*/ 56 h 70"/>
                  <a:gd name="T74" fmla="*/ 40 w 92"/>
                  <a:gd name="T75" fmla="*/ 56 h 70"/>
                  <a:gd name="T76" fmla="*/ 40 w 92"/>
                  <a:gd name="T77" fmla="*/ 52 h 70"/>
                  <a:gd name="T78" fmla="*/ 38 w 92"/>
                  <a:gd name="T79" fmla="*/ 48 h 70"/>
                  <a:gd name="T80" fmla="*/ 44 w 92"/>
                  <a:gd name="T81" fmla="*/ 46 h 70"/>
                  <a:gd name="T82" fmla="*/ 60 w 92"/>
                  <a:gd name="T83" fmla="*/ 46 h 70"/>
                  <a:gd name="T84" fmla="*/ 60 w 92"/>
                  <a:gd name="T85" fmla="*/ 46 h 70"/>
                  <a:gd name="T86" fmla="*/ 64 w 92"/>
                  <a:gd name="T87" fmla="*/ 44 h 70"/>
                  <a:gd name="T88" fmla="*/ 80 w 92"/>
                  <a:gd name="T89" fmla="*/ 24 h 70"/>
                  <a:gd name="T90" fmla="*/ 92 w 92"/>
                  <a:gd name="T91" fmla="*/ 8 h 70"/>
                  <a:gd name="T92" fmla="*/ 92 w 92"/>
                  <a:gd name="T93" fmla="*/ 8 h 70"/>
                  <a:gd name="T94" fmla="*/ 92 w 92"/>
                  <a:gd name="T95" fmla="*/ 4 h 70"/>
                  <a:gd name="T96" fmla="*/ 92 w 92"/>
                  <a:gd name="T97" fmla="*/ 4 h 70"/>
                  <a:gd name="T98" fmla="*/ 88 w 92"/>
                  <a:gd name="T99" fmla="*/ 2 h 70"/>
                  <a:gd name="T100" fmla="*/ 60 w 92"/>
                  <a:gd name="T101" fmla="*/ 2 h 70"/>
                  <a:gd name="T102" fmla="*/ 44 w 92"/>
                  <a:gd name="T103" fmla="*/ 0 h 70"/>
                  <a:gd name="T104" fmla="*/ 44 w 92"/>
                  <a:gd name="T105" fmla="*/ 0 h 70"/>
                  <a:gd name="T106" fmla="*/ 44 w 92"/>
                  <a:gd name="T107" fmla="*/ 0 h 70"/>
                  <a:gd name="T108" fmla="*/ 44 w 92"/>
                  <a:gd name="T10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70">
                    <a:moveTo>
                      <a:pt x="44" y="4"/>
                    </a:moveTo>
                    <a:lnTo>
                      <a:pt x="60" y="6"/>
                    </a:lnTo>
                    <a:lnTo>
                      <a:pt x="88" y="6"/>
                    </a:lnTo>
                    <a:lnTo>
                      <a:pt x="78" y="22"/>
                    </a:lnTo>
                    <a:lnTo>
                      <a:pt x="60" y="42"/>
                    </a:lnTo>
                    <a:lnTo>
                      <a:pt x="44" y="42"/>
                    </a:lnTo>
                    <a:lnTo>
                      <a:pt x="32" y="44"/>
                    </a:lnTo>
                    <a:lnTo>
                      <a:pt x="36" y="54"/>
                    </a:lnTo>
                    <a:lnTo>
                      <a:pt x="26" y="66"/>
                    </a:lnTo>
                    <a:lnTo>
                      <a:pt x="16" y="64"/>
                    </a:lnTo>
                    <a:lnTo>
                      <a:pt x="12" y="52"/>
                    </a:lnTo>
                    <a:lnTo>
                      <a:pt x="8" y="38"/>
                    </a:lnTo>
                    <a:lnTo>
                      <a:pt x="4" y="18"/>
                    </a:lnTo>
                    <a:lnTo>
                      <a:pt x="12" y="6"/>
                    </a:lnTo>
                    <a:lnTo>
                      <a:pt x="22" y="4"/>
                    </a:lnTo>
                    <a:lnTo>
                      <a:pt x="44" y="4"/>
                    </a:lnTo>
                    <a:close/>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8" name="Freeform 47"/>
              <p:cNvSpPr>
                <a:spLocks/>
              </p:cNvSpPr>
              <p:nvPr/>
            </p:nvSpPr>
            <p:spPr bwMode="auto">
              <a:xfrm>
                <a:off x="1511" y="1209"/>
                <a:ext cx="84" cy="62"/>
              </a:xfrm>
              <a:custGeom>
                <a:avLst/>
                <a:gdLst>
                  <a:gd name="T0" fmla="*/ 40 w 84"/>
                  <a:gd name="T1" fmla="*/ 0 h 62"/>
                  <a:gd name="T2" fmla="*/ 56 w 84"/>
                  <a:gd name="T3" fmla="*/ 2 h 62"/>
                  <a:gd name="T4" fmla="*/ 84 w 84"/>
                  <a:gd name="T5" fmla="*/ 2 h 62"/>
                  <a:gd name="T6" fmla="*/ 74 w 84"/>
                  <a:gd name="T7" fmla="*/ 18 h 62"/>
                  <a:gd name="T8" fmla="*/ 56 w 84"/>
                  <a:gd name="T9" fmla="*/ 38 h 62"/>
                  <a:gd name="T10" fmla="*/ 40 w 84"/>
                  <a:gd name="T11" fmla="*/ 38 h 62"/>
                  <a:gd name="T12" fmla="*/ 28 w 84"/>
                  <a:gd name="T13" fmla="*/ 40 h 62"/>
                  <a:gd name="T14" fmla="*/ 32 w 84"/>
                  <a:gd name="T15" fmla="*/ 50 h 62"/>
                  <a:gd name="T16" fmla="*/ 22 w 84"/>
                  <a:gd name="T17" fmla="*/ 62 h 62"/>
                  <a:gd name="T18" fmla="*/ 12 w 84"/>
                  <a:gd name="T19" fmla="*/ 60 h 62"/>
                  <a:gd name="T20" fmla="*/ 8 w 84"/>
                  <a:gd name="T21" fmla="*/ 48 h 62"/>
                  <a:gd name="T22" fmla="*/ 4 w 84"/>
                  <a:gd name="T23" fmla="*/ 34 h 62"/>
                  <a:gd name="T24" fmla="*/ 0 w 84"/>
                  <a:gd name="T25" fmla="*/ 14 h 62"/>
                  <a:gd name="T26" fmla="*/ 8 w 84"/>
                  <a:gd name="T27" fmla="*/ 2 h 62"/>
                  <a:gd name="T28" fmla="*/ 18 w 84"/>
                  <a:gd name="T29" fmla="*/ 0 h 62"/>
                  <a:gd name="T30" fmla="*/ 40 w 8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62">
                    <a:moveTo>
                      <a:pt x="40" y="0"/>
                    </a:moveTo>
                    <a:lnTo>
                      <a:pt x="56" y="2"/>
                    </a:lnTo>
                    <a:lnTo>
                      <a:pt x="84" y="2"/>
                    </a:lnTo>
                    <a:lnTo>
                      <a:pt x="74" y="18"/>
                    </a:lnTo>
                    <a:lnTo>
                      <a:pt x="56" y="38"/>
                    </a:lnTo>
                    <a:lnTo>
                      <a:pt x="40" y="38"/>
                    </a:lnTo>
                    <a:lnTo>
                      <a:pt x="28" y="40"/>
                    </a:lnTo>
                    <a:lnTo>
                      <a:pt x="32" y="50"/>
                    </a:lnTo>
                    <a:lnTo>
                      <a:pt x="22" y="62"/>
                    </a:lnTo>
                    <a:lnTo>
                      <a:pt x="12" y="60"/>
                    </a:lnTo>
                    <a:lnTo>
                      <a:pt x="8" y="48"/>
                    </a:lnTo>
                    <a:lnTo>
                      <a:pt x="4" y="34"/>
                    </a:lnTo>
                    <a:lnTo>
                      <a:pt x="0" y="14"/>
                    </a:lnTo>
                    <a:lnTo>
                      <a:pt x="8" y="2"/>
                    </a:lnTo>
                    <a:lnTo>
                      <a:pt x="18"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9" name="Freeform 48"/>
              <p:cNvSpPr>
                <a:spLocks/>
              </p:cNvSpPr>
              <p:nvPr/>
            </p:nvSpPr>
            <p:spPr bwMode="auto">
              <a:xfrm>
                <a:off x="1507" y="1205"/>
                <a:ext cx="92" cy="70"/>
              </a:xfrm>
              <a:custGeom>
                <a:avLst/>
                <a:gdLst>
                  <a:gd name="T0" fmla="*/ 44 w 92"/>
                  <a:gd name="T1" fmla="*/ 0 h 70"/>
                  <a:gd name="T2" fmla="*/ 22 w 92"/>
                  <a:gd name="T3" fmla="*/ 0 h 70"/>
                  <a:gd name="T4" fmla="*/ 22 w 92"/>
                  <a:gd name="T5" fmla="*/ 0 h 70"/>
                  <a:gd name="T6" fmla="*/ 22 w 92"/>
                  <a:gd name="T7" fmla="*/ 0 h 70"/>
                  <a:gd name="T8" fmla="*/ 12 w 92"/>
                  <a:gd name="T9" fmla="*/ 2 h 70"/>
                  <a:gd name="T10" fmla="*/ 12 w 92"/>
                  <a:gd name="T11" fmla="*/ 2 h 70"/>
                  <a:gd name="T12" fmla="*/ 8 w 92"/>
                  <a:gd name="T13" fmla="*/ 4 h 70"/>
                  <a:gd name="T14" fmla="*/ 0 w 92"/>
                  <a:gd name="T15" fmla="*/ 16 h 70"/>
                  <a:gd name="T16" fmla="*/ 0 w 92"/>
                  <a:gd name="T17" fmla="*/ 16 h 70"/>
                  <a:gd name="T18" fmla="*/ 0 w 92"/>
                  <a:gd name="T19" fmla="*/ 18 h 70"/>
                  <a:gd name="T20" fmla="*/ 4 w 92"/>
                  <a:gd name="T21" fmla="*/ 40 h 70"/>
                  <a:gd name="T22" fmla="*/ 8 w 92"/>
                  <a:gd name="T23" fmla="*/ 54 h 70"/>
                  <a:gd name="T24" fmla="*/ 12 w 92"/>
                  <a:gd name="T25" fmla="*/ 64 h 70"/>
                  <a:gd name="T26" fmla="*/ 12 w 92"/>
                  <a:gd name="T27" fmla="*/ 64 h 70"/>
                  <a:gd name="T28" fmla="*/ 14 w 92"/>
                  <a:gd name="T29" fmla="*/ 68 h 70"/>
                  <a:gd name="T30" fmla="*/ 26 w 92"/>
                  <a:gd name="T31" fmla="*/ 70 h 70"/>
                  <a:gd name="T32" fmla="*/ 26 w 92"/>
                  <a:gd name="T33" fmla="*/ 70 h 70"/>
                  <a:gd name="T34" fmla="*/ 26 w 92"/>
                  <a:gd name="T35" fmla="*/ 70 h 70"/>
                  <a:gd name="T36" fmla="*/ 26 w 92"/>
                  <a:gd name="T37" fmla="*/ 70 h 70"/>
                  <a:gd name="T38" fmla="*/ 30 w 92"/>
                  <a:gd name="T39" fmla="*/ 68 h 70"/>
                  <a:gd name="T40" fmla="*/ 40 w 92"/>
                  <a:gd name="T41" fmla="*/ 56 h 70"/>
                  <a:gd name="T42" fmla="*/ 40 w 92"/>
                  <a:gd name="T43" fmla="*/ 56 h 70"/>
                  <a:gd name="T44" fmla="*/ 40 w 92"/>
                  <a:gd name="T45" fmla="*/ 52 h 70"/>
                  <a:gd name="T46" fmla="*/ 38 w 92"/>
                  <a:gd name="T47" fmla="*/ 48 h 70"/>
                  <a:gd name="T48" fmla="*/ 44 w 92"/>
                  <a:gd name="T49" fmla="*/ 46 h 70"/>
                  <a:gd name="T50" fmla="*/ 60 w 92"/>
                  <a:gd name="T51" fmla="*/ 46 h 70"/>
                  <a:gd name="T52" fmla="*/ 60 w 92"/>
                  <a:gd name="T53" fmla="*/ 46 h 70"/>
                  <a:gd name="T54" fmla="*/ 64 w 92"/>
                  <a:gd name="T55" fmla="*/ 44 h 70"/>
                  <a:gd name="T56" fmla="*/ 80 w 92"/>
                  <a:gd name="T57" fmla="*/ 24 h 70"/>
                  <a:gd name="T58" fmla="*/ 92 w 92"/>
                  <a:gd name="T59" fmla="*/ 8 h 70"/>
                  <a:gd name="T60" fmla="*/ 92 w 92"/>
                  <a:gd name="T61" fmla="*/ 8 h 70"/>
                  <a:gd name="T62" fmla="*/ 92 w 92"/>
                  <a:gd name="T63" fmla="*/ 4 h 70"/>
                  <a:gd name="T64" fmla="*/ 92 w 92"/>
                  <a:gd name="T65" fmla="*/ 4 h 70"/>
                  <a:gd name="T66" fmla="*/ 88 w 92"/>
                  <a:gd name="T67" fmla="*/ 2 h 70"/>
                  <a:gd name="T68" fmla="*/ 60 w 92"/>
                  <a:gd name="T69" fmla="*/ 2 h 70"/>
                  <a:gd name="T70" fmla="*/ 44 w 92"/>
                  <a:gd name="T71" fmla="*/ 0 h 70"/>
                  <a:gd name="T72" fmla="*/ 44 w 92"/>
                  <a:gd name="T73" fmla="*/ 0 h 70"/>
                  <a:gd name="T74" fmla="*/ 44 w 92"/>
                  <a:gd name="T75" fmla="*/ 0 h 70"/>
                  <a:gd name="T76" fmla="*/ 44 w 92"/>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70">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0" name="Freeform 49"/>
              <p:cNvSpPr>
                <a:spLocks/>
              </p:cNvSpPr>
              <p:nvPr/>
            </p:nvSpPr>
            <p:spPr bwMode="auto">
              <a:xfrm>
                <a:off x="1565" y="927"/>
                <a:ext cx="440" cy="228"/>
              </a:xfrm>
              <a:custGeom>
                <a:avLst/>
                <a:gdLst>
                  <a:gd name="T0" fmla="*/ 136 w 440"/>
                  <a:gd name="T1" fmla="*/ 218 h 228"/>
                  <a:gd name="T2" fmla="*/ 120 w 440"/>
                  <a:gd name="T3" fmla="*/ 220 h 228"/>
                  <a:gd name="T4" fmla="*/ 80 w 440"/>
                  <a:gd name="T5" fmla="*/ 220 h 228"/>
                  <a:gd name="T6" fmla="*/ 62 w 440"/>
                  <a:gd name="T7" fmla="*/ 218 h 228"/>
                  <a:gd name="T8" fmla="*/ 44 w 440"/>
                  <a:gd name="T9" fmla="*/ 220 h 228"/>
                  <a:gd name="T10" fmla="*/ 38 w 440"/>
                  <a:gd name="T11" fmla="*/ 200 h 228"/>
                  <a:gd name="T12" fmla="*/ 64 w 440"/>
                  <a:gd name="T13" fmla="*/ 192 h 228"/>
                  <a:gd name="T14" fmla="*/ 80 w 440"/>
                  <a:gd name="T15" fmla="*/ 174 h 228"/>
                  <a:gd name="T16" fmla="*/ 134 w 440"/>
                  <a:gd name="T17" fmla="*/ 172 h 228"/>
                  <a:gd name="T18" fmla="*/ 110 w 440"/>
                  <a:gd name="T19" fmla="*/ 186 h 228"/>
                  <a:gd name="T20" fmla="*/ 104 w 440"/>
                  <a:gd name="T21" fmla="*/ 166 h 228"/>
                  <a:gd name="T22" fmla="*/ 90 w 440"/>
                  <a:gd name="T23" fmla="*/ 168 h 228"/>
                  <a:gd name="T24" fmla="*/ 62 w 440"/>
                  <a:gd name="T25" fmla="*/ 160 h 228"/>
                  <a:gd name="T26" fmla="*/ 114 w 440"/>
                  <a:gd name="T27" fmla="*/ 144 h 228"/>
                  <a:gd name="T28" fmla="*/ 128 w 440"/>
                  <a:gd name="T29" fmla="*/ 144 h 228"/>
                  <a:gd name="T30" fmla="*/ 78 w 440"/>
                  <a:gd name="T31" fmla="*/ 118 h 228"/>
                  <a:gd name="T32" fmla="*/ 82 w 440"/>
                  <a:gd name="T33" fmla="*/ 94 h 228"/>
                  <a:gd name="T34" fmla="*/ 132 w 440"/>
                  <a:gd name="T35" fmla="*/ 106 h 228"/>
                  <a:gd name="T36" fmla="*/ 124 w 440"/>
                  <a:gd name="T37" fmla="*/ 100 h 228"/>
                  <a:gd name="T38" fmla="*/ 184 w 440"/>
                  <a:gd name="T39" fmla="*/ 84 h 228"/>
                  <a:gd name="T40" fmla="*/ 204 w 440"/>
                  <a:gd name="T41" fmla="*/ 64 h 228"/>
                  <a:gd name="T42" fmla="*/ 146 w 440"/>
                  <a:gd name="T43" fmla="*/ 88 h 228"/>
                  <a:gd name="T44" fmla="*/ 116 w 440"/>
                  <a:gd name="T45" fmla="*/ 92 h 228"/>
                  <a:gd name="T46" fmla="*/ 88 w 440"/>
                  <a:gd name="T47" fmla="*/ 72 h 228"/>
                  <a:gd name="T48" fmla="*/ 36 w 440"/>
                  <a:gd name="T49" fmla="*/ 74 h 228"/>
                  <a:gd name="T50" fmla="*/ 38 w 440"/>
                  <a:gd name="T51" fmla="*/ 58 h 228"/>
                  <a:gd name="T52" fmla="*/ 18 w 440"/>
                  <a:gd name="T53" fmla="*/ 64 h 228"/>
                  <a:gd name="T54" fmla="*/ 14 w 440"/>
                  <a:gd name="T55" fmla="*/ 56 h 228"/>
                  <a:gd name="T56" fmla="*/ 12 w 440"/>
                  <a:gd name="T57" fmla="*/ 44 h 228"/>
                  <a:gd name="T58" fmla="*/ 68 w 440"/>
                  <a:gd name="T59" fmla="*/ 36 h 228"/>
                  <a:gd name="T60" fmla="*/ 94 w 440"/>
                  <a:gd name="T61" fmla="*/ 24 h 228"/>
                  <a:gd name="T62" fmla="*/ 132 w 440"/>
                  <a:gd name="T63" fmla="*/ 26 h 228"/>
                  <a:gd name="T64" fmla="*/ 148 w 440"/>
                  <a:gd name="T65" fmla="*/ 16 h 228"/>
                  <a:gd name="T66" fmla="*/ 178 w 440"/>
                  <a:gd name="T67" fmla="*/ 6 h 228"/>
                  <a:gd name="T68" fmla="*/ 212 w 440"/>
                  <a:gd name="T69" fmla="*/ 8 h 228"/>
                  <a:gd name="T70" fmla="*/ 250 w 440"/>
                  <a:gd name="T71" fmla="*/ 2 h 228"/>
                  <a:gd name="T72" fmla="*/ 266 w 440"/>
                  <a:gd name="T73" fmla="*/ 2 h 228"/>
                  <a:gd name="T74" fmla="*/ 294 w 440"/>
                  <a:gd name="T75" fmla="*/ 4 h 228"/>
                  <a:gd name="T76" fmla="*/ 366 w 440"/>
                  <a:gd name="T77" fmla="*/ 10 h 228"/>
                  <a:gd name="T78" fmla="*/ 434 w 440"/>
                  <a:gd name="T79" fmla="*/ 22 h 228"/>
                  <a:gd name="T80" fmla="*/ 432 w 440"/>
                  <a:gd name="T81" fmla="*/ 38 h 228"/>
                  <a:gd name="T82" fmla="*/ 356 w 440"/>
                  <a:gd name="T83" fmla="*/ 56 h 228"/>
                  <a:gd name="T84" fmla="*/ 386 w 440"/>
                  <a:gd name="T85" fmla="*/ 56 h 228"/>
                  <a:gd name="T86" fmla="*/ 370 w 440"/>
                  <a:gd name="T87" fmla="*/ 70 h 228"/>
                  <a:gd name="T88" fmla="*/ 304 w 440"/>
                  <a:gd name="T89" fmla="*/ 108 h 228"/>
                  <a:gd name="T90" fmla="*/ 276 w 440"/>
                  <a:gd name="T91" fmla="*/ 122 h 228"/>
                  <a:gd name="T92" fmla="*/ 268 w 440"/>
                  <a:gd name="T93" fmla="*/ 118 h 228"/>
                  <a:gd name="T94" fmla="*/ 248 w 440"/>
                  <a:gd name="T95" fmla="*/ 130 h 228"/>
                  <a:gd name="T96" fmla="*/ 246 w 440"/>
                  <a:gd name="T97" fmla="*/ 132 h 228"/>
                  <a:gd name="T98" fmla="*/ 244 w 440"/>
                  <a:gd name="T99" fmla="*/ 144 h 228"/>
                  <a:gd name="T100" fmla="*/ 240 w 440"/>
                  <a:gd name="T101" fmla="*/ 154 h 228"/>
                  <a:gd name="T102" fmla="*/ 240 w 440"/>
                  <a:gd name="T103" fmla="*/ 164 h 228"/>
                  <a:gd name="T104" fmla="*/ 200 w 440"/>
                  <a:gd name="T105" fmla="*/ 186 h 228"/>
                  <a:gd name="T106" fmla="*/ 164 w 440"/>
                  <a:gd name="T107" fmla="*/ 196 h 228"/>
                  <a:gd name="T108" fmla="*/ 196 w 440"/>
                  <a:gd name="T109" fmla="*/ 198 h 228"/>
                  <a:gd name="T110" fmla="*/ 202 w 440"/>
                  <a:gd name="T111"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0" h="228">
                    <a:moveTo>
                      <a:pt x="156" y="228"/>
                    </a:moveTo>
                    <a:lnTo>
                      <a:pt x="156" y="228"/>
                    </a:lnTo>
                    <a:lnTo>
                      <a:pt x="154" y="228"/>
                    </a:lnTo>
                    <a:lnTo>
                      <a:pt x="154" y="228"/>
                    </a:lnTo>
                    <a:lnTo>
                      <a:pt x="154" y="226"/>
                    </a:lnTo>
                    <a:lnTo>
                      <a:pt x="154" y="220"/>
                    </a:lnTo>
                    <a:lnTo>
                      <a:pt x="146" y="218"/>
                    </a:lnTo>
                    <a:lnTo>
                      <a:pt x="136" y="218"/>
                    </a:lnTo>
                    <a:lnTo>
                      <a:pt x="136" y="218"/>
                    </a:lnTo>
                    <a:lnTo>
                      <a:pt x="136" y="218"/>
                    </a:lnTo>
                    <a:lnTo>
                      <a:pt x="136" y="218"/>
                    </a:lnTo>
                    <a:lnTo>
                      <a:pt x="136" y="218"/>
                    </a:lnTo>
                    <a:lnTo>
                      <a:pt x="126" y="216"/>
                    </a:lnTo>
                    <a:lnTo>
                      <a:pt x="122" y="220"/>
                    </a:lnTo>
                    <a:lnTo>
                      <a:pt x="122" y="220"/>
                    </a:lnTo>
                    <a:lnTo>
                      <a:pt x="120" y="220"/>
                    </a:lnTo>
                    <a:lnTo>
                      <a:pt x="120" y="220"/>
                    </a:lnTo>
                    <a:lnTo>
                      <a:pt x="118" y="220"/>
                    </a:lnTo>
                    <a:lnTo>
                      <a:pt x="114" y="216"/>
                    </a:lnTo>
                    <a:lnTo>
                      <a:pt x="110" y="220"/>
                    </a:lnTo>
                    <a:lnTo>
                      <a:pt x="110" y="220"/>
                    </a:lnTo>
                    <a:lnTo>
                      <a:pt x="110" y="220"/>
                    </a:lnTo>
                    <a:lnTo>
                      <a:pt x="80" y="220"/>
                    </a:lnTo>
                    <a:lnTo>
                      <a:pt x="80" y="220"/>
                    </a:lnTo>
                    <a:lnTo>
                      <a:pt x="80" y="220"/>
                    </a:lnTo>
                    <a:lnTo>
                      <a:pt x="74" y="216"/>
                    </a:lnTo>
                    <a:lnTo>
                      <a:pt x="68" y="220"/>
                    </a:lnTo>
                    <a:lnTo>
                      <a:pt x="68" y="220"/>
                    </a:lnTo>
                    <a:lnTo>
                      <a:pt x="66" y="220"/>
                    </a:lnTo>
                    <a:lnTo>
                      <a:pt x="66" y="220"/>
                    </a:lnTo>
                    <a:lnTo>
                      <a:pt x="64" y="220"/>
                    </a:lnTo>
                    <a:lnTo>
                      <a:pt x="62" y="218"/>
                    </a:lnTo>
                    <a:lnTo>
                      <a:pt x="58" y="220"/>
                    </a:lnTo>
                    <a:lnTo>
                      <a:pt x="58" y="220"/>
                    </a:lnTo>
                    <a:lnTo>
                      <a:pt x="58" y="220"/>
                    </a:lnTo>
                    <a:lnTo>
                      <a:pt x="58" y="220"/>
                    </a:lnTo>
                    <a:lnTo>
                      <a:pt x="56" y="220"/>
                    </a:lnTo>
                    <a:lnTo>
                      <a:pt x="52" y="214"/>
                    </a:lnTo>
                    <a:lnTo>
                      <a:pt x="44" y="220"/>
                    </a:lnTo>
                    <a:lnTo>
                      <a:pt x="44" y="220"/>
                    </a:lnTo>
                    <a:lnTo>
                      <a:pt x="44" y="220"/>
                    </a:lnTo>
                    <a:lnTo>
                      <a:pt x="44" y="220"/>
                    </a:lnTo>
                    <a:lnTo>
                      <a:pt x="42" y="220"/>
                    </a:lnTo>
                    <a:lnTo>
                      <a:pt x="34" y="212"/>
                    </a:lnTo>
                    <a:lnTo>
                      <a:pt x="34" y="212"/>
                    </a:lnTo>
                    <a:lnTo>
                      <a:pt x="34" y="210"/>
                    </a:lnTo>
                    <a:lnTo>
                      <a:pt x="38" y="200"/>
                    </a:lnTo>
                    <a:lnTo>
                      <a:pt x="38" y="200"/>
                    </a:lnTo>
                    <a:lnTo>
                      <a:pt x="40" y="198"/>
                    </a:lnTo>
                    <a:lnTo>
                      <a:pt x="52" y="196"/>
                    </a:lnTo>
                    <a:lnTo>
                      <a:pt x="66" y="196"/>
                    </a:lnTo>
                    <a:lnTo>
                      <a:pt x="74" y="196"/>
                    </a:lnTo>
                    <a:lnTo>
                      <a:pt x="72" y="192"/>
                    </a:lnTo>
                    <a:lnTo>
                      <a:pt x="64" y="192"/>
                    </a:lnTo>
                    <a:lnTo>
                      <a:pt x="64" y="192"/>
                    </a:lnTo>
                    <a:lnTo>
                      <a:pt x="64" y="192"/>
                    </a:lnTo>
                    <a:lnTo>
                      <a:pt x="56" y="184"/>
                    </a:lnTo>
                    <a:lnTo>
                      <a:pt x="56" y="184"/>
                    </a:lnTo>
                    <a:lnTo>
                      <a:pt x="56" y="184"/>
                    </a:lnTo>
                    <a:lnTo>
                      <a:pt x="56" y="176"/>
                    </a:lnTo>
                    <a:lnTo>
                      <a:pt x="56" y="176"/>
                    </a:lnTo>
                    <a:lnTo>
                      <a:pt x="58" y="174"/>
                    </a:lnTo>
                    <a:lnTo>
                      <a:pt x="80" y="174"/>
                    </a:lnTo>
                    <a:lnTo>
                      <a:pt x="80" y="174"/>
                    </a:lnTo>
                    <a:lnTo>
                      <a:pt x="82" y="174"/>
                    </a:lnTo>
                    <a:lnTo>
                      <a:pt x="88" y="182"/>
                    </a:lnTo>
                    <a:lnTo>
                      <a:pt x="94" y="186"/>
                    </a:lnTo>
                    <a:lnTo>
                      <a:pt x="110" y="188"/>
                    </a:lnTo>
                    <a:lnTo>
                      <a:pt x="120" y="188"/>
                    </a:lnTo>
                    <a:lnTo>
                      <a:pt x="130" y="180"/>
                    </a:lnTo>
                    <a:lnTo>
                      <a:pt x="134" y="172"/>
                    </a:lnTo>
                    <a:lnTo>
                      <a:pt x="134" y="172"/>
                    </a:lnTo>
                    <a:lnTo>
                      <a:pt x="128" y="176"/>
                    </a:lnTo>
                    <a:lnTo>
                      <a:pt x="122" y="182"/>
                    </a:lnTo>
                    <a:lnTo>
                      <a:pt x="122" y="182"/>
                    </a:lnTo>
                    <a:lnTo>
                      <a:pt x="120" y="184"/>
                    </a:lnTo>
                    <a:lnTo>
                      <a:pt x="112" y="186"/>
                    </a:lnTo>
                    <a:lnTo>
                      <a:pt x="112" y="186"/>
                    </a:lnTo>
                    <a:lnTo>
                      <a:pt x="110" y="186"/>
                    </a:lnTo>
                    <a:lnTo>
                      <a:pt x="110" y="186"/>
                    </a:lnTo>
                    <a:lnTo>
                      <a:pt x="110" y="186"/>
                    </a:lnTo>
                    <a:lnTo>
                      <a:pt x="94" y="182"/>
                    </a:lnTo>
                    <a:lnTo>
                      <a:pt x="94" y="182"/>
                    </a:lnTo>
                    <a:lnTo>
                      <a:pt x="92" y="180"/>
                    </a:lnTo>
                    <a:lnTo>
                      <a:pt x="92" y="180"/>
                    </a:lnTo>
                    <a:lnTo>
                      <a:pt x="94" y="178"/>
                    </a:lnTo>
                    <a:lnTo>
                      <a:pt x="96" y="172"/>
                    </a:lnTo>
                    <a:lnTo>
                      <a:pt x="104" y="166"/>
                    </a:lnTo>
                    <a:lnTo>
                      <a:pt x="104" y="164"/>
                    </a:lnTo>
                    <a:lnTo>
                      <a:pt x="102" y="160"/>
                    </a:lnTo>
                    <a:lnTo>
                      <a:pt x="98" y="164"/>
                    </a:lnTo>
                    <a:lnTo>
                      <a:pt x="92" y="168"/>
                    </a:lnTo>
                    <a:lnTo>
                      <a:pt x="92" y="168"/>
                    </a:lnTo>
                    <a:lnTo>
                      <a:pt x="92" y="168"/>
                    </a:lnTo>
                    <a:lnTo>
                      <a:pt x="92" y="168"/>
                    </a:lnTo>
                    <a:lnTo>
                      <a:pt x="90" y="168"/>
                    </a:lnTo>
                    <a:lnTo>
                      <a:pt x="80" y="166"/>
                    </a:lnTo>
                    <a:lnTo>
                      <a:pt x="70" y="168"/>
                    </a:lnTo>
                    <a:lnTo>
                      <a:pt x="70" y="168"/>
                    </a:lnTo>
                    <a:lnTo>
                      <a:pt x="70" y="168"/>
                    </a:lnTo>
                    <a:lnTo>
                      <a:pt x="70" y="168"/>
                    </a:lnTo>
                    <a:lnTo>
                      <a:pt x="68" y="166"/>
                    </a:lnTo>
                    <a:lnTo>
                      <a:pt x="62" y="160"/>
                    </a:lnTo>
                    <a:lnTo>
                      <a:pt x="62" y="160"/>
                    </a:lnTo>
                    <a:lnTo>
                      <a:pt x="62" y="156"/>
                    </a:lnTo>
                    <a:lnTo>
                      <a:pt x="70" y="148"/>
                    </a:lnTo>
                    <a:lnTo>
                      <a:pt x="78" y="144"/>
                    </a:lnTo>
                    <a:lnTo>
                      <a:pt x="78" y="144"/>
                    </a:lnTo>
                    <a:lnTo>
                      <a:pt x="78" y="144"/>
                    </a:lnTo>
                    <a:lnTo>
                      <a:pt x="94" y="144"/>
                    </a:lnTo>
                    <a:lnTo>
                      <a:pt x="104" y="142"/>
                    </a:lnTo>
                    <a:lnTo>
                      <a:pt x="114" y="144"/>
                    </a:lnTo>
                    <a:lnTo>
                      <a:pt x="126" y="148"/>
                    </a:lnTo>
                    <a:lnTo>
                      <a:pt x="136" y="148"/>
                    </a:lnTo>
                    <a:lnTo>
                      <a:pt x="140" y="142"/>
                    </a:lnTo>
                    <a:lnTo>
                      <a:pt x="140" y="142"/>
                    </a:lnTo>
                    <a:lnTo>
                      <a:pt x="130" y="144"/>
                    </a:lnTo>
                    <a:lnTo>
                      <a:pt x="130" y="144"/>
                    </a:lnTo>
                    <a:lnTo>
                      <a:pt x="128" y="144"/>
                    </a:lnTo>
                    <a:lnTo>
                      <a:pt x="128" y="144"/>
                    </a:lnTo>
                    <a:lnTo>
                      <a:pt x="128" y="144"/>
                    </a:lnTo>
                    <a:lnTo>
                      <a:pt x="114" y="140"/>
                    </a:lnTo>
                    <a:lnTo>
                      <a:pt x="114" y="140"/>
                    </a:lnTo>
                    <a:lnTo>
                      <a:pt x="112" y="140"/>
                    </a:lnTo>
                    <a:lnTo>
                      <a:pt x="102" y="126"/>
                    </a:lnTo>
                    <a:lnTo>
                      <a:pt x="96" y="120"/>
                    </a:lnTo>
                    <a:lnTo>
                      <a:pt x="86" y="120"/>
                    </a:lnTo>
                    <a:lnTo>
                      <a:pt x="78" y="118"/>
                    </a:lnTo>
                    <a:lnTo>
                      <a:pt x="78" y="118"/>
                    </a:lnTo>
                    <a:lnTo>
                      <a:pt x="76" y="116"/>
                    </a:lnTo>
                    <a:lnTo>
                      <a:pt x="76" y="102"/>
                    </a:lnTo>
                    <a:lnTo>
                      <a:pt x="76" y="102"/>
                    </a:lnTo>
                    <a:lnTo>
                      <a:pt x="78" y="102"/>
                    </a:lnTo>
                    <a:lnTo>
                      <a:pt x="80" y="94"/>
                    </a:lnTo>
                    <a:lnTo>
                      <a:pt x="80" y="94"/>
                    </a:lnTo>
                    <a:lnTo>
                      <a:pt x="82" y="94"/>
                    </a:lnTo>
                    <a:lnTo>
                      <a:pt x="82" y="94"/>
                    </a:lnTo>
                    <a:lnTo>
                      <a:pt x="84" y="94"/>
                    </a:lnTo>
                    <a:lnTo>
                      <a:pt x="98" y="100"/>
                    </a:lnTo>
                    <a:lnTo>
                      <a:pt x="98" y="100"/>
                    </a:lnTo>
                    <a:lnTo>
                      <a:pt x="118" y="98"/>
                    </a:lnTo>
                    <a:lnTo>
                      <a:pt x="118" y="98"/>
                    </a:lnTo>
                    <a:lnTo>
                      <a:pt x="120" y="98"/>
                    </a:lnTo>
                    <a:lnTo>
                      <a:pt x="132" y="106"/>
                    </a:lnTo>
                    <a:lnTo>
                      <a:pt x="142" y="114"/>
                    </a:lnTo>
                    <a:lnTo>
                      <a:pt x="150" y="118"/>
                    </a:lnTo>
                    <a:lnTo>
                      <a:pt x="156" y="118"/>
                    </a:lnTo>
                    <a:lnTo>
                      <a:pt x="150" y="116"/>
                    </a:lnTo>
                    <a:lnTo>
                      <a:pt x="140" y="108"/>
                    </a:lnTo>
                    <a:lnTo>
                      <a:pt x="126" y="102"/>
                    </a:lnTo>
                    <a:lnTo>
                      <a:pt x="126" y="102"/>
                    </a:lnTo>
                    <a:lnTo>
                      <a:pt x="124" y="100"/>
                    </a:lnTo>
                    <a:lnTo>
                      <a:pt x="124" y="100"/>
                    </a:lnTo>
                    <a:lnTo>
                      <a:pt x="126" y="98"/>
                    </a:lnTo>
                    <a:lnTo>
                      <a:pt x="130" y="92"/>
                    </a:lnTo>
                    <a:lnTo>
                      <a:pt x="130" y="92"/>
                    </a:lnTo>
                    <a:lnTo>
                      <a:pt x="132" y="92"/>
                    </a:lnTo>
                    <a:lnTo>
                      <a:pt x="152" y="92"/>
                    </a:lnTo>
                    <a:lnTo>
                      <a:pt x="174" y="90"/>
                    </a:lnTo>
                    <a:lnTo>
                      <a:pt x="184" y="84"/>
                    </a:lnTo>
                    <a:lnTo>
                      <a:pt x="190" y="80"/>
                    </a:lnTo>
                    <a:lnTo>
                      <a:pt x="186" y="80"/>
                    </a:lnTo>
                    <a:lnTo>
                      <a:pt x="186" y="80"/>
                    </a:lnTo>
                    <a:lnTo>
                      <a:pt x="186" y="78"/>
                    </a:lnTo>
                    <a:lnTo>
                      <a:pt x="186" y="78"/>
                    </a:lnTo>
                    <a:lnTo>
                      <a:pt x="186" y="76"/>
                    </a:lnTo>
                    <a:lnTo>
                      <a:pt x="200" y="66"/>
                    </a:lnTo>
                    <a:lnTo>
                      <a:pt x="204" y="64"/>
                    </a:lnTo>
                    <a:lnTo>
                      <a:pt x="204" y="64"/>
                    </a:lnTo>
                    <a:lnTo>
                      <a:pt x="186" y="70"/>
                    </a:lnTo>
                    <a:lnTo>
                      <a:pt x="178" y="80"/>
                    </a:lnTo>
                    <a:lnTo>
                      <a:pt x="166" y="88"/>
                    </a:lnTo>
                    <a:lnTo>
                      <a:pt x="166" y="88"/>
                    </a:lnTo>
                    <a:lnTo>
                      <a:pt x="164" y="88"/>
                    </a:lnTo>
                    <a:lnTo>
                      <a:pt x="146" y="88"/>
                    </a:lnTo>
                    <a:lnTo>
                      <a:pt x="146" y="88"/>
                    </a:lnTo>
                    <a:lnTo>
                      <a:pt x="130" y="90"/>
                    </a:lnTo>
                    <a:lnTo>
                      <a:pt x="130" y="90"/>
                    </a:lnTo>
                    <a:lnTo>
                      <a:pt x="130" y="90"/>
                    </a:lnTo>
                    <a:lnTo>
                      <a:pt x="124" y="86"/>
                    </a:lnTo>
                    <a:lnTo>
                      <a:pt x="122" y="86"/>
                    </a:lnTo>
                    <a:lnTo>
                      <a:pt x="118" y="92"/>
                    </a:lnTo>
                    <a:lnTo>
                      <a:pt x="118" y="92"/>
                    </a:lnTo>
                    <a:lnTo>
                      <a:pt x="116" y="92"/>
                    </a:lnTo>
                    <a:lnTo>
                      <a:pt x="100" y="94"/>
                    </a:lnTo>
                    <a:lnTo>
                      <a:pt x="76" y="90"/>
                    </a:lnTo>
                    <a:lnTo>
                      <a:pt x="76" y="90"/>
                    </a:lnTo>
                    <a:lnTo>
                      <a:pt x="76" y="90"/>
                    </a:lnTo>
                    <a:lnTo>
                      <a:pt x="76" y="90"/>
                    </a:lnTo>
                    <a:lnTo>
                      <a:pt x="76" y="88"/>
                    </a:lnTo>
                    <a:lnTo>
                      <a:pt x="80" y="78"/>
                    </a:lnTo>
                    <a:lnTo>
                      <a:pt x="88" y="72"/>
                    </a:lnTo>
                    <a:lnTo>
                      <a:pt x="92" y="70"/>
                    </a:lnTo>
                    <a:lnTo>
                      <a:pt x="88" y="68"/>
                    </a:lnTo>
                    <a:lnTo>
                      <a:pt x="74" y="72"/>
                    </a:lnTo>
                    <a:lnTo>
                      <a:pt x="58" y="72"/>
                    </a:lnTo>
                    <a:lnTo>
                      <a:pt x="58" y="72"/>
                    </a:lnTo>
                    <a:lnTo>
                      <a:pt x="36" y="74"/>
                    </a:lnTo>
                    <a:lnTo>
                      <a:pt x="36" y="74"/>
                    </a:lnTo>
                    <a:lnTo>
                      <a:pt x="36" y="74"/>
                    </a:lnTo>
                    <a:lnTo>
                      <a:pt x="24" y="70"/>
                    </a:lnTo>
                    <a:lnTo>
                      <a:pt x="24" y="70"/>
                    </a:lnTo>
                    <a:lnTo>
                      <a:pt x="24" y="70"/>
                    </a:lnTo>
                    <a:lnTo>
                      <a:pt x="24" y="70"/>
                    </a:lnTo>
                    <a:lnTo>
                      <a:pt x="24" y="68"/>
                    </a:lnTo>
                    <a:lnTo>
                      <a:pt x="32" y="64"/>
                    </a:lnTo>
                    <a:lnTo>
                      <a:pt x="44" y="58"/>
                    </a:lnTo>
                    <a:lnTo>
                      <a:pt x="38" y="58"/>
                    </a:lnTo>
                    <a:lnTo>
                      <a:pt x="32" y="62"/>
                    </a:lnTo>
                    <a:lnTo>
                      <a:pt x="20" y="66"/>
                    </a:lnTo>
                    <a:lnTo>
                      <a:pt x="20" y="66"/>
                    </a:lnTo>
                    <a:lnTo>
                      <a:pt x="20" y="66"/>
                    </a:lnTo>
                    <a:lnTo>
                      <a:pt x="20" y="66"/>
                    </a:lnTo>
                    <a:lnTo>
                      <a:pt x="18" y="66"/>
                    </a:lnTo>
                    <a:lnTo>
                      <a:pt x="18" y="66"/>
                    </a:lnTo>
                    <a:lnTo>
                      <a:pt x="18" y="64"/>
                    </a:lnTo>
                    <a:lnTo>
                      <a:pt x="20" y="58"/>
                    </a:lnTo>
                    <a:lnTo>
                      <a:pt x="20" y="58"/>
                    </a:lnTo>
                    <a:lnTo>
                      <a:pt x="20" y="56"/>
                    </a:lnTo>
                    <a:lnTo>
                      <a:pt x="24" y="56"/>
                    </a:lnTo>
                    <a:lnTo>
                      <a:pt x="20" y="54"/>
                    </a:lnTo>
                    <a:lnTo>
                      <a:pt x="16" y="56"/>
                    </a:lnTo>
                    <a:lnTo>
                      <a:pt x="16" y="56"/>
                    </a:lnTo>
                    <a:lnTo>
                      <a:pt x="14" y="56"/>
                    </a:lnTo>
                    <a:lnTo>
                      <a:pt x="2" y="56"/>
                    </a:lnTo>
                    <a:lnTo>
                      <a:pt x="2" y="56"/>
                    </a:lnTo>
                    <a:lnTo>
                      <a:pt x="0" y="56"/>
                    </a:lnTo>
                    <a:lnTo>
                      <a:pt x="0" y="56"/>
                    </a:lnTo>
                    <a:lnTo>
                      <a:pt x="0" y="54"/>
                    </a:lnTo>
                    <a:lnTo>
                      <a:pt x="12" y="44"/>
                    </a:lnTo>
                    <a:lnTo>
                      <a:pt x="12" y="44"/>
                    </a:lnTo>
                    <a:lnTo>
                      <a:pt x="12" y="44"/>
                    </a:lnTo>
                    <a:lnTo>
                      <a:pt x="34" y="44"/>
                    </a:lnTo>
                    <a:lnTo>
                      <a:pt x="42" y="40"/>
                    </a:lnTo>
                    <a:lnTo>
                      <a:pt x="50" y="36"/>
                    </a:lnTo>
                    <a:lnTo>
                      <a:pt x="50" y="36"/>
                    </a:lnTo>
                    <a:lnTo>
                      <a:pt x="50" y="36"/>
                    </a:lnTo>
                    <a:lnTo>
                      <a:pt x="66" y="36"/>
                    </a:lnTo>
                    <a:lnTo>
                      <a:pt x="66" y="36"/>
                    </a:lnTo>
                    <a:lnTo>
                      <a:pt x="68" y="36"/>
                    </a:lnTo>
                    <a:lnTo>
                      <a:pt x="74" y="40"/>
                    </a:lnTo>
                    <a:lnTo>
                      <a:pt x="92" y="40"/>
                    </a:lnTo>
                    <a:lnTo>
                      <a:pt x="88" y="34"/>
                    </a:lnTo>
                    <a:lnTo>
                      <a:pt x="88" y="34"/>
                    </a:lnTo>
                    <a:lnTo>
                      <a:pt x="88" y="32"/>
                    </a:lnTo>
                    <a:lnTo>
                      <a:pt x="92" y="26"/>
                    </a:lnTo>
                    <a:lnTo>
                      <a:pt x="92" y="26"/>
                    </a:lnTo>
                    <a:lnTo>
                      <a:pt x="94" y="24"/>
                    </a:lnTo>
                    <a:lnTo>
                      <a:pt x="108" y="24"/>
                    </a:lnTo>
                    <a:lnTo>
                      <a:pt x="108" y="24"/>
                    </a:lnTo>
                    <a:lnTo>
                      <a:pt x="108" y="24"/>
                    </a:lnTo>
                    <a:lnTo>
                      <a:pt x="118" y="30"/>
                    </a:lnTo>
                    <a:lnTo>
                      <a:pt x="134" y="34"/>
                    </a:lnTo>
                    <a:lnTo>
                      <a:pt x="144" y="34"/>
                    </a:lnTo>
                    <a:lnTo>
                      <a:pt x="140" y="32"/>
                    </a:lnTo>
                    <a:lnTo>
                      <a:pt x="132" y="26"/>
                    </a:lnTo>
                    <a:lnTo>
                      <a:pt x="132" y="26"/>
                    </a:lnTo>
                    <a:lnTo>
                      <a:pt x="130" y="24"/>
                    </a:lnTo>
                    <a:lnTo>
                      <a:pt x="130" y="24"/>
                    </a:lnTo>
                    <a:lnTo>
                      <a:pt x="130" y="24"/>
                    </a:lnTo>
                    <a:lnTo>
                      <a:pt x="134" y="18"/>
                    </a:lnTo>
                    <a:lnTo>
                      <a:pt x="134" y="18"/>
                    </a:lnTo>
                    <a:lnTo>
                      <a:pt x="136" y="18"/>
                    </a:lnTo>
                    <a:lnTo>
                      <a:pt x="148" y="16"/>
                    </a:lnTo>
                    <a:lnTo>
                      <a:pt x="152" y="12"/>
                    </a:lnTo>
                    <a:lnTo>
                      <a:pt x="152" y="12"/>
                    </a:lnTo>
                    <a:lnTo>
                      <a:pt x="154" y="12"/>
                    </a:lnTo>
                    <a:lnTo>
                      <a:pt x="166" y="12"/>
                    </a:lnTo>
                    <a:lnTo>
                      <a:pt x="178" y="6"/>
                    </a:lnTo>
                    <a:lnTo>
                      <a:pt x="178" y="6"/>
                    </a:lnTo>
                    <a:lnTo>
                      <a:pt x="178" y="6"/>
                    </a:lnTo>
                    <a:lnTo>
                      <a:pt x="178" y="6"/>
                    </a:lnTo>
                    <a:lnTo>
                      <a:pt x="194" y="8"/>
                    </a:lnTo>
                    <a:lnTo>
                      <a:pt x="206" y="12"/>
                    </a:lnTo>
                    <a:lnTo>
                      <a:pt x="214" y="16"/>
                    </a:lnTo>
                    <a:lnTo>
                      <a:pt x="222" y="22"/>
                    </a:lnTo>
                    <a:lnTo>
                      <a:pt x="226" y="20"/>
                    </a:lnTo>
                    <a:lnTo>
                      <a:pt x="212" y="8"/>
                    </a:lnTo>
                    <a:lnTo>
                      <a:pt x="212" y="8"/>
                    </a:lnTo>
                    <a:lnTo>
                      <a:pt x="212" y="8"/>
                    </a:lnTo>
                    <a:lnTo>
                      <a:pt x="210" y="2"/>
                    </a:lnTo>
                    <a:lnTo>
                      <a:pt x="210" y="2"/>
                    </a:lnTo>
                    <a:lnTo>
                      <a:pt x="210" y="0"/>
                    </a:lnTo>
                    <a:lnTo>
                      <a:pt x="210" y="0"/>
                    </a:lnTo>
                    <a:lnTo>
                      <a:pt x="212" y="0"/>
                    </a:lnTo>
                    <a:lnTo>
                      <a:pt x="212" y="0"/>
                    </a:lnTo>
                    <a:lnTo>
                      <a:pt x="250" y="2"/>
                    </a:lnTo>
                    <a:lnTo>
                      <a:pt x="250" y="2"/>
                    </a:lnTo>
                    <a:lnTo>
                      <a:pt x="252" y="4"/>
                    </a:lnTo>
                    <a:lnTo>
                      <a:pt x="256" y="10"/>
                    </a:lnTo>
                    <a:lnTo>
                      <a:pt x="266" y="14"/>
                    </a:lnTo>
                    <a:lnTo>
                      <a:pt x="264" y="12"/>
                    </a:lnTo>
                    <a:lnTo>
                      <a:pt x="264" y="12"/>
                    </a:lnTo>
                    <a:lnTo>
                      <a:pt x="264" y="10"/>
                    </a:lnTo>
                    <a:lnTo>
                      <a:pt x="266" y="2"/>
                    </a:lnTo>
                    <a:lnTo>
                      <a:pt x="266" y="2"/>
                    </a:lnTo>
                    <a:lnTo>
                      <a:pt x="268" y="2"/>
                    </a:lnTo>
                    <a:lnTo>
                      <a:pt x="268" y="2"/>
                    </a:lnTo>
                    <a:lnTo>
                      <a:pt x="286" y="2"/>
                    </a:lnTo>
                    <a:lnTo>
                      <a:pt x="286" y="2"/>
                    </a:lnTo>
                    <a:lnTo>
                      <a:pt x="286" y="4"/>
                    </a:lnTo>
                    <a:lnTo>
                      <a:pt x="292" y="8"/>
                    </a:lnTo>
                    <a:lnTo>
                      <a:pt x="294" y="4"/>
                    </a:lnTo>
                    <a:lnTo>
                      <a:pt x="294" y="4"/>
                    </a:lnTo>
                    <a:lnTo>
                      <a:pt x="296" y="2"/>
                    </a:lnTo>
                    <a:lnTo>
                      <a:pt x="314" y="2"/>
                    </a:lnTo>
                    <a:lnTo>
                      <a:pt x="328" y="4"/>
                    </a:lnTo>
                    <a:lnTo>
                      <a:pt x="364" y="6"/>
                    </a:lnTo>
                    <a:lnTo>
                      <a:pt x="364" y="6"/>
                    </a:lnTo>
                    <a:lnTo>
                      <a:pt x="366" y="8"/>
                    </a:lnTo>
                    <a:lnTo>
                      <a:pt x="366" y="8"/>
                    </a:lnTo>
                    <a:lnTo>
                      <a:pt x="366" y="10"/>
                    </a:lnTo>
                    <a:lnTo>
                      <a:pt x="364" y="12"/>
                    </a:lnTo>
                    <a:lnTo>
                      <a:pt x="366" y="12"/>
                    </a:lnTo>
                    <a:lnTo>
                      <a:pt x="388" y="12"/>
                    </a:lnTo>
                    <a:lnTo>
                      <a:pt x="404" y="12"/>
                    </a:lnTo>
                    <a:lnTo>
                      <a:pt x="404" y="12"/>
                    </a:lnTo>
                    <a:lnTo>
                      <a:pt x="406" y="12"/>
                    </a:lnTo>
                    <a:lnTo>
                      <a:pt x="412" y="22"/>
                    </a:lnTo>
                    <a:lnTo>
                      <a:pt x="434" y="22"/>
                    </a:lnTo>
                    <a:lnTo>
                      <a:pt x="434" y="22"/>
                    </a:lnTo>
                    <a:lnTo>
                      <a:pt x="434" y="24"/>
                    </a:lnTo>
                    <a:lnTo>
                      <a:pt x="440" y="32"/>
                    </a:lnTo>
                    <a:lnTo>
                      <a:pt x="440" y="32"/>
                    </a:lnTo>
                    <a:lnTo>
                      <a:pt x="440" y="34"/>
                    </a:lnTo>
                    <a:lnTo>
                      <a:pt x="440" y="34"/>
                    </a:lnTo>
                    <a:lnTo>
                      <a:pt x="440" y="36"/>
                    </a:lnTo>
                    <a:lnTo>
                      <a:pt x="432" y="38"/>
                    </a:lnTo>
                    <a:lnTo>
                      <a:pt x="410" y="46"/>
                    </a:lnTo>
                    <a:lnTo>
                      <a:pt x="396" y="54"/>
                    </a:lnTo>
                    <a:lnTo>
                      <a:pt x="396" y="54"/>
                    </a:lnTo>
                    <a:lnTo>
                      <a:pt x="396" y="54"/>
                    </a:lnTo>
                    <a:lnTo>
                      <a:pt x="344" y="54"/>
                    </a:lnTo>
                    <a:lnTo>
                      <a:pt x="342" y="56"/>
                    </a:lnTo>
                    <a:lnTo>
                      <a:pt x="356" y="56"/>
                    </a:lnTo>
                    <a:lnTo>
                      <a:pt x="356" y="56"/>
                    </a:lnTo>
                    <a:lnTo>
                      <a:pt x="358" y="58"/>
                    </a:lnTo>
                    <a:lnTo>
                      <a:pt x="358" y="58"/>
                    </a:lnTo>
                    <a:lnTo>
                      <a:pt x="358" y="60"/>
                    </a:lnTo>
                    <a:lnTo>
                      <a:pt x="348" y="62"/>
                    </a:lnTo>
                    <a:lnTo>
                      <a:pt x="346" y="64"/>
                    </a:lnTo>
                    <a:lnTo>
                      <a:pt x="356" y="62"/>
                    </a:lnTo>
                    <a:lnTo>
                      <a:pt x="374" y="56"/>
                    </a:lnTo>
                    <a:lnTo>
                      <a:pt x="386" y="56"/>
                    </a:lnTo>
                    <a:lnTo>
                      <a:pt x="386" y="56"/>
                    </a:lnTo>
                    <a:lnTo>
                      <a:pt x="388" y="58"/>
                    </a:lnTo>
                    <a:lnTo>
                      <a:pt x="390" y="62"/>
                    </a:lnTo>
                    <a:lnTo>
                      <a:pt x="390" y="62"/>
                    </a:lnTo>
                    <a:lnTo>
                      <a:pt x="390" y="62"/>
                    </a:lnTo>
                    <a:lnTo>
                      <a:pt x="390" y="62"/>
                    </a:lnTo>
                    <a:lnTo>
                      <a:pt x="390" y="64"/>
                    </a:lnTo>
                    <a:lnTo>
                      <a:pt x="370" y="70"/>
                    </a:lnTo>
                    <a:lnTo>
                      <a:pt x="356" y="80"/>
                    </a:lnTo>
                    <a:lnTo>
                      <a:pt x="332" y="86"/>
                    </a:lnTo>
                    <a:lnTo>
                      <a:pt x="316" y="100"/>
                    </a:lnTo>
                    <a:lnTo>
                      <a:pt x="316" y="100"/>
                    </a:lnTo>
                    <a:lnTo>
                      <a:pt x="316" y="100"/>
                    </a:lnTo>
                    <a:lnTo>
                      <a:pt x="306" y="100"/>
                    </a:lnTo>
                    <a:lnTo>
                      <a:pt x="304" y="108"/>
                    </a:lnTo>
                    <a:lnTo>
                      <a:pt x="304" y="108"/>
                    </a:lnTo>
                    <a:lnTo>
                      <a:pt x="302" y="110"/>
                    </a:lnTo>
                    <a:lnTo>
                      <a:pt x="292" y="118"/>
                    </a:lnTo>
                    <a:lnTo>
                      <a:pt x="292" y="118"/>
                    </a:lnTo>
                    <a:lnTo>
                      <a:pt x="292" y="120"/>
                    </a:lnTo>
                    <a:lnTo>
                      <a:pt x="278" y="122"/>
                    </a:lnTo>
                    <a:lnTo>
                      <a:pt x="278" y="122"/>
                    </a:lnTo>
                    <a:lnTo>
                      <a:pt x="276" y="122"/>
                    </a:lnTo>
                    <a:lnTo>
                      <a:pt x="276" y="122"/>
                    </a:lnTo>
                    <a:lnTo>
                      <a:pt x="276" y="122"/>
                    </a:lnTo>
                    <a:lnTo>
                      <a:pt x="268" y="116"/>
                    </a:lnTo>
                    <a:lnTo>
                      <a:pt x="256" y="114"/>
                    </a:lnTo>
                    <a:lnTo>
                      <a:pt x="256" y="114"/>
                    </a:lnTo>
                    <a:lnTo>
                      <a:pt x="260" y="116"/>
                    </a:lnTo>
                    <a:lnTo>
                      <a:pt x="266" y="116"/>
                    </a:lnTo>
                    <a:lnTo>
                      <a:pt x="266" y="116"/>
                    </a:lnTo>
                    <a:lnTo>
                      <a:pt x="268" y="118"/>
                    </a:lnTo>
                    <a:lnTo>
                      <a:pt x="268" y="124"/>
                    </a:lnTo>
                    <a:lnTo>
                      <a:pt x="268" y="124"/>
                    </a:lnTo>
                    <a:lnTo>
                      <a:pt x="266" y="126"/>
                    </a:lnTo>
                    <a:lnTo>
                      <a:pt x="256" y="126"/>
                    </a:lnTo>
                    <a:lnTo>
                      <a:pt x="248" y="130"/>
                    </a:lnTo>
                    <a:lnTo>
                      <a:pt x="248" y="130"/>
                    </a:lnTo>
                    <a:lnTo>
                      <a:pt x="248" y="130"/>
                    </a:lnTo>
                    <a:lnTo>
                      <a:pt x="248" y="130"/>
                    </a:lnTo>
                    <a:lnTo>
                      <a:pt x="248" y="130"/>
                    </a:lnTo>
                    <a:lnTo>
                      <a:pt x="238" y="128"/>
                    </a:lnTo>
                    <a:lnTo>
                      <a:pt x="222" y="126"/>
                    </a:lnTo>
                    <a:lnTo>
                      <a:pt x="214" y="128"/>
                    </a:lnTo>
                    <a:lnTo>
                      <a:pt x="216" y="132"/>
                    </a:lnTo>
                    <a:lnTo>
                      <a:pt x="244" y="132"/>
                    </a:lnTo>
                    <a:lnTo>
                      <a:pt x="244" y="132"/>
                    </a:lnTo>
                    <a:lnTo>
                      <a:pt x="246" y="132"/>
                    </a:lnTo>
                    <a:lnTo>
                      <a:pt x="250" y="138"/>
                    </a:lnTo>
                    <a:lnTo>
                      <a:pt x="250" y="138"/>
                    </a:lnTo>
                    <a:lnTo>
                      <a:pt x="250" y="140"/>
                    </a:lnTo>
                    <a:lnTo>
                      <a:pt x="250" y="140"/>
                    </a:lnTo>
                    <a:lnTo>
                      <a:pt x="248" y="140"/>
                    </a:lnTo>
                    <a:lnTo>
                      <a:pt x="232" y="140"/>
                    </a:lnTo>
                    <a:lnTo>
                      <a:pt x="232" y="142"/>
                    </a:lnTo>
                    <a:lnTo>
                      <a:pt x="244" y="144"/>
                    </a:lnTo>
                    <a:lnTo>
                      <a:pt x="244" y="144"/>
                    </a:lnTo>
                    <a:lnTo>
                      <a:pt x="246" y="146"/>
                    </a:lnTo>
                    <a:lnTo>
                      <a:pt x="246" y="150"/>
                    </a:lnTo>
                    <a:lnTo>
                      <a:pt x="246" y="150"/>
                    </a:lnTo>
                    <a:lnTo>
                      <a:pt x="246" y="152"/>
                    </a:lnTo>
                    <a:lnTo>
                      <a:pt x="242" y="154"/>
                    </a:lnTo>
                    <a:lnTo>
                      <a:pt x="242" y="154"/>
                    </a:lnTo>
                    <a:lnTo>
                      <a:pt x="240" y="154"/>
                    </a:lnTo>
                    <a:lnTo>
                      <a:pt x="240" y="154"/>
                    </a:lnTo>
                    <a:lnTo>
                      <a:pt x="228" y="154"/>
                    </a:lnTo>
                    <a:lnTo>
                      <a:pt x="230" y="154"/>
                    </a:lnTo>
                    <a:lnTo>
                      <a:pt x="240" y="160"/>
                    </a:lnTo>
                    <a:lnTo>
                      <a:pt x="240" y="160"/>
                    </a:lnTo>
                    <a:lnTo>
                      <a:pt x="242" y="162"/>
                    </a:lnTo>
                    <a:lnTo>
                      <a:pt x="242" y="162"/>
                    </a:lnTo>
                    <a:lnTo>
                      <a:pt x="240" y="164"/>
                    </a:lnTo>
                    <a:lnTo>
                      <a:pt x="236" y="166"/>
                    </a:lnTo>
                    <a:lnTo>
                      <a:pt x="234" y="170"/>
                    </a:lnTo>
                    <a:lnTo>
                      <a:pt x="230" y="174"/>
                    </a:lnTo>
                    <a:lnTo>
                      <a:pt x="230" y="174"/>
                    </a:lnTo>
                    <a:lnTo>
                      <a:pt x="228" y="174"/>
                    </a:lnTo>
                    <a:lnTo>
                      <a:pt x="204" y="176"/>
                    </a:lnTo>
                    <a:lnTo>
                      <a:pt x="200" y="186"/>
                    </a:lnTo>
                    <a:lnTo>
                      <a:pt x="200" y="186"/>
                    </a:lnTo>
                    <a:lnTo>
                      <a:pt x="200" y="186"/>
                    </a:lnTo>
                    <a:lnTo>
                      <a:pt x="190" y="192"/>
                    </a:lnTo>
                    <a:lnTo>
                      <a:pt x="190" y="192"/>
                    </a:lnTo>
                    <a:lnTo>
                      <a:pt x="190" y="192"/>
                    </a:lnTo>
                    <a:lnTo>
                      <a:pt x="168" y="192"/>
                    </a:lnTo>
                    <a:lnTo>
                      <a:pt x="152" y="188"/>
                    </a:lnTo>
                    <a:lnTo>
                      <a:pt x="150" y="192"/>
                    </a:lnTo>
                    <a:lnTo>
                      <a:pt x="164" y="196"/>
                    </a:lnTo>
                    <a:lnTo>
                      <a:pt x="182" y="196"/>
                    </a:lnTo>
                    <a:lnTo>
                      <a:pt x="182" y="196"/>
                    </a:lnTo>
                    <a:lnTo>
                      <a:pt x="184" y="196"/>
                    </a:lnTo>
                    <a:lnTo>
                      <a:pt x="186" y="204"/>
                    </a:lnTo>
                    <a:lnTo>
                      <a:pt x="192" y="200"/>
                    </a:lnTo>
                    <a:lnTo>
                      <a:pt x="194" y="198"/>
                    </a:lnTo>
                    <a:lnTo>
                      <a:pt x="194" y="198"/>
                    </a:lnTo>
                    <a:lnTo>
                      <a:pt x="196" y="198"/>
                    </a:lnTo>
                    <a:lnTo>
                      <a:pt x="196" y="198"/>
                    </a:lnTo>
                    <a:lnTo>
                      <a:pt x="198" y="198"/>
                    </a:lnTo>
                    <a:lnTo>
                      <a:pt x="202" y="202"/>
                    </a:lnTo>
                    <a:lnTo>
                      <a:pt x="202" y="202"/>
                    </a:lnTo>
                    <a:lnTo>
                      <a:pt x="202" y="202"/>
                    </a:lnTo>
                    <a:lnTo>
                      <a:pt x="204" y="212"/>
                    </a:lnTo>
                    <a:lnTo>
                      <a:pt x="204" y="212"/>
                    </a:lnTo>
                    <a:lnTo>
                      <a:pt x="202" y="214"/>
                    </a:lnTo>
                    <a:lnTo>
                      <a:pt x="198" y="216"/>
                    </a:lnTo>
                    <a:lnTo>
                      <a:pt x="184" y="220"/>
                    </a:lnTo>
                    <a:lnTo>
                      <a:pt x="170" y="226"/>
                    </a:lnTo>
                    <a:lnTo>
                      <a:pt x="170" y="226"/>
                    </a:lnTo>
                    <a:lnTo>
                      <a:pt x="156" y="228"/>
                    </a:lnTo>
                    <a:lnTo>
                      <a:pt x="15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1" name="Freeform 50"/>
              <p:cNvSpPr>
                <a:spLocks noEditPoints="1"/>
              </p:cNvSpPr>
              <p:nvPr/>
            </p:nvSpPr>
            <p:spPr bwMode="auto">
              <a:xfrm>
                <a:off x="1563" y="925"/>
                <a:ext cx="444" cy="232"/>
              </a:xfrm>
              <a:custGeom>
                <a:avLst/>
                <a:gdLst>
                  <a:gd name="T0" fmla="*/ 330 w 444"/>
                  <a:gd name="T1" fmla="*/ 8 h 232"/>
                  <a:gd name="T2" fmla="*/ 434 w 444"/>
                  <a:gd name="T3" fmla="*/ 38 h 232"/>
                  <a:gd name="T4" fmla="*/ 390 w 444"/>
                  <a:gd name="T5" fmla="*/ 64 h 232"/>
                  <a:gd name="T6" fmla="*/ 254 w 444"/>
                  <a:gd name="T7" fmla="*/ 116 h 232"/>
                  <a:gd name="T8" fmla="*/ 218 w 444"/>
                  <a:gd name="T9" fmla="*/ 136 h 232"/>
                  <a:gd name="T10" fmla="*/ 230 w 444"/>
                  <a:gd name="T11" fmla="*/ 158 h 232"/>
                  <a:gd name="T12" fmla="*/ 164 w 444"/>
                  <a:gd name="T13" fmla="*/ 200 h 232"/>
                  <a:gd name="T14" fmla="*/ 158 w 444"/>
                  <a:gd name="T15" fmla="*/ 228 h 232"/>
                  <a:gd name="T16" fmla="*/ 64 w 444"/>
                  <a:gd name="T17" fmla="*/ 218 h 232"/>
                  <a:gd name="T18" fmla="*/ 60 w 444"/>
                  <a:gd name="T19" fmla="*/ 186 h 232"/>
                  <a:gd name="T20" fmla="*/ 122 w 444"/>
                  <a:gd name="T21" fmla="*/ 184 h 232"/>
                  <a:gd name="T22" fmla="*/ 64 w 444"/>
                  <a:gd name="T23" fmla="*/ 160 h 232"/>
                  <a:gd name="T24" fmla="*/ 116 w 444"/>
                  <a:gd name="T25" fmla="*/ 140 h 232"/>
                  <a:gd name="T26" fmla="*/ 152 w 444"/>
                  <a:gd name="T27" fmla="*/ 122 h 232"/>
                  <a:gd name="T28" fmla="*/ 196 w 444"/>
                  <a:gd name="T29" fmla="*/ 74 h 232"/>
                  <a:gd name="T30" fmla="*/ 118 w 444"/>
                  <a:gd name="T31" fmla="*/ 92 h 232"/>
                  <a:gd name="T32" fmla="*/ 34 w 444"/>
                  <a:gd name="T33" fmla="*/ 68 h 232"/>
                  <a:gd name="T34" fmla="*/ 4 w 444"/>
                  <a:gd name="T35" fmla="*/ 56 h 232"/>
                  <a:gd name="T36" fmla="*/ 110 w 444"/>
                  <a:gd name="T37" fmla="*/ 28 h 232"/>
                  <a:gd name="T38" fmla="*/ 196 w 444"/>
                  <a:gd name="T39" fmla="*/ 12 h 232"/>
                  <a:gd name="T40" fmla="*/ 212 w 444"/>
                  <a:gd name="T41" fmla="*/ 0 h 232"/>
                  <a:gd name="T42" fmla="*/ 210 w 444"/>
                  <a:gd name="T43" fmla="*/ 12 h 232"/>
                  <a:gd name="T44" fmla="*/ 156 w 444"/>
                  <a:gd name="T45" fmla="*/ 12 h 232"/>
                  <a:gd name="T46" fmla="*/ 132 w 444"/>
                  <a:gd name="T47" fmla="*/ 30 h 232"/>
                  <a:gd name="T48" fmla="*/ 88 w 444"/>
                  <a:gd name="T49" fmla="*/ 34 h 232"/>
                  <a:gd name="T50" fmla="*/ 50 w 444"/>
                  <a:gd name="T51" fmla="*/ 38 h 232"/>
                  <a:gd name="T52" fmla="*/ 2 w 444"/>
                  <a:gd name="T53" fmla="*/ 60 h 232"/>
                  <a:gd name="T54" fmla="*/ 22 w 444"/>
                  <a:gd name="T55" fmla="*/ 70 h 232"/>
                  <a:gd name="T56" fmla="*/ 38 w 444"/>
                  <a:gd name="T57" fmla="*/ 78 h 232"/>
                  <a:gd name="T58" fmla="*/ 80 w 444"/>
                  <a:gd name="T59" fmla="*/ 80 h 232"/>
                  <a:gd name="T60" fmla="*/ 76 w 444"/>
                  <a:gd name="T61" fmla="*/ 104 h 232"/>
                  <a:gd name="T62" fmla="*/ 114 w 444"/>
                  <a:gd name="T63" fmla="*/ 142 h 232"/>
                  <a:gd name="T64" fmla="*/ 72 w 444"/>
                  <a:gd name="T65" fmla="*/ 148 h 232"/>
                  <a:gd name="T66" fmla="*/ 72 w 444"/>
                  <a:gd name="T67" fmla="*/ 172 h 232"/>
                  <a:gd name="T68" fmla="*/ 104 w 444"/>
                  <a:gd name="T69" fmla="*/ 168 h 232"/>
                  <a:gd name="T70" fmla="*/ 96 w 444"/>
                  <a:gd name="T71" fmla="*/ 186 h 232"/>
                  <a:gd name="T72" fmla="*/ 56 w 444"/>
                  <a:gd name="T73" fmla="*/ 188 h 232"/>
                  <a:gd name="T74" fmla="*/ 34 w 444"/>
                  <a:gd name="T75" fmla="*/ 212 h 232"/>
                  <a:gd name="T76" fmla="*/ 60 w 444"/>
                  <a:gd name="T77" fmla="*/ 224 h 232"/>
                  <a:gd name="T78" fmla="*/ 82 w 444"/>
                  <a:gd name="T79" fmla="*/ 224 h 232"/>
                  <a:gd name="T80" fmla="*/ 136 w 444"/>
                  <a:gd name="T81" fmla="*/ 222 h 232"/>
                  <a:gd name="T82" fmla="*/ 158 w 444"/>
                  <a:gd name="T83" fmla="*/ 232 h 232"/>
                  <a:gd name="T84" fmla="*/ 206 w 444"/>
                  <a:gd name="T85" fmla="*/ 216 h 232"/>
                  <a:gd name="T86" fmla="*/ 192 w 444"/>
                  <a:gd name="T87" fmla="*/ 202 h 232"/>
                  <a:gd name="T88" fmla="*/ 204 w 444"/>
                  <a:gd name="T89" fmla="*/ 188 h 232"/>
                  <a:gd name="T90" fmla="*/ 246 w 444"/>
                  <a:gd name="T91" fmla="*/ 164 h 232"/>
                  <a:gd name="T92" fmla="*/ 250 w 444"/>
                  <a:gd name="T93" fmla="*/ 152 h 232"/>
                  <a:gd name="T94" fmla="*/ 252 w 444"/>
                  <a:gd name="T95" fmla="*/ 134 h 232"/>
                  <a:gd name="T96" fmla="*/ 278 w 444"/>
                  <a:gd name="T97" fmla="*/ 126 h 232"/>
                  <a:gd name="T98" fmla="*/ 318 w 444"/>
                  <a:gd name="T99" fmla="*/ 104 h 232"/>
                  <a:gd name="T100" fmla="*/ 394 w 444"/>
                  <a:gd name="T101" fmla="*/ 62 h 232"/>
                  <a:gd name="T102" fmla="*/ 442 w 444"/>
                  <a:gd name="T103" fmla="*/ 38 h 232"/>
                  <a:gd name="T104" fmla="*/ 406 w 444"/>
                  <a:gd name="T105" fmla="*/ 12 h 232"/>
                  <a:gd name="T106" fmla="*/ 316 w 444"/>
                  <a:gd name="T107" fmla="*/ 2 h 232"/>
                  <a:gd name="T108" fmla="*/ 270 w 444"/>
                  <a:gd name="T109" fmla="*/ 2 h 232"/>
                  <a:gd name="T110" fmla="*/ 214 w 444"/>
                  <a:gd name="T111" fmla="*/ 0 h 232"/>
                  <a:gd name="T112" fmla="*/ 362 w 444"/>
                  <a:gd name="T113" fmla="*/ 58 h 232"/>
                  <a:gd name="T114" fmla="*/ 176 w 444"/>
                  <a:gd name="T115" fmla="*/ 90 h 232"/>
                  <a:gd name="T116" fmla="*/ 122 w 444"/>
                  <a:gd name="T117" fmla="*/ 98 h 232"/>
                  <a:gd name="T118" fmla="*/ 102 w 444"/>
                  <a:gd name="T119" fmla="*/ 98 h 232"/>
                  <a:gd name="T120" fmla="*/ 222 w 444"/>
                  <a:gd name="T121" fmla="*/ 1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 h="232">
                    <a:moveTo>
                      <a:pt x="214" y="4"/>
                    </a:moveTo>
                    <a:lnTo>
                      <a:pt x="252" y="6"/>
                    </a:lnTo>
                    <a:lnTo>
                      <a:pt x="258" y="14"/>
                    </a:lnTo>
                    <a:lnTo>
                      <a:pt x="274" y="20"/>
                    </a:lnTo>
                    <a:lnTo>
                      <a:pt x="268" y="12"/>
                    </a:lnTo>
                    <a:lnTo>
                      <a:pt x="270" y="6"/>
                    </a:lnTo>
                    <a:lnTo>
                      <a:pt x="288" y="6"/>
                    </a:lnTo>
                    <a:lnTo>
                      <a:pt x="294" y="12"/>
                    </a:lnTo>
                    <a:lnTo>
                      <a:pt x="298" y="6"/>
                    </a:lnTo>
                    <a:lnTo>
                      <a:pt x="316" y="6"/>
                    </a:lnTo>
                    <a:lnTo>
                      <a:pt x="330" y="8"/>
                    </a:lnTo>
                    <a:lnTo>
                      <a:pt x="366" y="10"/>
                    </a:lnTo>
                    <a:lnTo>
                      <a:pt x="364" y="14"/>
                    </a:lnTo>
                    <a:lnTo>
                      <a:pt x="350" y="18"/>
                    </a:lnTo>
                    <a:lnTo>
                      <a:pt x="350" y="22"/>
                    </a:lnTo>
                    <a:lnTo>
                      <a:pt x="370" y="16"/>
                    </a:lnTo>
                    <a:lnTo>
                      <a:pt x="390" y="16"/>
                    </a:lnTo>
                    <a:lnTo>
                      <a:pt x="406" y="16"/>
                    </a:lnTo>
                    <a:lnTo>
                      <a:pt x="414" y="26"/>
                    </a:lnTo>
                    <a:lnTo>
                      <a:pt x="436" y="26"/>
                    </a:lnTo>
                    <a:lnTo>
                      <a:pt x="440" y="36"/>
                    </a:lnTo>
                    <a:lnTo>
                      <a:pt x="434" y="38"/>
                    </a:lnTo>
                    <a:lnTo>
                      <a:pt x="412" y="46"/>
                    </a:lnTo>
                    <a:lnTo>
                      <a:pt x="398" y="54"/>
                    </a:lnTo>
                    <a:lnTo>
                      <a:pt x="344" y="54"/>
                    </a:lnTo>
                    <a:lnTo>
                      <a:pt x="340" y="58"/>
                    </a:lnTo>
                    <a:lnTo>
                      <a:pt x="358" y="60"/>
                    </a:lnTo>
                    <a:lnTo>
                      <a:pt x="350" y="62"/>
                    </a:lnTo>
                    <a:lnTo>
                      <a:pt x="332" y="70"/>
                    </a:lnTo>
                    <a:lnTo>
                      <a:pt x="358" y="66"/>
                    </a:lnTo>
                    <a:lnTo>
                      <a:pt x="376" y="60"/>
                    </a:lnTo>
                    <a:lnTo>
                      <a:pt x="388" y="60"/>
                    </a:lnTo>
                    <a:lnTo>
                      <a:pt x="390" y="64"/>
                    </a:lnTo>
                    <a:lnTo>
                      <a:pt x="372" y="72"/>
                    </a:lnTo>
                    <a:lnTo>
                      <a:pt x="356" y="80"/>
                    </a:lnTo>
                    <a:lnTo>
                      <a:pt x="334" y="88"/>
                    </a:lnTo>
                    <a:lnTo>
                      <a:pt x="318" y="100"/>
                    </a:lnTo>
                    <a:lnTo>
                      <a:pt x="308" y="100"/>
                    </a:lnTo>
                    <a:lnTo>
                      <a:pt x="304" y="110"/>
                    </a:lnTo>
                    <a:lnTo>
                      <a:pt x="292" y="120"/>
                    </a:lnTo>
                    <a:lnTo>
                      <a:pt x="278" y="122"/>
                    </a:lnTo>
                    <a:lnTo>
                      <a:pt x="272" y="118"/>
                    </a:lnTo>
                    <a:lnTo>
                      <a:pt x="258" y="114"/>
                    </a:lnTo>
                    <a:lnTo>
                      <a:pt x="254" y="116"/>
                    </a:lnTo>
                    <a:lnTo>
                      <a:pt x="260" y="120"/>
                    </a:lnTo>
                    <a:lnTo>
                      <a:pt x="268" y="120"/>
                    </a:lnTo>
                    <a:lnTo>
                      <a:pt x="268" y="124"/>
                    </a:lnTo>
                    <a:lnTo>
                      <a:pt x="268" y="126"/>
                    </a:lnTo>
                    <a:lnTo>
                      <a:pt x="266" y="126"/>
                    </a:lnTo>
                    <a:lnTo>
                      <a:pt x="258" y="126"/>
                    </a:lnTo>
                    <a:lnTo>
                      <a:pt x="250" y="130"/>
                    </a:lnTo>
                    <a:lnTo>
                      <a:pt x="240" y="128"/>
                    </a:lnTo>
                    <a:lnTo>
                      <a:pt x="224" y="126"/>
                    </a:lnTo>
                    <a:lnTo>
                      <a:pt x="212" y="130"/>
                    </a:lnTo>
                    <a:lnTo>
                      <a:pt x="218" y="136"/>
                    </a:lnTo>
                    <a:lnTo>
                      <a:pt x="230" y="136"/>
                    </a:lnTo>
                    <a:lnTo>
                      <a:pt x="246" y="136"/>
                    </a:lnTo>
                    <a:lnTo>
                      <a:pt x="250" y="140"/>
                    </a:lnTo>
                    <a:lnTo>
                      <a:pt x="242" y="140"/>
                    </a:lnTo>
                    <a:lnTo>
                      <a:pt x="230" y="140"/>
                    </a:lnTo>
                    <a:lnTo>
                      <a:pt x="232" y="146"/>
                    </a:lnTo>
                    <a:lnTo>
                      <a:pt x="246" y="148"/>
                    </a:lnTo>
                    <a:lnTo>
                      <a:pt x="246" y="152"/>
                    </a:lnTo>
                    <a:lnTo>
                      <a:pt x="242" y="154"/>
                    </a:lnTo>
                    <a:lnTo>
                      <a:pt x="226" y="152"/>
                    </a:lnTo>
                    <a:lnTo>
                      <a:pt x="230" y="158"/>
                    </a:lnTo>
                    <a:lnTo>
                      <a:pt x="242" y="164"/>
                    </a:lnTo>
                    <a:lnTo>
                      <a:pt x="236" y="168"/>
                    </a:lnTo>
                    <a:lnTo>
                      <a:pt x="234" y="170"/>
                    </a:lnTo>
                    <a:lnTo>
                      <a:pt x="230" y="174"/>
                    </a:lnTo>
                    <a:lnTo>
                      <a:pt x="204" y="176"/>
                    </a:lnTo>
                    <a:lnTo>
                      <a:pt x="200" y="186"/>
                    </a:lnTo>
                    <a:lnTo>
                      <a:pt x="192" y="192"/>
                    </a:lnTo>
                    <a:lnTo>
                      <a:pt x="170" y="192"/>
                    </a:lnTo>
                    <a:lnTo>
                      <a:pt x="152" y="188"/>
                    </a:lnTo>
                    <a:lnTo>
                      <a:pt x="150" y="196"/>
                    </a:lnTo>
                    <a:lnTo>
                      <a:pt x="164" y="200"/>
                    </a:lnTo>
                    <a:lnTo>
                      <a:pt x="184" y="200"/>
                    </a:lnTo>
                    <a:lnTo>
                      <a:pt x="186" y="204"/>
                    </a:lnTo>
                    <a:lnTo>
                      <a:pt x="188" y="210"/>
                    </a:lnTo>
                    <a:lnTo>
                      <a:pt x="194" y="204"/>
                    </a:lnTo>
                    <a:lnTo>
                      <a:pt x="198" y="202"/>
                    </a:lnTo>
                    <a:lnTo>
                      <a:pt x="202" y="204"/>
                    </a:lnTo>
                    <a:lnTo>
                      <a:pt x="204" y="214"/>
                    </a:lnTo>
                    <a:lnTo>
                      <a:pt x="198" y="218"/>
                    </a:lnTo>
                    <a:lnTo>
                      <a:pt x="186" y="220"/>
                    </a:lnTo>
                    <a:lnTo>
                      <a:pt x="172" y="226"/>
                    </a:lnTo>
                    <a:lnTo>
                      <a:pt x="158" y="228"/>
                    </a:lnTo>
                    <a:lnTo>
                      <a:pt x="158" y="220"/>
                    </a:lnTo>
                    <a:lnTo>
                      <a:pt x="148" y="218"/>
                    </a:lnTo>
                    <a:lnTo>
                      <a:pt x="138" y="218"/>
                    </a:lnTo>
                    <a:lnTo>
                      <a:pt x="128" y="216"/>
                    </a:lnTo>
                    <a:lnTo>
                      <a:pt x="122" y="220"/>
                    </a:lnTo>
                    <a:lnTo>
                      <a:pt x="114" y="216"/>
                    </a:lnTo>
                    <a:lnTo>
                      <a:pt x="112" y="220"/>
                    </a:lnTo>
                    <a:lnTo>
                      <a:pt x="82" y="220"/>
                    </a:lnTo>
                    <a:lnTo>
                      <a:pt x="78" y="216"/>
                    </a:lnTo>
                    <a:lnTo>
                      <a:pt x="68" y="220"/>
                    </a:lnTo>
                    <a:lnTo>
                      <a:pt x="64" y="218"/>
                    </a:lnTo>
                    <a:lnTo>
                      <a:pt x="60" y="220"/>
                    </a:lnTo>
                    <a:lnTo>
                      <a:pt x="54" y="214"/>
                    </a:lnTo>
                    <a:lnTo>
                      <a:pt x="46" y="220"/>
                    </a:lnTo>
                    <a:lnTo>
                      <a:pt x="38" y="214"/>
                    </a:lnTo>
                    <a:lnTo>
                      <a:pt x="42" y="202"/>
                    </a:lnTo>
                    <a:lnTo>
                      <a:pt x="54" y="200"/>
                    </a:lnTo>
                    <a:lnTo>
                      <a:pt x="68" y="200"/>
                    </a:lnTo>
                    <a:lnTo>
                      <a:pt x="80" y="200"/>
                    </a:lnTo>
                    <a:lnTo>
                      <a:pt x="76" y="192"/>
                    </a:lnTo>
                    <a:lnTo>
                      <a:pt x="66" y="192"/>
                    </a:lnTo>
                    <a:lnTo>
                      <a:pt x="60" y="186"/>
                    </a:lnTo>
                    <a:lnTo>
                      <a:pt x="60" y="178"/>
                    </a:lnTo>
                    <a:lnTo>
                      <a:pt x="82" y="178"/>
                    </a:lnTo>
                    <a:lnTo>
                      <a:pt x="88" y="186"/>
                    </a:lnTo>
                    <a:lnTo>
                      <a:pt x="96" y="190"/>
                    </a:lnTo>
                    <a:lnTo>
                      <a:pt x="112" y="192"/>
                    </a:lnTo>
                    <a:lnTo>
                      <a:pt x="122" y="192"/>
                    </a:lnTo>
                    <a:lnTo>
                      <a:pt x="134" y="184"/>
                    </a:lnTo>
                    <a:lnTo>
                      <a:pt x="140" y="172"/>
                    </a:lnTo>
                    <a:lnTo>
                      <a:pt x="136" y="170"/>
                    </a:lnTo>
                    <a:lnTo>
                      <a:pt x="128" y="176"/>
                    </a:lnTo>
                    <a:lnTo>
                      <a:pt x="122" y="184"/>
                    </a:lnTo>
                    <a:lnTo>
                      <a:pt x="112" y="186"/>
                    </a:lnTo>
                    <a:lnTo>
                      <a:pt x="96" y="182"/>
                    </a:lnTo>
                    <a:lnTo>
                      <a:pt x="100" y="176"/>
                    </a:lnTo>
                    <a:lnTo>
                      <a:pt x="110" y="168"/>
                    </a:lnTo>
                    <a:lnTo>
                      <a:pt x="108" y="166"/>
                    </a:lnTo>
                    <a:lnTo>
                      <a:pt x="106" y="158"/>
                    </a:lnTo>
                    <a:lnTo>
                      <a:pt x="98" y="164"/>
                    </a:lnTo>
                    <a:lnTo>
                      <a:pt x="94" y="168"/>
                    </a:lnTo>
                    <a:lnTo>
                      <a:pt x="82" y="166"/>
                    </a:lnTo>
                    <a:lnTo>
                      <a:pt x="72" y="168"/>
                    </a:lnTo>
                    <a:lnTo>
                      <a:pt x="64" y="160"/>
                    </a:lnTo>
                    <a:lnTo>
                      <a:pt x="74" y="152"/>
                    </a:lnTo>
                    <a:lnTo>
                      <a:pt x="80" y="148"/>
                    </a:lnTo>
                    <a:lnTo>
                      <a:pt x="96" y="148"/>
                    </a:lnTo>
                    <a:lnTo>
                      <a:pt x="106" y="146"/>
                    </a:lnTo>
                    <a:lnTo>
                      <a:pt x="116" y="148"/>
                    </a:lnTo>
                    <a:lnTo>
                      <a:pt x="128" y="152"/>
                    </a:lnTo>
                    <a:lnTo>
                      <a:pt x="138" y="152"/>
                    </a:lnTo>
                    <a:lnTo>
                      <a:pt x="146" y="144"/>
                    </a:lnTo>
                    <a:lnTo>
                      <a:pt x="142" y="142"/>
                    </a:lnTo>
                    <a:lnTo>
                      <a:pt x="130" y="144"/>
                    </a:lnTo>
                    <a:lnTo>
                      <a:pt x="116" y="140"/>
                    </a:lnTo>
                    <a:lnTo>
                      <a:pt x="106" y="126"/>
                    </a:lnTo>
                    <a:lnTo>
                      <a:pt x="98" y="120"/>
                    </a:lnTo>
                    <a:lnTo>
                      <a:pt x="88" y="120"/>
                    </a:lnTo>
                    <a:lnTo>
                      <a:pt x="80" y="118"/>
                    </a:lnTo>
                    <a:lnTo>
                      <a:pt x="80" y="104"/>
                    </a:lnTo>
                    <a:lnTo>
                      <a:pt x="84" y="98"/>
                    </a:lnTo>
                    <a:lnTo>
                      <a:pt x="100" y="104"/>
                    </a:lnTo>
                    <a:lnTo>
                      <a:pt x="120" y="102"/>
                    </a:lnTo>
                    <a:lnTo>
                      <a:pt x="132" y="110"/>
                    </a:lnTo>
                    <a:lnTo>
                      <a:pt x="144" y="118"/>
                    </a:lnTo>
                    <a:lnTo>
                      <a:pt x="152" y="122"/>
                    </a:lnTo>
                    <a:lnTo>
                      <a:pt x="164" y="120"/>
                    </a:lnTo>
                    <a:lnTo>
                      <a:pt x="152" y="116"/>
                    </a:lnTo>
                    <a:lnTo>
                      <a:pt x="144" y="108"/>
                    </a:lnTo>
                    <a:lnTo>
                      <a:pt x="128" y="102"/>
                    </a:lnTo>
                    <a:lnTo>
                      <a:pt x="134" y="96"/>
                    </a:lnTo>
                    <a:lnTo>
                      <a:pt x="154" y="96"/>
                    </a:lnTo>
                    <a:lnTo>
                      <a:pt x="176" y="94"/>
                    </a:lnTo>
                    <a:lnTo>
                      <a:pt x="188" y="88"/>
                    </a:lnTo>
                    <a:lnTo>
                      <a:pt x="196" y="82"/>
                    </a:lnTo>
                    <a:lnTo>
                      <a:pt x="190" y="80"/>
                    </a:lnTo>
                    <a:lnTo>
                      <a:pt x="196" y="74"/>
                    </a:lnTo>
                    <a:lnTo>
                      <a:pt x="204" y="70"/>
                    </a:lnTo>
                    <a:lnTo>
                      <a:pt x="210" y="66"/>
                    </a:lnTo>
                    <a:lnTo>
                      <a:pt x="206" y="64"/>
                    </a:lnTo>
                    <a:lnTo>
                      <a:pt x="188" y="72"/>
                    </a:lnTo>
                    <a:lnTo>
                      <a:pt x="178" y="80"/>
                    </a:lnTo>
                    <a:lnTo>
                      <a:pt x="166" y="88"/>
                    </a:lnTo>
                    <a:lnTo>
                      <a:pt x="148" y="88"/>
                    </a:lnTo>
                    <a:lnTo>
                      <a:pt x="132" y="90"/>
                    </a:lnTo>
                    <a:lnTo>
                      <a:pt x="128" y="86"/>
                    </a:lnTo>
                    <a:lnTo>
                      <a:pt x="122" y="86"/>
                    </a:lnTo>
                    <a:lnTo>
                      <a:pt x="118" y="92"/>
                    </a:lnTo>
                    <a:lnTo>
                      <a:pt x="102" y="94"/>
                    </a:lnTo>
                    <a:lnTo>
                      <a:pt x="80" y="90"/>
                    </a:lnTo>
                    <a:lnTo>
                      <a:pt x="84" y="82"/>
                    </a:lnTo>
                    <a:lnTo>
                      <a:pt x="92" y="76"/>
                    </a:lnTo>
                    <a:lnTo>
                      <a:pt x="96" y="72"/>
                    </a:lnTo>
                    <a:lnTo>
                      <a:pt x="90" y="68"/>
                    </a:lnTo>
                    <a:lnTo>
                      <a:pt x="76" y="72"/>
                    </a:lnTo>
                    <a:lnTo>
                      <a:pt x="60" y="72"/>
                    </a:lnTo>
                    <a:lnTo>
                      <a:pt x="38" y="74"/>
                    </a:lnTo>
                    <a:lnTo>
                      <a:pt x="28" y="72"/>
                    </a:lnTo>
                    <a:lnTo>
                      <a:pt x="34" y="68"/>
                    </a:lnTo>
                    <a:lnTo>
                      <a:pt x="46" y="62"/>
                    </a:lnTo>
                    <a:lnTo>
                      <a:pt x="58" y="60"/>
                    </a:lnTo>
                    <a:lnTo>
                      <a:pt x="50" y="58"/>
                    </a:lnTo>
                    <a:lnTo>
                      <a:pt x="40" y="58"/>
                    </a:lnTo>
                    <a:lnTo>
                      <a:pt x="32" y="62"/>
                    </a:lnTo>
                    <a:lnTo>
                      <a:pt x="22" y="66"/>
                    </a:lnTo>
                    <a:lnTo>
                      <a:pt x="24" y="60"/>
                    </a:lnTo>
                    <a:lnTo>
                      <a:pt x="30" y="56"/>
                    </a:lnTo>
                    <a:lnTo>
                      <a:pt x="22" y="54"/>
                    </a:lnTo>
                    <a:lnTo>
                      <a:pt x="16" y="56"/>
                    </a:lnTo>
                    <a:lnTo>
                      <a:pt x="4" y="56"/>
                    </a:lnTo>
                    <a:lnTo>
                      <a:pt x="14" y="48"/>
                    </a:lnTo>
                    <a:lnTo>
                      <a:pt x="36" y="48"/>
                    </a:lnTo>
                    <a:lnTo>
                      <a:pt x="46" y="44"/>
                    </a:lnTo>
                    <a:lnTo>
                      <a:pt x="52" y="40"/>
                    </a:lnTo>
                    <a:lnTo>
                      <a:pt x="68" y="40"/>
                    </a:lnTo>
                    <a:lnTo>
                      <a:pt x="76" y="44"/>
                    </a:lnTo>
                    <a:lnTo>
                      <a:pt x="88" y="44"/>
                    </a:lnTo>
                    <a:lnTo>
                      <a:pt x="98" y="44"/>
                    </a:lnTo>
                    <a:lnTo>
                      <a:pt x="92" y="36"/>
                    </a:lnTo>
                    <a:lnTo>
                      <a:pt x="96" y="28"/>
                    </a:lnTo>
                    <a:lnTo>
                      <a:pt x="110" y="28"/>
                    </a:lnTo>
                    <a:lnTo>
                      <a:pt x="120" y="34"/>
                    </a:lnTo>
                    <a:lnTo>
                      <a:pt x="136" y="38"/>
                    </a:lnTo>
                    <a:lnTo>
                      <a:pt x="154" y="38"/>
                    </a:lnTo>
                    <a:lnTo>
                      <a:pt x="144" y="32"/>
                    </a:lnTo>
                    <a:lnTo>
                      <a:pt x="134" y="26"/>
                    </a:lnTo>
                    <a:lnTo>
                      <a:pt x="138" y="22"/>
                    </a:lnTo>
                    <a:lnTo>
                      <a:pt x="150" y="20"/>
                    </a:lnTo>
                    <a:lnTo>
                      <a:pt x="156" y="16"/>
                    </a:lnTo>
                    <a:lnTo>
                      <a:pt x="168" y="16"/>
                    </a:lnTo>
                    <a:lnTo>
                      <a:pt x="180" y="10"/>
                    </a:lnTo>
                    <a:lnTo>
                      <a:pt x="196" y="12"/>
                    </a:lnTo>
                    <a:lnTo>
                      <a:pt x="208" y="16"/>
                    </a:lnTo>
                    <a:lnTo>
                      <a:pt x="214" y="20"/>
                    </a:lnTo>
                    <a:lnTo>
                      <a:pt x="224" y="26"/>
                    </a:lnTo>
                    <a:lnTo>
                      <a:pt x="230" y="22"/>
                    </a:lnTo>
                    <a:lnTo>
                      <a:pt x="224" y="16"/>
                    </a:lnTo>
                    <a:lnTo>
                      <a:pt x="216" y="8"/>
                    </a:lnTo>
                    <a:lnTo>
                      <a:pt x="214" y="4"/>
                    </a:lnTo>
                    <a:close/>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close/>
                    <a:moveTo>
                      <a:pt x="362" y="58"/>
                    </a:moveTo>
                    <a:lnTo>
                      <a:pt x="370" y="58"/>
                    </a:lnTo>
                    <a:lnTo>
                      <a:pt x="362" y="60"/>
                    </a:lnTo>
                    <a:lnTo>
                      <a:pt x="362" y="60"/>
                    </a:lnTo>
                    <a:lnTo>
                      <a:pt x="362" y="60"/>
                    </a:lnTo>
                    <a:lnTo>
                      <a:pt x="362" y="60"/>
                    </a:lnTo>
                    <a:lnTo>
                      <a:pt x="362" y="58"/>
                    </a:lnTo>
                    <a:lnTo>
                      <a:pt x="362" y="58"/>
                    </a:lnTo>
                    <a:close/>
                    <a:moveTo>
                      <a:pt x="170" y="90"/>
                    </a:moveTo>
                    <a:lnTo>
                      <a:pt x="182" y="84"/>
                    </a:lnTo>
                    <a:lnTo>
                      <a:pt x="182" y="84"/>
                    </a:lnTo>
                    <a:lnTo>
                      <a:pt x="182" y="82"/>
                    </a:lnTo>
                    <a:lnTo>
                      <a:pt x="186" y="78"/>
                    </a:lnTo>
                    <a:lnTo>
                      <a:pt x="186" y="78"/>
                    </a:lnTo>
                    <a:lnTo>
                      <a:pt x="186" y="80"/>
                    </a:lnTo>
                    <a:lnTo>
                      <a:pt x="186" y="80"/>
                    </a:lnTo>
                    <a:lnTo>
                      <a:pt x="186" y="82"/>
                    </a:lnTo>
                    <a:lnTo>
                      <a:pt x="186" y="84"/>
                    </a:lnTo>
                    <a:lnTo>
                      <a:pt x="176" y="90"/>
                    </a:lnTo>
                    <a:lnTo>
                      <a:pt x="170" y="90"/>
                    </a:lnTo>
                    <a:lnTo>
                      <a:pt x="170" y="90"/>
                    </a:lnTo>
                    <a:close/>
                    <a:moveTo>
                      <a:pt x="124" y="90"/>
                    </a:moveTo>
                    <a:lnTo>
                      <a:pt x="126" y="90"/>
                    </a:lnTo>
                    <a:lnTo>
                      <a:pt x="130" y="94"/>
                    </a:lnTo>
                    <a:lnTo>
                      <a:pt x="130" y="94"/>
                    </a:lnTo>
                    <a:lnTo>
                      <a:pt x="130" y="94"/>
                    </a:lnTo>
                    <a:lnTo>
                      <a:pt x="126" y="98"/>
                    </a:lnTo>
                    <a:lnTo>
                      <a:pt x="126" y="98"/>
                    </a:lnTo>
                    <a:lnTo>
                      <a:pt x="126" y="100"/>
                    </a:lnTo>
                    <a:lnTo>
                      <a:pt x="122" y="98"/>
                    </a:lnTo>
                    <a:lnTo>
                      <a:pt x="122" y="98"/>
                    </a:lnTo>
                    <a:lnTo>
                      <a:pt x="120" y="98"/>
                    </a:lnTo>
                    <a:lnTo>
                      <a:pt x="120" y="98"/>
                    </a:lnTo>
                    <a:lnTo>
                      <a:pt x="120" y="98"/>
                    </a:lnTo>
                    <a:lnTo>
                      <a:pt x="100" y="100"/>
                    </a:lnTo>
                    <a:lnTo>
                      <a:pt x="96" y="98"/>
                    </a:lnTo>
                    <a:lnTo>
                      <a:pt x="102" y="98"/>
                    </a:lnTo>
                    <a:lnTo>
                      <a:pt x="102" y="98"/>
                    </a:lnTo>
                    <a:lnTo>
                      <a:pt x="102" y="98"/>
                    </a:lnTo>
                    <a:lnTo>
                      <a:pt x="102" y="98"/>
                    </a:lnTo>
                    <a:lnTo>
                      <a:pt x="102" y="98"/>
                    </a:lnTo>
                    <a:lnTo>
                      <a:pt x="118" y="96"/>
                    </a:lnTo>
                    <a:lnTo>
                      <a:pt x="118" y="96"/>
                    </a:lnTo>
                    <a:lnTo>
                      <a:pt x="122" y="94"/>
                    </a:lnTo>
                    <a:lnTo>
                      <a:pt x="124" y="90"/>
                    </a:lnTo>
                    <a:lnTo>
                      <a:pt x="124" y="90"/>
                    </a:lnTo>
                    <a:close/>
                    <a:moveTo>
                      <a:pt x="222" y="132"/>
                    </a:moveTo>
                    <a:lnTo>
                      <a:pt x="224" y="130"/>
                    </a:lnTo>
                    <a:lnTo>
                      <a:pt x="232" y="132"/>
                    </a:lnTo>
                    <a:lnTo>
                      <a:pt x="230" y="132"/>
                    </a:lnTo>
                    <a:lnTo>
                      <a:pt x="222" y="132"/>
                    </a:lnTo>
                    <a:lnTo>
                      <a:pt x="22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2" name="Freeform 51"/>
              <p:cNvSpPr>
                <a:spLocks/>
              </p:cNvSpPr>
              <p:nvPr/>
            </p:nvSpPr>
            <p:spPr bwMode="auto">
              <a:xfrm>
                <a:off x="1567" y="929"/>
                <a:ext cx="436" cy="224"/>
              </a:xfrm>
              <a:custGeom>
                <a:avLst/>
                <a:gdLst>
                  <a:gd name="T0" fmla="*/ 270 w 436"/>
                  <a:gd name="T1" fmla="*/ 16 h 224"/>
                  <a:gd name="T2" fmla="*/ 290 w 436"/>
                  <a:gd name="T3" fmla="*/ 8 h 224"/>
                  <a:gd name="T4" fmla="*/ 362 w 436"/>
                  <a:gd name="T5" fmla="*/ 6 h 224"/>
                  <a:gd name="T6" fmla="*/ 366 w 436"/>
                  <a:gd name="T7" fmla="*/ 12 h 224"/>
                  <a:gd name="T8" fmla="*/ 432 w 436"/>
                  <a:gd name="T9" fmla="*/ 22 h 224"/>
                  <a:gd name="T10" fmla="*/ 394 w 436"/>
                  <a:gd name="T11" fmla="*/ 50 h 224"/>
                  <a:gd name="T12" fmla="*/ 346 w 436"/>
                  <a:gd name="T13" fmla="*/ 58 h 224"/>
                  <a:gd name="T14" fmla="*/ 384 w 436"/>
                  <a:gd name="T15" fmla="*/ 56 h 224"/>
                  <a:gd name="T16" fmla="*/ 330 w 436"/>
                  <a:gd name="T17" fmla="*/ 84 h 224"/>
                  <a:gd name="T18" fmla="*/ 288 w 436"/>
                  <a:gd name="T19" fmla="*/ 116 h 224"/>
                  <a:gd name="T20" fmla="*/ 250 w 436"/>
                  <a:gd name="T21" fmla="*/ 112 h 224"/>
                  <a:gd name="T22" fmla="*/ 264 w 436"/>
                  <a:gd name="T23" fmla="*/ 122 h 224"/>
                  <a:gd name="T24" fmla="*/ 236 w 436"/>
                  <a:gd name="T25" fmla="*/ 124 h 224"/>
                  <a:gd name="T26" fmla="*/ 226 w 436"/>
                  <a:gd name="T27" fmla="*/ 132 h 224"/>
                  <a:gd name="T28" fmla="*/ 226 w 436"/>
                  <a:gd name="T29" fmla="*/ 136 h 224"/>
                  <a:gd name="T30" fmla="*/ 238 w 436"/>
                  <a:gd name="T31" fmla="*/ 150 h 224"/>
                  <a:gd name="T32" fmla="*/ 232 w 436"/>
                  <a:gd name="T33" fmla="*/ 164 h 224"/>
                  <a:gd name="T34" fmla="*/ 196 w 436"/>
                  <a:gd name="T35" fmla="*/ 182 h 224"/>
                  <a:gd name="T36" fmla="*/ 146 w 436"/>
                  <a:gd name="T37" fmla="*/ 192 h 224"/>
                  <a:gd name="T38" fmla="*/ 184 w 436"/>
                  <a:gd name="T39" fmla="*/ 206 h 224"/>
                  <a:gd name="T40" fmla="*/ 200 w 436"/>
                  <a:gd name="T41" fmla="*/ 210 h 224"/>
                  <a:gd name="T42" fmla="*/ 154 w 436"/>
                  <a:gd name="T43" fmla="*/ 224 h 224"/>
                  <a:gd name="T44" fmla="*/ 124 w 436"/>
                  <a:gd name="T45" fmla="*/ 212 h 224"/>
                  <a:gd name="T46" fmla="*/ 78 w 436"/>
                  <a:gd name="T47" fmla="*/ 216 h 224"/>
                  <a:gd name="T48" fmla="*/ 56 w 436"/>
                  <a:gd name="T49" fmla="*/ 216 h 224"/>
                  <a:gd name="T50" fmla="*/ 38 w 436"/>
                  <a:gd name="T51" fmla="*/ 198 h 224"/>
                  <a:gd name="T52" fmla="*/ 72 w 436"/>
                  <a:gd name="T53" fmla="*/ 188 h 224"/>
                  <a:gd name="T54" fmla="*/ 78 w 436"/>
                  <a:gd name="T55" fmla="*/ 174 h 224"/>
                  <a:gd name="T56" fmla="*/ 118 w 436"/>
                  <a:gd name="T57" fmla="*/ 188 h 224"/>
                  <a:gd name="T58" fmla="*/ 124 w 436"/>
                  <a:gd name="T59" fmla="*/ 172 h 224"/>
                  <a:gd name="T60" fmla="*/ 96 w 436"/>
                  <a:gd name="T61" fmla="*/ 172 h 224"/>
                  <a:gd name="T62" fmla="*/ 94 w 436"/>
                  <a:gd name="T63" fmla="*/ 160 h 224"/>
                  <a:gd name="T64" fmla="*/ 60 w 436"/>
                  <a:gd name="T65" fmla="*/ 156 h 224"/>
                  <a:gd name="T66" fmla="*/ 102 w 436"/>
                  <a:gd name="T67" fmla="*/ 142 h 224"/>
                  <a:gd name="T68" fmla="*/ 142 w 436"/>
                  <a:gd name="T69" fmla="*/ 140 h 224"/>
                  <a:gd name="T70" fmla="*/ 102 w 436"/>
                  <a:gd name="T71" fmla="*/ 122 h 224"/>
                  <a:gd name="T72" fmla="*/ 76 w 436"/>
                  <a:gd name="T73" fmla="*/ 100 h 224"/>
                  <a:gd name="T74" fmla="*/ 128 w 436"/>
                  <a:gd name="T75" fmla="*/ 106 h 224"/>
                  <a:gd name="T76" fmla="*/ 148 w 436"/>
                  <a:gd name="T77" fmla="*/ 112 h 224"/>
                  <a:gd name="T78" fmla="*/ 150 w 436"/>
                  <a:gd name="T79" fmla="*/ 92 h 224"/>
                  <a:gd name="T80" fmla="*/ 186 w 436"/>
                  <a:gd name="T81" fmla="*/ 76 h 224"/>
                  <a:gd name="T82" fmla="*/ 202 w 436"/>
                  <a:gd name="T83" fmla="*/ 60 h 224"/>
                  <a:gd name="T84" fmla="*/ 144 w 436"/>
                  <a:gd name="T85" fmla="*/ 84 h 224"/>
                  <a:gd name="T86" fmla="*/ 114 w 436"/>
                  <a:gd name="T87" fmla="*/ 88 h 224"/>
                  <a:gd name="T88" fmla="*/ 88 w 436"/>
                  <a:gd name="T89" fmla="*/ 72 h 224"/>
                  <a:gd name="T90" fmla="*/ 56 w 436"/>
                  <a:gd name="T91" fmla="*/ 68 h 224"/>
                  <a:gd name="T92" fmla="*/ 42 w 436"/>
                  <a:gd name="T93" fmla="*/ 58 h 224"/>
                  <a:gd name="T94" fmla="*/ 28 w 436"/>
                  <a:gd name="T95" fmla="*/ 58 h 224"/>
                  <a:gd name="T96" fmla="*/ 18 w 436"/>
                  <a:gd name="T97" fmla="*/ 50 h 224"/>
                  <a:gd name="T98" fmla="*/ 32 w 436"/>
                  <a:gd name="T99" fmla="*/ 44 h 224"/>
                  <a:gd name="T100" fmla="*/ 72 w 436"/>
                  <a:gd name="T101" fmla="*/ 40 h 224"/>
                  <a:gd name="T102" fmla="*/ 92 w 436"/>
                  <a:gd name="T103" fmla="*/ 24 h 224"/>
                  <a:gd name="T104" fmla="*/ 150 w 436"/>
                  <a:gd name="T105" fmla="*/ 34 h 224"/>
                  <a:gd name="T106" fmla="*/ 146 w 436"/>
                  <a:gd name="T107" fmla="*/ 16 h 224"/>
                  <a:gd name="T108" fmla="*/ 192 w 436"/>
                  <a:gd name="T109" fmla="*/ 8 h 224"/>
                  <a:gd name="T110" fmla="*/ 226 w 436"/>
                  <a:gd name="T11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6" h="224">
                    <a:moveTo>
                      <a:pt x="210" y="0"/>
                    </a:moveTo>
                    <a:lnTo>
                      <a:pt x="248" y="2"/>
                    </a:lnTo>
                    <a:lnTo>
                      <a:pt x="254" y="10"/>
                    </a:lnTo>
                    <a:lnTo>
                      <a:pt x="270" y="16"/>
                    </a:lnTo>
                    <a:lnTo>
                      <a:pt x="264" y="8"/>
                    </a:lnTo>
                    <a:lnTo>
                      <a:pt x="266" y="2"/>
                    </a:lnTo>
                    <a:lnTo>
                      <a:pt x="284" y="2"/>
                    </a:lnTo>
                    <a:lnTo>
                      <a:pt x="290" y="8"/>
                    </a:lnTo>
                    <a:lnTo>
                      <a:pt x="294" y="2"/>
                    </a:lnTo>
                    <a:lnTo>
                      <a:pt x="312" y="2"/>
                    </a:lnTo>
                    <a:lnTo>
                      <a:pt x="326" y="4"/>
                    </a:lnTo>
                    <a:lnTo>
                      <a:pt x="362" y="6"/>
                    </a:lnTo>
                    <a:lnTo>
                      <a:pt x="360" y="10"/>
                    </a:lnTo>
                    <a:lnTo>
                      <a:pt x="346" y="14"/>
                    </a:lnTo>
                    <a:lnTo>
                      <a:pt x="346" y="18"/>
                    </a:lnTo>
                    <a:lnTo>
                      <a:pt x="366" y="12"/>
                    </a:lnTo>
                    <a:lnTo>
                      <a:pt x="386" y="12"/>
                    </a:lnTo>
                    <a:lnTo>
                      <a:pt x="402" y="12"/>
                    </a:lnTo>
                    <a:lnTo>
                      <a:pt x="410" y="22"/>
                    </a:lnTo>
                    <a:lnTo>
                      <a:pt x="432" y="22"/>
                    </a:lnTo>
                    <a:lnTo>
                      <a:pt x="436" y="32"/>
                    </a:lnTo>
                    <a:lnTo>
                      <a:pt x="430" y="34"/>
                    </a:lnTo>
                    <a:lnTo>
                      <a:pt x="408" y="42"/>
                    </a:lnTo>
                    <a:lnTo>
                      <a:pt x="394" y="50"/>
                    </a:lnTo>
                    <a:lnTo>
                      <a:pt x="340" y="50"/>
                    </a:lnTo>
                    <a:lnTo>
                      <a:pt x="336" y="54"/>
                    </a:lnTo>
                    <a:lnTo>
                      <a:pt x="354" y="56"/>
                    </a:lnTo>
                    <a:lnTo>
                      <a:pt x="346" y="58"/>
                    </a:lnTo>
                    <a:lnTo>
                      <a:pt x="328" y="66"/>
                    </a:lnTo>
                    <a:lnTo>
                      <a:pt x="354" y="62"/>
                    </a:lnTo>
                    <a:lnTo>
                      <a:pt x="372" y="56"/>
                    </a:lnTo>
                    <a:lnTo>
                      <a:pt x="384" y="56"/>
                    </a:lnTo>
                    <a:lnTo>
                      <a:pt x="386" y="60"/>
                    </a:lnTo>
                    <a:lnTo>
                      <a:pt x="368" y="68"/>
                    </a:lnTo>
                    <a:lnTo>
                      <a:pt x="352" y="76"/>
                    </a:lnTo>
                    <a:lnTo>
                      <a:pt x="330" y="84"/>
                    </a:lnTo>
                    <a:lnTo>
                      <a:pt x="314" y="96"/>
                    </a:lnTo>
                    <a:lnTo>
                      <a:pt x="304" y="96"/>
                    </a:lnTo>
                    <a:lnTo>
                      <a:pt x="300" y="106"/>
                    </a:lnTo>
                    <a:lnTo>
                      <a:pt x="288" y="116"/>
                    </a:lnTo>
                    <a:lnTo>
                      <a:pt x="274" y="118"/>
                    </a:lnTo>
                    <a:lnTo>
                      <a:pt x="268" y="114"/>
                    </a:lnTo>
                    <a:lnTo>
                      <a:pt x="254" y="110"/>
                    </a:lnTo>
                    <a:lnTo>
                      <a:pt x="250" y="112"/>
                    </a:lnTo>
                    <a:lnTo>
                      <a:pt x="256" y="116"/>
                    </a:lnTo>
                    <a:lnTo>
                      <a:pt x="264" y="116"/>
                    </a:lnTo>
                    <a:lnTo>
                      <a:pt x="264" y="120"/>
                    </a:lnTo>
                    <a:lnTo>
                      <a:pt x="264" y="122"/>
                    </a:lnTo>
                    <a:lnTo>
                      <a:pt x="262" y="122"/>
                    </a:lnTo>
                    <a:lnTo>
                      <a:pt x="254" y="122"/>
                    </a:lnTo>
                    <a:lnTo>
                      <a:pt x="246" y="126"/>
                    </a:lnTo>
                    <a:lnTo>
                      <a:pt x="236" y="124"/>
                    </a:lnTo>
                    <a:lnTo>
                      <a:pt x="220" y="122"/>
                    </a:lnTo>
                    <a:lnTo>
                      <a:pt x="208" y="126"/>
                    </a:lnTo>
                    <a:lnTo>
                      <a:pt x="214" y="132"/>
                    </a:lnTo>
                    <a:lnTo>
                      <a:pt x="226" y="132"/>
                    </a:lnTo>
                    <a:lnTo>
                      <a:pt x="242" y="132"/>
                    </a:lnTo>
                    <a:lnTo>
                      <a:pt x="246" y="136"/>
                    </a:lnTo>
                    <a:lnTo>
                      <a:pt x="238" y="136"/>
                    </a:lnTo>
                    <a:lnTo>
                      <a:pt x="226" y="136"/>
                    </a:lnTo>
                    <a:lnTo>
                      <a:pt x="228" y="142"/>
                    </a:lnTo>
                    <a:lnTo>
                      <a:pt x="242" y="144"/>
                    </a:lnTo>
                    <a:lnTo>
                      <a:pt x="242" y="148"/>
                    </a:lnTo>
                    <a:lnTo>
                      <a:pt x="238" y="150"/>
                    </a:lnTo>
                    <a:lnTo>
                      <a:pt x="222" y="148"/>
                    </a:lnTo>
                    <a:lnTo>
                      <a:pt x="226" y="154"/>
                    </a:lnTo>
                    <a:lnTo>
                      <a:pt x="238" y="160"/>
                    </a:lnTo>
                    <a:lnTo>
                      <a:pt x="232" y="164"/>
                    </a:lnTo>
                    <a:lnTo>
                      <a:pt x="230" y="166"/>
                    </a:lnTo>
                    <a:lnTo>
                      <a:pt x="226" y="170"/>
                    </a:lnTo>
                    <a:lnTo>
                      <a:pt x="200" y="172"/>
                    </a:lnTo>
                    <a:lnTo>
                      <a:pt x="196" y="182"/>
                    </a:lnTo>
                    <a:lnTo>
                      <a:pt x="188" y="188"/>
                    </a:lnTo>
                    <a:lnTo>
                      <a:pt x="166" y="188"/>
                    </a:lnTo>
                    <a:lnTo>
                      <a:pt x="148" y="184"/>
                    </a:lnTo>
                    <a:lnTo>
                      <a:pt x="146" y="192"/>
                    </a:lnTo>
                    <a:lnTo>
                      <a:pt x="160" y="196"/>
                    </a:lnTo>
                    <a:lnTo>
                      <a:pt x="180" y="196"/>
                    </a:lnTo>
                    <a:lnTo>
                      <a:pt x="182" y="200"/>
                    </a:lnTo>
                    <a:lnTo>
                      <a:pt x="184" y="206"/>
                    </a:lnTo>
                    <a:lnTo>
                      <a:pt x="190" y="200"/>
                    </a:lnTo>
                    <a:lnTo>
                      <a:pt x="194" y="198"/>
                    </a:lnTo>
                    <a:lnTo>
                      <a:pt x="198" y="200"/>
                    </a:lnTo>
                    <a:lnTo>
                      <a:pt x="200" y="210"/>
                    </a:lnTo>
                    <a:lnTo>
                      <a:pt x="194" y="214"/>
                    </a:lnTo>
                    <a:lnTo>
                      <a:pt x="182" y="216"/>
                    </a:lnTo>
                    <a:lnTo>
                      <a:pt x="168" y="222"/>
                    </a:lnTo>
                    <a:lnTo>
                      <a:pt x="154" y="224"/>
                    </a:lnTo>
                    <a:lnTo>
                      <a:pt x="154" y="216"/>
                    </a:lnTo>
                    <a:lnTo>
                      <a:pt x="144" y="214"/>
                    </a:lnTo>
                    <a:lnTo>
                      <a:pt x="134" y="214"/>
                    </a:lnTo>
                    <a:lnTo>
                      <a:pt x="124" y="212"/>
                    </a:lnTo>
                    <a:lnTo>
                      <a:pt x="118" y="216"/>
                    </a:lnTo>
                    <a:lnTo>
                      <a:pt x="110" y="212"/>
                    </a:lnTo>
                    <a:lnTo>
                      <a:pt x="108" y="216"/>
                    </a:lnTo>
                    <a:lnTo>
                      <a:pt x="78" y="216"/>
                    </a:lnTo>
                    <a:lnTo>
                      <a:pt x="74" y="212"/>
                    </a:lnTo>
                    <a:lnTo>
                      <a:pt x="64" y="216"/>
                    </a:lnTo>
                    <a:lnTo>
                      <a:pt x="60" y="214"/>
                    </a:lnTo>
                    <a:lnTo>
                      <a:pt x="56" y="216"/>
                    </a:lnTo>
                    <a:lnTo>
                      <a:pt x="50" y="210"/>
                    </a:lnTo>
                    <a:lnTo>
                      <a:pt x="42" y="216"/>
                    </a:lnTo>
                    <a:lnTo>
                      <a:pt x="34" y="210"/>
                    </a:lnTo>
                    <a:lnTo>
                      <a:pt x="38" y="198"/>
                    </a:lnTo>
                    <a:lnTo>
                      <a:pt x="50" y="196"/>
                    </a:lnTo>
                    <a:lnTo>
                      <a:pt x="64" y="196"/>
                    </a:lnTo>
                    <a:lnTo>
                      <a:pt x="76" y="196"/>
                    </a:lnTo>
                    <a:lnTo>
                      <a:pt x="72" y="188"/>
                    </a:lnTo>
                    <a:lnTo>
                      <a:pt x="62" y="188"/>
                    </a:lnTo>
                    <a:lnTo>
                      <a:pt x="56" y="182"/>
                    </a:lnTo>
                    <a:lnTo>
                      <a:pt x="56" y="174"/>
                    </a:lnTo>
                    <a:lnTo>
                      <a:pt x="78" y="174"/>
                    </a:lnTo>
                    <a:lnTo>
                      <a:pt x="84" y="182"/>
                    </a:lnTo>
                    <a:lnTo>
                      <a:pt x="92" y="186"/>
                    </a:lnTo>
                    <a:lnTo>
                      <a:pt x="108" y="188"/>
                    </a:lnTo>
                    <a:lnTo>
                      <a:pt x="118" y="188"/>
                    </a:lnTo>
                    <a:lnTo>
                      <a:pt x="130" y="180"/>
                    </a:lnTo>
                    <a:lnTo>
                      <a:pt x="136" y="168"/>
                    </a:lnTo>
                    <a:lnTo>
                      <a:pt x="132" y="166"/>
                    </a:lnTo>
                    <a:lnTo>
                      <a:pt x="124" y="172"/>
                    </a:lnTo>
                    <a:lnTo>
                      <a:pt x="118" y="180"/>
                    </a:lnTo>
                    <a:lnTo>
                      <a:pt x="108" y="182"/>
                    </a:lnTo>
                    <a:lnTo>
                      <a:pt x="92" y="178"/>
                    </a:lnTo>
                    <a:lnTo>
                      <a:pt x="96" y="172"/>
                    </a:lnTo>
                    <a:lnTo>
                      <a:pt x="106" y="164"/>
                    </a:lnTo>
                    <a:lnTo>
                      <a:pt x="104" y="162"/>
                    </a:lnTo>
                    <a:lnTo>
                      <a:pt x="102" y="154"/>
                    </a:lnTo>
                    <a:lnTo>
                      <a:pt x="94" y="160"/>
                    </a:lnTo>
                    <a:lnTo>
                      <a:pt x="90" y="164"/>
                    </a:lnTo>
                    <a:lnTo>
                      <a:pt x="78" y="162"/>
                    </a:lnTo>
                    <a:lnTo>
                      <a:pt x="68" y="164"/>
                    </a:lnTo>
                    <a:lnTo>
                      <a:pt x="60" y="156"/>
                    </a:lnTo>
                    <a:lnTo>
                      <a:pt x="70" y="148"/>
                    </a:lnTo>
                    <a:lnTo>
                      <a:pt x="76" y="144"/>
                    </a:lnTo>
                    <a:lnTo>
                      <a:pt x="92" y="144"/>
                    </a:lnTo>
                    <a:lnTo>
                      <a:pt x="102" y="142"/>
                    </a:lnTo>
                    <a:lnTo>
                      <a:pt x="112" y="144"/>
                    </a:lnTo>
                    <a:lnTo>
                      <a:pt x="124" y="148"/>
                    </a:lnTo>
                    <a:lnTo>
                      <a:pt x="134" y="148"/>
                    </a:lnTo>
                    <a:lnTo>
                      <a:pt x="142" y="140"/>
                    </a:lnTo>
                    <a:lnTo>
                      <a:pt x="138" y="138"/>
                    </a:lnTo>
                    <a:lnTo>
                      <a:pt x="126" y="140"/>
                    </a:lnTo>
                    <a:lnTo>
                      <a:pt x="112" y="136"/>
                    </a:lnTo>
                    <a:lnTo>
                      <a:pt x="102" y="122"/>
                    </a:lnTo>
                    <a:lnTo>
                      <a:pt x="94" y="116"/>
                    </a:lnTo>
                    <a:lnTo>
                      <a:pt x="84" y="116"/>
                    </a:lnTo>
                    <a:lnTo>
                      <a:pt x="76" y="114"/>
                    </a:lnTo>
                    <a:lnTo>
                      <a:pt x="76" y="100"/>
                    </a:lnTo>
                    <a:lnTo>
                      <a:pt x="80" y="94"/>
                    </a:lnTo>
                    <a:lnTo>
                      <a:pt x="96" y="100"/>
                    </a:lnTo>
                    <a:lnTo>
                      <a:pt x="116" y="98"/>
                    </a:lnTo>
                    <a:lnTo>
                      <a:pt x="128" y="106"/>
                    </a:lnTo>
                    <a:lnTo>
                      <a:pt x="140" y="114"/>
                    </a:lnTo>
                    <a:lnTo>
                      <a:pt x="148" y="118"/>
                    </a:lnTo>
                    <a:lnTo>
                      <a:pt x="160" y="116"/>
                    </a:lnTo>
                    <a:lnTo>
                      <a:pt x="148" y="112"/>
                    </a:lnTo>
                    <a:lnTo>
                      <a:pt x="140" y="104"/>
                    </a:lnTo>
                    <a:lnTo>
                      <a:pt x="124" y="98"/>
                    </a:lnTo>
                    <a:lnTo>
                      <a:pt x="130" y="92"/>
                    </a:lnTo>
                    <a:lnTo>
                      <a:pt x="150" y="92"/>
                    </a:lnTo>
                    <a:lnTo>
                      <a:pt x="172" y="90"/>
                    </a:lnTo>
                    <a:lnTo>
                      <a:pt x="184" y="84"/>
                    </a:lnTo>
                    <a:lnTo>
                      <a:pt x="192" y="78"/>
                    </a:lnTo>
                    <a:lnTo>
                      <a:pt x="186" y="76"/>
                    </a:lnTo>
                    <a:lnTo>
                      <a:pt x="192" y="70"/>
                    </a:lnTo>
                    <a:lnTo>
                      <a:pt x="200" y="66"/>
                    </a:lnTo>
                    <a:lnTo>
                      <a:pt x="206" y="62"/>
                    </a:lnTo>
                    <a:lnTo>
                      <a:pt x="202" y="60"/>
                    </a:lnTo>
                    <a:lnTo>
                      <a:pt x="184" y="68"/>
                    </a:lnTo>
                    <a:lnTo>
                      <a:pt x="174" y="76"/>
                    </a:lnTo>
                    <a:lnTo>
                      <a:pt x="162" y="84"/>
                    </a:lnTo>
                    <a:lnTo>
                      <a:pt x="144" y="84"/>
                    </a:lnTo>
                    <a:lnTo>
                      <a:pt x="128" y="86"/>
                    </a:lnTo>
                    <a:lnTo>
                      <a:pt x="124" y="82"/>
                    </a:lnTo>
                    <a:lnTo>
                      <a:pt x="118" y="82"/>
                    </a:lnTo>
                    <a:lnTo>
                      <a:pt x="114" y="88"/>
                    </a:lnTo>
                    <a:lnTo>
                      <a:pt x="98" y="90"/>
                    </a:lnTo>
                    <a:lnTo>
                      <a:pt x="76" y="86"/>
                    </a:lnTo>
                    <a:lnTo>
                      <a:pt x="80" y="78"/>
                    </a:lnTo>
                    <a:lnTo>
                      <a:pt x="88" y="72"/>
                    </a:lnTo>
                    <a:lnTo>
                      <a:pt x="92" y="68"/>
                    </a:lnTo>
                    <a:lnTo>
                      <a:pt x="86" y="64"/>
                    </a:lnTo>
                    <a:lnTo>
                      <a:pt x="72" y="68"/>
                    </a:lnTo>
                    <a:lnTo>
                      <a:pt x="56" y="68"/>
                    </a:lnTo>
                    <a:lnTo>
                      <a:pt x="34" y="70"/>
                    </a:lnTo>
                    <a:lnTo>
                      <a:pt x="24" y="68"/>
                    </a:lnTo>
                    <a:lnTo>
                      <a:pt x="30" y="64"/>
                    </a:lnTo>
                    <a:lnTo>
                      <a:pt x="42" y="58"/>
                    </a:lnTo>
                    <a:lnTo>
                      <a:pt x="54" y="56"/>
                    </a:lnTo>
                    <a:lnTo>
                      <a:pt x="46" y="54"/>
                    </a:lnTo>
                    <a:lnTo>
                      <a:pt x="36" y="54"/>
                    </a:lnTo>
                    <a:lnTo>
                      <a:pt x="28" y="58"/>
                    </a:lnTo>
                    <a:lnTo>
                      <a:pt x="18" y="62"/>
                    </a:lnTo>
                    <a:lnTo>
                      <a:pt x="20" y="56"/>
                    </a:lnTo>
                    <a:lnTo>
                      <a:pt x="26" y="52"/>
                    </a:lnTo>
                    <a:lnTo>
                      <a:pt x="18" y="50"/>
                    </a:lnTo>
                    <a:lnTo>
                      <a:pt x="12" y="52"/>
                    </a:lnTo>
                    <a:lnTo>
                      <a:pt x="0" y="52"/>
                    </a:lnTo>
                    <a:lnTo>
                      <a:pt x="10" y="44"/>
                    </a:lnTo>
                    <a:lnTo>
                      <a:pt x="32" y="44"/>
                    </a:lnTo>
                    <a:lnTo>
                      <a:pt x="42" y="40"/>
                    </a:lnTo>
                    <a:lnTo>
                      <a:pt x="48" y="36"/>
                    </a:lnTo>
                    <a:lnTo>
                      <a:pt x="64" y="36"/>
                    </a:lnTo>
                    <a:lnTo>
                      <a:pt x="72" y="40"/>
                    </a:lnTo>
                    <a:lnTo>
                      <a:pt x="84" y="40"/>
                    </a:lnTo>
                    <a:lnTo>
                      <a:pt x="94" y="40"/>
                    </a:lnTo>
                    <a:lnTo>
                      <a:pt x="88" y="32"/>
                    </a:lnTo>
                    <a:lnTo>
                      <a:pt x="92" y="24"/>
                    </a:lnTo>
                    <a:lnTo>
                      <a:pt x="106" y="24"/>
                    </a:lnTo>
                    <a:lnTo>
                      <a:pt x="116" y="30"/>
                    </a:lnTo>
                    <a:lnTo>
                      <a:pt x="132" y="34"/>
                    </a:lnTo>
                    <a:lnTo>
                      <a:pt x="150" y="34"/>
                    </a:lnTo>
                    <a:lnTo>
                      <a:pt x="140" y="28"/>
                    </a:lnTo>
                    <a:lnTo>
                      <a:pt x="130" y="22"/>
                    </a:lnTo>
                    <a:lnTo>
                      <a:pt x="134" y="18"/>
                    </a:lnTo>
                    <a:lnTo>
                      <a:pt x="146" y="16"/>
                    </a:lnTo>
                    <a:lnTo>
                      <a:pt x="152" y="12"/>
                    </a:lnTo>
                    <a:lnTo>
                      <a:pt x="164" y="12"/>
                    </a:lnTo>
                    <a:lnTo>
                      <a:pt x="176" y="6"/>
                    </a:lnTo>
                    <a:lnTo>
                      <a:pt x="192" y="8"/>
                    </a:lnTo>
                    <a:lnTo>
                      <a:pt x="204" y="12"/>
                    </a:lnTo>
                    <a:lnTo>
                      <a:pt x="210" y="16"/>
                    </a:lnTo>
                    <a:lnTo>
                      <a:pt x="220" y="22"/>
                    </a:lnTo>
                    <a:lnTo>
                      <a:pt x="226" y="18"/>
                    </a:lnTo>
                    <a:lnTo>
                      <a:pt x="220" y="12"/>
                    </a:lnTo>
                    <a:lnTo>
                      <a:pt x="212" y="4"/>
                    </a:lnTo>
                    <a:lnTo>
                      <a:pt x="2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3" name="Freeform 52"/>
              <p:cNvSpPr>
                <a:spLocks/>
              </p:cNvSpPr>
              <p:nvPr/>
            </p:nvSpPr>
            <p:spPr bwMode="auto">
              <a:xfrm>
                <a:off x="1563" y="925"/>
                <a:ext cx="444" cy="232"/>
              </a:xfrm>
              <a:custGeom>
                <a:avLst/>
                <a:gdLst>
                  <a:gd name="T0" fmla="*/ 212 w 444"/>
                  <a:gd name="T1" fmla="*/ 10 h 232"/>
                  <a:gd name="T2" fmla="*/ 210 w 444"/>
                  <a:gd name="T3" fmla="*/ 12 h 232"/>
                  <a:gd name="T4" fmla="*/ 182 w 444"/>
                  <a:gd name="T5" fmla="*/ 6 h 232"/>
                  <a:gd name="T6" fmla="*/ 154 w 444"/>
                  <a:gd name="T7" fmla="*/ 12 h 232"/>
                  <a:gd name="T8" fmla="*/ 130 w 444"/>
                  <a:gd name="T9" fmla="*/ 28 h 232"/>
                  <a:gd name="T10" fmla="*/ 112 w 444"/>
                  <a:gd name="T11" fmla="*/ 24 h 232"/>
                  <a:gd name="T12" fmla="*/ 88 w 444"/>
                  <a:gd name="T13" fmla="*/ 36 h 232"/>
                  <a:gd name="T14" fmla="*/ 68 w 444"/>
                  <a:gd name="T15" fmla="*/ 36 h 232"/>
                  <a:gd name="T16" fmla="*/ 14 w 444"/>
                  <a:gd name="T17" fmla="*/ 44 h 232"/>
                  <a:gd name="T18" fmla="*/ 2 w 444"/>
                  <a:gd name="T19" fmla="*/ 60 h 232"/>
                  <a:gd name="T20" fmla="*/ 18 w 444"/>
                  <a:gd name="T21" fmla="*/ 64 h 232"/>
                  <a:gd name="T22" fmla="*/ 24 w 444"/>
                  <a:gd name="T23" fmla="*/ 70 h 232"/>
                  <a:gd name="T24" fmla="*/ 38 w 444"/>
                  <a:gd name="T25" fmla="*/ 78 h 232"/>
                  <a:gd name="T26" fmla="*/ 90 w 444"/>
                  <a:gd name="T27" fmla="*/ 72 h 232"/>
                  <a:gd name="T28" fmla="*/ 76 w 444"/>
                  <a:gd name="T29" fmla="*/ 88 h 232"/>
                  <a:gd name="T30" fmla="*/ 78 w 444"/>
                  <a:gd name="T31" fmla="*/ 104 h 232"/>
                  <a:gd name="T32" fmla="*/ 86 w 444"/>
                  <a:gd name="T33" fmla="*/ 122 h 232"/>
                  <a:gd name="T34" fmla="*/ 114 w 444"/>
                  <a:gd name="T35" fmla="*/ 144 h 232"/>
                  <a:gd name="T36" fmla="*/ 80 w 444"/>
                  <a:gd name="T37" fmla="*/ 144 h 232"/>
                  <a:gd name="T38" fmla="*/ 62 w 444"/>
                  <a:gd name="T39" fmla="*/ 158 h 232"/>
                  <a:gd name="T40" fmla="*/ 72 w 444"/>
                  <a:gd name="T41" fmla="*/ 172 h 232"/>
                  <a:gd name="T42" fmla="*/ 102 w 444"/>
                  <a:gd name="T43" fmla="*/ 166 h 232"/>
                  <a:gd name="T44" fmla="*/ 98 w 444"/>
                  <a:gd name="T45" fmla="*/ 172 h 232"/>
                  <a:gd name="T46" fmla="*/ 100 w 444"/>
                  <a:gd name="T47" fmla="*/ 186 h 232"/>
                  <a:gd name="T48" fmla="*/ 60 w 444"/>
                  <a:gd name="T49" fmla="*/ 174 h 232"/>
                  <a:gd name="T50" fmla="*/ 64 w 444"/>
                  <a:gd name="T51" fmla="*/ 194 h 232"/>
                  <a:gd name="T52" fmla="*/ 38 w 444"/>
                  <a:gd name="T53" fmla="*/ 202 h 232"/>
                  <a:gd name="T54" fmla="*/ 46 w 444"/>
                  <a:gd name="T55" fmla="*/ 224 h 232"/>
                  <a:gd name="T56" fmla="*/ 62 w 444"/>
                  <a:gd name="T57" fmla="*/ 224 h 232"/>
                  <a:gd name="T58" fmla="*/ 76 w 444"/>
                  <a:gd name="T59" fmla="*/ 220 h 232"/>
                  <a:gd name="T60" fmla="*/ 116 w 444"/>
                  <a:gd name="T61" fmla="*/ 222 h 232"/>
                  <a:gd name="T62" fmla="*/ 136 w 444"/>
                  <a:gd name="T63" fmla="*/ 222 h 232"/>
                  <a:gd name="T64" fmla="*/ 154 w 444"/>
                  <a:gd name="T65" fmla="*/ 228 h 232"/>
                  <a:gd name="T66" fmla="*/ 172 w 444"/>
                  <a:gd name="T67" fmla="*/ 230 h 232"/>
                  <a:gd name="T68" fmla="*/ 206 w 444"/>
                  <a:gd name="T69" fmla="*/ 216 h 232"/>
                  <a:gd name="T70" fmla="*/ 202 w 444"/>
                  <a:gd name="T71" fmla="*/ 198 h 232"/>
                  <a:gd name="T72" fmla="*/ 190 w 444"/>
                  <a:gd name="T73" fmla="*/ 204 h 232"/>
                  <a:gd name="T74" fmla="*/ 202 w 444"/>
                  <a:gd name="T75" fmla="*/ 190 h 232"/>
                  <a:gd name="T76" fmla="*/ 236 w 444"/>
                  <a:gd name="T77" fmla="*/ 174 h 232"/>
                  <a:gd name="T78" fmla="*/ 246 w 444"/>
                  <a:gd name="T79" fmla="*/ 164 h 232"/>
                  <a:gd name="T80" fmla="*/ 244 w 444"/>
                  <a:gd name="T81" fmla="*/ 158 h 232"/>
                  <a:gd name="T82" fmla="*/ 250 w 444"/>
                  <a:gd name="T83" fmla="*/ 144 h 232"/>
                  <a:gd name="T84" fmla="*/ 252 w 444"/>
                  <a:gd name="T85" fmla="*/ 134 h 232"/>
                  <a:gd name="T86" fmla="*/ 272 w 444"/>
                  <a:gd name="T87" fmla="*/ 124 h 232"/>
                  <a:gd name="T88" fmla="*/ 294 w 444"/>
                  <a:gd name="T89" fmla="*/ 122 h 232"/>
                  <a:gd name="T90" fmla="*/ 318 w 444"/>
                  <a:gd name="T91" fmla="*/ 104 h 232"/>
                  <a:gd name="T92" fmla="*/ 372 w 444"/>
                  <a:gd name="T93" fmla="*/ 74 h 232"/>
                  <a:gd name="T94" fmla="*/ 392 w 444"/>
                  <a:gd name="T95" fmla="*/ 58 h 232"/>
                  <a:gd name="T96" fmla="*/ 434 w 444"/>
                  <a:gd name="T97" fmla="*/ 42 h 232"/>
                  <a:gd name="T98" fmla="*/ 438 w 444"/>
                  <a:gd name="T99" fmla="*/ 24 h 232"/>
                  <a:gd name="T100" fmla="*/ 390 w 444"/>
                  <a:gd name="T101" fmla="*/ 12 h 232"/>
                  <a:gd name="T102" fmla="*/ 316 w 444"/>
                  <a:gd name="T103" fmla="*/ 2 h 232"/>
                  <a:gd name="T104" fmla="*/ 294 w 444"/>
                  <a:gd name="T105" fmla="*/ 4 h 232"/>
                  <a:gd name="T106" fmla="*/ 270 w 444"/>
                  <a:gd name="T107" fmla="*/ 2 h 232"/>
                  <a:gd name="T108" fmla="*/ 260 w 444"/>
                  <a:gd name="T109" fmla="*/ 10 h 232"/>
                  <a:gd name="T110" fmla="*/ 214 w 444"/>
                  <a:gd name="T11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4" h="232">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4" name="Freeform 53"/>
              <p:cNvSpPr>
                <a:spLocks/>
              </p:cNvSpPr>
              <p:nvPr/>
            </p:nvSpPr>
            <p:spPr bwMode="auto">
              <a:xfrm>
                <a:off x="1925" y="983"/>
                <a:ext cx="8" cy="2"/>
              </a:xfrm>
              <a:custGeom>
                <a:avLst/>
                <a:gdLst>
                  <a:gd name="T0" fmla="*/ 0 w 8"/>
                  <a:gd name="T1" fmla="*/ 0 h 2"/>
                  <a:gd name="T2" fmla="*/ 8 w 8"/>
                  <a:gd name="T3" fmla="*/ 0 h 2"/>
                  <a:gd name="T4" fmla="*/ 0 w 8"/>
                  <a:gd name="T5" fmla="*/ 2 h 2"/>
                  <a:gd name="T6" fmla="*/ 0 w 8"/>
                  <a:gd name="T7" fmla="*/ 2 h 2"/>
                  <a:gd name="T8" fmla="*/ 0 w 8"/>
                  <a:gd name="T9" fmla="*/ 2 h 2"/>
                  <a:gd name="T10" fmla="*/ 0 w 8"/>
                  <a:gd name="T11" fmla="*/ 2 h 2"/>
                  <a:gd name="T12" fmla="*/ 0 w 8"/>
                  <a:gd name="T13" fmla="*/ 0 h 2"/>
                  <a:gd name="T14" fmla="*/ 0 w 8"/>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0" y="0"/>
                    </a:moveTo>
                    <a:lnTo>
                      <a:pt x="8" y="0"/>
                    </a:lnTo>
                    <a:lnTo>
                      <a:pt x="0" y="2"/>
                    </a:lnTo>
                    <a:lnTo>
                      <a:pt x="0" y="2"/>
                    </a:lnTo>
                    <a:lnTo>
                      <a:pt x="0" y="2"/>
                    </a:lnTo>
                    <a:lnTo>
                      <a:pt x="0" y="2"/>
                    </a:lnTo>
                    <a:lnTo>
                      <a:pt x="0" y="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5" name="Freeform 54"/>
              <p:cNvSpPr>
                <a:spLocks/>
              </p:cNvSpPr>
              <p:nvPr/>
            </p:nvSpPr>
            <p:spPr bwMode="auto">
              <a:xfrm>
                <a:off x="1733" y="1003"/>
                <a:ext cx="16" cy="12"/>
              </a:xfrm>
              <a:custGeom>
                <a:avLst/>
                <a:gdLst>
                  <a:gd name="T0" fmla="*/ 0 w 16"/>
                  <a:gd name="T1" fmla="*/ 12 h 12"/>
                  <a:gd name="T2" fmla="*/ 12 w 16"/>
                  <a:gd name="T3" fmla="*/ 6 h 12"/>
                  <a:gd name="T4" fmla="*/ 12 w 16"/>
                  <a:gd name="T5" fmla="*/ 6 h 12"/>
                  <a:gd name="T6" fmla="*/ 12 w 16"/>
                  <a:gd name="T7" fmla="*/ 4 h 12"/>
                  <a:gd name="T8" fmla="*/ 16 w 16"/>
                  <a:gd name="T9" fmla="*/ 0 h 12"/>
                  <a:gd name="T10" fmla="*/ 16 w 16"/>
                  <a:gd name="T11" fmla="*/ 0 h 12"/>
                  <a:gd name="T12" fmla="*/ 16 w 16"/>
                  <a:gd name="T13" fmla="*/ 2 h 12"/>
                  <a:gd name="T14" fmla="*/ 16 w 16"/>
                  <a:gd name="T15" fmla="*/ 2 h 12"/>
                  <a:gd name="T16" fmla="*/ 16 w 16"/>
                  <a:gd name="T17" fmla="*/ 4 h 12"/>
                  <a:gd name="T18" fmla="*/ 16 w 16"/>
                  <a:gd name="T19" fmla="*/ 6 h 12"/>
                  <a:gd name="T20" fmla="*/ 6 w 16"/>
                  <a:gd name="T21" fmla="*/ 12 h 12"/>
                  <a:gd name="T22" fmla="*/ 0 w 16"/>
                  <a:gd name="T23" fmla="*/ 12 h 12"/>
                  <a:gd name="T24" fmla="*/ 0 w 16"/>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
                    <a:moveTo>
                      <a:pt x="0" y="12"/>
                    </a:moveTo>
                    <a:lnTo>
                      <a:pt x="12" y="6"/>
                    </a:lnTo>
                    <a:lnTo>
                      <a:pt x="12" y="6"/>
                    </a:lnTo>
                    <a:lnTo>
                      <a:pt x="12" y="4"/>
                    </a:lnTo>
                    <a:lnTo>
                      <a:pt x="16" y="0"/>
                    </a:lnTo>
                    <a:lnTo>
                      <a:pt x="16" y="0"/>
                    </a:lnTo>
                    <a:lnTo>
                      <a:pt x="16" y="2"/>
                    </a:lnTo>
                    <a:lnTo>
                      <a:pt x="16" y="2"/>
                    </a:lnTo>
                    <a:lnTo>
                      <a:pt x="16" y="4"/>
                    </a:lnTo>
                    <a:lnTo>
                      <a:pt x="16" y="6"/>
                    </a:lnTo>
                    <a:lnTo>
                      <a:pt x="6" y="12"/>
                    </a:lnTo>
                    <a:lnTo>
                      <a:pt x="0" y="12"/>
                    </a:lnTo>
                    <a:lnTo>
                      <a:pt x="0" y="1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6" name="Freeform 55"/>
              <p:cNvSpPr>
                <a:spLocks/>
              </p:cNvSpPr>
              <p:nvPr/>
            </p:nvSpPr>
            <p:spPr bwMode="auto">
              <a:xfrm>
                <a:off x="1659" y="1015"/>
                <a:ext cx="34" cy="10"/>
              </a:xfrm>
              <a:custGeom>
                <a:avLst/>
                <a:gdLst>
                  <a:gd name="T0" fmla="*/ 28 w 34"/>
                  <a:gd name="T1" fmla="*/ 0 h 10"/>
                  <a:gd name="T2" fmla="*/ 30 w 34"/>
                  <a:gd name="T3" fmla="*/ 0 h 10"/>
                  <a:gd name="T4" fmla="*/ 34 w 34"/>
                  <a:gd name="T5" fmla="*/ 4 h 10"/>
                  <a:gd name="T6" fmla="*/ 34 w 34"/>
                  <a:gd name="T7" fmla="*/ 4 h 10"/>
                  <a:gd name="T8" fmla="*/ 34 w 34"/>
                  <a:gd name="T9" fmla="*/ 4 h 10"/>
                  <a:gd name="T10" fmla="*/ 30 w 34"/>
                  <a:gd name="T11" fmla="*/ 8 h 10"/>
                  <a:gd name="T12" fmla="*/ 30 w 34"/>
                  <a:gd name="T13" fmla="*/ 8 h 10"/>
                  <a:gd name="T14" fmla="*/ 30 w 34"/>
                  <a:gd name="T15" fmla="*/ 10 h 10"/>
                  <a:gd name="T16" fmla="*/ 26 w 34"/>
                  <a:gd name="T17" fmla="*/ 8 h 10"/>
                  <a:gd name="T18" fmla="*/ 26 w 34"/>
                  <a:gd name="T19" fmla="*/ 8 h 10"/>
                  <a:gd name="T20" fmla="*/ 24 w 34"/>
                  <a:gd name="T21" fmla="*/ 8 h 10"/>
                  <a:gd name="T22" fmla="*/ 24 w 34"/>
                  <a:gd name="T23" fmla="*/ 8 h 10"/>
                  <a:gd name="T24" fmla="*/ 24 w 34"/>
                  <a:gd name="T25" fmla="*/ 8 h 10"/>
                  <a:gd name="T26" fmla="*/ 4 w 34"/>
                  <a:gd name="T27" fmla="*/ 10 h 10"/>
                  <a:gd name="T28" fmla="*/ 0 w 34"/>
                  <a:gd name="T29" fmla="*/ 8 h 10"/>
                  <a:gd name="T30" fmla="*/ 6 w 34"/>
                  <a:gd name="T31" fmla="*/ 8 h 10"/>
                  <a:gd name="T32" fmla="*/ 6 w 34"/>
                  <a:gd name="T33" fmla="*/ 8 h 10"/>
                  <a:gd name="T34" fmla="*/ 6 w 34"/>
                  <a:gd name="T35" fmla="*/ 8 h 10"/>
                  <a:gd name="T36" fmla="*/ 6 w 34"/>
                  <a:gd name="T37" fmla="*/ 8 h 10"/>
                  <a:gd name="T38" fmla="*/ 6 w 34"/>
                  <a:gd name="T39" fmla="*/ 8 h 10"/>
                  <a:gd name="T40" fmla="*/ 22 w 34"/>
                  <a:gd name="T41" fmla="*/ 6 h 10"/>
                  <a:gd name="T42" fmla="*/ 22 w 34"/>
                  <a:gd name="T43" fmla="*/ 6 h 10"/>
                  <a:gd name="T44" fmla="*/ 26 w 34"/>
                  <a:gd name="T45" fmla="*/ 4 h 10"/>
                  <a:gd name="T46" fmla="*/ 28 w 34"/>
                  <a:gd name="T47" fmla="*/ 0 h 10"/>
                  <a:gd name="T48" fmla="*/ 28 w 34"/>
                  <a:gd name="T4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0">
                    <a:moveTo>
                      <a:pt x="28" y="0"/>
                    </a:moveTo>
                    <a:lnTo>
                      <a:pt x="30" y="0"/>
                    </a:lnTo>
                    <a:lnTo>
                      <a:pt x="34" y="4"/>
                    </a:lnTo>
                    <a:lnTo>
                      <a:pt x="34" y="4"/>
                    </a:lnTo>
                    <a:lnTo>
                      <a:pt x="34" y="4"/>
                    </a:lnTo>
                    <a:lnTo>
                      <a:pt x="30" y="8"/>
                    </a:lnTo>
                    <a:lnTo>
                      <a:pt x="30" y="8"/>
                    </a:lnTo>
                    <a:lnTo>
                      <a:pt x="30" y="10"/>
                    </a:lnTo>
                    <a:lnTo>
                      <a:pt x="26" y="8"/>
                    </a:lnTo>
                    <a:lnTo>
                      <a:pt x="26" y="8"/>
                    </a:lnTo>
                    <a:lnTo>
                      <a:pt x="24" y="8"/>
                    </a:lnTo>
                    <a:lnTo>
                      <a:pt x="24" y="8"/>
                    </a:lnTo>
                    <a:lnTo>
                      <a:pt x="24" y="8"/>
                    </a:lnTo>
                    <a:lnTo>
                      <a:pt x="4" y="10"/>
                    </a:lnTo>
                    <a:lnTo>
                      <a:pt x="0" y="8"/>
                    </a:lnTo>
                    <a:lnTo>
                      <a:pt x="6" y="8"/>
                    </a:lnTo>
                    <a:lnTo>
                      <a:pt x="6" y="8"/>
                    </a:lnTo>
                    <a:lnTo>
                      <a:pt x="6" y="8"/>
                    </a:lnTo>
                    <a:lnTo>
                      <a:pt x="6" y="8"/>
                    </a:lnTo>
                    <a:lnTo>
                      <a:pt x="6" y="8"/>
                    </a:lnTo>
                    <a:lnTo>
                      <a:pt x="22" y="6"/>
                    </a:lnTo>
                    <a:lnTo>
                      <a:pt x="22" y="6"/>
                    </a:lnTo>
                    <a:lnTo>
                      <a:pt x="26" y="4"/>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7" name="Freeform 56"/>
              <p:cNvSpPr>
                <a:spLocks/>
              </p:cNvSpPr>
              <p:nvPr/>
            </p:nvSpPr>
            <p:spPr bwMode="auto">
              <a:xfrm>
                <a:off x="1785" y="1055"/>
                <a:ext cx="10" cy="2"/>
              </a:xfrm>
              <a:custGeom>
                <a:avLst/>
                <a:gdLst>
                  <a:gd name="T0" fmla="*/ 0 w 10"/>
                  <a:gd name="T1" fmla="*/ 2 h 2"/>
                  <a:gd name="T2" fmla="*/ 2 w 10"/>
                  <a:gd name="T3" fmla="*/ 0 h 2"/>
                  <a:gd name="T4" fmla="*/ 10 w 10"/>
                  <a:gd name="T5" fmla="*/ 2 h 2"/>
                  <a:gd name="T6" fmla="*/ 8 w 10"/>
                  <a:gd name="T7" fmla="*/ 2 h 2"/>
                  <a:gd name="T8" fmla="*/ 0 w 10"/>
                  <a:gd name="T9" fmla="*/ 2 h 2"/>
                  <a:gd name="T10" fmla="*/ 0 w 10"/>
                  <a:gd name="T11" fmla="*/ 2 h 2"/>
                </a:gdLst>
                <a:ahLst/>
                <a:cxnLst>
                  <a:cxn ang="0">
                    <a:pos x="T0" y="T1"/>
                  </a:cxn>
                  <a:cxn ang="0">
                    <a:pos x="T2" y="T3"/>
                  </a:cxn>
                  <a:cxn ang="0">
                    <a:pos x="T4" y="T5"/>
                  </a:cxn>
                  <a:cxn ang="0">
                    <a:pos x="T6" y="T7"/>
                  </a:cxn>
                  <a:cxn ang="0">
                    <a:pos x="T8" y="T9"/>
                  </a:cxn>
                  <a:cxn ang="0">
                    <a:pos x="T10" y="T11"/>
                  </a:cxn>
                </a:cxnLst>
                <a:rect l="0" t="0" r="r" b="b"/>
                <a:pathLst>
                  <a:path w="10" h="2">
                    <a:moveTo>
                      <a:pt x="0" y="2"/>
                    </a:moveTo>
                    <a:lnTo>
                      <a:pt x="2" y="0"/>
                    </a:lnTo>
                    <a:lnTo>
                      <a:pt x="10" y="2"/>
                    </a:lnTo>
                    <a:lnTo>
                      <a:pt x="8" y="2"/>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8" name="Freeform 57"/>
              <p:cNvSpPr>
                <a:spLocks/>
              </p:cNvSpPr>
              <p:nvPr/>
            </p:nvSpPr>
            <p:spPr bwMode="auto">
              <a:xfrm>
                <a:off x="871" y="1275"/>
                <a:ext cx="1208" cy="620"/>
              </a:xfrm>
              <a:custGeom>
                <a:avLst/>
                <a:gdLst>
                  <a:gd name="T0" fmla="*/ 822 w 1208"/>
                  <a:gd name="T1" fmla="*/ 600 h 620"/>
                  <a:gd name="T2" fmla="*/ 850 w 1208"/>
                  <a:gd name="T3" fmla="*/ 568 h 620"/>
                  <a:gd name="T4" fmla="*/ 806 w 1208"/>
                  <a:gd name="T5" fmla="*/ 546 h 620"/>
                  <a:gd name="T6" fmla="*/ 772 w 1208"/>
                  <a:gd name="T7" fmla="*/ 502 h 620"/>
                  <a:gd name="T8" fmla="*/ 710 w 1208"/>
                  <a:gd name="T9" fmla="*/ 512 h 620"/>
                  <a:gd name="T10" fmla="*/ 648 w 1208"/>
                  <a:gd name="T11" fmla="*/ 490 h 620"/>
                  <a:gd name="T12" fmla="*/ 240 w 1208"/>
                  <a:gd name="T13" fmla="*/ 482 h 620"/>
                  <a:gd name="T14" fmla="*/ 192 w 1208"/>
                  <a:gd name="T15" fmla="*/ 458 h 620"/>
                  <a:gd name="T16" fmla="*/ 170 w 1208"/>
                  <a:gd name="T17" fmla="*/ 426 h 620"/>
                  <a:gd name="T18" fmla="*/ 164 w 1208"/>
                  <a:gd name="T19" fmla="*/ 412 h 620"/>
                  <a:gd name="T20" fmla="*/ 156 w 1208"/>
                  <a:gd name="T21" fmla="*/ 368 h 620"/>
                  <a:gd name="T22" fmla="*/ 90 w 1208"/>
                  <a:gd name="T23" fmla="*/ 294 h 620"/>
                  <a:gd name="T24" fmla="*/ 26 w 1208"/>
                  <a:gd name="T25" fmla="*/ 272 h 620"/>
                  <a:gd name="T26" fmla="*/ 2 w 1208"/>
                  <a:gd name="T27" fmla="*/ 56 h 620"/>
                  <a:gd name="T28" fmla="*/ 92 w 1208"/>
                  <a:gd name="T29" fmla="*/ 54 h 620"/>
                  <a:gd name="T30" fmla="*/ 172 w 1208"/>
                  <a:gd name="T31" fmla="*/ 50 h 620"/>
                  <a:gd name="T32" fmla="*/ 228 w 1208"/>
                  <a:gd name="T33" fmla="*/ 44 h 620"/>
                  <a:gd name="T34" fmla="*/ 272 w 1208"/>
                  <a:gd name="T35" fmla="*/ 50 h 620"/>
                  <a:gd name="T36" fmla="*/ 382 w 1208"/>
                  <a:gd name="T37" fmla="*/ 92 h 620"/>
                  <a:gd name="T38" fmla="*/ 452 w 1208"/>
                  <a:gd name="T39" fmla="*/ 106 h 620"/>
                  <a:gd name="T40" fmla="*/ 500 w 1208"/>
                  <a:gd name="T41" fmla="*/ 84 h 620"/>
                  <a:gd name="T42" fmla="*/ 604 w 1208"/>
                  <a:gd name="T43" fmla="*/ 98 h 620"/>
                  <a:gd name="T44" fmla="*/ 624 w 1208"/>
                  <a:gd name="T45" fmla="*/ 88 h 620"/>
                  <a:gd name="T46" fmla="*/ 644 w 1208"/>
                  <a:gd name="T47" fmla="*/ 98 h 620"/>
                  <a:gd name="T48" fmla="*/ 628 w 1208"/>
                  <a:gd name="T49" fmla="*/ 40 h 620"/>
                  <a:gd name="T50" fmla="*/ 654 w 1208"/>
                  <a:gd name="T51" fmla="*/ 0 h 620"/>
                  <a:gd name="T52" fmla="*/ 696 w 1208"/>
                  <a:gd name="T53" fmla="*/ 44 h 620"/>
                  <a:gd name="T54" fmla="*/ 714 w 1208"/>
                  <a:gd name="T55" fmla="*/ 72 h 620"/>
                  <a:gd name="T56" fmla="*/ 744 w 1208"/>
                  <a:gd name="T57" fmla="*/ 70 h 620"/>
                  <a:gd name="T58" fmla="*/ 782 w 1208"/>
                  <a:gd name="T59" fmla="*/ 82 h 620"/>
                  <a:gd name="T60" fmla="*/ 804 w 1208"/>
                  <a:gd name="T61" fmla="*/ 52 h 620"/>
                  <a:gd name="T62" fmla="*/ 848 w 1208"/>
                  <a:gd name="T63" fmla="*/ 112 h 620"/>
                  <a:gd name="T64" fmla="*/ 804 w 1208"/>
                  <a:gd name="T65" fmla="*/ 138 h 620"/>
                  <a:gd name="T66" fmla="*/ 780 w 1208"/>
                  <a:gd name="T67" fmla="*/ 142 h 620"/>
                  <a:gd name="T68" fmla="*/ 736 w 1208"/>
                  <a:gd name="T69" fmla="*/ 158 h 620"/>
                  <a:gd name="T70" fmla="*/ 744 w 1208"/>
                  <a:gd name="T71" fmla="*/ 190 h 620"/>
                  <a:gd name="T72" fmla="*/ 712 w 1208"/>
                  <a:gd name="T73" fmla="*/ 204 h 620"/>
                  <a:gd name="T74" fmla="*/ 676 w 1208"/>
                  <a:gd name="T75" fmla="*/ 306 h 620"/>
                  <a:gd name="T76" fmla="*/ 758 w 1208"/>
                  <a:gd name="T77" fmla="*/ 356 h 620"/>
                  <a:gd name="T78" fmla="*/ 860 w 1208"/>
                  <a:gd name="T79" fmla="*/ 448 h 620"/>
                  <a:gd name="T80" fmla="*/ 912 w 1208"/>
                  <a:gd name="T81" fmla="*/ 352 h 620"/>
                  <a:gd name="T82" fmla="*/ 894 w 1208"/>
                  <a:gd name="T83" fmla="*/ 262 h 620"/>
                  <a:gd name="T84" fmla="*/ 948 w 1208"/>
                  <a:gd name="T85" fmla="*/ 222 h 620"/>
                  <a:gd name="T86" fmla="*/ 1014 w 1208"/>
                  <a:gd name="T87" fmla="*/ 260 h 620"/>
                  <a:gd name="T88" fmla="*/ 1042 w 1208"/>
                  <a:gd name="T89" fmla="*/ 314 h 620"/>
                  <a:gd name="T90" fmla="*/ 1082 w 1208"/>
                  <a:gd name="T91" fmla="*/ 268 h 620"/>
                  <a:gd name="T92" fmla="*/ 1128 w 1208"/>
                  <a:gd name="T93" fmla="*/ 344 h 620"/>
                  <a:gd name="T94" fmla="*/ 1160 w 1208"/>
                  <a:gd name="T95" fmla="*/ 380 h 620"/>
                  <a:gd name="T96" fmla="*/ 1146 w 1208"/>
                  <a:gd name="T97" fmla="*/ 408 h 620"/>
                  <a:gd name="T98" fmla="*/ 1194 w 1208"/>
                  <a:gd name="T99" fmla="*/ 404 h 620"/>
                  <a:gd name="T100" fmla="*/ 1170 w 1208"/>
                  <a:gd name="T101" fmla="*/ 452 h 620"/>
                  <a:gd name="T102" fmla="*/ 1042 w 1208"/>
                  <a:gd name="T103" fmla="*/ 490 h 620"/>
                  <a:gd name="T104" fmla="*/ 1056 w 1208"/>
                  <a:gd name="T105" fmla="*/ 488 h 620"/>
                  <a:gd name="T106" fmla="*/ 1084 w 1208"/>
                  <a:gd name="T107" fmla="*/ 512 h 620"/>
                  <a:gd name="T108" fmla="*/ 1132 w 1208"/>
                  <a:gd name="T109" fmla="*/ 534 h 620"/>
                  <a:gd name="T110" fmla="*/ 1146 w 1208"/>
                  <a:gd name="T111" fmla="*/ 554 h 620"/>
                  <a:gd name="T112" fmla="*/ 1070 w 1208"/>
                  <a:gd name="T113" fmla="*/ 596 h 620"/>
                  <a:gd name="T114" fmla="*/ 1084 w 1208"/>
                  <a:gd name="T115" fmla="*/ 562 h 620"/>
                  <a:gd name="T116" fmla="*/ 1042 w 1208"/>
                  <a:gd name="T117" fmla="*/ 562 h 620"/>
                  <a:gd name="T118" fmla="*/ 1000 w 1208"/>
                  <a:gd name="T119" fmla="*/ 554 h 620"/>
                  <a:gd name="T120" fmla="*/ 908 w 1208"/>
                  <a:gd name="T121" fmla="*/ 586 h 620"/>
                  <a:gd name="T122" fmla="*/ 880 w 1208"/>
                  <a:gd name="T123" fmla="*/ 60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8" h="620">
                    <a:moveTo>
                      <a:pt x="826" y="620"/>
                    </a:moveTo>
                    <a:lnTo>
                      <a:pt x="826" y="620"/>
                    </a:lnTo>
                    <a:lnTo>
                      <a:pt x="824" y="620"/>
                    </a:lnTo>
                    <a:lnTo>
                      <a:pt x="822" y="618"/>
                    </a:lnTo>
                    <a:lnTo>
                      <a:pt x="822" y="618"/>
                    </a:lnTo>
                    <a:lnTo>
                      <a:pt x="820" y="616"/>
                    </a:lnTo>
                    <a:lnTo>
                      <a:pt x="820" y="610"/>
                    </a:lnTo>
                    <a:lnTo>
                      <a:pt x="820" y="610"/>
                    </a:lnTo>
                    <a:lnTo>
                      <a:pt x="820" y="608"/>
                    </a:lnTo>
                    <a:lnTo>
                      <a:pt x="822" y="606"/>
                    </a:lnTo>
                    <a:lnTo>
                      <a:pt x="822" y="600"/>
                    </a:lnTo>
                    <a:lnTo>
                      <a:pt x="822" y="600"/>
                    </a:lnTo>
                    <a:lnTo>
                      <a:pt x="824" y="598"/>
                    </a:lnTo>
                    <a:lnTo>
                      <a:pt x="828" y="596"/>
                    </a:lnTo>
                    <a:lnTo>
                      <a:pt x="834" y="596"/>
                    </a:lnTo>
                    <a:lnTo>
                      <a:pt x="836" y="588"/>
                    </a:lnTo>
                    <a:lnTo>
                      <a:pt x="838" y="580"/>
                    </a:lnTo>
                    <a:lnTo>
                      <a:pt x="838" y="580"/>
                    </a:lnTo>
                    <a:lnTo>
                      <a:pt x="838" y="580"/>
                    </a:lnTo>
                    <a:lnTo>
                      <a:pt x="844" y="574"/>
                    </a:lnTo>
                    <a:lnTo>
                      <a:pt x="846" y="570"/>
                    </a:lnTo>
                    <a:lnTo>
                      <a:pt x="846" y="570"/>
                    </a:lnTo>
                    <a:lnTo>
                      <a:pt x="848" y="568"/>
                    </a:lnTo>
                    <a:lnTo>
                      <a:pt x="850" y="568"/>
                    </a:lnTo>
                    <a:lnTo>
                      <a:pt x="850" y="568"/>
                    </a:lnTo>
                    <a:lnTo>
                      <a:pt x="852" y="568"/>
                    </a:lnTo>
                    <a:lnTo>
                      <a:pt x="856" y="574"/>
                    </a:lnTo>
                    <a:lnTo>
                      <a:pt x="862" y="572"/>
                    </a:lnTo>
                    <a:lnTo>
                      <a:pt x="862" y="566"/>
                    </a:lnTo>
                    <a:lnTo>
                      <a:pt x="858" y="558"/>
                    </a:lnTo>
                    <a:lnTo>
                      <a:pt x="852" y="552"/>
                    </a:lnTo>
                    <a:lnTo>
                      <a:pt x="842" y="548"/>
                    </a:lnTo>
                    <a:lnTo>
                      <a:pt x="830" y="546"/>
                    </a:lnTo>
                    <a:lnTo>
                      <a:pt x="816" y="546"/>
                    </a:lnTo>
                    <a:lnTo>
                      <a:pt x="806" y="546"/>
                    </a:lnTo>
                    <a:lnTo>
                      <a:pt x="806" y="546"/>
                    </a:lnTo>
                    <a:lnTo>
                      <a:pt x="804" y="544"/>
                    </a:lnTo>
                    <a:lnTo>
                      <a:pt x="800" y="540"/>
                    </a:lnTo>
                    <a:lnTo>
                      <a:pt x="800" y="540"/>
                    </a:lnTo>
                    <a:lnTo>
                      <a:pt x="798" y="538"/>
                    </a:lnTo>
                    <a:lnTo>
                      <a:pt x="796" y="530"/>
                    </a:lnTo>
                    <a:lnTo>
                      <a:pt x="792" y="518"/>
                    </a:lnTo>
                    <a:lnTo>
                      <a:pt x="790" y="516"/>
                    </a:lnTo>
                    <a:lnTo>
                      <a:pt x="782" y="516"/>
                    </a:lnTo>
                    <a:lnTo>
                      <a:pt x="782" y="516"/>
                    </a:lnTo>
                    <a:lnTo>
                      <a:pt x="780" y="516"/>
                    </a:lnTo>
                    <a:lnTo>
                      <a:pt x="776" y="508"/>
                    </a:lnTo>
                    <a:lnTo>
                      <a:pt x="772" y="502"/>
                    </a:lnTo>
                    <a:lnTo>
                      <a:pt x="764" y="502"/>
                    </a:lnTo>
                    <a:lnTo>
                      <a:pt x="754" y="498"/>
                    </a:lnTo>
                    <a:lnTo>
                      <a:pt x="748" y="498"/>
                    </a:lnTo>
                    <a:lnTo>
                      <a:pt x="742" y="504"/>
                    </a:lnTo>
                    <a:lnTo>
                      <a:pt x="732" y="510"/>
                    </a:lnTo>
                    <a:lnTo>
                      <a:pt x="726" y="514"/>
                    </a:lnTo>
                    <a:lnTo>
                      <a:pt x="726" y="514"/>
                    </a:lnTo>
                    <a:lnTo>
                      <a:pt x="724" y="514"/>
                    </a:lnTo>
                    <a:lnTo>
                      <a:pt x="724" y="514"/>
                    </a:lnTo>
                    <a:lnTo>
                      <a:pt x="724" y="514"/>
                    </a:lnTo>
                    <a:lnTo>
                      <a:pt x="718" y="512"/>
                    </a:lnTo>
                    <a:lnTo>
                      <a:pt x="710" y="512"/>
                    </a:lnTo>
                    <a:lnTo>
                      <a:pt x="702" y="512"/>
                    </a:lnTo>
                    <a:lnTo>
                      <a:pt x="700" y="512"/>
                    </a:lnTo>
                    <a:lnTo>
                      <a:pt x="690" y="508"/>
                    </a:lnTo>
                    <a:lnTo>
                      <a:pt x="668" y="504"/>
                    </a:lnTo>
                    <a:lnTo>
                      <a:pt x="658" y="500"/>
                    </a:lnTo>
                    <a:lnTo>
                      <a:pt x="658" y="500"/>
                    </a:lnTo>
                    <a:lnTo>
                      <a:pt x="656" y="500"/>
                    </a:lnTo>
                    <a:lnTo>
                      <a:pt x="654" y="496"/>
                    </a:lnTo>
                    <a:lnTo>
                      <a:pt x="654" y="496"/>
                    </a:lnTo>
                    <a:lnTo>
                      <a:pt x="652" y="496"/>
                    </a:lnTo>
                    <a:lnTo>
                      <a:pt x="652" y="490"/>
                    </a:lnTo>
                    <a:lnTo>
                      <a:pt x="648" y="490"/>
                    </a:lnTo>
                    <a:lnTo>
                      <a:pt x="646" y="496"/>
                    </a:lnTo>
                    <a:lnTo>
                      <a:pt x="646" y="496"/>
                    </a:lnTo>
                    <a:lnTo>
                      <a:pt x="644" y="496"/>
                    </a:lnTo>
                    <a:lnTo>
                      <a:pt x="260" y="496"/>
                    </a:lnTo>
                    <a:lnTo>
                      <a:pt x="260" y="496"/>
                    </a:lnTo>
                    <a:lnTo>
                      <a:pt x="260" y="496"/>
                    </a:lnTo>
                    <a:lnTo>
                      <a:pt x="252" y="488"/>
                    </a:lnTo>
                    <a:lnTo>
                      <a:pt x="244" y="480"/>
                    </a:lnTo>
                    <a:lnTo>
                      <a:pt x="240" y="482"/>
                    </a:lnTo>
                    <a:lnTo>
                      <a:pt x="240" y="482"/>
                    </a:lnTo>
                    <a:lnTo>
                      <a:pt x="240" y="482"/>
                    </a:lnTo>
                    <a:lnTo>
                      <a:pt x="240" y="482"/>
                    </a:lnTo>
                    <a:lnTo>
                      <a:pt x="238" y="482"/>
                    </a:lnTo>
                    <a:lnTo>
                      <a:pt x="230" y="474"/>
                    </a:lnTo>
                    <a:lnTo>
                      <a:pt x="224" y="466"/>
                    </a:lnTo>
                    <a:lnTo>
                      <a:pt x="222" y="468"/>
                    </a:lnTo>
                    <a:lnTo>
                      <a:pt x="222" y="468"/>
                    </a:lnTo>
                    <a:lnTo>
                      <a:pt x="220" y="468"/>
                    </a:lnTo>
                    <a:lnTo>
                      <a:pt x="220" y="468"/>
                    </a:lnTo>
                    <a:lnTo>
                      <a:pt x="218" y="468"/>
                    </a:lnTo>
                    <a:lnTo>
                      <a:pt x="208" y="462"/>
                    </a:lnTo>
                    <a:lnTo>
                      <a:pt x="192" y="460"/>
                    </a:lnTo>
                    <a:lnTo>
                      <a:pt x="192" y="460"/>
                    </a:lnTo>
                    <a:lnTo>
                      <a:pt x="192" y="458"/>
                    </a:lnTo>
                    <a:lnTo>
                      <a:pt x="192" y="458"/>
                    </a:lnTo>
                    <a:lnTo>
                      <a:pt x="192" y="456"/>
                    </a:lnTo>
                    <a:lnTo>
                      <a:pt x="194" y="448"/>
                    </a:lnTo>
                    <a:lnTo>
                      <a:pt x="194" y="446"/>
                    </a:lnTo>
                    <a:lnTo>
                      <a:pt x="188" y="446"/>
                    </a:lnTo>
                    <a:lnTo>
                      <a:pt x="188" y="446"/>
                    </a:lnTo>
                    <a:lnTo>
                      <a:pt x="186" y="444"/>
                    </a:lnTo>
                    <a:lnTo>
                      <a:pt x="186" y="436"/>
                    </a:lnTo>
                    <a:lnTo>
                      <a:pt x="184" y="430"/>
                    </a:lnTo>
                    <a:lnTo>
                      <a:pt x="182" y="426"/>
                    </a:lnTo>
                    <a:lnTo>
                      <a:pt x="178" y="424"/>
                    </a:lnTo>
                    <a:lnTo>
                      <a:pt x="170" y="426"/>
                    </a:lnTo>
                    <a:lnTo>
                      <a:pt x="170" y="426"/>
                    </a:lnTo>
                    <a:lnTo>
                      <a:pt x="170" y="428"/>
                    </a:lnTo>
                    <a:lnTo>
                      <a:pt x="170" y="428"/>
                    </a:lnTo>
                    <a:lnTo>
                      <a:pt x="168" y="426"/>
                    </a:lnTo>
                    <a:lnTo>
                      <a:pt x="168" y="426"/>
                    </a:lnTo>
                    <a:lnTo>
                      <a:pt x="168" y="424"/>
                    </a:lnTo>
                    <a:lnTo>
                      <a:pt x="170" y="418"/>
                    </a:lnTo>
                    <a:lnTo>
                      <a:pt x="176" y="408"/>
                    </a:lnTo>
                    <a:lnTo>
                      <a:pt x="174" y="406"/>
                    </a:lnTo>
                    <a:lnTo>
                      <a:pt x="172" y="408"/>
                    </a:lnTo>
                    <a:lnTo>
                      <a:pt x="164" y="412"/>
                    </a:lnTo>
                    <a:lnTo>
                      <a:pt x="164" y="412"/>
                    </a:lnTo>
                    <a:lnTo>
                      <a:pt x="162" y="412"/>
                    </a:lnTo>
                    <a:lnTo>
                      <a:pt x="156" y="412"/>
                    </a:lnTo>
                    <a:lnTo>
                      <a:pt x="156" y="412"/>
                    </a:lnTo>
                    <a:lnTo>
                      <a:pt x="154" y="410"/>
                    </a:lnTo>
                    <a:lnTo>
                      <a:pt x="154" y="400"/>
                    </a:lnTo>
                    <a:lnTo>
                      <a:pt x="156" y="392"/>
                    </a:lnTo>
                    <a:lnTo>
                      <a:pt x="156" y="388"/>
                    </a:lnTo>
                    <a:lnTo>
                      <a:pt x="156" y="388"/>
                    </a:lnTo>
                    <a:lnTo>
                      <a:pt x="156" y="386"/>
                    </a:lnTo>
                    <a:lnTo>
                      <a:pt x="160" y="376"/>
                    </a:lnTo>
                    <a:lnTo>
                      <a:pt x="160" y="370"/>
                    </a:lnTo>
                    <a:lnTo>
                      <a:pt x="156" y="368"/>
                    </a:lnTo>
                    <a:lnTo>
                      <a:pt x="156" y="368"/>
                    </a:lnTo>
                    <a:lnTo>
                      <a:pt x="156" y="366"/>
                    </a:lnTo>
                    <a:lnTo>
                      <a:pt x="154" y="360"/>
                    </a:lnTo>
                    <a:lnTo>
                      <a:pt x="142" y="354"/>
                    </a:lnTo>
                    <a:lnTo>
                      <a:pt x="134" y="348"/>
                    </a:lnTo>
                    <a:lnTo>
                      <a:pt x="132" y="346"/>
                    </a:lnTo>
                    <a:lnTo>
                      <a:pt x="132" y="346"/>
                    </a:lnTo>
                    <a:lnTo>
                      <a:pt x="132" y="346"/>
                    </a:lnTo>
                    <a:lnTo>
                      <a:pt x="122" y="336"/>
                    </a:lnTo>
                    <a:lnTo>
                      <a:pt x="114" y="318"/>
                    </a:lnTo>
                    <a:lnTo>
                      <a:pt x="106" y="312"/>
                    </a:lnTo>
                    <a:lnTo>
                      <a:pt x="90" y="294"/>
                    </a:lnTo>
                    <a:lnTo>
                      <a:pt x="80" y="284"/>
                    </a:lnTo>
                    <a:lnTo>
                      <a:pt x="66" y="290"/>
                    </a:lnTo>
                    <a:lnTo>
                      <a:pt x="64" y="296"/>
                    </a:lnTo>
                    <a:lnTo>
                      <a:pt x="64" y="296"/>
                    </a:lnTo>
                    <a:lnTo>
                      <a:pt x="64" y="296"/>
                    </a:lnTo>
                    <a:lnTo>
                      <a:pt x="54" y="298"/>
                    </a:lnTo>
                    <a:lnTo>
                      <a:pt x="54" y="298"/>
                    </a:lnTo>
                    <a:lnTo>
                      <a:pt x="54" y="298"/>
                    </a:lnTo>
                    <a:lnTo>
                      <a:pt x="54" y="298"/>
                    </a:lnTo>
                    <a:lnTo>
                      <a:pt x="52" y="298"/>
                    </a:lnTo>
                    <a:lnTo>
                      <a:pt x="32" y="280"/>
                    </a:lnTo>
                    <a:lnTo>
                      <a:pt x="26" y="272"/>
                    </a:lnTo>
                    <a:lnTo>
                      <a:pt x="12" y="276"/>
                    </a:lnTo>
                    <a:lnTo>
                      <a:pt x="12" y="276"/>
                    </a:lnTo>
                    <a:lnTo>
                      <a:pt x="12" y="276"/>
                    </a:lnTo>
                    <a:lnTo>
                      <a:pt x="12" y="276"/>
                    </a:lnTo>
                    <a:lnTo>
                      <a:pt x="10" y="276"/>
                    </a:lnTo>
                    <a:lnTo>
                      <a:pt x="2" y="274"/>
                    </a:lnTo>
                    <a:lnTo>
                      <a:pt x="2" y="274"/>
                    </a:lnTo>
                    <a:lnTo>
                      <a:pt x="0" y="272"/>
                    </a:lnTo>
                    <a:lnTo>
                      <a:pt x="0" y="56"/>
                    </a:lnTo>
                    <a:lnTo>
                      <a:pt x="0" y="56"/>
                    </a:lnTo>
                    <a:lnTo>
                      <a:pt x="2" y="56"/>
                    </a:lnTo>
                    <a:lnTo>
                      <a:pt x="2" y="56"/>
                    </a:lnTo>
                    <a:lnTo>
                      <a:pt x="2" y="54"/>
                    </a:lnTo>
                    <a:lnTo>
                      <a:pt x="2" y="54"/>
                    </a:lnTo>
                    <a:lnTo>
                      <a:pt x="18" y="56"/>
                    </a:lnTo>
                    <a:lnTo>
                      <a:pt x="46" y="68"/>
                    </a:lnTo>
                    <a:lnTo>
                      <a:pt x="74" y="76"/>
                    </a:lnTo>
                    <a:lnTo>
                      <a:pt x="74" y="66"/>
                    </a:lnTo>
                    <a:lnTo>
                      <a:pt x="74" y="66"/>
                    </a:lnTo>
                    <a:lnTo>
                      <a:pt x="74" y="64"/>
                    </a:lnTo>
                    <a:lnTo>
                      <a:pt x="90" y="54"/>
                    </a:lnTo>
                    <a:lnTo>
                      <a:pt x="90" y="54"/>
                    </a:lnTo>
                    <a:lnTo>
                      <a:pt x="92" y="54"/>
                    </a:lnTo>
                    <a:lnTo>
                      <a:pt x="92" y="54"/>
                    </a:lnTo>
                    <a:lnTo>
                      <a:pt x="92" y="54"/>
                    </a:lnTo>
                    <a:lnTo>
                      <a:pt x="102" y="60"/>
                    </a:lnTo>
                    <a:lnTo>
                      <a:pt x="106" y="64"/>
                    </a:lnTo>
                    <a:lnTo>
                      <a:pt x="124" y="54"/>
                    </a:lnTo>
                    <a:lnTo>
                      <a:pt x="146" y="42"/>
                    </a:lnTo>
                    <a:lnTo>
                      <a:pt x="146" y="42"/>
                    </a:lnTo>
                    <a:lnTo>
                      <a:pt x="146" y="42"/>
                    </a:lnTo>
                    <a:lnTo>
                      <a:pt x="162" y="42"/>
                    </a:lnTo>
                    <a:lnTo>
                      <a:pt x="162" y="42"/>
                    </a:lnTo>
                    <a:lnTo>
                      <a:pt x="164" y="44"/>
                    </a:lnTo>
                    <a:lnTo>
                      <a:pt x="164" y="50"/>
                    </a:lnTo>
                    <a:lnTo>
                      <a:pt x="172" y="50"/>
                    </a:lnTo>
                    <a:lnTo>
                      <a:pt x="186" y="34"/>
                    </a:lnTo>
                    <a:lnTo>
                      <a:pt x="186" y="34"/>
                    </a:lnTo>
                    <a:lnTo>
                      <a:pt x="188" y="34"/>
                    </a:lnTo>
                    <a:lnTo>
                      <a:pt x="188" y="34"/>
                    </a:lnTo>
                    <a:lnTo>
                      <a:pt x="188" y="34"/>
                    </a:lnTo>
                    <a:lnTo>
                      <a:pt x="188" y="34"/>
                    </a:lnTo>
                    <a:lnTo>
                      <a:pt x="190" y="34"/>
                    </a:lnTo>
                    <a:lnTo>
                      <a:pt x="198" y="40"/>
                    </a:lnTo>
                    <a:lnTo>
                      <a:pt x="208" y="56"/>
                    </a:lnTo>
                    <a:lnTo>
                      <a:pt x="220" y="58"/>
                    </a:lnTo>
                    <a:lnTo>
                      <a:pt x="228" y="44"/>
                    </a:lnTo>
                    <a:lnTo>
                      <a:pt x="228" y="44"/>
                    </a:lnTo>
                    <a:lnTo>
                      <a:pt x="230" y="44"/>
                    </a:lnTo>
                    <a:lnTo>
                      <a:pt x="230" y="44"/>
                    </a:lnTo>
                    <a:lnTo>
                      <a:pt x="232" y="44"/>
                    </a:lnTo>
                    <a:lnTo>
                      <a:pt x="236" y="46"/>
                    </a:lnTo>
                    <a:lnTo>
                      <a:pt x="236" y="46"/>
                    </a:lnTo>
                    <a:lnTo>
                      <a:pt x="238" y="46"/>
                    </a:lnTo>
                    <a:lnTo>
                      <a:pt x="244" y="60"/>
                    </a:lnTo>
                    <a:lnTo>
                      <a:pt x="252" y="54"/>
                    </a:lnTo>
                    <a:lnTo>
                      <a:pt x="272" y="50"/>
                    </a:lnTo>
                    <a:lnTo>
                      <a:pt x="272" y="50"/>
                    </a:lnTo>
                    <a:lnTo>
                      <a:pt x="272" y="50"/>
                    </a:lnTo>
                    <a:lnTo>
                      <a:pt x="272" y="50"/>
                    </a:lnTo>
                    <a:lnTo>
                      <a:pt x="272" y="50"/>
                    </a:lnTo>
                    <a:lnTo>
                      <a:pt x="296" y="58"/>
                    </a:lnTo>
                    <a:lnTo>
                      <a:pt x="316" y="64"/>
                    </a:lnTo>
                    <a:lnTo>
                      <a:pt x="344" y="72"/>
                    </a:lnTo>
                    <a:lnTo>
                      <a:pt x="362" y="74"/>
                    </a:lnTo>
                    <a:lnTo>
                      <a:pt x="380" y="82"/>
                    </a:lnTo>
                    <a:lnTo>
                      <a:pt x="380" y="82"/>
                    </a:lnTo>
                    <a:lnTo>
                      <a:pt x="380" y="82"/>
                    </a:lnTo>
                    <a:lnTo>
                      <a:pt x="382" y="90"/>
                    </a:lnTo>
                    <a:lnTo>
                      <a:pt x="382" y="90"/>
                    </a:lnTo>
                    <a:lnTo>
                      <a:pt x="382" y="92"/>
                    </a:lnTo>
                    <a:lnTo>
                      <a:pt x="382" y="92"/>
                    </a:lnTo>
                    <a:lnTo>
                      <a:pt x="380" y="92"/>
                    </a:lnTo>
                    <a:lnTo>
                      <a:pt x="372" y="94"/>
                    </a:lnTo>
                    <a:lnTo>
                      <a:pt x="370" y="98"/>
                    </a:lnTo>
                    <a:lnTo>
                      <a:pt x="382" y="104"/>
                    </a:lnTo>
                    <a:lnTo>
                      <a:pt x="408" y="102"/>
                    </a:lnTo>
                    <a:lnTo>
                      <a:pt x="428" y="102"/>
                    </a:lnTo>
                    <a:lnTo>
                      <a:pt x="434" y="98"/>
                    </a:lnTo>
                    <a:lnTo>
                      <a:pt x="434" y="98"/>
                    </a:lnTo>
                    <a:lnTo>
                      <a:pt x="436" y="98"/>
                    </a:lnTo>
                    <a:lnTo>
                      <a:pt x="436" y="98"/>
                    </a:lnTo>
                    <a:lnTo>
                      <a:pt x="436" y="98"/>
                    </a:lnTo>
                    <a:lnTo>
                      <a:pt x="452" y="106"/>
                    </a:lnTo>
                    <a:lnTo>
                      <a:pt x="466" y="116"/>
                    </a:lnTo>
                    <a:lnTo>
                      <a:pt x="466" y="116"/>
                    </a:lnTo>
                    <a:lnTo>
                      <a:pt x="468" y="116"/>
                    </a:lnTo>
                    <a:lnTo>
                      <a:pt x="474" y="126"/>
                    </a:lnTo>
                    <a:lnTo>
                      <a:pt x="476" y="124"/>
                    </a:lnTo>
                    <a:lnTo>
                      <a:pt x="472" y="108"/>
                    </a:lnTo>
                    <a:lnTo>
                      <a:pt x="470" y="100"/>
                    </a:lnTo>
                    <a:lnTo>
                      <a:pt x="470" y="100"/>
                    </a:lnTo>
                    <a:lnTo>
                      <a:pt x="470" y="98"/>
                    </a:lnTo>
                    <a:lnTo>
                      <a:pt x="480" y="92"/>
                    </a:lnTo>
                    <a:lnTo>
                      <a:pt x="500" y="84"/>
                    </a:lnTo>
                    <a:lnTo>
                      <a:pt x="500" y="84"/>
                    </a:lnTo>
                    <a:lnTo>
                      <a:pt x="502" y="84"/>
                    </a:lnTo>
                    <a:lnTo>
                      <a:pt x="502" y="84"/>
                    </a:lnTo>
                    <a:lnTo>
                      <a:pt x="502" y="84"/>
                    </a:lnTo>
                    <a:lnTo>
                      <a:pt x="518" y="92"/>
                    </a:lnTo>
                    <a:lnTo>
                      <a:pt x="538" y="100"/>
                    </a:lnTo>
                    <a:lnTo>
                      <a:pt x="558" y="102"/>
                    </a:lnTo>
                    <a:lnTo>
                      <a:pt x="598" y="102"/>
                    </a:lnTo>
                    <a:lnTo>
                      <a:pt x="614" y="104"/>
                    </a:lnTo>
                    <a:lnTo>
                      <a:pt x="618" y="102"/>
                    </a:lnTo>
                    <a:lnTo>
                      <a:pt x="614" y="100"/>
                    </a:lnTo>
                    <a:lnTo>
                      <a:pt x="604" y="98"/>
                    </a:lnTo>
                    <a:lnTo>
                      <a:pt x="604" y="98"/>
                    </a:lnTo>
                    <a:lnTo>
                      <a:pt x="604" y="98"/>
                    </a:lnTo>
                    <a:lnTo>
                      <a:pt x="604" y="98"/>
                    </a:lnTo>
                    <a:lnTo>
                      <a:pt x="602" y="96"/>
                    </a:lnTo>
                    <a:lnTo>
                      <a:pt x="604" y="88"/>
                    </a:lnTo>
                    <a:lnTo>
                      <a:pt x="604" y="88"/>
                    </a:lnTo>
                    <a:lnTo>
                      <a:pt x="606" y="86"/>
                    </a:lnTo>
                    <a:lnTo>
                      <a:pt x="612" y="86"/>
                    </a:lnTo>
                    <a:lnTo>
                      <a:pt x="612" y="86"/>
                    </a:lnTo>
                    <a:lnTo>
                      <a:pt x="612" y="86"/>
                    </a:lnTo>
                    <a:lnTo>
                      <a:pt x="612" y="86"/>
                    </a:lnTo>
                    <a:lnTo>
                      <a:pt x="612" y="86"/>
                    </a:lnTo>
                    <a:lnTo>
                      <a:pt x="624" y="88"/>
                    </a:lnTo>
                    <a:lnTo>
                      <a:pt x="624" y="88"/>
                    </a:lnTo>
                    <a:lnTo>
                      <a:pt x="624" y="90"/>
                    </a:lnTo>
                    <a:lnTo>
                      <a:pt x="634" y="100"/>
                    </a:lnTo>
                    <a:lnTo>
                      <a:pt x="634" y="100"/>
                    </a:lnTo>
                    <a:lnTo>
                      <a:pt x="634" y="102"/>
                    </a:lnTo>
                    <a:lnTo>
                      <a:pt x="632" y="106"/>
                    </a:lnTo>
                    <a:lnTo>
                      <a:pt x="636" y="112"/>
                    </a:lnTo>
                    <a:lnTo>
                      <a:pt x="642" y="120"/>
                    </a:lnTo>
                    <a:lnTo>
                      <a:pt x="646" y="120"/>
                    </a:lnTo>
                    <a:lnTo>
                      <a:pt x="646" y="108"/>
                    </a:lnTo>
                    <a:lnTo>
                      <a:pt x="644" y="98"/>
                    </a:lnTo>
                    <a:lnTo>
                      <a:pt x="644" y="98"/>
                    </a:lnTo>
                    <a:lnTo>
                      <a:pt x="646" y="96"/>
                    </a:lnTo>
                    <a:lnTo>
                      <a:pt x="662" y="90"/>
                    </a:lnTo>
                    <a:lnTo>
                      <a:pt x="670" y="82"/>
                    </a:lnTo>
                    <a:lnTo>
                      <a:pt x="668" y="72"/>
                    </a:lnTo>
                    <a:lnTo>
                      <a:pt x="660" y="60"/>
                    </a:lnTo>
                    <a:lnTo>
                      <a:pt x="646" y="56"/>
                    </a:lnTo>
                    <a:lnTo>
                      <a:pt x="632" y="50"/>
                    </a:lnTo>
                    <a:lnTo>
                      <a:pt x="632" y="50"/>
                    </a:lnTo>
                    <a:lnTo>
                      <a:pt x="632" y="48"/>
                    </a:lnTo>
                    <a:lnTo>
                      <a:pt x="628" y="42"/>
                    </a:lnTo>
                    <a:lnTo>
                      <a:pt x="628" y="42"/>
                    </a:lnTo>
                    <a:lnTo>
                      <a:pt x="628" y="40"/>
                    </a:lnTo>
                    <a:lnTo>
                      <a:pt x="634" y="30"/>
                    </a:lnTo>
                    <a:lnTo>
                      <a:pt x="628" y="26"/>
                    </a:lnTo>
                    <a:lnTo>
                      <a:pt x="628" y="26"/>
                    </a:lnTo>
                    <a:lnTo>
                      <a:pt x="628" y="24"/>
                    </a:lnTo>
                    <a:lnTo>
                      <a:pt x="632" y="12"/>
                    </a:lnTo>
                    <a:lnTo>
                      <a:pt x="632" y="12"/>
                    </a:lnTo>
                    <a:lnTo>
                      <a:pt x="634" y="10"/>
                    </a:lnTo>
                    <a:lnTo>
                      <a:pt x="640" y="10"/>
                    </a:lnTo>
                    <a:lnTo>
                      <a:pt x="644" y="4"/>
                    </a:lnTo>
                    <a:lnTo>
                      <a:pt x="644" y="4"/>
                    </a:lnTo>
                    <a:lnTo>
                      <a:pt x="646" y="2"/>
                    </a:lnTo>
                    <a:lnTo>
                      <a:pt x="654" y="0"/>
                    </a:lnTo>
                    <a:lnTo>
                      <a:pt x="654" y="0"/>
                    </a:lnTo>
                    <a:lnTo>
                      <a:pt x="654" y="0"/>
                    </a:lnTo>
                    <a:lnTo>
                      <a:pt x="654" y="0"/>
                    </a:lnTo>
                    <a:lnTo>
                      <a:pt x="656" y="0"/>
                    </a:lnTo>
                    <a:lnTo>
                      <a:pt x="672" y="2"/>
                    </a:lnTo>
                    <a:lnTo>
                      <a:pt x="672" y="2"/>
                    </a:lnTo>
                    <a:lnTo>
                      <a:pt x="672" y="4"/>
                    </a:lnTo>
                    <a:lnTo>
                      <a:pt x="684" y="18"/>
                    </a:lnTo>
                    <a:lnTo>
                      <a:pt x="686" y="24"/>
                    </a:lnTo>
                    <a:lnTo>
                      <a:pt x="694" y="36"/>
                    </a:lnTo>
                    <a:lnTo>
                      <a:pt x="696" y="44"/>
                    </a:lnTo>
                    <a:lnTo>
                      <a:pt x="696" y="44"/>
                    </a:lnTo>
                    <a:lnTo>
                      <a:pt x="696" y="46"/>
                    </a:lnTo>
                    <a:lnTo>
                      <a:pt x="690" y="50"/>
                    </a:lnTo>
                    <a:lnTo>
                      <a:pt x="694" y="56"/>
                    </a:lnTo>
                    <a:lnTo>
                      <a:pt x="702" y="54"/>
                    </a:lnTo>
                    <a:lnTo>
                      <a:pt x="702" y="54"/>
                    </a:lnTo>
                    <a:lnTo>
                      <a:pt x="702" y="54"/>
                    </a:lnTo>
                    <a:lnTo>
                      <a:pt x="702" y="54"/>
                    </a:lnTo>
                    <a:lnTo>
                      <a:pt x="704" y="54"/>
                    </a:lnTo>
                    <a:lnTo>
                      <a:pt x="710" y="56"/>
                    </a:lnTo>
                    <a:lnTo>
                      <a:pt x="710" y="56"/>
                    </a:lnTo>
                    <a:lnTo>
                      <a:pt x="712" y="58"/>
                    </a:lnTo>
                    <a:lnTo>
                      <a:pt x="714" y="72"/>
                    </a:lnTo>
                    <a:lnTo>
                      <a:pt x="718" y="84"/>
                    </a:lnTo>
                    <a:lnTo>
                      <a:pt x="726" y="86"/>
                    </a:lnTo>
                    <a:lnTo>
                      <a:pt x="730" y="82"/>
                    </a:lnTo>
                    <a:lnTo>
                      <a:pt x="726" y="76"/>
                    </a:lnTo>
                    <a:lnTo>
                      <a:pt x="726" y="76"/>
                    </a:lnTo>
                    <a:lnTo>
                      <a:pt x="726" y="74"/>
                    </a:lnTo>
                    <a:lnTo>
                      <a:pt x="732" y="66"/>
                    </a:lnTo>
                    <a:lnTo>
                      <a:pt x="732" y="66"/>
                    </a:lnTo>
                    <a:lnTo>
                      <a:pt x="734" y="66"/>
                    </a:lnTo>
                    <a:lnTo>
                      <a:pt x="734" y="66"/>
                    </a:lnTo>
                    <a:lnTo>
                      <a:pt x="734" y="66"/>
                    </a:lnTo>
                    <a:lnTo>
                      <a:pt x="744" y="70"/>
                    </a:lnTo>
                    <a:lnTo>
                      <a:pt x="744" y="70"/>
                    </a:lnTo>
                    <a:lnTo>
                      <a:pt x="746" y="70"/>
                    </a:lnTo>
                    <a:lnTo>
                      <a:pt x="754" y="80"/>
                    </a:lnTo>
                    <a:lnTo>
                      <a:pt x="754" y="80"/>
                    </a:lnTo>
                    <a:lnTo>
                      <a:pt x="754" y="82"/>
                    </a:lnTo>
                    <a:lnTo>
                      <a:pt x="750" y="92"/>
                    </a:lnTo>
                    <a:lnTo>
                      <a:pt x="748" y="100"/>
                    </a:lnTo>
                    <a:lnTo>
                      <a:pt x="756" y="106"/>
                    </a:lnTo>
                    <a:lnTo>
                      <a:pt x="766" y="112"/>
                    </a:lnTo>
                    <a:lnTo>
                      <a:pt x="772" y="108"/>
                    </a:lnTo>
                    <a:lnTo>
                      <a:pt x="780" y="94"/>
                    </a:lnTo>
                    <a:lnTo>
                      <a:pt x="782" y="82"/>
                    </a:lnTo>
                    <a:lnTo>
                      <a:pt x="782" y="82"/>
                    </a:lnTo>
                    <a:lnTo>
                      <a:pt x="782" y="80"/>
                    </a:lnTo>
                    <a:lnTo>
                      <a:pt x="792" y="74"/>
                    </a:lnTo>
                    <a:lnTo>
                      <a:pt x="790" y="68"/>
                    </a:lnTo>
                    <a:lnTo>
                      <a:pt x="784" y="58"/>
                    </a:lnTo>
                    <a:lnTo>
                      <a:pt x="784" y="58"/>
                    </a:lnTo>
                    <a:lnTo>
                      <a:pt x="784" y="56"/>
                    </a:lnTo>
                    <a:lnTo>
                      <a:pt x="786" y="50"/>
                    </a:lnTo>
                    <a:lnTo>
                      <a:pt x="786" y="50"/>
                    </a:lnTo>
                    <a:lnTo>
                      <a:pt x="788" y="50"/>
                    </a:lnTo>
                    <a:lnTo>
                      <a:pt x="788" y="50"/>
                    </a:lnTo>
                    <a:lnTo>
                      <a:pt x="804" y="52"/>
                    </a:lnTo>
                    <a:lnTo>
                      <a:pt x="824" y="58"/>
                    </a:lnTo>
                    <a:lnTo>
                      <a:pt x="838" y="68"/>
                    </a:lnTo>
                    <a:lnTo>
                      <a:pt x="848" y="80"/>
                    </a:lnTo>
                    <a:lnTo>
                      <a:pt x="848" y="80"/>
                    </a:lnTo>
                    <a:lnTo>
                      <a:pt x="848" y="82"/>
                    </a:lnTo>
                    <a:lnTo>
                      <a:pt x="848" y="82"/>
                    </a:lnTo>
                    <a:lnTo>
                      <a:pt x="846" y="84"/>
                    </a:lnTo>
                    <a:lnTo>
                      <a:pt x="842" y="86"/>
                    </a:lnTo>
                    <a:lnTo>
                      <a:pt x="836" y="88"/>
                    </a:lnTo>
                    <a:lnTo>
                      <a:pt x="836" y="96"/>
                    </a:lnTo>
                    <a:lnTo>
                      <a:pt x="842" y="102"/>
                    </a:lnTo>
                    <a:lnTo>
                      <a:pt x="848" y="112"/>
                    </a:lnTo>
                    <a:lnTo>
                      <a:pt x="848" y="112"/>
                    </a:lnTo>
                    <a:lnTo>
                      <a:pt x="846" y="116"/>
                    </a:lnTo>
                    <a:lnTo>
                      <a:pt x="840" y="124"/>
                    </a:lnTo>
                    <a:lnTo>
                      <a:pt x="828" y="134"/>
                    </a:lnTo>
                    <a:lnTo>
                      <a:pt x="820" y="138"/>
                    </a:lnTo>
                    <a:lnTo>
                      <a:pt x="820" y="138"/>
                    </a:lnTo>
                    <a:lnTo>
                      <a:pt x="818" y="140"/>
                    </a:lnTo>
                    <a:lnTo>
                      <a:pt x="818" y="140"/>
                    </a:lnTo>
                    <a:lnTo>
                      <a:pt x="818" y="138"/>
                    </a:lnTo>
                    <a:lnTo>
                      <a:pt x="808" y="132"/>
                    </a:lnTo>
                    <a:lnTo>
                      <a:pt x="804" y="138"/>
                    </a:lnTo>
                    <a:lnTo>
                      <a:pt x="804" y="138"/>
                    </a:lnTo>
                    <a:lnTo>
                      <a:pt x="804" y="138"/>
                    </a:lnTo>
                    <a:lnTo>
                      <a:pt x="796" y="142"/>
                    </a:lnTo>
                    <a:lnTo>
                      <a:pt x="796" y="142"/>
                    </a:lnTo>
                    <a:lnTo>
                      <a:pt x="796" y="142"/>
                    </a:lnTo>
                    <a:lnTo>
                      <a:pt x="796" y="142"/>
                    </a:lnTo>
                    <a:lnTo>
                      <a:pt x="794" y="142"/>
                    </a:lnTo>
                    <a:lnTo>
                      <a:pt x="784" y="132"/>
                    </a:lnTo>
                    <a:lnTo>
                      <a:pt x="776" y="132"/>
                    </a:lnTo>
                    <a:lnTo>
                      <a:pt x="774" y="136"/>
                    </a:lnTo>
                    <a:lnTo>
                      <a:pt x="780" y="140"/>
                    </a:lnTo>
                    <a:lnTo>
                      <a:pt x="780" y="140"/>
                    </a:lnTo>
                    <a:lnTo>
                      <a:pt x="780" y="142"/>
                    </a:lnTo>
                    <a:lnTo>
                      <a:pt x="774" y="150"/>
                    </a:lnTo>
                    <a:lnTo>
                      <a:pt x="766" y="158"/>
                    </a:lnTo>
                    <a:lnTo>
                      <a:pt x="766" y="158"/>
                    </a:lnTo>
                    <a:lnTo>
                      <a:pt x="766" y="158"/>
                    </a:lnTo>
                    <a:lnTo>
                      <a:pt x="756" y="160"/>
                    </a:lnTo>
                    <a:lnTo>
                      <a:pt x="746" y="158"/>
                    </a:lnTo>
                    <a:lnTo>
                      <a:pt x="746" y="158"/>
                    </a:lnTo>
                    <a:lnTo>
                      <a:pt x="744" y="158"/>
                    </a:lnTo>
                    <a:lnTo>
                      <a:pt x="734" y="152"/>
                    </a:lnTo>
                    <a:lnTo>
                      <a:pt x="730" y="150"/>
                    </a:lnTo>
                    <a:lnTo>
                      <a:pt x="732" y="154"/>
                    </a:lnTo>
                    <a:lnTo>
                      <a:pt x="736" y="158"/>
                    </a:lnTo>
                    <a:lnTo>
                      <a:pt x="746" y="160"/>
                    </a:lnTo>
                    <a:lnTo>
                      <a:pt x="754" y="162"/>
                    </a:lnTo>
                    <a:lnTo>
                      <a:pt x="764" y="162"/>
                    </a:lnTo>
                    <a:lnTo>
                      <a:pt x="764" y="162"/>
                    </a:lnTo>
                    <a:lnTo>
                      <a:pt x="766" y="162"/>
                    </a:lnTo>
                    <a:lnTo>
                      <a:pt x="766" y="162"/>
                    </a:lnTo>
                    <a:lnTo>
                      <a:pt x="766" y="164"/>
                    </a:lnTo>
                    <a:lnTo>
                      <a:pt x="760" y="174"/>
                    </a:lnTo>
                    <a:lnTo>
                      <a:pt x="752" y="184"/>
                    </a:lnTo>
                    <a:lnTo>
                      <a:pt x="752" y="184"/>
                    </a:lnTo>
                    <a:lnTo>
                      <a:pt x="752" y="186"/>
                    </a:lnTo>
                    <a:lnTo>
                      <a:pt x="744" y="190"/>
                    </a:lnTo>
                    <a:lnTo>
                      <a:pt x="734" y="192"/>
                    </a:lnTo>
                    <a:lnTo>
                      <a:pt x="726" y="192"/>
                    </a:lnTo>
                    <a:lnTo>
                      <a:pt x="726" y="192"/>
                    </a:lnTo>
                    <a:lnTo>
                      <a:pt x="726" y="192"/>
                    </a:lnTo>
                    <a:lnTo>
                      <a:pt x="720" y="190"/>
                    </a:lnTo>
                    <a:lnTo>
                      <a:pt x="720" y="196"/>
                    </a:lnTo>
                    <a:lnTo>
                      <a:pt x="720" y="196"/>
                    </a:lnTo>
                    <a:lnTo>
                      <a:pt x="720" y="198"/>
                    </a:lnTo>
                    <a:lnTo>
                      <a:pt x="702" y="200"/>
                    </a:lnTo>
                    <a:lnTo>
                      <a:pt x="710" y="204"/>
                    </a:lnTo>
                    <a:lnTo>
                      <a:pt x="710" y="204"/>
                    </a:lnTo>
                    <a:lnTo>
                      <a:pt x="712" y="204"/>
                    </a:lnTo>
                    <a:lnTo>
                      <a:pt x="714" y="214"/>
                    </a:lnTo>
                    <a:lnTo>
                      <a:pt x="714" y="214"/>
                    </a:lnTo>
                    <a:lnTo>
                      <a:pt x="712" y="216"/>
                    </a:lnTo>
                    <a:lnTo>
                      <a:pt x="696" y="220"/>
                    </a:lnTo>
                    <a:lnTo>
                      <a:pt x="680" y="236"/>
                    </a:lnTo>
                    <a:lnTo>
                      <a:pt x="664" y="262"/>
                    </a:lnTo>
                    <a:lnTo>
                      <a:pt x="658" y="298"/>
                    </a:lnTo>
                    <a:lnTo>
                      <a:pt x="660" y="300"/>
                    </a:lnTo>
                    <a:lnTo>
                      <a:pt x="662" y="306"/>
                    </a:lnTo>
                    <a:lnTo>
                      <a:pt x="668" y="306"/>
                    </a:lnTo>
                    <a:lnTo>
                      <a:pt x="676" y="306"/>
                    </a:lnTo>
                    <a:lnTo>
                      <a:pt x="676" y="306"/>
                    </a:lnTo>
                    <a:lnTo>
                      <a:pt x="678" y="308"/>
                    </a:lnTo>
                    <a:lnTo>
                      <a:pt x="682" y="316"/>
                    </a:lnTo>
                    <a:lnTo>
                      <a:pt x="688" y="336"/>
                    </a:lnTo>
                    <a:lnTo>
                      <a:pt x="698" y="334"/>
                    </a:lnTo>
                    <a:lnTo>
                      <a:pt x="716" y="334"/>
                    </a:lnTo>
                    <a:lnTo>
                      <a:pt x="716" y="334"/>
                    </a:lnTo>
                    <a:lnTo>
                      <a:pt x="716" y="334"/>
                    </a:lnTo>
                    <a:lnTo>
                      <a:pt x="728" y="340"/>
                    </a:lnTo>
                    <a:lnTo>
                      <a:pt x="742" y="340"/>
                    </a:lnTo>
                    <a:lnTo>
                      <a:pt x="742" y="340"/>
                    </a:lnTo>
                    <a:lnTo>
                      <a:pt x="744" y="342"/>
                    </a:lnTo>
                    <a:lnTo>
                      <a:pt x="758" y="356"/>
                    </a:lnTo>
                    <a:lnTo>
                      <a:pt x="774" y="364"/>
                    </a:lnTo>
                    <a:lnTo>
                      <a:pt x="792" y="372"/>
                    </a:lnTo>
                    <a:lnTo>
                      <a:pt x="800" y="372"/>
                    </a:lnTo>
                    <a:lnTo>
                      <a:pt x="808" y="374"/>
                    </a:lnTo>
                    <a:lnTo>
                      <a:pt x="818" y="374"/>
                    </a:lnTo>
                    <a:lnTo>
                      <a:pt x="830" y="374"/>
                    </a:lnTo>
                    <a:lnTo>
                      <a:pt x="830" y="374"/>
                    </a:lnTo>
                    <a:lnTo>
                      <a:pt x="832" y="376"/>
                    </a:lnTo>
                    <a:lnTo>
                      <a:pt x="834" y="396"/>
                    </a:lnTo>
                    <a:lnTo>
                      <a:pt x="834" y="420"/>
                    </a:lnTo>
                    <a:lnTo>
                      <a:pt x="856" y="446"/>
                    </a:lnTo>
                    <a:lnTo>
                      <a:pt x="860" y="448"/>
                    </a:lnTo>
                    <a:lnTo>
                      <a:pt x="866" y="452"/>
                    </a:lnTo>
                    <a:lnTo>
                      <a:pt x="878" y="446"/>
                    </a:lnTo>
                    <a:lnTo>
                      <a:pt x="882" y="438"/>
                    </a:lnTo>
                    <a:lnTo>
                      <a:pt x="882" y="432"/>
                    </a:lnTo>
                    <a:lnTo>
                      <a:pt x="878" y="414"/>
                    </a:lnTo>
                    <a:lnTo>
                      <a:pt x="874" y="402"/>
                    </a:lnTo>
                    <a:lnTo>
                      <a:pt x="866" y="384"/>
                    </a:lnTo>
                    <a:lnTo>
                      <a:pt x="866" y="384"/>
                    </a:lnTo>
                    <a:lnTo>
                      <a:pt x="868" y="382"/>
                    </a:lnTo>
                    <a:lnTo>
                      <a:pt x="874" y="378"/>
                    </a:lnTo>
                    <a:lnTo>
                      <a:pt x="894" y="374"/>
                    </a:lnTo>
                    <a:lnTo>
                      <a:pt x="912" y="352"/>
                    </a:lnTo>
                    <a:lnTo>
                      <a:pt x="910" y="334"/>
                    </a:lnTo>
                    <a:lnTo>
                      <a:pt x="900" y="320"/>
                    </a:lnTo>
                    <a:lnTo>
                      <a:pt x="890" y="312"/>
                    </a:lnTo>
                    <a:lnTo>
                      <a:pt x="882" y="306"/>
                    </a:lnTo>
                    <a:lnTo>
                      <a:pt x="882" y="306"/>
                    </a:lnTo>
                    <a:lnTo>
                      <a:pt x="880" y="304"/>
                    </a:lnTo>
                    <a:lnTo>
                      <a:pt x="882" y="300"/>
                    </a:lnTo>
                    <a:lnTo>
                      <a:pt x="882" y="300"/>
                    </a:lnTo>
                    <a:lnTo>
                      <a:pt x="884" y="298"/>
                    </a:lnTo>
                    <a:lnTo>
                      <a:pt x="888" y="294"/>
                    </a:lnTo>
                    <a:lnTo>
                      <a:pt x="896" y="284"/>
                    </a:lnTo>
                    <a:lnTo>
                      <a:pt x="894" y="262"/>
                    </a:lnTo>
                    <a:lnTo>
                      <a:pt x="896" y="246"/>
                    </a:lnTo>
                    <a:lnTo>
                      <a:pt x="888" y="238"/>
                    </a:lnTo>
                    <a:lnTo>
                      <a:pt x="888" y="238"/>
                    </a:lnTo>
                    <a:lnTo>
                      <a:pt x="888" y="236"/>
                    </a:lnTo>
                    <a:lnTo>
                      <a:pt x="892" y="224"/>
                    </a:lnTo>
                    <a:lnTo>
                      <a:pt x="892" y="224"/>
                    </a:lnTo>
                    <a:lnTo>
                      <a:pt x="894" y="222"/>
                    </a:lnTo>
                    <a:lnTo>
                      <a:pt x="910" y="222"/>
                    </a:lnTo>
                    <a:lnTo>
                      <a:pt x="924" y="228"/>
                    </a:lnTo>
                    <a:lnTo>
                      <a:pt x="934" y="230"/>
                    </a:lnTo>
                    <a:lnTo>
                      <a:pt x="944" y="228"/>
                    </a:lnTo>
                    <a:lnTo>
                      <a:pt x="948" y="222"/>
                    </a:lnTo>
                    <a:lnTo>
                      <a:pt x="948" y="222"/>
                    </a:lnTo>
                    <a:lnTo>
                      <a:pt x="950" y="220"/>
                    </a:lnTo>
                    <a:lnTo>
                      <a:pt x="950" y="220"/>
                    </a:lnTo>
                    <a:lnTo>
                      <a:pt x="952" y="222"/>
                    </a:lnTo>
                    <a:lnTo>
                      <a:pt x="962" y="228"/>
                    </a:lnTo>
                    <a:lnTo>
                      <a:pt x="974" y="238"/>
                    </a:lnTo>
                    <a:lnTo>
                      <a:pt x="982" y="248"/>
                    </a:lnTo>
                    <a:lnTo>
                      <a:pt x="994" y="256"/>
                    </a:lnTo>
                    <a:lnTo>
                      <a:pt x="1014" y="258"/>
                    </a:lnTo>
                    <a:lnTo>
                      <a:pt x="1014" y="258"/>
                    </a:lnTo>
                    <a:lnTo>
                      <a:pt x="1014" y="260"/>
                    </a:lnTo>
                    <a:lnTo>
                      <a:pt x="1014" y="260"/>
                    </a:lnTo>
                    <a:lnTo>
                      <a:pt x="1014" y="262"/>
                    </a:lnTo>
                    <a:lnTo>
                      <a:pt x="1012" y="270"/>
                    </a:lnTo>
                    <a:lnTo>
                      <a:pt x="1012" y="282"/>
                    </a:lnTo>
                    <a:lnTo>
                      <a:pt x="1016" y="294"/>
                    </a:lnTo>
                    <a:lnTo>
                      <a:pt x="1016" y="294"/>
                    </a:lnTo>
                    <a:lnTo>
                      <a:pt x="1016" y="294"/>
                    </a:lnTo>
                    <a:lnTo>
                      <a:pt x="1016" y="300"/>
                    </a:lnTo>
                    <a:lnTo>
                      <a:pt x="1026" y="302"/>
                    </a:lnTo>
                    <a:lnTo>
                      <a:pt x="1026" y="302"/>
                    </a:lnTo>
                    <a:lnTo>
                      <a:pt x="1026" y="302"/>
                    </a:lnTo>
                    <a:lnTo>
                      <a:pt x="1034" y="310"/>
                    </a:lnTo>
                    <a:lnTo>
                      <a:pt x="1042" y="314"/>
                    </a:lnTo>
                    <a:lnTo>
                      <a:pt x="1066" y="294"/>
                    </a:lnTo>
                    <a:lnTo>
                      <a:pt x="1066" y="284"/>
                    </a:lnTo>
                    <a:lnTo>
                      <a:pt x="1066" y="284"/>
                    </a:lnTo>
                    <a:lnTo>
                      <a:pt x="1066" y="282"/>
                    </a:lnTo>
                    <a:lnTo>
                      <a:pt x="1074" y="274"/>
                    </a:lnTo>
                    <a:lnTo>
                      <a:pt x="1080" y="268"/>
                    </a:lnTo>
                    <a:lnTo>
                      <a:pt x="1080" y="268"/>
                    </a:lnTo>
                    <a:lnTo>
                      <a:pt x="1080" y="268"/>
                    </a:lnTo>
                    <a:lnTo>
                      <a:pt x="1080" y="268"/>
                    </a:lnTo>
                    <a:lnTo>
                      <a:pt x="1080" y="268"/>
                    </a:lnTo>
                    <a:lnTo>
                      <a:pt x="1080" y="268"/>
                    </a:lnTo>
                    <a:lnTo>
                      <a:pt x="1082" y="268"/>
                    </a:lnTo>
                    <a:lnTo>
                      <a:pt x="1090" y="280"/>
                    </a:lnTo>
                    <a:lnTo>
                      <a:pt x="1098" y="294"/>
                    </a:lnTo>
                    <a:lnTo>
                      <a:pt x="1110" y="310"/>
                    </a:lnTo>
                    <a:lnTo>
                      <a:pt x="1110" y="310"/>
                    </a:lnTo>
                    <a:lnTo>
                      <a:pt x="1112" y="310"/>
                    </a:lnTo>
                    <a:lnTo>
                      <a:pt x="1112" y="316"/>
                    </a:lnTo>
                    <a:lnTo>
                      <a:pt x="1120" y="322"/>
                    </a:lnTo>
                    <a:lnTo>
                      <a:pt x="1120" y="322"/>
                    </a:lnTo>
                    <a:lnTo>
                      <a:pt x="1122" y="322"/>
                    </a:lnTo>
                    <a:lnTo>
                      <a:pt x="1124" y="334"/>
                    </a:lnTo>
                    <a:lnTo>
                      <a:pt x="1128" y="344"/>
                    </a:lnTo>
                    <a:lnTo>
                      <a:pt x="1128" y="344"/>
                    </a:lnTo>
                    <a:lnTo>
                      <a:pt x="1126" y="346"/>
                    </a:lnTo>
                    <a:lnTo>
                      <a:pt x="1122" y="350"/>
                    </a:lnTo>
                    <a:lnTo>
                      <a:pt x="1124" y="356"/>
                    </a:lnTo>
                    <a:lnTo>
                      <a:pt x="1136" y="364"/>
                    </a:lnTo>
                    <a:lnTo>
                      <a:pt x="1136" y="364"/>
                    </a:lnTo>
                    <a:lnTo>
                      <a:pt x="1138" y="366"/>
                    </a:lnTo>
                    <a:lnTo>
                      <a:pt x="1140" y="368"/>
                    </a:lnTo>
                    <a:lnTo>
                      <a:pt x="1140" y="368"/>
                    </a:lnTo>
                    <a:lnTo>
                      <a:pt x="1140" y="370"/>
                    </a:lnTo>
                    <a:lnTo>
                      <a:pt x="1140" y="374"/>
                    </a:lnTo>
                    <a:lnTo>
                      <a:pt x="1148" y="376"/>
                    </a:lnTo>
                    <a:lnTo>
                      <a:pt x="1160" y="380"/>
                    </a:lnTo>
                    <a:lnTo>
                      <a:pt x="1170" y="384"/>
                    </a:lnTo>
                    <a:lnTo>
                      <a:pt x="1176" y="384"/>
                    </a:lnTo>
                    <a:lnTo>
                      <a:pt x="1176" y="384"/>
                    </a:lnTo>
                    <a:lnTo>
                      <a:pt x="1178" y="384"/>
                    </a:lnTo>
                    <a:lnTo>
                      <a:pt x="1178" y="384"/>
                    </a:lnTo>
                    <a:lnTo>
                      <a:pt x="1178" y="386"/>
                    </a:lnTo>
                    <a:lnTo>
                      <a:pt x="1176" y="394"/>
                    </a:lnTo>
                    <a:lnTo>
                      <a:pt x="1176" y="394"/>
                    </a:lnTo>
                    <a:lnTo>
                      <a:pt x="1174" y="394"/>
                    </a:lnTo>
                    <a:lnTo>
                      <a:pt x="1162" y="400"/>
                    </a:lnTo>
                    <a:lnTo>
                      <a:pt x="1146" y="408"/>
                    </a:lnTo>
                    <a:lnTo>
                      <a:pt x="1146" y="408"/>
                    </a:lnTo>
                    <a:lnTo>
                      <a:pt x="1146" y="408"/>
                    </a:lnTo>
                    <a:lnTo>
                      <a:pt x="1160" y="402"/>
                    </a:lnTo>
                    <a:lnTo>
                      <a:pt x="1172" y="396"/>
                    </a:lnTo>
                    <a:lnTo>
                      <a:pt x="1182" y="394"/>
                    </a:lnTo>
                    <a:lnTo>
                      <a:pt x="1182" y="394"/>
                    </a:lnTo>
                    <a:lnTo>
                      <a:pt x="1182" y="394"/>
                    </a:lnTo>
                    <a:lnTo>
                      <a:pt x="1182" y="394"/>
                    </a:lnTo>
                    <a:lnTo>
                      <a:pt x="1184" y="396"/>
                    </a:lnTo>
                    <a:lnTo>
                      <a:pt x="1188" y="404"/>
                    </a:lnTo>
                    <a:lnTo>
                      <a:pt x="1192" y="404"/>
                    </a:lnTo>
                    <a:lnTo>
                      <a:pt x="1192" y="404"/>
                    </a:lnTo>
                    <a:lnTo>
                      <a:pt x="1194" y="404"/>
                    </a:lnTo>
                    <a:lnTo>
                      <a:pt x="1204" y="410"/>
                    </a:lnTo>
                    <a:lnTo>
                      <a:pt x="1204" y="410"/>
                    </a:lnTo>
                    <a:lnTo>
                      <a:pt x="1206" y="410"/>
                    </a:lnTo>
                    <a:lnTo>
                      <a:pt x="1208" y="424"/>
                    </a:lnTo>
                    <a:lnTo>
                      <a:pt x="1206" y="438"/>
                    </a:lnTo>
                    <a:lnTo>
                      <a:pt x="1206" y="438"/>
                    </a:lnTo>
                    <a:lnTo>
                      <a:pt x="1204" y="440"/>
                    </a:lnTo>
                    <a:lnTo>
                      <a:pt x="1198" y="446"/>
                    </a:lnTo>
                    <a:lnTo>
                      <a:pt x="1188" y="452"/>
                    </a:lnTo>
                    <a:lnTo>
                      <a:pt x="1188" y="452"/>
                    </a:lnTo>
                    <a:lnTo>
                      <a:pt x="1188" y="452"/>
                    </a:lnTo>
                    <a:lnTo>
                      <a:pt x="1170" y="452"/>
                    </a:lnTo>
                    <a:lnTo>
                      <a:pt x="1164" y="460"/>
                    </a:lnTo>
                    <a:lnTo>
                      <a:pt x="1150" y="472"/>
                    </a:lnTo>
                    <a:lnTo>
                      <a:pt x="1150" y="472"/>
                    </a:lnTo>
                    <a:lnTo>
                      <a:pt x="1148" y="472"/>
                    </a:lnTo>
                    <a:lnTo>
                      <a:pt x="1130" y="476"/>
                    </a:lnTo>
                    <a:lnTo>
                      <a:pt x="1106" y="472"/>
                    </a:lnTo>
                    <a:lnTo>
                      <a:pt x="1088" y="472"/>
                    </a:lnTo>
                    <a:lnTo>
                      <a:pt x="1062" y="474"/>
                    </a:lnTo>
                    <a:lnTo>
                      <a:pt x="1050" y="478"/>
                    </a:lnTo>
                    <a:lnTo>
                      <a:pt x="1044" y="488"/>
                    </a:lnTo>
                    <a:lnTo>
                      <a:pt x="1044" y="488"/>
                    </a:lnTo>
                    <a:lnTo>
                      <a:pt x="1042" y="490"/>
                    </a:lnTo>
                    <a:lnTo>
                      <a:pt x="1030" y="494"/>
                    </a:lnTo>
                    <a:lnTo>
                      <a:pt x="1018" y="504"/>
                    </a:lnTo>
                    <a:lnTo>
                      <a:pt x="1008" y="512"/>
                    </a:lnTo>
                    <a:lnTo>
                      <a:pt x="996" y="526"/>
                    </a:lnTo>
                    <a:lnTo>
                      <a:pt x="996" y="526"/>
                    </a:lnTo>
                    <a:lnTo>
                      <a:pt x="1000" y="526"/>
                    </a:lnTo>
                    <a:lnTo>
                      <a:pt x="1012" y="512"/>
                    </a:lnTo>
                    <a:lnTo>
                      <a:pt x="1026" y="502"/>
                    </a:lnTo>
                    <a:lnTo>
                      <a:pt x="1042" y="494"/>
                    </a:lnTo>
                    <a:lnTo>
                      <a:pt x="1048" y="492"/>
                    </a:lnTo>
                    <a:lnTo>
                      <a:pt x="1056" y="488"/>
                    </a:lnTo>
                    <a:lnTo>
                      <a:pt x="1056" y="488"/>
                    </a:lnTo>
                    <a:lnTo>
                      <a:pt x="1058" y="488"/>
                    </a:lnTo>
                    <a:lnTo>
                      <a:pt x="1058" y="488"/>
                    </a:lnTo>
                    <a:lnTo>
                      <a:pt x="1074" y="490"/>
                    </a:lnTo>
                    <a:lnTo>
                      <a:pt x="1084" y="492"/>
                    </a:lnTo>
                    <a:lnTo>
                      <a:pt x="1084" y="492"/>
                    </a:lnTo>
                    <a:lnTo>
                      <a:pt x="1086" y="494"/>
                    </a:lnTo>
                    <a:lnTo>
                      <a:pt x="1090" y="504"/>
                    </a:lnTo>
                    <a:lnTo>
                      <a:pt x="1090" y="504"/>
                    </a:lnTo>
                    <a:lnTo>
                      <a:pt x="1090" y="504"/>
                    </a:lnTo>
                    <a:lnTo>
                      <a:pt x="1086" y="510"/>
                    </a:lnTo>
                    <a:lnTo>
                      <a:pt x="1086" y="510"/>
                    </a:lnTo>
                    <a:lnTo>
                      <a:pt x="1084" y="512"/>
                    </a:lnTo>
                    <a:lnTo>
                      <a:pt x="1078" y="512"/>
                    </a:lnTo>
                    <a:lnTo>
                      <a:pt x="1080" y="520"/>
                    </a:lnTo>
                    <a:lnTo>
                      <a:pt x="1080" y="520"/>
                    </a:lnTo>
                    <a:lnTo>
                      <a:pt x="1080" y="520"/>
                    </a:lnTo>
                    <a:lnTo>
                      <a:pt x="1078" y="528"/>
                    </a:lnTo>
                    <a:lnTo>
                      <a:pt x="1078" y="532"/>
                    </a:lnTo>
                    <a:lnTo>
                      <a:pt x="1082" y="538"/>
                    </a:lnTo>
                    <a:lnTo>
                      <a:pt x="1092" y="546"/>
                    </a:lnTo>
                    <a:lnTo>
                      <a:pt x="1104" y="548"/>
                    </a:lnTo>
                    <a:lnTo>
                      <a:pt x="1120" y="548"/>
                    </a:lnTo>
                    <a:lnTo>
                      <a:pt x="1126" y="546"/>
                    </a:lnTo>
                    <a:lnTo>
                      <a:pt x="1132" y="534"/>
                    </a:lnTo>
                    <a:lnTo>
                      <a:pt x="1132" y="534"/>
                    </a:lnTo>
                    <a:lnTo>
                      <a:pt x="1134" y="532"/>
                    </a:lnTo>
                    <a:lnTo>
                      <a:pt x="1142" y="532"/>
                    </a:lnTo>
                    <a:lnTo>
                      <a:pt x="1142" y="532"/>
                    </a:lnTo>
                    <a:lnTo>
                      <a:pt x="1144" y="534"/>
                    </a:lnTo>
                    <a:lnTo>
                      <a:pt x="1144" y="540"/>
                    </a:lnTo>
                    <a:lnTo>
                      <a:pt x="1148" y="544"/>
                    </a:lnTo>
                    <a:lnTo>
                      <a:pt x="1148" y="544"/>
                    </a:lnTo>
                    <a:lnTo>
                      <a:pt x="1148" y="544"/>
                    </a:lnTo>
                    <a:lnTo>
                      <a:pt x="1148" y="552"/>
                    </a:lnTo>
                    <a:lnTo>
                      <a:pt x="1148" y="552"/>
                    </a:lnTo>
                    <a:lnTo>
                      <a:pt x="1146" y="554"/>
                    </a:lnTo>
                    <a:lnTo>
                      <a:pt x="1134" y="554"/>
                    </a:lnTo>
                    <a:lnTo>
                      <a:pt x="1128" y="562"/>
                    </a:lnTo>
                    <a:lnTo>
                      <a:pt x="1124" y="566"/>
                    </a:lnTo>
                    <a:lnTo>
                      <a:pt x="1124" y="566"/>
                    </a:lnTo>
                    <a:lnTo>
                      <a:pt x="1124" y="566"/>
                    </a:lnTo>
                    <a:lnTo>
                      <a:pt x="1114" y="570"/>
                    </a:lnTo>
                    <a:lnTo>
                      <a:pt x="1100" y="576"/>
                    </a:lnTo>
                    <a:lnTo>
                      <a:pt x="1090" y="576"/>
                    </a:lnTo>
                    <a:lnTo>
                      <a:pt x="1072" y="594"/>
                    </a:lnTo>
                    <a:lnTo>
                      <a:pt x="1072" y="594"/>
                    </a:lnTo>
                    <a:lnTo>
                      <a:pt x="1070" y="596"/>
                    </a:lnTo>
                    <a:lnTo>
                      <a:pt x="1070" y="596"/>
                    </a:lnTo>
                    <a:lnTo>
                      <a:pt x="1068" y="594"/>
                    </a:lnTo>
                    <a:lnTo>
                      <a:pt x="1060" y="590"/>
                    </a:lnTo>
                    <a:lnTo>
                      <a:pt x="1060" y="590"/>
                    </a:lnTo>
                    <a:lnTo>
                      <a:pt x="1060" y="588"/>
                    </a:lnTo>
                    <a:lnTo>
                      <a:pt x="1058" y="582"/>
                    </a:lnTo>
                    <a:lnTo>
                      <a:pt x="1058" y="582"/>
                    </a:lnTo>
                    <a:lnTo>
                      <a:pt x="1058" y="580"/>
                    </a:lnTo>
                    <a:lnTo>
                      <a:pt x="1060" y="572"/>
                    </a:lnTo>
                    <a:lnTo>
                      <a:pt x="1060" y="572"/>
                    </a:lnTo>
                    <a:lnTo>
                      <a:pt x="1062" y="572"/>
                    </a:lnTo>
                    <a:lnTo>
                      <a:pt x="1072" y="564"/>
                    </a:lnTo>
                    <a:lnTo>
                      <a:pt x="1084" y="562"/>
                    </a:lnTo>
                    <a:lnTo>
                      <a:pt x="1084" y="560"/>
                    </a:lnTo>
                    <a:lnTo>
                      <a:pt x="1084" y="560"/>
                    </a:lnTo>
                    <a:lnTo>
                      <a:pt x="1082" y="558"/>
                    </a:lnTo>
                    <a:lnTo>
                      <a:pt x="1080" y="556"/>
                    </a:lnTo>
                    <a:lnTo>
                      <a:pt x="1070" y="562"/>
                    </a:lnTo>
                    <a:lnTo>
                      <a:pt x="1062" y="564"/>
                    </a:lnTo>
                    <a:lnTo>
                      <a:pt x="1048" y="568"/>
                    </a:lnTo>
                    <a:lnTo>
                      <a:pt x="1048" y="568"/>
                    </a:lnTo>
                    <a:lnTo>
                      <a:pt x="1046" y="568"/>
                    </a:lnTo>
                    <a:lnTo>
                      <a:pt x="1046" y="568"/>
                    </a:lnTo>
                    <a:lnTo>
                      <a:pt x="1046" y="568"/>
                    </a:lnTo>
                    <a:lnTo>
                      <a:pt x="1042" y="562"/>
                    </a:lnTo>
                    <a:lnTo>
                      <a:pt x="1036" y="558"/>
                    </a:lnTo>
                    <a:lnTo>
                      <a:pt x="1036" y="558"/>
                    </a:lnTo>
                    <a:lnTo>
                      <a:pt x="1036" y="556"/>
                    </a:lnTo>
                    <a:lnTo>
                      <a:pt x="1034" y="550"/>
                    </a:lnTo>
                    <a:lnTo>
                      <a:pt x="1036" y="534"/>
                    </a:lnTo>
                    <a:lnTo>
                      <a:pt x="1034" y="528"/>
                    </a:lnTo>
                    <a:lnTo>
                      <a:pt x="1024" y="526"/>
                    </a:lnTo>
                    <a:lnTo>
                      <a:pt x="1016" y="522"/>
                    </a:lnTo>
                    <a:lnTo>
                      <a:pt x="1010" y="528"/>
                    </a:lnTo>
                    <a:lnTo>
                      <a:pt x="1004" y="540"/>
                    </a:lnTo>
                    <a:lnTo>
                      <a:pt x="1000" y="550"/>
                    </a:lnTo>
                    <a:lnTo>
                      <a:pt x="1000" y="554"/>
                    </a:lnTo>
                    <a:lnTo>
                      <a:pt x="1000" y="554"/>
                    </a:lnTo>
                    <a:lnTo>
                      <a:pt x="1000" y="556"/>
                    </a:lnTo>
                    <a:lnTo>
                      <a:pt x="994" y="562"/>
                    </a:lnTo>
                    <a:lnTo>
                      <a:pt x="994" y="562"/>
                    </a:lnTo>
                    <a:lnTo>
                      <a:pt x="994" y="562"/>
                    </a:lnTo>
                    <a:lnTo>
                      <a:pt x="984" y="568"/>
                    </a:lnTo>
                    <a:lnTo>
                      <a:pt x="984" y="568"/>
                    </a:lnTo>
                    <a:lnTo>
                      <a:pt x="982" y="568"/>
                    </a:lnTo>
                    <a:lnTo>
                      <a:pt x="932" y="568"/>
                    </a:lnTo>
                    <a:lnTo>
                      <a:pt x="918" y="578"/>
                    </a:lnTo>
                    <a:lnTo>
                      <a:pt x="908" y="586"/>
                    </a:lnTo>
                    <a:lnTo>
                      <a:pt x="908" y="586"/>
                    </a:lnTo>
                    <a:lnTo>
                      <a:pt x="906" y="586"/>
                    </a:lnTo>
                    <a:lnTo>
                      <a:pt x="882" y="586"/>
                    </a:lnTo>
                    <a:lnTo>
                      <a:pt x="876" y="590"/>
                    </a:lnTo>
                    <a:lnTo>
                      <a:pt x="872" y="592"/>
                    </a:lnTo>
                    <a:lnTo>
                      <a:pt x="872" y="594"/>
                    </a:lnTo>
                    <a:lnTo>
                      <a:pt x="878" y="594"/>
                    </a:lnTo>
                    <a:lnTo>
                      <a:pt x="878" y="594"/>
                    </a:lnTo>
                    <a:lnTo>
                      <a:pt x="880" y="594"/>
                    </a:lnTo>
                    <a:lnTo>
                      <a:pt x="880" y="594"/>
                    </a:lnTo>
                    <a:lnTo>
                      <a:pt x="880" y="596"/>
                    </a:lnTo>
                    <a:lnTo>
                      <a:pt x="878" y="598"/>
                    </a:lnTo>
                    <a:lnTo>
                      <a:pt x="880" y="602"/>
                    </a:lnTo>
                    <a:lnTo>
                      <a:pt x="880" y="602"/>
                    </a:lnTo>
                    <a:lnTo>
                      <a:pt x="880" y="604"/>
                    </a:lnTo>
                    <a:lnTo>
                      <a:pt x="880" y="604"/>
                    </a:lnTo>
                    <a:lnTo>
                      <a:pt x="878" y="604"/>
                    </a:lnTo>
                    <a:lnTo>
                      <a:pt x="862" y="606"/>
                    </a:lnTo>
                    <a:lnTo>
                      <a:pt x="840" y="612"/>
                    </a:lnTo>
                    <a:lnTo>
                      <a:pt x="834" y="616"/>
                    </a:lnTo>
                    <a:lnTo>
                      <a:pt x="826" y="620"/>
                    </a:lnTo>
                    <a:lnTo>
                      <a:pt x="826" y="620"/>
                    </a:lnTo>
                    <a:lnTo>
                      <a:pt x="826" y="620"/>
                    </a:lnTo>
                    <a:lnTo>
                      <a:pt x="826" y="6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9" name="Freeform 58"/>
              <p:cNvSpPr>
                <a:spLocks noEditPoints="1"/>
              </p:cNvSpPr>
              <p:nvPr/>
            </p:nvSpPr>
            <p:spPr bwMode="auto">
              <a:xfrm>
                <a:off x="869" y="1273"/>
                <a:ext cx="1212" cy="624"/>
              </a:xfrm>
              <a:custGeom>
                <a:avLst/>
                <a:gdLst>
                  <a:gd name="T0" fmla="*/ 756 w 1212"/>
                  <a:gd name="T1" fmla="*/ 110 h 624"/>
                  <a:gd name="T2" fmla="*/ 808 w 1212"/>
                  <a:gd name="T3" fmla="*/ 132 h 624"/>
                  <a:gd name="T4" fmla="*/ 736 w 1212"/>
                  <a:gd name="T5" fmla="*/ 192 h 624"/>
                  <a:gd name="T6" fmla="*/ 730 w 1212"/>
                  <a:gd name="T7" fmla="*/ 344 h 624"/>
                  <a:gd name="T8" fmla="*/ 878 w 1212"/>
                  <a:gd name="T9" fmla="*/ 404 h 624"/>
                  <a:gd name="T10" fmla="*/ 948 w 1212"/>
                  <a:gd name="T11" fmla="*/ 232 h 624"/>
                  <a:gd name="T12" fmla="*/ 1112 w 1212"/>
                  <a:gd name="T13" fmla="*/ 312 h 624"/>
                  <a:gd name="T14" fmla="*/ 1162 w 1212"/>
                  <a:gd name="T15" fmla="*/ 406 h 624"/>
                  <a:gd name="T16" fmla="*/ 1018 w 1212"/>
                  <a:gd name="T17" fmla="*/ 504 h 624"/>
                  <a:gd name="T18" fmla="*/ 1082 w 1212"/>
                  <a:gd name="T19" fmla="*/ 542 h 624"/>
                  <a:gd name="T20" fmla="*/ 1062 w 1212"/>
                  <a:gd name="T21" fmla="*/ 590 h 624"/>
                  <a:gd name="T22" fmla="*/ 1000 w 1212"/>
                  <a:gd name="T23" fmla="*/ 550 h 624"/>
                  <a:gd name="T24" fmla="*/ 824 w 1212"/>
                  <a:gd name="T25" fmla="*/ 618 h 624"/>
                  <a:gd name="T26" fmla="*/ 800 w 1212"/>
                  <a:gd name="T27" fmla="*/ 530 h 624"/>
                  <a:gd name="T28" fmla="*/ 648 w 1212"/>
                  <a:gd name="T29" fmla="*/ 490 h 624"/>
                  <a:gd name="T30" fmla="*/ 178 w 1212"/>
                  <a:gd name="T31" fmla="*/ 404 h 624"/>
                  <a:gd name="T32" fmla="*/ 56 w 1212"/>
                  <a:gd name="T33" fmla="*/ 298 h 624"/>
                  <a:gd name="T34" fmla="*/ 210 w 1212"/>
                  <a:gd name="T35" fmla="*/ 60 h 624"/>
                  <a:gd name="T36" fmla="*/ 474 w 1212"/>
                  <a:gd name="T37" fmla="*/ 130 h 624"/>
                  <a:gd name="T38" fmla="*/ 642 w 1212"/>
                  <a:gd name="T39" fmla="*/ 124 h 624"/>
                  <a:gd name="T40" fmla="*/ 880 w 1212"/>
                  <a:gd name="T41" fmla="*/ 598 h 624"/>
                  <a:gd name="T42" fmla="*/ 632 w 1212"/>
                  <a:gd name="T43" fmla="*/ 52 h 624"/>
                  <a:gd name="T44" fmla="*/ 640 w 1212"/>
                  <a:gd name="T45" fmla="*/ 104 h 624"/>
                  <a:gd name="T46" fmla="*/ 600 w 1212"/>
                  <a:gd name="T47" fmla="*/ 102 h 624"/>
                  <a:gd name="T48" fmla="*/ 472 w 1212"/>
                  <a:gd name="T49" fmla="*/ 118 h 624"/>
                  <a:gd name="T50" fmla="*/ 382 w 1212"/>
                  <a:gd name="T51" fmla="*/ 82 h 624"/>
                  <a:gd name="T52" fmla="*/ 232 w 1212"/>
                  <a:gd name="T53" fmla="*/ 44 h 624"/>
                  <a:gd name="T54" fmla="*/ 148 w 1212"/>
                  <a:gd name="T55" fmla="*/ 42 h 624"/>
                  <a:gd name="T56" fmla="*/ 4 w 1212"/>
                  <a:gd name="T57" fmla="*/ 54 h 624"/>
                  <a:gd name="T58" fmla="*/ 54 w 1212"/>
                  <a:gd name="T59" fmla="*/ 302 h 624"/>
                  <a:gd name="T60" fmla="*/ 144 w 1212"/>
                  <a:gd name="T61" fmla="*/ 358 h 624"/>
                  <a:gd name="T62" fmla="*/ 174 w 1212"/>
                  <a:gd name="T63" fmla="*/ 410 h 624"/>
                  <a:gd name="T64" fmla="*/ 190 w 1212"/>
                  <a:gd name="T65" fmla="*/ 450 h 624"/>
                  <a:gd name="T66" fmla="*/ 242 w 1212"/>
                  <a:gd name="T67" fmla="*/ 486 h 624"/>
                  <a:gd name="T68" fmla="*/ 670 w 1212"/>
                  <a:gd name="T69" fmla="*/ 508 h 624"/>
                  <a:gd name="T70" fmla="*/ 764 w 1212"/>
                  <a:gd name="T71" fmla="*/ 506 h 624"/>
                  <a:gd name="T72" fmla="*/ 842 w 1212"/>
                  <a:gd name="T73" fmla="*/ 552 h 624"/>
                  <a:gd name="T74" fmla="*/ 824 w 1212"/>
                  <a:gd name="T75" fmla="*/ 598 h 624"/>
                  <a:gd name="T76" fmla="*/ 880 w 1212"/>
                  <a:gd name="T77" fmla="*/ 608 h 624"/>
                  <a:gd name="T78" fmla="*/ 984 w 1212"/>
                  <a:gd name="T79" fmla="*/ 572 h 624"/>
                  <a:gd name="T80" fmla="*/ 1036 w 1212"/>
                  <a:gd name="T81" fmla="*/ 558 h 624"/>
                  <a:gd name="T82" fmla="*/ 1058 w 1212"/>
                  <a:gd name="T83" fmla="*/ 580 h 624"/>
                  <a:gd name="T84" fmla="*/ 1132 w 1212"/>
                  <a:gd name="T85" fmla="*/ 566 h 624"/>
                  <a:gd name="T86" fmla="*/ 1126 w 1212"/>
                  <a:gd name="T87" fmla="*/ 548 h 624"/>
                  <a:gd name="T88" fmla="*/ 1076 w 1212"/>
                  <a:gd name="T89" fmla="*/ 490 h 624"/>
                  <a:gd name="T90" fmla="*/ 1090 w 1212"/>
                  <a:gd name="T91" fmla="*/ 476 h 624"/>
                  <a:gd name="T92" fmla="*/ 1208 w 1212"/>
                  <a:gd name="T93" fmla="*/ 442 h 624"/>
                  <a:gd name="T94" fmla="*/ 1182 w 1212"/>
                  <a:gd name="T95" fmla="*/ 388 h 624"/>
                  <a:gd name="T96" fmla="*/ 1126 w 1212"/>
                  <a:gd name="T97" fmla="*/ 324 h 624"/>
                  <a:gd name="T98" fmla="*/ 1066 w 1212"/>
                  <a:gd name="T99" fmla="*/ 286 h 624"/>
                  <a:gd name="T100" fmla="*/ 980 w 1212"/>
                  <a:gd name="T101" fmla="*/ 238 h 624"/>
                  <a:gd name="T102" fmla="*/ 890 w 1212"/>
                  <a:gd name="T103" fmla="*/ 242 h 624"/>
                  <a:gd name="T104" fmla="*/ 876 w 1212"/>
                  <a:gd name="T105" fmla="*/ 378 h 624"/>
                  <a:gd name="T106" fmla="*/ 838 w 1212"/>
                  <a:gd name="T107" fmla="*/ 398 h 624"/>
                  <a:gd name="T108" fmla="*/ 702 w 1212"/>
                  <a:gd name="T109" fmla="*/ 334 h 624"/>
                  <a:gd name="T110" fmla="*/ 714 w 1212"/>
                  <a:gd name="T111" fmla="*/ 220 h 624"/>
                  <a:gd name="T112" fmla="*/ 754 w 1212"/>
                  <a:gd name="T113" fmla="*/ 190 h 624"/>
                  <a:gd name="T114" fmla="*/ 786 w 1212"/>
                  <a:gd name="T115" fmla="*/ 136 h 624"/>
                  <a:gd name="T116" fmla="*/ 850 w 1212"/>
                  <a:gd name="T117" fmla="*/ 118 h 624"/>
                  <a:gd name="T118" fmla="*/ 828 w 1212"/>
                  <a:gd name="T119" fmla="*/ 58 h 624"/>
                  <a:gd name="T120" fmla="*/ 768 w 1212"/>
                  <a:gd name="T121" fmla="*/ 112 h 624"/>
                  <a:gd name="T122" fmla="*/ 728 w 1212"/>
                  <a:gd name="T123" fmla="*/ 86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4"/>
                    </a:moveTo>
                    <a:lnTo>
                      <a:pt x="672" y="6"/>
                    </a:lnTo>
                    <a:lnTo>
                      <a:pt x="684" y="22"/>
                    </a:lnTo>
                    <a:lnTo>
                      <a:pt x="686" y="26"/>
                    </a:lnTo>
                    <a:lnTo>
                      <a:pt x="694" y="38"/>
                    </a:lnTo>
                    <a:lnTo>
                      <a:pt x="696" y="46"/>
                    </a:lnTo>
                    <a:lnTo>
                      <a:pt x="690" y="52"/>
                    </a:lnTo>
                    <a:lnTo>
                      <a:pt x="694" y="60"/>
                    </a:lnTo>
                    <a:lnTo>
                      <a:pt x="704" y="58"/>
                    </a:lnTo>
                    <a:lnTo>
                      <a:pt x="712" y="60"/>
                    </a:lnTo>
                    <a:lnTo>
                      <a:pt x="714" y="74"/>
                    </a:lnTo>
                    <a:lnTo>
                      <a:pt x="720" y="88"/>
                    </a:lnTo>
                    <a:lnTo>
                      <a:pt x="728" y="90"/>
                    </a:lnTo>
                    <a:lnTo>
                      <a:pt x="736" y="86"/>
                    </a:lnTo>
                    <a:lnTo>
                      <a:pt x="730" y="76"/>
                    </a:lnTo>
                    <a:lnTo>
                      <a:pt x="736" y="70"/>
                    </a:lnTo>
                    <a:lnTo>
                      <a:pt x="746" y="72"/>
                    </a:lnTo>
                    <a:lnTo>
                      <a:pt x="754" y="84"/>
                    </a:lnTo>
                    <a:lnTo>
                      <a:pt x="750" y="92"/>
                    </a:lnTo>
                    <a:lnTo>
                      <a:pt x="748" y="104"/>
                    </a:lnTo>
                    <a:lnTo>
                      <a:pt x="756" y="110"/>
                    </a:lnTo>
                    <a:lnTo>
                      <a:pt x="768" y="116"/>
                    </a:lnTo>
                    <a:lnTo>
                      <a:pt x="776" y="110"/>
                    </a:lnTo>
                    <a:lnTo>
                      <a:pt x="784" y="98"/>
                    </a:lnTo>
                    <a:lnTo>
                      <a:pt x="786" y="84"/>
                    </a:lnTo>
                    <a:lnTo>
                      <a:pt x="796" y="76"/>
                    </a:lnTo>
                    <a:lnTo>
                      <a:pt x="794" y="70"/>
                    </a:lnTo>
                    <a:lnTo>
                      <a:pt x="788" y="58"/>
                    </a:lnTo>
                    <a:lnTo>
                      <a:pt x="790" y="54"/>
                    </a:lnTo>
                    <a:lnTo>
                      <a:pt x="806" y="56"/>
                    </a:lnTo>
                    <a:lnTo>
                      <a:pt x="826" y="62"/>
                    </a:lnTo>
                    <a:lnTo>
                      <a:pt x="838" y="72"/>
                    </a:lnTo>
                    <a:lnTo>
                      <a:pt x="848" y="84"/>
                    </a:lnTo>
                    <a:lnTo>
                      <a:pt x="842" y="88"/>
                    </a:lnTo>
                    <a:lnTo>
                      <a:pt x="834" y="90"/>
                    </a:lnTo>
                    <a:lnTo>
                      <a:pt x="836" y="98"/>
                    </a:lnTo>
                    <a:lnTo>
                      <a:pt x="842" y="106"/>
                    </a:lnTo>
                    <a:lnTo>
                      <a:pt x="848" y="116"/>
                    </a:lnTo>
                    <a:lnTo>
                      <a:pt x="840" y="124"/>
                    </a:lnTo>
                    <a:lnTo>
                      <a:pt x="830" y="134"/>
                    </a:lnTo>
                    <a:lnTo>
                      <a:pt x="820" y="140"/>
                    </a:lnTo>
                    <a:lnTo>
                      <a:pt x="808" y="132"/>
                    </a:lnTo>
                    <a:lnTo>
                      <a:pt x="804" y="140"/>
                    </a:lnTo>
                    <a:lnTo>
                      <a:pt x="798" y="142"/>
                    </a:lnTo>
                    <a:lnTo>
                      <a:pt x="786" y="132"/>
                    </a:lnTo>
                    <a:lnTo>
                      <a:pt x="778" y="132"/>
                    </a:lnTo>
                    <a:lnTo>
                      <a:pt x="774" y="138"/>
                    </a:lnTo>
                    <a:lnTo>
                      <a:pt x="780" y="142"/>
                    </a:lnTo>
                    <a:lnTo>
                      <a:pt x="774" y="152"/>
                    </a:lnTo>
                    <a:lnTo>
                      <a:pt x="768" y="158"/>
                    </a:lnTo>
                    <a:lnTo>
                      <a:pt x="758" y="160"/>
                    </a:lnTo>
                    <a:lnTo>
                      <a:pt x="748" y="158"/>
                    </a:lnTo>
                    <a:lnTo>
                      <a:pt x="736" y="152"/>
                    </a:lnTo>
                    <a:lnTo>
                      <a:pt x="728" y="150"/>
                    </a:lnTo>
                    <a:lnTo>
                      <a:pt x="732" y="158"/>
                    </a:lnTo>
                    <a:lnTo>
                      <a:pt x="736" y="162"/>
                    </a:lnTo>
                    <a:lnTo>
                      <a:pt x="748" y="164"/>
                    </a:lnTo>
                    <a:lnTo>
                      <a:pt x="754" y="166"/>
                    </a:lnTo>
                    <a:lnTo>
                      <a:pt x="766" y="166"/>
                    </a:lnTo>
                    <a:lnTo>
                      <a:pt x="760" y="174"/>
                    </a:lnTo>
                    <a:lnTo>
                      <a:pt x="752" y="186"/>
                    </a:lnTo>
                    <a:lnTo>
                      <a:pt x="744" y="192"/>
                    </a:lnTo>
                    <a:lnTo>
                      <a:pt x="736" y="192"/>
                    </a:lnTo>
                    <a:lnTo>
                      <a:pt x="728" y="192"/>
                    </a:lnTo>
                    <a:lnTo>
                      <a:pt x="720" y="190"/>
                    </a:lnTo>
                    <a:lnTo>
                      <a:pt x="720" y="198"/>
                    </a:lnTo>
                    <a:lnTo>
                      <a:pt x="704" y="200"/>
                    </a:lnTo>
                    <a:lnTo>
                      <a:pt x="692" y="196"/>
                    </a:lnTo>
                    <a:lnTo>
                      <a:pt x="698" y="202"/>
                    </a:lnTo>
                    <a:lnTo>
                      <a:pt x="712" y="208"/>
                    </a:lnTo>
                    <a:lnTo>
                      <a:pt x="714" y="216"/>
                    </a:lnTo>
                    <a:lnTo>
                      <a:pt x="698" y="220"/>
                    </a:lnTo>
                    <a:lnTo>
                      <a:pt x="680" y="236"/>
                    </a:lnTo>
                    <a:lnTo>
                      <a:pt x="664" y="262"/>
                    </a:lnTo>
                    <a:lnTo>
                      <a:pt x="658" y="300"/>
                    </a:lnTo>
                    <a:lnTo>
                      <a:pt x="660" y="304"/>
                    </a:lnTo>
                    <a:lnTo>
                      <a:pt x="662" y="310"/>
                    </a:lnTo>
                    <a:lnTo>
                      <a:pt x="670" y="310"/>
                    </a:lnTo>
                    <a:lnTo>
                      <a:pt x="678" y="310"/>
                    </a:lnTo>
                    <a:lnTo>
                      <a:pt x="682" y="318"/>
                    </a:lnTo>
                    <a:lnTo>
                      <a:pt x="688" y="342"/>
                    </a:lnTo>
                    <a:lnTo>
                      <a:pt x="702" y="338"/>
                    </a:lnTo>
                    <a:lnTo>
                      <a:pt x="718" y="338"/>
                    </a:lnTo>
                    <a:lnTo>
                      <a:pt x="730" y="344"/>
                    </a:lnTo>
                    <a:lnTo>
                      <a:pt x="744" y="344"/>
                    </a:lnTo>
                    <a:lnTo>
                      <a:pt x="758" y="360"/>
                    </a:lnTo>
                    <a:lnTo>
                      <a:pt x="774" y="368"/>
                    </a:lnTo>
                    <a:lnTo>
                      <a:pt x="794" y="376"/>
                    </a:lnTo>
                    <a:lnTo>
                      <a:pt x="802" y="376"/>
                    </a:lnTo>
                    <a:lnTo>
                      <a:pt x="810" y="378"/>
                    </a:lnTo>
                    <a:lnTo>
                      <a:pt x="820" y="378"/>
                    </a:lnTo>
                    <a:lnTo>
                      <a:pt x="832" y="378"/>
                    </a:lnTo>
                    <a:lnTo>
                      <a:pt x="834" y="398"/>
                    </a:lnTo>
                    <a:lnTo>
                      <a:pt x="834" y="412"/>
                    </a:lnTo>
                    <a:lnTo>
                      <a:pt x="834" y="416"/>
                    </a:lnTo>
                    <a:lnTo>
                      <a:pt x="834" y="424"/>
                    </a:lnTo>
                    <a:lnTo>
                      <a:pt x="846" y="436"/>
                    </a:lnTo>
                    <a:lnTo>
                      <a:pt x="856" y="448"/>
                    </a:lnTo>
                    <a:lnTo>
                      <a:pt x="862" y="452"/>
                    </a:lnTo>
                    <a:lnTo>
                      <a:pt x="868" y="456"/>
                    </a:lnTo>
                    <a:lnTo>
                      <a:pt x="882" y="448"/>
                    </a:lnTo>
                    <a:lnTo>
                      <a:pt x="884" y="442"/>
                    </a:lnTo>
                    <a:lnTo>
                      <a:pt x="886" y="434"/>
                    </a:lnTo>
                    <a:lnTo>
                      <a:pt x="882" y="416"/>
                    </a:lnTo>
                    <a:lnTo>
                      <a:pt x="878" y="404"/>
                    </a:lnTo>
                    <a:lnTo>
                      <a:pt x="870" y="386"/>
                    </a:lnTo>
                    <a:lnTo>
                      <a:pt x="878" y="382"/>
                    </a:lnTo>
                    <a:lnTo>
                      <a:pt x="898" y="378"/>
                    </a:lnTo>
                    <a:lnTo>
                      <a:pt x="906" y="366"/>
                    </a:lnTo>
                    <a:lnTo>
                      <a:pt x="916" y="356"/>
                    </a:lnTo>
                    <a:lnTo>
                      <a:pt x="914" y="336"/>
                    </a:lnTo>
                    <a:lnTo>
                      <a:pt x="904" y="320"/>
                    </a:lnTo>
                    <a:lnTo>
                      <a:pt x="894" y="312"/>
                    </a:lnTo>
                    <a:lnTo>
                      <a:pt x="884" y="308"/>
                    </a:lnTo>
                    <a:lnTo>
                      <a:pt x="886" y="302"/>
                    </a:lnTo>
                    <a:lnTo>
                      <a:pt x="892" y="296"/>
                    </a:lnTo>
                    <a:lnTo>
                      <a:pt x="900" y="286"/>
                    </a:lnTo>
                    <a:lnTo>
                      <a:pt x="900" y="276"/>
                    </a:lnTo>
                    <a:lnTo>
                      <a:pt x="898" y="264"/>
                    </a:lnTo>
                    <a:lnTo>
                      <a:pt x="900" y="248"/>
                    </a:lnTo>
                    <a:lnTo>
                      <a:pt x="892" y="240"/>
                    </a:lnTo>
                    <a:lnTo>
                      <a:pt x="896" y="226"/>
                    </a:lnTo>
                    <a:lnTo>
                      <a:pt x="912" y="226"/>
                    </a:lnTo>
                    <a:lnTo>
                      <a:pt x="926" y="232"/>
                    </a:lnTo>
                    <a:lnTo>
                      <a:pt x="934" y="234"/>
                    </a:lnTo>
                    <a:lnTo>
                      <a:pt x="948" y="232"/>
                    </a:lnTo>
                    <a:lnTo>
                      <a:pt x="952" y="224"/>
                    </a:lnTo>
                    <a:lnTo>
                      <a:pt x="964" y="232"/>
                    </a:lnTo>
                    <a:lnTo>
                      <a:pt x="976" y="242"/>
                    </a:lnTo>
                    <a:lnTo>
                      <a:pt x="982" y="252"/>
                    </a:lnTo>
                    <a:lnTo>
                      <a:pt x="996" y="258"/>
                    </a:lnTo>
                    <a:lnTo>
                      <a:pt x="1014" y="262"/>
                    </a:lnTo>
                    <a:lnTo>
                      <a:pt x="1012" y="272"/>
                    </a:lnTo>
                    <a:lnTo>
                      <a:pt x="1012" y="284"/>
                    </a:lnTo>
                    <a:lnTo>
                      <a:pt x="1016" y="296"/>
                    </a:lnTo>
                    <a:lnTo>
                      <a:pt x="1016" y="304"/>
                    </a:lnTo>
                    <a:lnTo>
                      <a:pt x="1028" y="306"/>
                    </a:lnTo>
                    <a:lnTo>
                      <a:pt x="1034" y="312"/>
                    </a:lnTo>
                    <a:lnTo>
                      <a:pt x="1046" y="318"/>
                    </a:lnTo>
                    <a:lnTo>
                      <a:pt x="1058" y="308"/>
                    </a:lnTo>
                    <a:lnTo>
                      <a:pt x="1070" y="296"/>
                    </a:lnTo>
                    <a:lnTo>
                      <a:pt x="1070" y="286"/>
                    </a:lnTo>
                    <a:lnTo>
                      <a:pt x="1078" y="276"/>
                    </a:lnTo>
                    <a:lnTo>
                      <a:pt x="1082" y="272"/>
                    </a:lnTo>
                    <a:lnTo>
                      <a:pt x="1090" y="282"/>
                    </a:lnTo>
                    <a:lnTo>
                      <a:pt x="1098" y="296"/>
                    </a:lnTo>
                    <a:lnTo>
                      <a:pt x="1112" y="312"/>
                    </a:lnTo>
                    <a:lnTo>
                      <a:pt x="1112" y="320"/>
                    </a:lnTo>
                    <a:lnTo>
                      <a:pt x="1122" y="326"/>
                    </a:lnTo>
                    <a:lnTo>
                      <a:pt x="1124" y="336"/>
                    </a:lnTo>
                    <a:lnTo>
                      <a:pt x="1128" y="346"/>
                    </a:lnTo>
                    <a:lnTo>
                      <a:pt x="1122" y="352"/>
                    </a:lnTo>
                    <a:lnTo>
                      <a:pt x="1124" y="360"/>
                    </a:lnTo>
                    <a:lnTo>
                      <a:pt x="1138" y="368"/>
                    </a:lnTo>
                    <a:lnTo>
                      <a:pt x="1140" y="372"/>
                    </a:lnTo>
                    <a:lnTo>
                      <a:pt x="1140" y="378"/>
                    </a:lnTo>
                    <a:lnTo>
                      <a:pt x="1148" y="380"/>
                    </a:lnTo>
                    <a:lnTo>
                      <a:pt x="1162" y="384"/>
                    </a:lnTo>
                    <a:lnTo>
                      <a:pt x="1172" y="388"/>
                    </a:lnTo>
                    <a:lnTo>
                      <a:pt x="1178" y="388"/>
                    </a:lnTo>
                    <a:lnTo>
                      <a:pt x="1176" y="394"/>
                    </a:lnTo>
                    <a:lnTo>
                      <a:pt x="1162" y="400"/>
                    </a:lnTo>
                    <a:lnTo>
                      <a:pt x="1156" y="404"/>
                    </a:lnTo>
                    <a:lnTo>
                      <a:pt x="1144" y="410"/>
                    </a:lnTo>
                    <a:lnTo>
                      <a:pt x="1146" y="412"/>
                    </a:lnTo>
                    <a:lnTo>
                      <a:pt x="1146" y="412"/>
                    </a:lnTo>
                    <a:lnTo>
                      <a:pt x="1148" y="412"/>
                    </a:lnTo>
                    <a:lnTo>
                      <a:pt x="1162" y="406"/>
                    </a:lnTo>
                    <a:lnTo>
                      <a:pt x="1176" y="400"/>
                    </a:lnTo>
                    <a:lnTo>
                      <a:pt x="1184" y="398"/>
                    </a:lnTo>
                    <a:lnTo>
                      <a:pt x="1188" y="408"/>
                    </a:lnTo>
                    <a:lnTo>
                      <a:pt x="1190" y="408"/>
                    </a:lnTo>
                    <a:lnTo>
                      <a:pt x="1194" y="408"/>
                    </a:lnTo>
                    <a:lnTo>
                      <a:pt x="1206" y="412"/>
                    </a:lnTo>
                    <a:lnTo>
                      <a:pt x="1208" y="428"/>
                    </a:lnTo>
                    <a:lnTo>
                      <a:pt x="1206" y="440"/>
                    </a:lnTo>
                    <a:lnTo>
                      <a:pt x="1198" y="446"/>
                    </a:lnTo>
                    <a:lnTo>
                      <a:pt x="1190" y="452"/>
                    </a:lnTo>
                    <a:lnTo>
                      <a:pt x="1172" y="452"/>
                    </a:lnTo>
                    <a:lnTo>
                      <a:pt x="1164" y="462"/>
                    </a:lnTo>
                    <a:lnTo>
                      <a:pt x="1150" y="472"/>
                    </a:lnTo>
                    <a:lnTo>
                      <a:pt x="1130" y="476"/>
                    </a:lnTo>
                    <a:lnTo>
                      <a:pt x="1108" y="472"/>
                    </a:lnTo>
                    <a:lnTo>
                      <a:pt x="1090" y="472"/>
                    </a:lnTo>
                    <a:lnTo>
                      <a:pt x="1064" y="474"/>
                    </a:lnTo>
                    <a:lnTo>
                      <a:pt x="1050" y="478"/>
                    </a:lnTo>
                    <a:lnTo>
                      <a:pt x="1044" y="490"/>
                    </a:lnTo>
                    <a:lnTo>
                      <a:pt x="1030" y="494"/>
                    </a:lnTo>
                    <a:lnTo>
                      <a:pt x="1018" y="504"/>
                    </a:lnTo>
                    <a:lnTo>
                      <a:pt x="1010" y="512"/>
                    </a:lnTo>
                    <a:lnTo>
                      <a:pt x="998" y="528"/>
                    </a:lnTo>
                    <a:lnTo>
                      <a:pt x="996" y="530"/>
                    </a:lnTo>
                    <a:lnTo>
                      <a:pt x="994" y="532"/>
                    </a:lnTo>
                    <a:lnTo>
                      <a:pt x="994" y="534"/>
                    </a:lnTo>
                    <a:lnTo>
                      <a:pt x="998" y="530"/>
                    </a:lnTo>
                    <a:lnTo>
                      <a:pt x="1002" y="530"/>
                    </a:lnTo>
                    <a:lnTo>
                      <a:pt x="1014" y="514"/>
                    </a:lnTo>
                    <a:lnTo>
                      <a:pt x="1030" y="506"/>
                    </a:lnTo>
                    <a:lnTo>
                      <a:pt x="1046" y="498"/>
                    </a:lnTo>
                    <a:lnTo>
                      <a:pt x="1050" y="496"/>
                    </a:lnTo>
                    <a:lnTo>
                      <a:pt x="1060" y="492"/>
                    </a:lnTo>
                    <a:lnTo>
                      <a:pt x="1076" y="494"/>
                    </a:lnTo>
                    <a:lnTo>
                      <a:pt x="1086" y="496"/>
                    </a:lnTo>
                    <a:lnTo>
                      <a:pt x="1090" y="506"/>
                    </a:lnTo>
                    <a:lnTo>
                      <a:pt x="1086" y="512"/>
                    </a:lnTo>
                    <a:lnTo>
                      <a:pt x="1078" y="512"/>
                    </a:lnTo>
                    <a:lnTo>
                      <a:pt x="1080" y="522"/>
                    </a:lnTo>
                    <a:lnTo>
                      <a:pt x="1078" y="530"/>
                    </a:lnTo>
                    <a:lnTo>
                      <a:pt x="1080" y="534"/>
                    </a:lnTo>
                    <a:lnTo>
                      <a:pt x="1082" y="542"/>
                    </a:lnTo>
                    <a:lnTo>
                      <a:pt x="1094" y="548"/>
                    </a:lnTo>
                    <a:lnTo>
                      <a:pt x="1106" y="552"/>
                    </a:lnTo>
                    <a:lnTo>
                      <a:pt x="1122" y="552"/>
                    </a:lnTo>
                    <a:lnTo>
                      <a:pt x="1128" y="550"/>
                    </a:lnTo>
                    <a:lnTo>
                      <a:pt x="1132" y="544"/>
                    </a:lnTo>
                    <a:lnTo>
                      <a:pt x="1136" y="536"/>
                    </a:lnTo>
                    <a:lnTo>
                      <a:pt x="1144" y="536"/>
                    </a:lnTo>
                    <a:lnTo>
                      <a:pt x="1144" y="544"/>
                    </a:lnTo>
                    <a:lnTo>
                      <a:pt x="1148" y="546"/>
                    </a:lnTo>
                    <a:lnTo>
                      <a:pt x="1148" y="554"/>
                    </a:lnTo>
                    <a:lnTo>
                      <a:pt x="1140" y="554"/>
                    </a:lnTo>
                    <a:lnTo>
                      <a:pt x="1134" y="554"/>
                    </a:lnTo>
                    <a:lnTo>
                      <a:pt x="1128" y="564"/>
                    </a:lnTo>
                    <a:lnTo>
                      <a:pt x="1126" y="566"/>
                    </a:lnTo>
                    <a:lnTo>
                      <a:pt x="1114" y="570"/>
                    </a:lnTo>
                    <a:lnTo>
                      <a:pt x="1100" y="576"/>
                    </a:lnTo>
                    <a:lnTo>
                      <a:pt x="1092" y="576"/>
                    </a:lnTo>
                    <a:lnTo>
                      <a:pt x="1084" y="582"/>
                    </a:lnTo>
                    <a:lnTo>
                      <a:pt x="1078" y="590"/>
                    </a:lnTo>
                    <a:lnTo>
                      <a:pt x="1072" y="596"/>
                    </a:lnTo>
                    <a:lnTo>
                      <a:pt x="1062" y="590"/>
                    </a:lnTo>
                    <a:lnTo>
                      <a:pt x="1062" y="582"/>
                    </a:lnTo>
                    <a:lnTo>
                      <a:pt x="1064" y="576"/>
                    </a:lnTo>
                    <a:lnTo>
                      <a:pt x="1076" y="568"/>
                    </a:lnTo>
                    <a:lnTo>
                      <a:pt x="1086" y="564"/>
                    </a:lnTo>
                    <a:lnTo>
                      <a:pt x="1088" y="564"/>
                    </a:lnTo>
                    <a:lnTo>
                      <a:pt x="1088" y="562"/>
                    </a:lnTo>
                    <a:lnTo>
                      <a:pt x="1086" y="558"/>
                    </a:lnTo>
                    <a:lnTo>
                      <a:pt x="1082" y="556"/>
                    </a:lnTo>
                    <a:lnTo>
                      <a:pt x="1072" y="562"/>
                    </a:lnTo>
                    <a:lnTo>
                      <a:pt x="1062" y="564"/>
                    </a:lnTo>
                    <a:lnTo>
                      <a:pt x="1048" y="568"/>
                    </a:lnTo>
                    <a:lnTo>
                      <a:pt x="1046" y="564"/>
                    </a:lnTo>
                    <a:lnTo>
                      <a:pt x="1040" y="558"/>
                    </a:lnTo>
                    <a:lnTo>
                      <a:pt x="1038" y="550"/>
                    </a:lnTo>
                    <a:lnTo>
                      <a:pt x="1040" y="536"/>
                    </a:lnTo>
                    <a:lnTo>
                      <a:pt x="1038" y="530"/>
                    </a:lnTo>
                    <a:lnTo>
                      <a:pt x="1026" y="526"/>
                    </a:lnTo>
                    <a:lnTo>
                      <a:pt x="1018" y="522"/>
                    </a:lnTo>
                    <a:lnTo>
                      <a:pt x="1012" y="530"/>
                    </a:lnTo>
                    <a:lnTo>
                      <a:pt x="1004" y="542"/>
                    </a:lnTo>
                    <a:lnTo>
                      <a:pt x="1000" y="550"/>
                    </a:lnTo>
                    <a:lnTo>
                      <a:pt x="1000" y="556"/>
                    </a:lnTo>
                    <a:lnTo>
                      <a:pt x="996" y="564"/>
                    </a:lnTo>
                    <a:lnTo>
                      <a:pt x="984" y="568"/>
                    </a:lnTo>
                    <a:lnTo>
                      <a:pt x="932" y="568"/>
                    </a:lnTo>
                    <a:lnTo>
                      <a:pt x="918" y="580"/>
                    </a:lnTo>
                    <a:lnTo>
                      <a:pt x="914" y="582"/>
                    </a:lnTo>
                    <a:lnTo>
                      <a:pt x="908" y="586"/>
                    </a:lnTo>
                    <a:lnTo>
                      <a:pt x="898" y="586"/>
                    </a:lnTo>
                    <a:lnTo>
                      <a:pt x="884" y="586"/>
                    </a:lnTo>
                    <a:lnTo>
                      <a:pt x="878" y="590"/>
                    </a:lnTo>
                    <a:lnTo>
                      <a:pt x="870" y="594"/>
                    </a:lnTo>
                    <a:lnTo>
                      <a:pt x="872" y="598"/>
                    </a:lnTo>
                    <a:lnTo>
                      <a:pt x="880" y="598"/>
                    </a:lnTo>
                    <a:lnTo>
                      <a:pt x="878" y="600"/>
                    </a:lnTo>
                    <a:lnTo>
                      <a:pt x="880" y="604"/>
                    </a:lnTo>
                    <a:lnTo>
                      <a:pt x="864" y="606"/>
                    </a:lnTo>
                    <a:lnTo>
                      <a:pt x="850" y="610"/>
                    </a:lnTo>
                    <a:lnTo>
                      <a:pt x="842" y="612"/>
                    </a:lnTo>
                    <a:lnTo>
                      <a:pt x="834" y="616"/>
                    </a:lnTo>
                    <a:lnTo>
                      <a:pt x="828" y="620"/>
                    </a:lnTo>
                    <a:lnTo>
                      <a:pt x="824" y="618"/>
                    </a:lnTo>
                    <a:lnTo>
                      <a:pt x="824" y="612"/>
                    </a:lnTo>
                    <a:lnTo>
                      <a:pt x="826" y="610"/>
                    </a:lnTo>
                    <a:lnTo>
                      <a:pt x="826" y="602"/>
                    </a:lnTo>
                    <a:lnTo>
                      <a:pt x="832" y="600"/>
                    </a:lnTo>
                    <a:lnTo>
                      <a:pt x="838" y="598"/>
                    </a:lnTo>
                    <a:lnTo>
                      <a:pt x="840" y="590"/>
                    </a:lnTo>
                    <a:lnTo>
                      <a:pt x="842" y="582"/>
                    </a:lnTo>
                    <a:lnTo>
                      <a:pt x="848" y="578"/>
                    </a:lnTo>
                    <a:lnTo>
                      <a:pt x="850" y="572"/>
                    </a:lnTo>
                    <a:lnTo>
                      <a:pt x="852" y="572"/>
                    </a:lnTo>
                    <a:lnTo>
                      <a:pt x="858" y="578"/>
                    </a:lnTo>
                    <a:lnTo>
                      <a:pt x="866" y="576"/>
                    </a:lnTo>
                    <a:lnTo>
                      <a:pt x="866" y="568"/>
                    </a:lnTo>
                    <a:lnTo>
                      <a:pt x="862" y="560"/>
                    </a:lnTo>
                    <a:lnTo>
                      <a:pt x="854" y="552"/>
                    </a:lnTo>
                    <a:lnTo>
                      <a:pt x="844" y="548"/>
                    </a:lnTo>
                    <a:lnTo>
                      <a:pt x="834" y="546"/>
                    </a:lnTo>
                    <a:lnTo>
                      <a:pt x="818" y="546"/>
                    </a:lnTo>
                    <a:lnTo>
                      <a:pt x="808" y="546"/>
                    </a:lnTo>
                    <a:lnTo>
                      <a:pt x="802" y="540"/>
                    </a:lnTo>
                    <a:lnTo>
                      <a:pt x="800" y="530"/>
                    </a:lnTo>
                    <a:lnTo>
                      <a:pt x="796" y="520"/>
                    </a:lnTo>
                    <a:lnTo>
                      <a:pt x="794" y="516"/>
                    </a:lnTo>
                    <a:lnTo>
                      <a:pt x="784" y="516"/>
                    </a:lnTo>
                    <a:lnTo>
                      <a:pt x="780" y="510"/>
                    </a:lnTo>
                    <a:lnTo>
                      <a:pt x="774" y="502"/>
                    </a:lnTo>
                    <a:lnTo>
                      <a:pt x="766" y="502"/>
                    </a:lnTo>
                    <a:lnTo>
                      <a:pt x="756" y="498"/>
                    </a:lnTo>
                    <a:lnTo>
                      <a:pt x="750" y="498"/>
                    </a:lnTo>
                    <a:lnTo>
                      <a:pt x="742" y="504"/>
                    </a:lnTo>
                    <a:lnTo>
                      <a:pt x="734" y="510"/>
                    </a:lnTo>
                    <a:lnTo>
                      <a:pt x="726" y="514"/>
                    </a:lnTo>
                    <a:lnTo>
                      <a:pt x="720" y="512"/>
                    </a:lnTo>
                    <a:lnTo>
                      <a:pt x="712" y="512"/>
                    </a:lnTo>
                    <a:lnTo>
                      <a:pt x="704" y="512"/>
                    </a:lnTo>
                    <a:lnTo>
                      <a:pt x="702" y="512"/>
                    </a:lnTo>
                    <a:lnTo>
                      <a:pt x="692" y="508"/>
                    </a:lnTo>
                    <a:lnTo>
                      <a:pt x="670" y="504"/>
                    </a:lnTo>
                    <a:lnTo>
                      <a:pt x="660" y="500"/>
                    </a:lnTo>
                    <a:lnTo>
                      <a:pt x="656" y="496"/>
                    </a:lnTo>
                    <a:lnTo>
                      <a:pt x="654" y="490"/>
                    </a:lnTo>
                    <a:lnTo>
                      <a:pt x="648" y="490"/>
                    </a:lnTo>
                    <a:lnTo>
                      <a:pt x="646" y="496"/>
                    </a:lnTo>
                    <a:lnTo>
                      <a:pt x="262" y="496"/>
                    </a:lnTo>
                    <a:lnTo>
                      <a:pt x="256" y="488"/>
                    </a:lnTo>
                    <a:lnTo>
                      <a:pt x="246" y="478"/>
                    </a:lnTo>
                    <a:lnTo>
                      <a:pt x="242" y="482"/>
                    </a:lnTo>
                    <a:lnTo>
                      <a:pt x="232" y="474"/>
                    </a:lnTo>
                    <a:lnTo>
                      <a:pt x="228" y="464"/>
                    </a:lnTo>
                    <a:lnTo>
                      <a:pt x="222" y="468"/>
                    </a:lnTo>
                    <a:lnTo>
                      <a:pt x="212" y="462"/>
                    </a:lnTo>
                    <a:lnTo>
                      <a:pt x="196" y="460"/>
                    </a:lnTo>
                    <a:lnTo>
                      <a:pt x="198" y="450"/>
                    </a:lnTo>
                    <a:lnTo>
                      <a:pt x="196" y="446"/>
                    </a:lnTo>
                    <a:lnTo>
                      <a:pt x="190" y="446"/>
                    </a:lnTo>
                    <a:lnTo>
                      <a:pt x="190" y="438"/>
                    </a:lnTo>
                    <a:lnTo>
                      <a:pt x="188" y="430"/>
                    </a:lnTo>
                    <a:lnTo>
                      <a:pt x="184" y="426"/>
                    </a:lnTo>
                    <a:lnTo>
                      <a:pt x="180" y="424"/>
                    </a:lnTo>
                    <a:lnTo>
                      <a:pt x="172" y="428"/>
                    </a:lnTo>
                    <a:lnTo>
                      <a:pt x="174" y="420"/>
                    </a:lnTo>
                    <a:lnTo>
                      <a:pt x="180" y="412"/>
                    </a:lnTo>
                    <a:lnTo>
                      <a:pt x="178" y="404"/>
                    </a:lnTo>
                    <a:lnTo>
                      <a:pt x="172" y="408"/>
                    </a:lnTo>
                    <a:lnTo>
                      <a:pt x="164" y="412"/>
                    </a:lnTo>
                    <a:lnTo>
                      <a:pt x="158" y="412"/>
                    </a:lnTo>
                    <a:lnTo>
                      <a:pt x="158" y="402"/>
                    </a:lnTo>
                    <a:lnTo>
                      <a:pt x="160" y="394"/>
                    </a:lnTo>
                    <a:lnTo>
                      <a:pt x="160" y="390"/>
                    </a:lnTo>
                    <a:lnTo>
                      <a:pt x="164" y="378"/>
                    </a:lnTo>
                    <a:lnTo>
                      <a:pt x="164" y="370"/>
                    </a:lnTo>
                    <a:lnTo>
                      <a:pt x="160" y="368"/>
                    </a:lnTo>
                    <a:lnTo>
                      <a:pt x="158" y="360"/>
                    </a:lnTo>
                    <a:lnTo>
                      <a:pt x="146" y="354"/>
                    </a:lnTo>
                    <a:lnTo>
                      <a:pt x="138" y="348"/>
                    </a:lnTo>
                    <a:lnTo>
                      <a:pt x="134" y="346"/>
                    </a:lnTo>
                    <a:lnTo>
                      <a:pt x="126" y="336"/>
                    </a:lnTo>
                    <a:lnTo>
                      <a:pt x="116" y="320"/>
                    </a:lnTo>
                    <a:lnTo>
                      <a:pt x="110" y="312"/>
                    </a:lnTo>
                    <a:lnTo>
                      <a:pt x="94" y="294"/>
                    </a:lnTo>
                    <a:lnTo>
                      <a:pt x="82" y="284"/>
                    </a:lnTo>
                    <a:lnTo>
                      <a:pt x="66" y="292"/>
                    </a:lnTo>
                    <a:lnTo>
                      <a:pt x="66" y="296"/>
                    </a:lnTo>
                    <a:lnTo>
                      <a:pt x="56" y="298"/>
                    </a:lnTo>
                    <a:lnTo>
                      <a:pt x="46" y="290"/>
                    </a:lnTo>
                    <a:lnTo>
                      <a:pt x="34" y="280"/>
                    </a:lnTo>
                    <a:lnTo>
                      <a:pt x="28" y="272"/>
                    </a:lnTo>
                    <a:lnTo>
                      <a:pt x="14" y="276"/>
                    </a:lnTo>
                    <a:lnTo>
                      <a:pt x="4" y="274"/>
                    </a:lnTo>
                    <a:lnTo>
                      <a:pt x="4" y="58"/>
                    </a:lnTo>
                    <a:lnTo>
                      <a:pt x="20" y="60"/>
                    </a:lnTo>
                    <a:lnTo>
                      <a:pt x="48" y="72"/>
                    </a:lnTo>
                    <a:lnTo>
                      <a:pt x="80" y="80"/>
                    </a:lnTo>
                    <a:lnTo>
                      <a:pt x="78" y="68"/>
                    </a:lnTo>
                    <a:lnTo>
                      <a:pt x="94" y="58"/>
                    </a:lnTo>
                    <a:lnTo>
                      <a:pt x="102" y="64"/>
                    </a:lnTo>
                    <a:lnTo>
                      <a:pt x="108" y="68"/>
                    </a:lnTo>
                    <a:lnTo>
                      <a:pt x="128" y="56"/>
                    </a:lnTo>
                    <a:lnTo>
                      <a:pt x="148" y="46"/>
                    </a:lnTo>
                    <a:lnTo>
                      <a:pt x="164" y="46"/>
                    </a:lnTo>
                    <a:lnTo>
                      <a:pt x="164" y="54"/>
                    </a:lnTo>
                    <a:lnTo>
                      <a:pt x="176" y="56"/>
                    </a:lnTo>
                    <a:lnTo>
                      <a:pt x="190" y="38"/>
                    </a:lnTo>
                    <a:lnTo>
                      <a:pt x="198" y="44"/>
                    </a:lnTo>
                    <a:lnTo>
                      <a:pt x="210" y="60"/>
                    </a:lnTo>
                    <a:lnTo>
                      <a:pt x="222" y="62"/>
                    </a:lnTo>
                    <a:lnTo>
                      <a:pt x="232" y="48"/>
                    </a:lnTo>
                    <a:lnTo>
                      <a:pt x="238" y="50"/>
                    </a:lnTo>
                    <a:lnTo>
                      <a:pt x="246" y="66"/>
                    </a:lnTo>
                    <a:lnTo>
                      <a:pt x="256" y="58"/>
                    </a:lnTo>
                    <a:lnTo>
                      <a:pt x="274" y="54"/>
                    </a:lnTo>
                    <a:lnTo>
                      <a:pt x="296" y="62"/>
                    </a:lnTo>
                    <a:lnTo>
                      <a:pt x="318" y="68"/>
                    </a:lnTo>
                    <a:lnTo>
                      <a:pt x="344" y="76"/>
                    </a:lnTo>
                    <a:lnTo>
                      <a:pt x="364" y="78"/>
                    </a:lnTo>
                    <a:lnTo>
                      <a:pt x="380" y="86"/>
                    </a:lnTo>
                    <a:lnTo>
                      <a:pt x="382" y="92"/>
                    </a:lnTo>
                    <a:lnTo>
                      <a:pt x="372" y="94"/>
                    </a:lnTo>
                    <a:lnTo>
                      <a:pt x="370" y="102"/>
                    </a:lnTo>
                    <a:lnTo>
                      <a:pt x="384" y="108"/>
                    </a:lnTo>
                    <a:lnTo>
                      <a:pt x="410" y="106"/>
                    </a:lnTo>
                    <a:lnTo>
                      <a:pt x="430" y="106"/>
                    </a:lnTo>
                    <a:lnTo>
                      <a:pt x="438" y="102"/>
                    </a:lnTo>
                    <a:lnTo>
                      <a:pt x="454" y="110"/>
                    </a:lnTo>
                    <a:lnTo>
                      <a:pt x="468" y="120"/>
                    </a:lnTo>
                    <a:lnTo>
                      <a:pt x="474" y="130"/>
                    </a:lnTo>
                    <a:lnTo>
                      <a:pt x="480" y="126"/>
                    </a:lnTo>
                    <a:lnTo>
                      <a:pt x="476" y="110"/>
                    </a:lnTo>
                    <a:lnTo>
                      <a:pt x="474" y="102"/>
                    </a:lnTo>
                    <a:lnTo>
                      <a:pt x="482" y="96"/>
                    </a:lnTo>
                    <a:lnTo>
                      <a:pt x="504" y="88"/>
                    </a:lnTo>
                    <a:lnTo>
                      <a:pt x="520" y="96"/>
                    </a:lnTo>
                    <a:lnTo>
                      <a:pt x="540" y="104"/>
                    </a:lnTo>
                    <a:lnTo>
                      <a:pt x="558" y="106"/>
                    </a:lnTo>
                    <a:lnTo>
                      <a:pt x="580" y="106"/>
                    </a:lnTo>
                    <a:lnTo>
                      <a:pt x="600" y="106"/>
                    </a:lnTo>
                    <a:lnTo>
                      <a:pt x="618" y="108"/>
                    </a:lnTo>
                    <a:lnTo>
                      <a:pt x="622" y="104"/>
                    </a:lnTo>
                    <a:lnTo>
                      <a:pt x="618" y="100"/>
                    </a:lnTo>
                    <a:lnTo>
                      <a:pt x="606" y="98"/>
                    </a:lnTo>
                    <a:lnTo>
                      <a:pt x="608" y="90"/>
                    </a:lnTo>
                    <a:lnTo>
                      <a:pt x="614" y="90"/>
                    </a:lnTo>
                    <a:lnTo>
                      <a:pt x="624" y="92"/>
                    </a:lnTo>
                    <a:lnTo>
                      <a:pt x="636" y="104"/>
                    </a:lnTo>
                    <a:lnTo>
                      <a:pt x="632" y="106"/>
                    </a:lnTo>
                    <a:lnTo>
                      <a:pt x="638" y="116"/>
                    </a:lnTo>
                    <a:lnTo>
                      <a:pt x="642" y="124"/>
                    </a:lnTo>
                    <a:lnTo>
                      <a:pt x="650" y="124"/>
                    </a:lnTo>
                    <a:lnTo>
                      <a:pt x="650" y="110"/>
                    </a:lnTo>
                    <a:lnTo>
                      <a:pt x="648" y="100"/>
                    </a:lnTo>
                    <a:lnTo>
                      <a:pt x="666" y="94"/>
                    </a:lnTo>
                    <a:lnTo>
                      <a:pt x="674" y="84"/>
                    </a:lnTo>
                    <a:lnTo>
                      <a:pt x="672" y="72"/>
                    </a:lnTo>
                    <a:lnTo>
                      <a:pt x="664" y="60"/>
                    </a:lnTo>
                    <a:lnTo>
                      <a:pt x="648" y="56"/>
                    </a:lnTo>
                    <a:lnTo>
                      <a:pt x="636" y="50"/>
                    </a:lnTo>
                    <a:lnTo>
                      <a:pt x="632" y="42"/>
                    </a:lnTo>
                    <a:lnTo>
                      <a:pt x="638" y="32"/>
                    </a:lnTo>
                    <a:lnTo>
                      <a:pt x="632" y="26"/>
                    </a:lnTo>
                    <a:lnTo>
                      <a:pt x="636" y="14"/>
                    </a:lnTo>
                    <a:lnTo>
                      <a:pt x="644" y="14"/>
                    </a:lnTo>
                    <a:lnTo>
                      <a:pt x="648" y="6"/>
                    </a:lnTo>
                    <a:lnTo>
                      <a:pt x="656" y="4"/>
                    </a:lnTo>
                    <a:close/>
                    <a:moveTo>
                      <a:pt x="766" y="166"/>
                    </a:moveTo>
                    <a:lnTo>
                      <a:pt x="766" y="166"/>
                    </a:lnTo>
                    <a:close/>
                    <a:moveTo>
                      <a:pt x="1178" y="388"/>
                    </a:moveTo>
                    <a:lnTo>
                      <a:pt x="1178" y="388"/>
                    </a:lnTo>
                    <a:close/>
                    <a:moveTo>
                      <a:pt x="880" y="598"/>
                    </a:moveTo>
                    <a:lnTo>
                      <a:pt x="880" y="598"/>
                    </a:lnTo>
                    <a:close/>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close/>
                    <a:moveTo>
                      <a:pt x="738" y="158"/>
                    </a:moveTo>
                    <a:lnTo>
                      <a:pt x="736" y="156"/>
                    </a:lnTo>
                    <a:lnTo>
                      <a:pt x="740" y="158"/>
                    </a:lnTo>
                    <a:lnTo>
                      <a:pt x="738" y="158"/>
                    </a:lnTo>
                    <a:lnTo>
                      <a:pt x="738" y="1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0" name="Freeform 59"/>
              <p:cNvSpPr>
                <a:spLocks/>
              </p:cNvSpPr>
              <p:nvPr/>
            </p:nvSpPr>
            <p:spPr bwMode="auto">
              <a:xfrm>
                <a:off x="873" y="1277"/>
                <a:ext cx="1204" cy="616"/>
              </a:xfrm>
              <a:custGeom>
                <a:avLst/>
                <a:gdLst>
                  <a:gd name="T0" fmla="*/ 686 w 1204"/>
                  <a:gd name="T1" fmla="*/ 48 h 616"/>
                  <a:gd name="T2" fmla="*/ 732 w 1204"/>
                  <a:gd name="T3" fmla="*/ 82 h 616"/>
                  <a:gd name="T4" fmla="*/ 752 w 1204"/>
                  <a:gd name="T5" fmla="*/ 106 h 616"/>
                  <a:gd name="T6" fmla="*/ 784 w 1204"/>
                  <a:gd name="T7" fmla="*/ 54 h 616"/>
                  <a:gd name="T8" fmla="*/ 830 w 1204"/>
                  <a:gd name="T9" fmla="*/ 86 h 616"/>
                  <a:gd name="T10" fmla="*/ 804 w 1204"/>
                  <a:gd name="T11" fmla="*/ 128 h 616"/>
                  <a:gd name="T12" fmla="*/ 770 w 1204"/>
                  <a:gd name="T13" fmla="*/ 148 h 616"/>
                  <a:gd name="T14" fmla="*/ 732 w 1204"/>
                  <a:gd name="T15" fmla="*/ 158 h 616"/>
                  <a:gd name="T16" fmla="*/ 732 w 1204"/>
                  <a:gd name="T17" fmla="*/ 188 h 616"/>
                  <a:gd name="T18" fmla="*/ 708 w 1204"/>
                  <a:gd name="T19" fmla="*/ 204 h 616"/>
                  <a:gd name="T20" fmla="*/ 658 w 1204"/>
                  <a:gd name="T21" fmla="*/ 306 h 616"/>
                  <a:gd name="T22" fmla="*/ 726 w 1204"/>
                  <a:gd name="T23" fmla="*/ 340 h 616"/>
                  <a:gd name="T24" fmla="*/ 816 w 1204"/>
                  <a:gd name="T25" fmla="*/ 374 h 616"/>
                  <a:gd name="T26" fmla="*/ 852 w 1204"/>
                  <a:gd name="T27" fmla="*/ 444 h 616"/>
                  <a:gd name="T28" fmla="*/ 874 w 1204"/>
                  <a:gd name="T29" fmla="*/ 400 h 616"/>
                  <a:gd name="T30" fmla="*/ 900 w 1204"/>
                  <a:gd name="T31" fmla="*/ 316 h 616"/>
                  <a:gd name="T32" fmla="*/ 894 w 1204"/>
                  <a:gd name="T33" fmla="*/ 260 h 616"/>
                  <a:gd name="T34" fmla="*/ 944 w 1204"/>
                  <a:gd name="T35" fmla="*/ 228 h 616"/>
                  <a:gd name="T36" fmla="*/ 1008 w 1204"/>
                  <a:gd name="T37" fmla="*/ 268 h 616"/>
                  <a:gd name="T38" fmla="*/ 1054 w 1204"/>
                  <a:gd name="T39" fmla="*/ 304 h 616"/>
                  <a:gd name="T40" fmla="*/ 1108 w 1204"/>
                  <a:gd name="T41" fmla="*/ 308 h 616"/>
                  <a:gd name="T42" fmla="*/ 1134 w 1204"/>
                  <a:gd name="T43" fmla="*/ 364 h 616"/>
                  <a:gd name="T44" fmla="*/ 1172 w 1204"/>
                  <a:gd name="T45" fmla="*/ 390 h 616"/>
                  <a:gd name="T46" fmla="*/ 1158 w 1204"/>
                  <a:gd name="T47" fmla="*/ 402 h 616"/>
                  <a:gd name="T48" fmla="*/ 1204 w 1204"/>
                  <a:gd name="T49" fmla="*/ 424 h 616"/>
                  <a:gd name="T50" fmla="*/ 1126 w 1204"/>
                  <a:gd name="T51" fmla="*/ 472 h 616"/>
                  <a:gd name="T52" fmla="*/ 1014 w 1204"/>
                  <a:gd name="T53" fmla="*/ 500 h 616"/>
                  <a:gd name="T54" fmla="*/ 998 w 1204"/>
                  <a:gd name="T55" fmla="*/ 526 h 616"/>
                  <a:gd name="T56" fmla="*/ 1082 w 1204"/>
                  <a:gd name="T57" fmla="*/ 492 h 616"/>
                  <a:gd name="T58" fmla="*/ 1078 w 1204"/>
                  <a:gd name="T59" fmla="*/ 538 h 616"/>
                  <a:gd name="T60" fmla="*/ 1140 w 1204"/>
                  <a:gd name="T61" fmla="*/ 532 h 616"/>
                  <a:gd name="T62" fmla="*/ 1122 w 1204"/>
                  <a:gd name="T63" fmla="*/ 562 h 616"/>
                  <a:gd name="T64" fmla="*/ 1058 w 1204"/>
                  <a:gd name="T65" fmla="*/ 586 h 616"/>
                  <a:gd name="T66" fmla="*/ 1082 w 1204"/>
                  <a:gd name="T67" fmla="*/ 554 h 616"/>
                  <a:gd name="T68" fmla="*/ 1034 w 1204"/>
                  <a:gd name="T69" fmla="*/ 546 h 616"/>
                  <a:gd name="T70" fmla="*/ 996 w 1204"/>
                  <a:gd name="T71" fmla="*/ 546 h 616"/>
                  <a:gd name="T72" fmla="*/ 904 w 1204"/>
                  <a:gd name="T73" fmla="*/ 582 h 616"/>
                  <a:gd name="T74" fmla="*/ 874 w 1204"/>
                  <a:gd name="T75" fmla="*/ 596 h 616"/>
                  <a:gd name="T76" fmla="*/ 820 w 1204"/>
                  <a:gd name="T77" fmla="*/ 614 h 616"/>
                  <a:gd name="T78" fmla="*/ 838 w 1204"/>
                  <a:gd name="T79" fmla="*/ 578 h 616"/>
                  <a:gd name="T80" fmla="*/ 858 w 1204"/>
                  <a:gd name="T81" fmla="*/ 556 h 616"/>
                  <a:gd name="T82" fmla="*/ 796 w 1204"/>
                  <a:gd name="T83" fmla="*/ 526 h 616"/>
                  <a:gd name="T84" fmla="*/ 752 w 1204"/>
                  <a:gd name="T85" fmla="*/ 494 h 616"/>
                  <a:gd name="T86" fmla="*/ 700 w 1204"/>
                  <a:gd name="T87" fmla="*/ 508 h 616"/>
                  <a:gd name="T88" fmla="*/ 644 w 1204"/>
                  <a:gd name="T89" fmla="*/ 486 h 616"/>
                  <a:gd name="T90" fmla="*/ 224 w 1204"/>
                  <a:gd name="T91" fmla="*/ 460 h 616"/>
                  <a:gd name="T92" fmla="*/ 186 w 1204"/>
                  <a:gd name="T93" fmla="*/ 434 h 616"/>
                  <a:gd name="T94" fmla="*/ 174 w 1204"/>
                  <a:gd name="T95" fmla="*/ 400 h 616"/>
                  <a:gd name="T96" fmla="*/ 160 w 1204"/>
                  <a:gd name="T97" fmla="*/ 374 h 616"/>
                  <a:gd name="T98" fmla="*/ 122 w 1204"/>
                  <a:gd name="T99" fmla="*/ 332 h 616"/>
                  <a:gd name="T100" fmla="*/ 52 w 1204"/>
                  <a:gd name="T101" fmla="*/ 294 h 616"/>
                  <a:gd name="T102" fmla="*/ 16 w 1204"/>
                  <a:gd name="T103" fmla="*/ 56 h 616"/>
                  <a:gd name="T104" fmla="*/ 124 w 1204"/>
                  <a:gd name="T105" fmla="*/ 52 h 616"/>
                  <a:gd name="T106" fmla="*/ 206 w 1204"/>
                  <a:gd name="T107" fmla="*/ 56 h 616"/>
                  <a:gd name="T108" fmla="*/ 292 w 1204"/>
                  <a:gd name="T109" fmla="*/ 58 h 616"/>
                  <a:gd name="T110" fmla="*/ 366 w 1204"/>
                  <a:gd name="T111" fmla="*/ 98 h 616"/>
                  <a:gd name="T112" fmla="*/ 470 w 1204"/>
                  <a:gd name="T113" fmla="*/ 126 h 616"/>
                  <a:gd name="T114" fmla="*/ 536 w 1204"/>
                  <a:gd name="T115" fmla="*/ 100 h 616"/>
                  <a:gd name="T116" fmla="*/ 602 w 1204"/>
                  <a:gd name="T117" fmla="*/ 94 h 616"/>
                  <a:gd name="T118" fmla="*/ 638 w 1204"/>
                  <a:gd name="T119" fmla="*/ 120 h 616"/>
                  <a:gd name="T120" fmla="*/ 660 w 1204"/>
                  <a:gd name="T121" fmla="*/ 56 h 616"/>
                  <a:gd name="T122" fmla="*/ 640 w 1204"/>
                  <a:gd name="T123" fmla="*/ 1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4" h="616">
                    <a:moveTo>
                      <a:pt x="652" y="0"/>
                    </a:moveTo>
                    <a:lnTo>
                      <a:pt x="668" y="2"/>
                    </a:lnTo>
                    <a:lnTo>
                      <a:pt x="680" y="18"/>
                    </a:lnTo>
                    <a:lnTo>
                      <a:pt x="682" y="22"/>
                    </a:lnTo>
                    <a:lnTo>
                      <a:pt x="690" y="34"/>
                    </a:lnTo>
                    <a:lnTo>
                      <a:pt x="692" y="42"/>
                    </a:lnTo>
                    <a:lnTo>
                      <a:pt x="686" y="48"/>
                    </a:lnTo>
                    <a:lnTo>
                      <a:pt x="690" y="56"/>
                    </a:lnTo>
                    <a:lnTo>
                      <a:pt x="700" y="54"/>
                    </a:lnTo>
                    <a:lnTo>
                      <a:pt x="708" y="56"/>
                    </a:lnTo>
                    <a:lnTo>
                      <a:pt x="710" y="70"/>
                    </a:lnTo>
                    <a:lnTo>
                      <a:pt x="716" y="84"/>
                    </a:lnTo>
                    <a:lnTo>
                      <a:pt x="724" y="86"/>
                    </a:lnTo>
                    <a:lnTo>
                      <a:pt x="732" y="82"/>
                    </a:lnTo>
                    <a:lnTo>
                      <a:pt x="726" y="72"/>
                    </a:lnTo>
                    <a:lnTo>
                      <a:pt x="732" y="66"/>
                    </a:lnTo>
                    <a:lnTo>
                      <a:pt x="742" y="68"/>
                    </a:lnTo>
                    <a:lnTo>
                      <a:pt x="750" y="80"/>
                    </a:lnTo>
                    <a:lnTo>
                      <a:pt x="746" y="88"/>
                    </a:lnTo>
                    <a:lnTo>
                      <a:pt x="744" y="100"/>
                    </a:lnTo>
                    <a:lnTo>
                      <a:pt x="752" y="106"/>
                    </a:lnTo>
                    <a:lnTo>
                      <a:pt x="764" y="112"/>
                    </a:lnTo>
                    <a:lnTo>
                      <a:pt x="772" y="106"/>
                    </a:lnTo>
                    <a:lnTo>
                      <a:pt x="780" y="94"/>
                    </a:lnTo>
                    <a:lnTo>
                      <a:pt x="782" y="80"/>
                    </a:lnTo>
                    <a:lnTo>
                      <a:pt x="792" y="72"/>
                    </a:lnTo>
                    <a:lnTo>
                      <a:pt x="790" y="66"/>
                    </a:lnTo>
                    <a:lnTo>
                      <a:pt x="784" y="54"/>
                    </a:lnTo>
                    <a:lnTo>
                      <a:pt x="786" y="50"/>
                    </a:lnTo>
                    <a:lnTo>
                      <a:pt x="802" y="52"/>
                    </a:lnTo>
                    <a:lnTo>
                      <a:pt x="822" y="58"/>
                    </a:lnTo>
                    <a:lnTo>
                      <a:pt x="834" y="68"/>
                    </a:lnTo>
                    <a:lnTo>
                      <a:pt x="844" y="80"/>
                    </a:lnTo>
                    <a:lnTo>
                      <a:pt x="838" y="84"/>
                    </a:lnTo>
                    <a:lnTo>
                      <a:pt x="830" y="86"/>
                    </a:lnTo>
                    <a:lnTo>
                      <a:pt x="832" y="94"/>
                    </a:lnTo>
                    <a:lnTo>
                      <a:pt x="838" y="102"/>
                    </a:lnTo>
                    <a:lnTo>
                      <a:pt x="844" y="112"/>
                    </a:lnTo>
                    <a:lnTo>
                      <a:pt x="836" y="120"/>
                    </a:lnTo>
                    <a:lnTo>
                      <a:pt x="826" y="130"/>
                    </a:lnTo>
                    <a:lnTo>
                      <a:pt x="816" y="136"/>
                    </a:lnTo>
                    <a:lnTo>
                      <a:pt x="804" y="128"/>
                    </a:lnTo>
                    <a:lnTo>
                      <a:pt x="800" y="136"/>
                    </a:lnTo>
                    <a:lnTo>
                      <a:pt x="794" y="138"/>
                    </a:lnTo>
                    <a:lnTo>
                      <a:pt x="782" y="128"/>
                    </a:lnTo>
                    <a:lnTo>
                      <a:pt x="774" y="128"/>
                    </a:lnTo>
                    <a:lnTo>
                      <a:pt x="770" y="134"/>
                    </a:lnTo>
                    <a:lnTo>
                      <a:pt x="776" y="138"/>
                    </a:lnTo>
                    <a:lnTo>
                      <a:pt x="770" y="148"/>
                    </a:lnTo>
                    <a:lnTo>
                      <a:pt x="764" y="154"/>
                    </a:lnTo>
                    <a:lnTo>
                      <a:pt x="754" y="156"/>
                    </a:lnTo>
                    <a:lnTo>
                      <a:pt x="744" y="154"/>
                    </a:lnTo>
                    <a:lnTo>
                      <a:pt x="732" y="148"/>
                    </a:lnTo>
                    <a:lnTo>
                      <a:pt x="724" y="146"/>
                    </a:lnTo>
                    <a:lnTo>
                      <a:pt x="728" y="154"/>
                    </a:lnTo>
                    <a:lnTo>
                      <a:pt x="732" y="158"/>
                    </a:lnTo>
                    <a:lnTo>
                      <a:pt x="744" y="160"/>
                    </a:lnTo>
                    <a:lnTo>
                      <a:pt x="750" y="162"/>
                    </a:lnTo>
                    <a:lnTo>
                      <a:pt x="762" y="162"/>
                    </a:lnTo>
                    <a:lnTo>
                      <a:pt x="756" y="170"/>
                    </a:lnTo>
                    <a:lnTo>
                      <a:pt x="748" y="182"/>
                    </a:lnTo>
                    <a:lnTo>
                      <a:pt x="740" y="188"/>
                    </a:lnTo>
                    <a:lnTo>
                      <a:pt x="732" y="188"/>
                    </a:lnTo>
                    <a:lnTo>
                      <a:pt x="724" y="188"/>
                    </a:lnTo>
                    <a:lnTo>
                      <a:pt x="716" y="186"/>
                    </a:lnTo>
                    <a:lnTo>
                      <a:pt x="716" y="194"/>
                    </a:lnTo>
                    <a:lnTo>
                      <a:pt x="700" y="196"/>
                    </a:lnTo>
                    <a:lnTo>
                      <a:pt x="688" y="192"/>
                    </a:lnTo>
                    <a:lnTo>
                      <a:pt x="694" y="198"/>
                    </a:lnTo>
                    <a:lnTo>
                      <a:pt x="708" y="204"/>
                    </a:lnTo>
                    <a:lnTo>
                      <a:pt x="710" y="212"/>
                    </a:lnTo>
                    <a:lnTo>
                      <a:pt x="694" y="216"/>
                    </a:lnTo>
                    <a:lnTo>
                      <a:pt x="676" y="232"/>
                    </a:lnTo>
                    <a:lnTo>
                      <a:pt x="660" y="258"/>
                    </a:lnTo>
                    <a:lnTo>
                      <a:pt x="654" y="296"/>
                    </a:lnTo>
                    <a:lnTo>
                      <a:pt x="656" y="300"/>
                    </a:lnTo>
                    <a:lnTo>
                      <a:pt x="658" y="306"/>
                    </a:lnTo>
                    <a:lnTo>
                      <a:pt x="666" y="306"/>
                    </a:lnTo>
                    <a:lnTo>
                      <a:pt x="674" y="306"/>
                    </a:lnTo>
                    <a:lnTo>
                      <a:pt x="678" y="314"/>
                    </a:lnTo>
                    <a:lnTo>
                      <a:pt x="684" y="338"/>
                    </a:lnTo>
                    <a:lnTo>
                      <a:pt x="698" y="334"/>
                    </a:lnTo>
                    <a:lnTo>
                      <a:pt x="714" y="334"/>
                    </a:lnTo>
                    <a:lnTo>
                      <a:pt x="726" y="340"/>
                    </a:lnTo>
                    <a:lnTo>
                      <a:pt x="740" y="340"/>
                    </a:lnTo>
                    <a:lnTo>
                      <a:pt x="754" y="356"/>
                    </a:lnTo>
                    <a:lnTo>
                      <a:pt x="770" y="364"/>
                    </a:lnTo>
                    <a:lnTo>
                      <a:pt x="790" y="372"/>
                    </a:lnTo>
                    <a:lnTo>
                      <a:pt x="798" y="372"/>
                    </a:lnTo>
                    <a:lnTo>
                      <a:pt x="806" y="374"/>
                    </a:lnTo>
                    <a:lnTo>
                      <a:pt x="816" y="374"/>
                    </a:lnTo>
                    <a:lnTo>
                      <a:pt x="828" y="374"/>
                    </a:lnTo>
                    <a:lnTo>
                      <a:pt x="830" y="394"/>
                    </a:lnTo>
                    <a:lnTo>
                      <a:pt x="830" y="408"/>
                    </a:lnTo>
                    <a:lnTo>
                      <a:pt x="830" y="412"/>
                    </a:lnTo>
                    <a:lnTo>
                      <a:pt x="830" y="420"/>
                    </a:lnTo>
                    <a:lnTo>
                      <a:pt x="842" y="432"/>
                    </a:lnTo>
                    <a:lnTo>
                      <a:pt x="852" y="444"/>
                    </a:lnTo>
                    <a:lnTo>
                      <a:pt x="858" y="448"/>
                    </a:lnTo>
                    <a:lnTo>
                      <a:pt x="864" y="452"/>
                    </a:lnTo>
                    <a:lnTo>
                      <a:pt x="878" y="444"/>
                    </a:lnTo>
                    <a:lnTo>
                      <a:pt x="880" y="438"/>
                    </a:lnTo>
                    <a:lnTo>
                      <a:pt x="882" y="430"/>
                    </a:lnTo>
                    <a:lnTo>
                      <a:pt x="878" y="412"/>
                    </a:lnTo>
                    <a:lnTo>
                      <a:pt x="874" y="400"/>
                    </a:lnTo>
                    <a:lnTo>
                      <a:pt x="866" y="382"/>
                    </a:lnTo>
                    <a:lnTo>
                      <a:pt x="874" y="378"/>
                    </a:lnTo>
                    <a:lnTo>
                      <a:pt x="894" y="374"/>
                    </a:lnTo>
                    <a:lnTo>
                      <a:pt x="902" y="362"/>
                    </a:lnTo>
                    <a:lnTo>
                      <a:pt x="912" y="352"/>
                    </a:lnTo>
                    <a:lnTo>
                      <a:pt x="910" y="332"/>
                    </a:lnTo>
                    <a:lnTo>
                      <a:pt x="900" y="316"/>
                    </a:lnTo>
                    <a:lnTo>
                      <a:pt x="890" y="308"/>
                    </a:lnTo>
                    <a:lnTo>
                      <a:pt x="880" y="304"/>
                    </a:lnTo>
                    <a:lnTo>
                      <a:pt x="882" y="298"/>
                    </a:lnTo>
                    <a:lnTo>
                      <a:pt x="888" y="292"/>
                    </a:lnTo>
                    <a:lnTo>
                      <a:pt x="896" y="282"/>
                    </a:lnTo>
                    <a:lnTo>
                      <a:pt x="896" y="272"/>
                    </a:lnTo>
                    <a:lnTo>
                      <a:pt x="894" y="260"/>
                    </a:lnTo>
                    <a:lnTo>
                      <a:pt x="896" y="244"/>
                    </a:lnTo>
                    <a:lnTo>
                      <a:pt x="888" y="236"/>
                    </a:lnTo>
                    <a:lnTo>
                      <a:pt x="892" y="222"/>
                    </a:lnTo>
                    <a:lnTo>
                      <a:pt x="908" y="222"/>
                    </a:lnTo>
                    <a:lnTo>
                      <a:pt x="922" y="228"/>
                    </a:lnTo>
                    <a:lnTo>
                      <a:pt x="930" y="230"/>
                    </a:lnTo>
                    <a:lnTo>
                      <a:pt x="944" y="228"/>
                    </a:lnTo>
                    <a:lnTo>
                      <a:pt x="948" y="220"/>
                    </a:lnTo>
                    <a:lnTo>
                      <a:pt x="960" y="228"/>
                    </a:lnTo>
                    <a:lnTo>
                      <a:pt x="972" y="238"/>
                    </a:lnTo>
                    <a:lnTo>
                      <a:pt x="978" y="248"/>
                    </a:lnTo>
                    <a:lnTo>
                      <a:pt x="992" y="254"/>
                    </a:lnTo>
                    <a:lnTo>
                      <a:pt x="1010" y="258"/>
                    </a:lnTo>
                    <a:lnTo>
                      <a:pt x="1008" y="268"/>
                    </a:lnTo>
                    <a:lnTo>
                      <a:pt x="1008" y="280"/>
                    </a:lnTo>
                    <a:lnTo>
                      <a:pt x="1012" y="292"/>
                    </a:lnTo>
                    <a:lnTo>
                      <a:pt x="1012" y="300"/>
                    </a:lnTo>
                    <a:lnTo>
                      <a:pt x="1024" y="302"/>
                    </a:lnTo>
                    <a:lnTo>
                      <a:pt x="1030" y="308"/>
                    </a:lnTo>
                    <a:lnTo>
                      <a:pt x="1042" y="314"/>
                    </a:lnTo>
                    <a:lnTo>
                      <a:pt x="1054" y="304"/>
                    </a:lnTo>
                    <a:lnTo>
                      <a:pt x="1066" y="292"/>
                    </a:lnTo>
                    <a:lnTo>
                      <a:pt x="1066" y="282"/>
                    </a:lnTo>
                    <a:lnTo>
                      <a:pt x="1074" y="272"/>
                    </a:lnTo>
                    <a:lnTo>
                      <a:pt x="1078" y="268"/>
                    </a:lnTo>
                    <a:lnTo>
                      <a:pt x="1086" y="278"/>
                    </a:lnTo>
                    <a:lnTo>
                      <a:pt x="1094" y="292"/>
                    </a:lnTo>
                    <a:lnTo>
                      <a:pt x="1108" y="308"/>
                    </a:lnTo>
                    <a:lnTo>
                      <a:pt x="1108" y="316"/>
                    </a:lnTo>
                    <a:lnTo>
                      <a:pt x="1118" y="322"/>
                    </a:lnTo>
                    <a:lnTo>
                      <a:pt x="1120" y="332"/>
                    </a:lnTo>
                    <a:lnTo>
                      <a:pt x="1124" y="342"/>
                    </a:lnTo>
                    <a:lnTo>
                      <a:pt x="1118" y="348"/>
                    </a:lnTo>
                    <a:lnTo>
                      <a:pt x="1120" y="356"/>
                    </a:lnTo>
                    <a:lnTo>
                      <a:pt x="1134" y="364"/>
                    </a:lnTo>
                    <a:lnTo>
                      <a:pt x="1136" y="368"/>
                    </a:lnTo>
                    <a:lnTo>
                      <a:pt x="1136" y="374"/>
                    </a:lnTo>
                    <a:lnTo>
                      <a:pt x="1144" y="376"/>
                    </a:lnTo>
                    <a:lnTo>
                      <a:pt x="1158" y="380"/>
                    </a:lnTo>
                    <a:lnTo>
                      <a:pt x="1168" y="384"/>
                    </a:lnTo>
                    <a:lnTo>
                      <a:pt x="1174" y="384"/>
                    </a:lnTo>
                    <a:lnTo>
                      <a:pt x="1172" y="390"/>
                    </a:lnTo>
                    <a:lnTo>
                      <a:pt x="1158" y="396"/>
                    </a:lnTo>
                    <a:lnTo>
                      <a:pt x="1152" y="400"/>
                    </a:lnTo>
                    <a:lnTo>
                      <a:pt x="1140" y="406"/>
                    </a:lnTo>
                    <a:lnTo>
                      <a:pt x="1142" y="408"/>
                    </a:lnTo>
                    <a:lnTo>
                      <a:pt x="1142" y="408"/>
                    </a:lnTo>
                    <a:lnTo>
                      <a:pt x="1144" y="408"/>
                    </a:lnTo>
                    <a:lnTo>
                      <a:pt x="1158" y="402"/>
                    </a:lnTo>
                    <a:lnTo>
                      <a:pt x="1172" y="396"/>
                    </a:lnTo>
                    <a:lnTo>
                      <a:pt x="1180" y="394"/>
                    </a:lnTo>
                    <a:lnTo>
                      <a:pt x="1184" y="404"/>
                    </a:lnTo>
                    <a:lnTo>
                      <a:pt x="1186" y="404"/>
                    </a:lnTo>
                    <a:lnTo>
                      <a:pt x="1190" y="404"/>
                    </a:lnTo>
                    <a:lnTo>
                      <a:pt x="1202" y="408"/>
                    </a:lnTo>
                    <a:lnTo>
                      <a:pt x="1204" y="424"/>
                    </a:lnTo>
                    <a:lnTo>
                      <a:pt x="1202" y="436"/>
                    </a:lnTo>
                    <a:lnTo>
                      <a:pt x="1194" y="442"/>
                    </a:lnTo>
                    <a:lnTo>
                      <a:pt x="1186" y="448"/>
                    </a:lnTo>
                    <a:lnTo>
                      <a:pt x="1168" y="448"/>
                    </a:lnTo>
                    <a:lnTo>
                      <a:pt x="1160" y="458"/>
                    </a:lnTo>
                    <a:lnTo>
                      <a:pt x="1146" y="468"/>
                    </a:lnTo>
                    <a:lnTo>
                      <a:pt x="1126" y="472"/>
                    </a:lnTo>
                    <a:lnTo>
                      <a:pt x="1104" y="468"/>
                    </a:lnTo>
                    <a:lnTo>
                      <a:pt x="1086" y="468"/>
                    </a:lnTo>
                    <a:lnTo>
                      <a:pt x="1060" y="470"/>
                    </a:lnTo>
                    <a:lnTo>
                      <a:pt x="1046" y="474"/>
                    </a:lnTo>
                    <a:lnTo>
                      <a:pt x="1040" y="486"/>
                    </a:lnTo>
                    <a:lnTo>
                      <a:pt x="1026" y="490"/>
                    </a:lnTo>
                    <a:lnTo>
                      <a:pt x="1014" y="500"/>
                    </a:lnTo>
                    <a:lnTo>
                      <a:pt x="1006" y="508"/>
                    </a:lnTo>
                    <a:lnTo>
                      <a:pt x="994" y="524"/>
                    </a:lnTo>
                    <a:lnTo>
                      <a:pt x="992" y="526"/>
                    </a:lnTo>
                    <a:lnTo>
                      <a:pt x="990" y="528"/>
                    </a:lnTo>
                    <a:lnTo>
                      <a:pt x="990" y="530"/>
                    </a:lnTo>
                    <a:lnTo>
                      <a:pt x="994" y="526"/>
                    </a:lnTo>
                    <a:lnTo>
                      <a:pt x="998" y="526"/>
                    </a:lnTo>
                    <a:lnTo>
                      <a:pt x="1010" y="510"/>
                    </a:lnTo>
                    <a:lnTo>
                      <a:pt x="1026" y="502"/>
                    </a:lnTo>
                    <a:lnTo>
                      <a:pt x="1042" y="494"/>
                    </a:lnTo>
                    <a:lnTo>
                      <a:pt x="1046" y="492"/>
                    </a:lnTo>
                    <a:lnTo>
                      <a:pt x="1056" y="488"/>
                    </a:lnTo>
                    <a:lnTo>
                      <a:pt x="1072" y="490"/>
                    </a:lnTo>
                    <a:lnTo>
                      <a:pt x="1082" y="492"/>
                    </a:lnTo>
                    <a:lnTo>
                      <a:pt x="1086" y="502"/>
                    </a:lnTo>
                    <a:lnTo>
                      <a:pt x="1082" y="508"/>
                    </a:lnTo>
                    <a:lnTo>
                      <a:pt x="1074" y="508"/>
                    </a:lnTo>
                    <a:lnTo>
                      <a:pt x="1076" y="518"/>
                    </a:lnTo>
                    <a:lnTo>
                      <a:pt x="1074" y="526"/>
                    </a:lnTo>
                    <a:lnTo>
                      <a:pt x="1076" y="530"/>
                    </a:lnTo>
                    <a:lnTo>
                      <a:pt x="1078" y="538"/>
                    </a:lnTo>
                    <a:lnTo>
                      <a:pt x="1090" y="544"/>
                    </a:lnTo>
                    <a:lnTo>
                      <a:pt x="1102" y="548"/>
                    </a:lnTo>
                    <a:lnTo>
                      <a:pt x="1118" y="548"/>
                    </a:lnTo>
                    <a:lnTo>
                      <a:pt x="1124" y="546"/>
                    </a:lnTo>
                    <a:lnTo>
                      <a:pt x="1128" y="540"/>
                    </a:lnTo>
                    <a:lnTo>
                      <a:pt x="1132" y="532"/>
                    </a:lnTo>
                    <a:lnTo>
                      <a:pt x="1140" y="532"/>
                    </a:lnTo>
                    <a:lnTo>
                      <a:pt x="1140" y="540"/>
                    </a:lnTo>
                    <a:lnTo>
                      <a:pt x="1144" y="542"/>
                    </a:lnTo>
                    <a:lnTo>
                      <a:pt x="1144" y="550"/>
                    </a:lnTo>
                    <a:lnTo>
                      <a:pt x="1136" y="550"/>
                    </a:lnTo>
                    <a:lnTo>
                      <a:pt x="1130" y="550"/>
                    </a:lnTo>
                    <a:lnTo>
                      <a:pt x="1124" y="560"/>
                    </a:lnTo>
                    <a:lnTo>
                      <a:pt x="1122" y="562"/>
                    </a:lnTo>
                    <a:lnTo>
                      <a:pt x="1110" y="566"/>
                    </a:lnTo>
                    <a:lnTo>
                      <a:pt x="1096" y="572"/>
                    </a:lnTo>
                    <a:lnTo>
                      <a:pt x="1088" y="572"/>
                    </a:lnTo>
                    <a:lnTo>
                      <a:pt x="1080" y="578"/>
                    </a:lnTo>
                    <a:lnTo>
                      <a:pt x="1074" y="586"/>
                    </a:lnTo>
                    <a:lnTo>
                      <a:pt x="1068" y="592"/>
                    </a:lnTo>
                    <a:lnTo>
                      <a:pt x="1058" y="586"/>
                    </a:lnTo>
                    <a:lnTo>
                      <a:pt x="1058" y="578"/>
                    </a:lnTo>
                    <a:lnTo>
                      <a:pt x="1060" y="572"/>
                    </a:lnTo>
                    <a:lnTo>
                      <a:pt x="1072" y="564"/>
                    </a:lnTo>
                    <a:lnTo>
                      <a:pt x="1082" y="560"/>
                    </a:lnTo>
                    <a:lnTo>
                      <a:pt x="1084" y="560"/>
                    </a:lnTo>
                    <a:lnTo>
                      <a:pt x="1084" y="558"/>
                    </a:lnTo>
                    <a:lnTo>
                      <a:pt x="1082" y="554"/>
                    </a:lnTo>
                    <a:lnTo>
                      <a:pt x="1078" y="552"/>
                    </a:lnTo>
                    <a:lnTo>
                      <a:pt x="1068" y="558"/>
                    </a:lnTo>
                    <a:lnTo>
                      <a:pt x="1058" y="560"/>
                    </a:lnTo>
                    <a:lnTo>
                      <a:pt x="1044" y="564"/>
                    </a:lnTo>
                    <a:lnTo>
                      <a:pt x="1042" y="560"/>
                    </a:lnTo>
                    <a:lnTo>
                      <a:pt x="1036" y="554"/>
                    </a:lnTo>
                    <a:lnTo>
                      <a:pt x="1034" y="546"/>
                    </a:lnTo>
                    <a:lnTo>
                      <a:pt x="1036" y="532"/>
                    </a:lnTo>
                    <a:lnTo>
                      <a:pt x="1034" y="526"/>
                    </a:lnTo>
                    <a:lnTo>
                      <a:pt x="1022" y="522"/>
                    </a:lnTo>
                    <a:lnTo>
                      <a:pt x="1014" y="518"/>
                    </a:lnTo>
                    <a:lnTo>
                      <a:pt x="1008" y="526"/>
                    </a:lnTo>
                    <a:lnTo>
                      <a:pt x="1000" y="538"/>
                    </a:lnTo>
                    <a:lnTo>
                      <a:pt x="996" y="546"/>
                    </a:lnTo>
                    <a:lnTo>
                      <a:pt x="996" y="552"/>
                    </a:lnTo>
                    <a:lnTo>
                      <a:pt x="992" y="560"/>
                    </a:lnTo>
                    <a:lnTo>
                      <a:pt x="980" y="564"/>
                    </a:lnTo>
                    <a:lnTo>
                      <a:pt x="928" y="564"/>
                    </a:lnTo>
                    <a:lnTo>
                      <a:pt x="914" y="576"/>
                    </a:lnTo>
                    <a:lnTo>
                      <a:pt x="910" y="578"/>
                    </a:lnTo>
                    <a:lnTo>
                      <a:pt x="904" y="582"/>
                    </a:lnTo>
                    <a:lnTo>
                      <a:pt x="894" y="582"/>
                    </a:lnTo>
                    <a:lnTo>
                      <a:pt x="880" y="582"/>
                    </a:lnTo>
                    <a:lnTo>
                      <a:pt x="874" y="586"/>
                    </a:lnTo>
                    <a:lnTo>
                      <a:pt x="866" y="590"/>
                    </a:lnTo>
                    <a:lnTo>
                      <a:pt x="868" y="594"/>
                    </a:lnTo>
                    <a:lnTo>
                      <a:pt x="876" y="594"/>
                    </a:lnTo>
                    <a:lnTo>
                      <a:pt x="874" y="596"/>
                    </a:lnTo>
                    <a:lnTo>
                      <a:pt x="876" y="600"/>
                    </a:lnTo>
                    <a:lnTo>
                      <a:pt x="860" y="602"/>
                    </a:lnTo>
                    <a:lnTo>
                      <a:pt x="846" y="606"/>
                    </a:lnTo>
                    <a:lnTo>
                      <a:pt x="838" y="608"/>
                    </a:lnTo>
                    <a:lnTo>
                      <a:pt x="830" y="612"/>
                    </a:lnTo>
                    <a:lnTo>
                      <a:pt x="824" y="616"/>
                    </a:lnTo>
                    <a:lnTo>
                      <a:pt x="820" y="614"/>
                    </a:lnTo>
                    <a:lnTo>
                      <a:pt x="820" y="608"/>
                    </a:lnTo>
                    <a:lnTo>
                      <a:pt x="822" y="606"/>
                    </a:lnTo>
                    <a:lnTo>
                      <a:pt x="822" y="598"/>
                    </a:lnTo>
                    <a:lnTo>
                      <a:pt x="828" y="596"/>
                    </a:lnTo>
                    <a:lnTo>
                      <a:pt x="834" y="594"/>
                    </a:lnTo>
                    <a:lnTo>
                      <a:pt x="836" y="586"/>
                    </a:lnTo>
                    <a:lnTo>
                      <a:pt x="838" y="578"/>
                    </a:lnTo>
                    <a:lnTo>
                      <a:pt x="844" y="574"/>
                    </a:lnTo>
                    <a:lnTo>
                      <a:pt x="846" y="568"/>
                    </a:lnTo>
                    <a:lnTo>
                      <a:pt x="848" y="568"/>
                    </a:lnTo>
                    <a:lnTo>
                      <a:pt x="854" y="574"/>
                    </a:lnTo>
                    <a:lnTo>
                      <a:pt x="862" y="572"/>
                    </a:lnTo>
                    <a:lnTo>
                      <a:pt x="862" y="564"/>
                    </a:lnTo>
                    <a:lnTo>
                      <a:pt x="858" y="556"/>
                    </a:lnTo>
                    <a:lnTo>
                      <a:pt x="850" y="548"/>
                    </a:lnTo>
                    <a:lnTo>
                      <a:pt x="840" y="544"/>
                    </a:lnTo>
                    <a:lnTo>
                      <a:pt x="830" y="542"/>
                    </a:lnTo>
                    <a:lnTo>
                      <a:pt x="814" y="542"/>
                    </a:lnTo>
                    <a:lnTo>
                      <a:pt x="804" y="542"/>
                    </a:lnTo>
                    <a:lnTo>
                      <a:pt x="798" y="536"/>
                    </a:lnTo>
                    <a:lnTo>
                      <a:pt x="796" y="526"/>
                    </a:lnTo>
                    <a:lnTo>
                      <a:pt x="792" y="516"/>
                    </a:lnTo>
                    <a:lnTo>
                      <a:pt x="790" y="512"/>
                    </a:lnTo>
                    <a:lnTo>
                      <a:pt x="780" y="512"/>
                    </a:lnTo>
                    <a:lnTo>
                      <a:pt x="776" y="506"/>
                    </a:lnTo>
                    <a:lnTo>
                      <a:pt x="770" y="498"/>
                    </a:lnTo>
                    <a:lnTo>
                      <a:pt x="762" y="498"/>
                    </a:lnTo>
                    <a:lnTo>
                      <a:pt x="752" y="494"/>
                    </a:lnTo>
                    <a:lnTo>
                      <a:pt x="746" y="494"/>
                    </a:lnTo>
                    <a:lnTo>
                      <a:pt x="738" y="500"/>
                    </a:lnTo>
                    <a:lnTo>
                      <a:pt x="730" y="506"/>
                    </a:lnTo>
                    <a:lnTo>
                      <a:pt x="722" y="510"/>
                    </a:lnTo>
                    <a:lnTo>
                      <a:pt x="716" y="508"/>
                    </a:lnTo>
                    <a:lnTo>
                      <a:pt x="708" y="508"/>
                    </a:lnTo>
                    <a:lnTo>
                      <a:pt x="700" y="508"/>
                    </a:lnTo>
                    <a:lnTo>
                      <a:pt x="698" y="508"/>
                    </a:lnTo>
                    <a:lnTo>
                      <a:pt x="688" y="504"/>
                    </a:lnTo>
                    <a:lnTo>
                      <a:pt x="666" y="500"/>
                    </a:lnTo>
                    <a:lnTo>
                      <a:pt x="656" y="496"/>
                    </a:lnTo>
                    <a:lnTo>
                      <a:pt x="652" y="492"/>
                    </a:lnTo>
                    <a:lnTo>
                      <a:pt x="650" y="486"/>
                    </a:lnTo>
                    <a:lnTo>
                      <a:pt x="644" y="486"/>
                    </a:lnTo>
                    <a:lnTo>
                      <a:pt x="642" y="492"/>
                    </a:lnTo>
                    <a:lnTo>
                      <a:pt x="258" y="492"/>
                    </a:lnTo>
                    <a:lnTo>
                      <a:pt x="252" y="484"/>
                    </a:lnTo>
                    <a:lnTo>
                      <a:pt x="242" y="474"/>
                    </a:lnTo>
                    <a:lnTo>
                      <a:pt x="238" y="478"/>
                    </a:lnTo>
                    <a:lnTo>
                      <a:pt x="228" y="470"/>
                    </a:lnTo>
                    <a:lnTo>
                      <a:pt x="224" y="460"/>
                    </a:lnTo>
                    <a:lnTo>
                      <a:pt x="218" y="464"/>
                    </a:lnTo>
                    <a:lnTo>
                      <a:pt x="208" y="458"/>
                    </a:lnTo>
                    <a:lnTo>
                      <a:pt x="192" y="456"/>
                    </a:lnTo>
                    <a:lnTo>
                      <a:pt x="194" y="446"/>
                    </a:lnTo>
                    <a:lnTo>
                      <a:pt x="192" y="442"/>
                    </a:lnTo>
                    <a:lnTo>
                      <a:pt x="186" y="442"/>
                    </a:lnTo>
                    <a:lnTo>
                      <a:pt x="186" y="434"/>
                    </a:lnTo>
                    <a:lnTo>
                      <a:pt x="184" y="426"/>
                    </a:lnTo>
                    <a:lnTo>
                      <a:pt x="180" y="422"/>
                    </a:lnTo>
                    <a:lnTo>
                      <a:pt x="176" y="420"/>
                    </a:lnTo>
                    <a:lnTo>
                      <a:pt x="168" y="424"/>
                    </a:lnTo>
                    <a:lnTo>
                      <a:pt x="170" y="416"/>
                    </a:lnTo>
                    <a:lnTo>
                      <a:pt x="176" y="408"/>
                    </a:lnTo>
                    <a:lnTo>
                      <a:pt x="174" y="400"/>
                    </a:lnTo>
                    <a:lnTo>
                      <a:pt x="168" y="404"/>
                    </a:lnTo>
                    <a:lnTo>
                      <a:pt x="160" y="408"/>
                    </a:lnTo>
                    <a:lnTo>
                      <a:pt x="154" y="408"/>
                    </a:lnTo>
                    <a:lnTo>
                      <a:pt x="154" y="398"/>
                    </a:lnTo>
                    <a:lnTo>
                      <a:pt x="156" y="390"/>
                    </a:lnTo>
                    <a:lnTo>
                      <a:pt x="156" y="386"/>
                    </a:lnTo>
                    <a:lnTo>
                      <a:pt x="160" y="374"/>
                    </a:lnTo>
                    <a:lnTo>
                      <a:pt x="160" y="366"/>
                    </a:lnTo>
                    <a:lnTo>
                      <a:pt x="156" y="364"/>
                    </a:lnTo>
                    <a:lnTo>
                      <a:pt x="154" y="356"/>
                    </a:lnTo>
                    <a:lnTo>
                      <a:pt x="142" y="350"/>
                    </a:lnTo>
                    <a:lnTo>
                      <a:pt x="134" y="344"/>
                    </a:lnTo>
                    <a:lnTo>
                      <a:pt x="130" y="342"/>
                    </a:lnTo>
                    <a:lnTo>
                      <a:pt x="122" y="332"/>
                    </a:lnTo>
                    <a:lnTo>
                      <a:pt x="112" y="316"/>
                    </a:lnTo>
                    <a:lnTo>
                      <a:pt x="106" y="308"/>
                    </a:lnTo>
                    <a:lnTo>
                      <a:pt x="90" y="290"/>
                    </a:lnTo>
                    <a:lnTo>
                      <a:pt x="78" y="280"/>
                    </a:lnTo>
                    <a:lnTo>
                      <a:pt x="62" y="288"/>
                    </a:lnTo>
                    <a:lnTo>
                      <a:pt x="62" y="292"/>
                    </a:lnTo>
                    <a:lnTo>
                      <a:pt x="52" y="294"/>
                    </a:lnTo>
                    <a:lnTo>
                      <a:pt x="42" y="286"/>
                    </a:lnTo>
                    <a:lnTo>
                      <a:pt x="30" y="276"/>
                    </a:lnTo>
                    <a:lnTo>
                      <a:pt x="24" y="268"/>
                    </a:lnTo>
                    <a:lnTo>
                      <a:pt x="10" y="272"/>
                    </a:lnTo>
                    <a:lnTo>
                      <a:pt x="0" y="270"/>
                    </a:lnTo>
                    <a:lnTo>
                      <a:pt x="0" y="54"/>
                    </a:lnTo>
                    <a:lnTo>
                      <a:pt x="16" y="56"/>
                    </a:lnTo>
                    <a:lnTo>
                      <a:pt x="44" y="68"/>
                    </a:lnTo>
                    <a:lnTo>
                      <a:pt x="76" y="76"/>
                    </a:lnTo>
                    <a:lnTo>
                      <a:pt x="74" y="64"/>
                    </a:lnTo>
                    <a:lnTo>
                      <a:pt x="90" y="54"/>
                    </a:lnTo>
                    <a:lnTo>
                      <a:pt x="98" y="60"/>
                    </a:lnTo>
                    <a:lnTo>
                      <a:pt x="104" y="64"/>
                    </a:lnTo>
                    <a:lnTo>
                      <a:pt x="124" y="52"/>
                    </a:lnTo>
                    <a:lnTo>
                      <a:pt x="144" y="42"/>
                    </a:lnTo>
                    <a:lnTo>
                      <a:pt x="160" y="42"/>
                    </a:lnTo>
                    <a:lnTo>
                      <a:pt x="160" y="50"/>
                    </a:lnTo>
                    <a:lnTo>
                      <a:pt x="172" y="52"/>
                    </a:lnTo>
                    <a:lnTo>
                      <a:pt x="186" y="34"/>
                    </a:lnTo>
                    <a:lnTo>
                      <a:pt x="194" y="40"/>
                    </a:lnTo>
                    <a:lnTo>
                      <a:pt x="206" y="56"/>
                    </a:lnTo>
                    <a:lnTo>
                      <a:pt x="218" y="58"/>
                    </a:lnTo>
                    <a:lnTo>
                      <a:pt x="228" y="44"/>
                    </a:lnTo>
                    <a:lnTo>
                      <a:pt x="234" y="46"/>
                    </a:lnTo>
                    <a:lnTo>
                      <a:pt x="242" y="62"/>
                    </a:lnTo>
                    <a:lnTo>
                      <a:pt x="252" y="54"/>
                    </a:lnTo>
                    <a:lnTo>
                      <a:pt x="270" y="50"/>
                    </a:lnTo>
                    <a:lnTo>
                      <a:pt x="292" y="58"/>
                    </a:lnTo>
                    <a:lnTo>
                      <a:pt x="314" y="64"/>
                    </a:lnTo>
                    <a:lnTo>
                      <a:pt x="340" y="72"/>
                    </a:lnTo>
                    <a:lnTo>
                      <a:pt x="360" y="74"/>
                    </a:lnTo>
                    <a:lnTo>
                      <a:pt x="376" y="82"/>
                    </a:lnTo>
                    <a:lnTo>
                      <a:pt x="378" y="88"/>
                    </a:lnTo>
                    <a:lnTo>
                      <a:pt x="368" y="90"/>
                    </a:lnTo>
                    <a:lnTo>
                      <a:pt x="366" y="98"/>
                    </a:lnTo>
                    <a:lnTo>
                      <a:pt x="380" y="104"/>
                    </a:lnTo>
                    <a:lnTo>
                      <a:pt x="406" y="102"/>
                    </a:lnTo>
                    <a:lnTo>
                      <a:pt x="426" y="102"/>
                    </a:lnTo>
                    <a:lnTo>
                      <a:pt x="434" y="98"/>
                    </a:lnTo>
                    <a:lnTo>
                      <a:pt x="450" y="106"/>
                    </a:lnTo>
                    <a:lnTo>
                      <a:pt x="464" y="116"/>
                    </a:lnTo>
                    <a:lnTo>
                      <a:pt x="470" y="126"/>
                    </a:lnTo>
                    <a:lnTo>
                      <a:pt x="476" y="122"/>
                    </a:lnTo>
                    <a:lnTo>
                      <a:pt x="472" y="106"/>
                    </a:lnTo>
                    <a:lnTo>
                      <a:pt x="470" y="98"/>
                    </a:lnTo>
                    <a:lnTo>
                      <a:pt x="478" y="92"/>
                    </a:lnTo>
                    <a:lnTo>
                      <a:pt x="500" y="84"/>
                    </a:lnTo>
                    <a:lnTo>
                      <a:pt x="516" y="92"/>
                    </a:lnTo>
                    <a:lnTo>
                      <a:pt x="536" y="100"/>
                    </a:lnTo>
                    <a:lnTo>
                      <a:pt x="554" y="102"/>
                    </a:lnTo>
                    <a:lnTo>
                      <a:pt x="576" y="102"/>
                    </a:lnTo>
                    <a:lnTo>
                      <a:pt x="596" y="102"/>
                    </a:lnTo>
                    <a:lnTo>
                      <a:pt x="614" y="104"/>
                    </a:lnTo>
                    <a:lnTo>
                      <a:pt x="618" y="100"/>
                    </a:lnTo>
                    <a:lnTo>
                      <a:pt x="614" y="96"/>
                    </a:lnTo>
                    <a:lnTo>
                      <a:pt x="602" y="94"/>
                    </a:lnTo>
                    <a:lnTo>
                      <a:pt x="604" y="86"/>
                    </a:lnTo>
                    <a:lnTo>
                      <a:pt x="610" y="86"/>
                    </a:lnTo>
                    <a:lnTo>
                      <a:pt x="620" y="88"/>
                    </a:lnTo>
                    <a:lnTo>
                      <a:pt x="632" y="100"/>
                    </a:lnTo>
                    <a:lnTo>
                      <a:pt x="628" y="102"/>
                    </a:lnTo>
                    <a:lnTo>
                      <a:pt x="634" y="112"/>
                    </a:lnTo>
                    <a:lnTo>
                      <a:pt x="638" y="120"/>
                    </a:lnTo>
                    <a:lnTo>
                      <a:pt x="646" y="120"/>
                    </a:lnTo>
                    <a:lnTo>
                      <a:pt x="646" y="106"/>
                    </a:lnTo>
                    <a:lnTo>
                      <a:pt x="644" y="96"/>
                    </a:lnTo>
                    <a:lnTo>
                      <a:pt x="662" y="90"/>
                    </a:lnTo>
                    <a:lnTo>
                      <a:pt x="670" y="80"/>
                    </a:lnTo>
                    <a:lnTo>
                      <a:pt x="668" y="68"/>
                    </a:lnTo>
                    <a:lnTo>
                      <a:pt x="660" y="56"/>
                    </a:lnTo>
                    <a:lnTo>
                      <a:pt x="644" y="52"/>
                    </a:lnTo>
                    <a:lnTo>
                      <a:pt x="632" y="46"/>
                    </a:lnTo>
                    <a:lnTo>
                      <a:pt x="628" y="38"/>
                    </a:lnTo>
                    <a:lnTo>
                      <a:pt x="634" y="28"/>
                    </a:lnTo>
                    <a:lnTo>
                      <a:pt x="628" y="22"/>
                    </a:lnTo>
                    <a:lnTo>
                      <a:pt x="632" y="10"/>
                    </a:lnTo>
                    <a:lnTo>
                      <a:pt x="640" y="10"/>
                    </a:lnTo>
                    <a:lnTo>
                      <a:pt x="644" y="2"/>
                    </a:lnTo>
                    <a:lnTo>
                      <a:pt x="6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1" name="Line 60"/>
              <p:cNvSpPr>
                <a:spLocks noChangeShapeType="1"/>
              </p:cNvSpPr>
              <p:nvPr/>
            </p:nvSpPr>
            <p:spPr bwMode="auto">
              <a:xfrm>
                <a:off x="1635" y="1439"/>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2" name="Line 61"/>
              <p:cNvSpPr>
                <a:spLocks noChangeShapeType="1"/>
              </p:cNvSpPr>
              <p:nvPr/>
            </p:nvSpPr>
            <p:spPr bwMode="auto">
              <a:xfrm>
                <a:off x="2047" y="166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3" name="Line 62"/>
              <p:cNvSpPr>
                <a:spLocks noChangeShapeType="1"/>
              </p:cNvSpPr>
              <p:nvPr/>
            </p:nvSpPr>
            <p:spPr bwMode="auto">
              <a:xfrm>
                <a:off x="1749" y="187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4" name="Freeform 63"/>
              <p:cNvSpPr>
                <a:spLocks/>
              </p:cNvSpPr>
              <p:nvPr/>
            </p:nvSpPr>
            <p:spPr bwMode="auto">
              <a:xfrm>
                <a:off x="869" y="1273"/>
                <a:ext cx="1212" cy="624"/>
              </a:xfrm>
              <a:custGeom>
                <a:avLst/>
                <a:gdLst>
                  <a:gd name="T0" fmla="*/ 628 w 1212"/>
                  <a:gd name="T1" fmla="*/ 28 h 624"/>
                  <a:gd name="T2" fmla="*/ 670 w 1212"/>
                  <a:gd name="T3" fmla="*/ 82 h 624"/>
                  <a:gd name="T4" fmla="*/ 638 w 1212"/>
                  <a:gd name="T5" fmla="*/ 100 h 624"/>
                  <a:gd name="T6" fmla="*/ 604 w 1212"/>
                  <a:gd name="T7" fmla="*/ 100 h 624"/>
                  <a:gd name="T8" fmla="*/ 506 w 1212"/>
                  <a:gd name="T9" fmla="*/ 84 h 624"/>
                  <a:gd name="T10" fmla="*/ 472 w 1212"/>
                  <a:gd name="T11" fmla="*/ 118 h 624"/>
                  <a:gd name="T12" fmla="*/ 382 w 1212"/>
                  <a:gd name="T13" fmla="*/ 96 h 624"/>
                  <a:gd name="T14" fmla="*/ 276 w 1212"/>
                  <a:gd name="T15" fmla="*/ 50 h 624"/>
                  <a:gd name="T16" fmla="*/ 232 w 1212"/>
                  <a:gd name="T17" fmla="*/ 44 h 624"/>
                  <a:gd name="T18" fmla="*/ 174 w 1212"/>
                  <a:gd name="T19" fmla="*/ 50 h 624"/>
                  <a:gd name="T20" fmla="*/ 94 w 1212"/>
                  <a:gd name="T21" fmla="*/ 54 h 624"/>
                  <a:gd name="T22" fmla="*/ 4 w 1212"/>
                  <a:gd name="T23" fmla="*/ 54 h 624"/>
                  <a:gd name="T24" fmla="*/ 26 w 1212"/>
                  <a:gd name="T25" fmla="*/ 276 h 624"/>
                  <a:gd name="T26" fmla="*/ 82 w 1212"/>
                  <a:gd name="T27" fmla="*/ 288 h 624"/>
                  <a:gd name="T28" fmla="*/ 154 w 1212"/>
                  <a:gd name="T29" fmla="*/ 364 h 624"/>
                  <a:gd name="T30" fmla="*/ 154 w 1212"/>
                  <a:gd name="T31" fmla="*/ 412 h 624"/>
                  <a:gd name="T32" fmla="*/ 168 w 1212"/>
                  <a:gd name="T33" fmla="*/ 428 h 624"/>
                  <a:gd name="T34" fmla="*/ 194 w 1212"/>
                  <a:gd name="T35" fmla="*/ 450 h 624"/>
                  <a:gd name="T36" fmla="*/ 230 w 1212"/>
                  <a:gd name="T37" fmla="*/ 476 h 624"/>
                  <a:gd name="T38" fmla="*/ 646 w 1212"/>
                  <a:gd name="T39" fmla="*/ 500 h 624"/>
                  <a:gd name="T40" fmla="*/ 692 w 1212"/>
                  <a:gd name="T41" fmla="*/ 512 h 624"/>
                  <a:gd name="T42" fmla="*/ 736 w 1212"/>
                  <a:gd name="T43" fmla="*/ 512 h 624"/>
                  <a:gd name="T44" fmla="*/ 792 w 1212"/>
                  <a:gd name="T45" fmla="*/ 520 h 624"/>
                  <a:gd name="T46" fmla="*/ 852 w 1212"/>
                  <a:gd name="T47" fmla="*/ 556 h 624"/>
                  <a:gd name="T48" fmla="*/ 840 w 1212"/>
                  <a:gd name="T49" fmla="*/ 580 h 624"/>
                  <a:gd name="T50" fmla="*/ 820 w 1212"/>
                  <a:gd name="T51" fmla="*/ 618 h 624"/>
                  <a:gd name="T52" fmla="*/ 880 w 1212"/>
                  <a:gd name="T53" fmla="*/ 608 h 624"/>
                  <a:gd name="T54" fmla="*/ 908 w 1212"/>
                  <a:gd name="T55" fmla="*/ 590 h 624"/>
                  <a:gd name="T56" fmla="*/ 1004 w 1212"/>
                  <a:gd name="T57" fmla="*/ 552 h 624"/>
                  <a:gd name="T58" fmla="*/ 1036 w 1212"/>
                  <a:gd name="T59" fmla="*/ 560 h 624"/>
                  <a:gd name="T60" fmla="*/ 1074 w 1212"/>
                  <a:gd name="T61" fmla="*/ 564 h 624"/>
                  <a:gd name="T62" fmla="*/ 1072 w 1212"/>
                  <a:gd name="T63" fmla="*/ 600 h 624"/>
                  <a:gd name="T64" fmla="*/ 1132 w 1212"/>
                  <a:gd name="T65" fmla="*/ 566 h 624"/>
                  <a:gd name="T66" fmla="*/ 1146 w 1212"/>
                  <a:gd name="T67" fmla="*/ 534 h 624"/>
                  <a:gd name="T68" fmla="*/ 1084 w 1212"/>
                  <a:gd name="T69" fmla="*/ 524 h 624"/>
                  <a:gd name="T70" fmla="*/ 1076 w 1212"/>
                  <a:gd name="T71" fmla="*/ 490 h 624"/>
                  <a:gd name="T72" fmla="*/ 1032 w 1212"/>
                  <a:gd name="T73" fmla="*/ 496 h 624"/>
                  <a:gd name="T74" fmla="*/ 1152 w 1212"/>
                  <a:gd name="T75" fmla="*/ 476 h 624"/>
                  <a:gd name="T76" fmla="*/ 1210 w 1212"/>
                  <a:gd name="T77" fmla="*/ 440 h 624"/>
                  <a:gd name="T78" fmla="*/ 1184 w 1212"/>
                  <a:gd name="T79" fmla="*/ 394 h 624"/>
                  <a:gd name="T80" fmla="*/ 1144 w 1212"/>
                  <a:gd name="T81" fmla="*/ 374 h 624"/>
                  <a:gd name="T82" fmla="*/ 1126 w 1212"/>
                  <a:gd name="T83" fmla="*/ 324 h 624"/>
                  <a:gd name="T84" fmla="*/ 1080 w 1212"/>
                  <a:gd name="T85" fmla="*/ 268 h 624"/>
                  <a:gd name="T86" fmla="*/ 1020 w 1212"/>
                  <a:gd name="T87" fmla="*/ 300 h 624"/>
                  <a:gd name="T88" fmla="*/ 980 w 1212"/>
                  <a:gd name="T89" fmla="*/ 238 h 624"/>
                  <a:gd name="T90" fmla="*/ 896 w 1212"/>
                  <a:gd name="T91" fmla="*/ 222 h 624"/>
                  <a:gd name="T92" fmla="*/ 884 w 1212"/>
                  <a:gd name="T93" fmla="*/ 300 h 624"/>
                  <a:gd name="T94" fmla="*/ 876 w 1212"/>
                  <a:gd name="T95" fmla="*/ 378 h 624"/>
                  <a:gd name="T96" fmla="*/ 848 w 1212"/>
                  <a:gd name="T97" fmla="*/ 434 h 624"/>
                  <a:gd name="T98" fmla="*/ 804 w 1212"/>
                  <a:gd name="T99" fmla="*/ 372 h 624"/>
                  <a:gd name="T100" fmla="*/ 700 w 1212"/>
                  <a:gd name="T101" fmla="*/ 334 h 624"/>
                  <a:gd name="T102" fmla="*/ 664 w 1212"/>
                  <a:gd name="T103" fmla="*/ 302 h 624"/>
                  <a:gd name="T104" fmla="*/ 722 w 1212"/>
                  <a:gd name="T105" fmla="*/ 202 h 624"/>
                  <a:gd name="T106" fmla="*/ 754 w 1212"/>
                  <a:gd name="T107" fmla="*/ 190 h 624"/>
                  <a:gd name="T108" fmla="*/ 784 w 1212"/>
                  <a:gd name="T109" fmla="*/ 144 h 624"/>
                  <a:gd name="T110" fmla="*/ 808 w 1212"/>
                  <a:gd name="T111" fmla="*/ 140 h 624"/>
                  <a:gd name="T112" fmla="*/ 850 w 1212"/>
                  <a:gd name="T113" fmla="*/ 118 h 624"/>
                  <a:gd name="T114" fmla="*/ 852 w 1212"/>
                  <a:gd name="T115" fmla="*/ 84 h 624"/>
                  <a:gd name="T116" fmla="*/ 790 w 1212"/>
                  <a:gd name="T117" fmla="*/ 50 h 624"/>
                  <a:gd name="T118" fmla="*/ 758 w 1212"/>
                  <a:gd name="T119" fmla="*/ 108 h 624"/>
                  <a:gd name="T120" fmla="*/ 732 w 1212"/>
                  <a:gd name="T121" fmla="*/ 66 h 624"/>
                  <a:gd name="T122" fmla="*/ 706 w 1212"/>
                  <a:gd name="T123" fmla="*/ 54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5" name="Freeform 64"/>
              <p:cNvSpPr>
                <a:spLocks/>
              </p:cNvSpPr>
              <p:nvPr/>
            </p:nvSpPr>
            <p:spPr bwMode="auto">
              <a:xfrm>
                <a:off x="1605" y="1429"/>
                <a:ext cx="4" cy="2"/>
              </a:xfrm>
              <a:custGeom>
                <a:avLst/>
                <a:gdLst>
                  <a:gd name="T0" fmla="*/ 2 w 4"/>
                  <a:gd name="T1" fmla="*/ 2 h 2"/>
                  <a:gd name="T2" fmla="*/ 0 w 4"/>
                  <a:gd name="T3" fmla="*/ 0 h 2"/>
                  <a:gd name="T4" fmla="*/ 4 w 4"/>
                  <a:gd name="T5" fmla="*/ 2 h 2"/>
                  <a:gd name="T6" fmla="*/ 2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0" y="0"/>
                    </a:lnTo>
                    <a:lnTo>
                      <a:pt x="4" y="2"/>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6" name="Freeform 65"/>
              <p:cNvSpPr>
                <a:spLocks/>
              </p:cNvSpPr>
              <p:nvPr/>
            </p:nvSpPr>
            <p:spPr bwMode="auto">
              <a:xfrm>
                <a:off x="1353" y="1219"/>
                <a:ext cx="38" cy="26"/>
              </a:xfrm>
              <a:custGeom>
                <a:avLst/>
                <a:gdLst>
                  <a:gd name="T0" fmla="*/ 26 w 38"/>
                  <a:gd name="T1" fmla="*/ 26 h 26"/>
                  <a:gd name="T2" fmla="*/ 26 w 38"/>
                  <a:gd name="T3" fmla="*/ 26 h 26"/>
                  <a:gd name="T4" fmla="*/ 26 w 38"/>
                  <a:gd name="T5" fmla="*/ 26 h 26"/>
                  <a:gd name="T6" fmla="*/ 20 w 38"/>
                  <a:gd name="T7" fmla="*/ 22 h 26"/>
                  <a:gd name="T8" fmla="*/ 12 w 38"/>
                  <a:gd name="T9" fmla="*/ 14 h 26"/>
                  <a:gd name="T10" fmla="*/ 6 w 38"/>
                  <a:gd name="T11" fmla="*/ 10 h 26"/>
                  <a:gd name="T12" fmla="*/ 0 w 38"/>
                  <a:gd name="T13" fmla="*/ 6 h 26"/>
                  <a:gd name="T14" fmla="*/ 0 w 38"/>
                  <a:gd name="T15" fmla="*/ 6 h 26"/>
                  <a:gd name="T16" fmla="*/ 0 w 38"/>
                  <a:gd name="T17" fmla="*/ 4 h 26"/>
                  <a:gd name="T18" fmla="*/ 0 w 38"/>
                  <a:gd name="T19" fmla="*/ 4 h 26"/>
                  <a:gd name="T20" fmla="*/ 0 w 38"/>
                  <a:gd name="T21" fmla="*/ 2 h 26"/>
                  <a:gd name="T22" fmla="*/ 6 w 38"/>
                  <a:gd name="T23" fmla="*/ 0 h 26"/>
                  <a:gd name="T24" fmla="*/ 6 w 38"/>
                  <a:gd name="T25" fmla="*/ 0 h 26"/>
                  <a:gd name="T26" fmla="*/ 6 w 38"/>
                  <a:gd name="T27" fmla="*/ 0 h 26"/>
                  <a:gd name="T28" fmla="*/ 34 w 38"/>
                  <a:gd name="T29" fmla="*/ 0 h 26"/>
                  <a:gd name="T30" fmla="*/ 34 w 38"/>
                  <a:gd name="T31" fmla="*/ 0 h 26"/>
                  <a:gd name="T32" fmla="*/ 36 w 38"/>
                  <a:gd name="T33" fmla="*/ 0 h 26"/>
                  <a:gd name="T34" fmla="*/ 38 w 38"/>
                  <a:gd name="T35" fmla="*/ 6 h 26"/>
                  <a:gd name="T36" fmla="*/ 38 w 38"/>
                  <a:gd name="T37" fmla="*/ 6 h 26"/>
                  <a:gd name="T38" fmla="*/ 38 w 38"/>
                  <a:gd name="T39" fmla="*/ 8 h 26"/>
                  <a:gd name="T40" fmla="*/ 34 w 38"/>
                  <a:gd name="T41" fmla="*/ 18 h 26"/>
                  <a:gd name="T42" fmla="*/ 28 w 38"/>
                  <a:gd name="T43" fmla="*/ 24 h 26"/>
                  <a:gd name="T44" fmla="*/ 28 w 38"/>
                  <a:gd name="T45" fmla="*/ 24 h 26"/>
                  <a:gd name="T46" fmla="*/ 26 w 38"/>
                  <a:gd name="T47" fmla="*/ 26 h 26"/>
                  <a:gd name="T48" fmla="*/ 26 w 38"/>
                  <a:gd name="T4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26" y="26"/>
                    </a:moveTo>
                    <a:lnTo>
                      <a:pt x="26" y="26"/>
                    </a:lnTo>
                    <a:lnTo>
                      <a:pt x="26" y="26"/>
                    </a:lnTo>
                    <a:lnTo>
                      <a:pt x="20" y="22"/>
                    </a:lnTo>
                    <a:lnTo>
                      <a:pt x="12" y="14"/>
                    </a:lnTo>
                    <a:lnTo>
                      <a:pt x="6" y="10"/>
                    </a:lnTo>
                    <a:lnTo>
                      <a:pt x="0" y="6"/>
                    </a:lnTo>
                    <a:lnTo>
                      <a:pt x="0" y="6"/>
                    </a:lnTo>
                    <a:lnTo>
                      <a:pt x="0" y="4"/>
                    </a:lnTo>
                    <a:lnTo>
                      <a:pt x="0" y="4"/>
                    </a:lnTo>
                    <a:lnTo>
                      <a:pt x="0" y="2"/>
                    </a:lnTo>
                    <a:lnTo>
                      <a:pt x="6" y="0"/>
                    </a:lnTo>
                    <a:lnTo>
                      <a:pt x="6" y="0"/>
                    </a:lnTo>
                    <a:lnTo>
                      <a:pt x="6" y="0"/>
                    </a:lnTo>
                    <a:lnTo>
                      <a:pt x="34" y="0"/>
                    </a:lnTo>
                    <a:lnTo>
                      <a:pt x="34" y="0"/>
                    </a:lnTo>
                    <a:lnTo>
                      <a:pt x="36" y="0"/>
                    </a:lnTo>
                    <a:lnTo>
                      <a:pt x="38" y="6"/>
                    </a:lnTo>
                    <a:lnTo>
                      <a:pt x="38" y="6"/>
                    </a:lnTo>
                    <a:lnTo>
                      <a:pt x="38" y="8"/>
                    </a:lnTo>
                    <a:lnTo>
                      <a:pt x="34" y="18"/>
                    </a:lnTo>
                    <a:lnTo>
                      <a:pt x="28" y="24"/>
                    </a:lnTo>
                    <a:lnTo>
                      <a:pt x="28" y="24"/>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7" name="Freeform 66"/>
              <p:cNvSpPr>
                <a:spLocks noEditPoints="1"/>
              </p:cNvSpPr>
              <p:nvPr/>
            </p:nvSpPr>
            <p:spPr bwMode="auto">
              <a:xfrm>
                <a:off x="1351" y="1217"/>
                <a:ext cx="42" cy="30"/>
              </a:xfrm>
              <a:custGeom>
                <a:avLst/>
                <a:gdLst>
                  <a:gd name="T0" fmla="*/ 36 w 42"/>
                  <a:gd name="T1" fmla="*/ 4 h 30"/>
                  <a:gd name="T2" fmla="*/ 38 w 42"/>
                  <a:gd name="T3" fmla="*/ 10 h 30"/>
                  <a:gd name="T4" fmla="*/ 34 w 42"/>
                  <a:gd name="T5" fmla="*/ 20 h 30"/>
                  <a:gd name="T6" fmla="*/ 28 w 42"/>
                  <a:gd name="T7" fmla="*/ 26 h 30"/>
                  <a:gd name="T8" fmla="*/ 24 w 42"/>
                  <a:gd name="T9" fmla="*/ 22 h 30"/>
                  <a:gd name="T10" fmla="*/ 16 w 42"/>
                  <a:gd name="T11" fmla="*/ 14 h 30"/>
                  <a:gd name="T12" fmla="*/ 8 w 42"/>
                  <a:gd name="T13" fmla="*/ 12 h 30"/>
                  <a:gd name="T14" fmla="*/ 4 w 42"/>
                  <a:gd name="T15" fmla="*/ 6 h 30"/>
                  <a:gd name="T16" fmla="*/ 8 w 42"/>
                  <a:gd name="T17" fmla="*/ 4 h 30"/>
                  <a:gd name="T18" fmla="*/ 24 w 42"/>
                  <a:gd name="T19" fmla="*/ 4 h 30"/>
                  <a:gd name="T20" fmla="*/ 36 w 42"/>
                  <a:gd name="T21" fmla="*/ 4 h 30"/>
                  <a:gd name="T22" fmla="*/ 36 w 42"/>
                  <a:gd name="T23" fmla="*/ 0 h 30"/>
                  <a:gd name="T24" fmla="*/ 24 w 42"/>
                  <a:gd name="T25" fmla="*/ 0 h 30"/>
                  <a:gd name="T26" fmla="*/ 8 w 42"/>
                  <a:gd name="T27" fmla="*/ 0 h 30"/>
                  <a:gd name="T28" fmla="*/ 8 w 42"/>
                  <a:gd name="T29" fmla="*/ 0 h 30"/>
                  <a:gd name="T30" fmla="*/ 6 w 42"/>
                  <a:gd name="T31" fmla="*/ 0 h 30"/>
                  <a:gd name="T32" fmla="*/ 2 w 42"/>
                  <a:gd name="T33" fmla="*/ 2 h 30"/>
                  <a:gd name="T34" fmla="*/ 2 w 42"/>
                  <a:gd name="T35" fmla="*/ 2 h 30"/>
                  <a:gd name="T36" fmla="*/ 0 w 42"/>
                  <a:gd name="T37" fmla="*/ 6 h 30"/>
                  <a:gd name="T38" fmla="*/ 0 w 42"/>
                  <a:gd name="T39" fmla="*/ 6 h 30"/>
                  <a:gd name="T40" fmla="*/ 0 w 42"/>
                  <a:gd name="T41" fmla="*/ 10 h 30"/>
                  <a:gd name="T42" fmla="*/ 6 w 42"/>
                  <a:gd name="T43" fmla="*/ 14 h 30"/>
                  <a:gd name="T44" fmla="*/ 6 w 42"/>
                  <a:gd name="T45" fmla="*/ 14 h 30"/>
                  <a:gd name="T46" fmla="*/ 8 w 42"/>
                  <a:gd name="T47" fmla="*/ 14 h 30"/>
                  <a:gd name="T48" fmla="*/ 14 w 42"/>
                  <a:gd name="T49" fmla="*/ 18 h 30"/>
                  <a:gd name="T50" fmla="*/ 20 w 42"/>
                  <a:gd name="T51" fmla="*/ 24 h 30"/>
                  <a:gd name="T52" fmla="*/ 20 w 42"/>
                  <a:gd name="T53" fmla="*/ 24 h 30"/>
                  <a:gd name="T54" fmla="*/ 22 w 42"/>
                  <a:gd name="T55" fmla="*/ 26 h 30"/>
                  <a:gd name="T56" fmla="*/ 26 w 42"/>
                  <a:gd name="T57" fmla="*/ 28 h 30"/>
                  <a:gd name="T58" fmla="*/ 26 w 42"/>
                  <a:gd name="T59" fmla="*/ 28 h 30"/>
                  <a:gd name="T60" fmla="*/ 28 w 42"/>
                  <a:gd name="T61" fmla="*/ 30 h 30"/>
                  <a:gd name="T62" fmla="*/ 28 w 42"/>
                  <a:gd name="T63" fmla="*/ 30 h 30"/>
                  <a:gd name="T64" fmla="*/ 32 w 42"/>
                  <a:gd name="T65" fmla="*/ 28 h 30"/>
                  <a:gd name="T66" fmla="*/ 36 w 42"/>
                  <a:gd name="T67" fmla="*/ 22 h 30"/>
                  <a:gd name="T68" fmla="*/ 36 w 42"/>
                  <a:gd name="T69" fmla="*/ 22 h 30"/>
                  <a:gd name="T70" fmla="*/ 38 w 42"/>
                  <a:gd name="T71" fmla="*/ 20 h 30"/>
                  <a:gd name="T72" fmla="*/ 40 w 42"/>
                  <a:gd name="T73" fmla="*/ 10 h 30"/>
                  <a:gd name="T74" fmla="*/ 40 w 42"/>
                  <a:gd name="T75" fmla="*/ 10 h 30"/>
                  <a:gd name="T76" fmla="*/ 42 w 42"/>
                  <a:gd name="T77" fmla="*/ 8 h 30"/>
                  <a:gd name="T78" fmla="*/ 40 w 42"/>
                  <a:gd name="T79" fmla="*/ 2 h 30"/>
                  <a:gd name="T80" fmla="*/ 40 w 42"/>
                  <a:gd name="T81" fmla="*/ 2 h 30"/>
                  <a:gd name="T82" fmla="*/ 38 w 42"/>
                  <a:gd name="T83" fmla="*/ 0 h 30"/>
                  <a:gd name="T84" fmla="*/ 36 w 42"/>
                  <a:gd name="T85" fmla="*/ 0 h 30"/>
                  <a:gd name="T86" fmla="*/ 36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6" y="4"/>
                    </a:moveTo>
                    <a:lnTo>
                      <a:pt x="38" y="10"/>
                    </a:lnTo>
                    <a:lnTo>
                      <a:pt x="34" y="20"/>
                    </a:lnTo>
                    <a:lnTo>
                      <a:pt x="28" y="26"/>
                    </a:lnTo>
                    <a:lnTo>
                      <a:pt x="24" y="22"/>
                    </a:lnTo>
                    <a:lnTo>
                      <a:pt x="16" y="14"/>
                    </a:lnTo>
                    <a:lnTo>
                      <a:pt x="8" y="12"/>
                    </a:lnTo>
                    <a:lnTo>
                      <a:pt x="4" y="6"/>
                    </a:lnTo>
                    <a:lnTo>
                      <a:pt x="8" y="4"/>
                    </a:lnTo>
                    <a:lnTo>
                      <a:pt x="24" y="4"/>
                    </a:lnTo>
                    <a:lnTo>
                      <a:pt x="36" y="4"/>
                    </a:lnTo>
                    <a:close/>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8" name="Freeform 67"/>
              <p:cNvSpPr>
                <a:spLocks/>
              </p:cNvSpPr>
              <p:nvPr/>
            </p:nvSpPr>
            <p:spPr bwMode="auto">
              <a:xfrm>
                <a:off x="1355" y="1221"/>
                <a:ext cx="34" cy="22"/>
              </a:xfrm>
              <a:custGeom>
                <a:avLst/>
                <a:gdLst>
                  <a:gd name="T0" fmla="*/ 32 w 34"/>
                  <a:gd name="T1" fmla="*/ 0 h 22"/>
                  <a:gd name="T2" fmla="*/ 34 w 34"/>
                  <a:gd name="T3" fmla="*/ 6 h 22"/>
                  <a:gd name="T4" fmla="*/ 30 w 34"/>
                  <a:gd name="T5" fmla="*/ 16 h 22"/>
                  <a:gd name="T6" fmla="*/ 24 w 34"/>
                  <a:gd name="T7" fmla="*/ 22 h 22"/>
                  <a:gd name="T8" fmla="*/ 20 w 34"/>
                  <a:gd name="T9" fmla="*/ 18 h 22"/>
                  <a:gd name="T10" fmla="*/ 12 w 34"/>
                  <a:gd name="T11" fmla="*/ 10 h 22"/>
                  <a:gd name="T12" fmla="*/ 4 w 34"/>
                  <a:gd name="T13" fmla="*/ 8 h 22"/>
                  <a:gd name="T14" fmla="*/ 0 w 34"/>
                  <a:gd name="T15" fmla="*/ 2 h 22"/>
                  <a:gd name="T16" fmla="*/ 4 w 34"/>
                  <a:gd name="T17" fmla="*/ 0 h 22"/>
                  <a:gd name="T18" fmla="*/ 20 w 34"/>
                  <a:gd name="T19" fmla="*/ 0 h 22"/>
                  <a:gd name="T20" fmla="*/ 32 w 3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32" y="0"/>
                    </a:moveTo>
                    <a:lnTo>
                      <a:pt x="34" y="6"/>
                    </a:lnTo>
                    <a:lnTo>
                      <a:pt x="30" y="16"/>
                    </a:lnTo>
                    <a:lnTo>
                      <a:pt x="24" y="22"/>
                    </a:lnTo>
                    <a:lnTo>
                      <a:pt x="20" y="18"/>
                    </a:lnTo>
                    <a:lnTo>
                      <a:pt x="12" y="10"/>
                    </a:lnTo>
                    <a:lnTo>
                      <a:pt x="4" y="8"/>
                    </a:lnTo>
                    <a:lnTo>
                      <a:pt x="0" y="2"/>
                    </a:lnTo>
                    <a:lnTo>
                      <a:pt x="4" y="0"/>
                    </a:lnTo>
                    <a:lnTo>
                      <a:pt x="20"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9" name="Freeform 68"/>
              <p:cNvSpPr>
                <a:spLocks/>
              </p:cNvSpPr>
              <p:nvPr/>
            </p:nvSpPr>
            <p:spPr bwMode="auto">
              <a:xfrm>
                <a:off x="1351" y="1217"/>
                <a:ext cx="42" cy="30"/>
              </a:xfrm>
              <a:custGeom>
                <a:avLst/>
                <a:gdLst>
                  <a:gd name="T0" fmla="*/ 36 w 42"/>
                  <a:gd name="T1" fmla="*/ 0 h 30"/>
                  <a:gd name="T2" fmla="*/ 24 w 42"/>
                  <a:gd name="T3" fmla="*/ 0 h 30"/>
                  <a:gd name="T4" fmla="*/ 8 w 42"/>
                  <a:gd name="T5" fmla="*/ 0 h 30"/>
                  <a:gd name="T6" fmla="*/ 8 w 42"/>
                  <a:gd name="T7" fmla="*/ 0 h 30"/>
                  <a:gd name="T8" fmla="*/ 6 w 42"/>
                  <a:gd name="T9" fmla="*/ 0 h 30"/>
                  <a:gd name="T10" fmla="*/ 2 w 42"/>
                  <a:gd name="T11" fmla="*/ 2 h 30"/>
                  <a:gd name="T12" fmla="*/ 2 w 42"/>
                  <a:gd name="T13" fmla="*/ 2 h 30"/>
                  <a:gd name="T14" fmla="*/ 0 w 42"/>
                  <a:gd name="T15" fmla="*/ 6 h 30"/>
                  <a:gd name="T16" fmla="*/ 0 w 42"/>
                  <a:gd name="T17" fmla="*/ 6 h 30"/>
                  <a:gd name="T18" fmla="*/ 0 w 42"/>
                  <a:gd name="T19" fmla="*/ 10 h 30"/>
                  <a:gd name="T20" fmla="*/ 6 w 42"/>
                  <a:gd name="T21" fmla="*/ 14 h 30"/>
                  <a:gd name="T22" fmla="*/ 6 w 42"/>
                  <a:gd name="T23" fmla="*/ 14 h 30"/>
                  <a:gd name="T24" fmla="*/ 8 w 42"/>
                  <a:gd name="T25" fmla="*/ 14 h 30"/>
                  <a:gd name="T26" fmla="*/ 14 w 42"/>
                  <a:gd name="T27" fmla="*/ 18 h 30"/>
                  <a:gd name="T28" fmla="*/ 20 w 42"/>
                  <a:gd name="T29" fmla="*/ 24 h 30"/>
                  <a:gd name="T30" fmla="*/ 20 w 42"/>
                  <a:gd name="T31" fmla="*/ 24 h 30"/>
                  <a:gd name="T32" fmla="*/ 22 w 42"/>
                  <a:gd name="T33" fmla="*/ 26 h 30"/>
                  <a:gd name="T34" fmla="*/ 26 w 42"/>
                  <a:gd name="T35" fmla="*/ 28 h 30"/>
                  <a:gd name="T36" fmla="*/ 26 w 42"/>
                  <a:gd name="T37" fmla="*/ 28 h 30"/>
                  <a:gd name="T38" fmla="*/ 28 w 42"/>
                  <a:gd name="T39" fmla="*/ 30 h 30"/>
                  <a:gd name="T40" fmla="*/ 28 w 42"/>
                  <a:gd name="T41" fmla="*/ 30 h 30"/>
                  <a:gd name="T42" fmla="*/ 32 w 42"/>
                  <a:gd name="T43" fmla="*/ 28 h 30"/>
                  <a:gd name="T44" fmla="*/ 36 w 42"/>
                  <a:gd name="T45" fmla="*/ 22 h 30"/>
                  <a:gd name="T46" fmla="*/ 36 w 42"/>
                  <a:gd name="T47" fmla="*/ 22 h 30"/>
                  <a:gd name="T48" fmla="*/ 38 w 42"/>
                  <a:gd name="T49" fmla="*/ 20 h 30"/>
                  <a:gd name="T50" fmla="*/ 40 w 42"/>
                  <a:gd name="T51" fmla="*/ 10 h 30"/>
                  <a:gd name="T52" fmla="*/ 40 w 42"/>
                  <a:gd name="T53" fmla="*/ 10 h 30"/>
                  <a:gd name="T54" fmla="*/ 42 w 42"/>
                  <a:gd name="T55" fmla="*/ 8 h 30"/>
                  <a:gd name="T56" fmla="*/ 40 w 42"/>
                  <a:gd name="T57" fmla="*/ 2 h 30"/>
                  <a:gd name="T58" fmla="*/ 40 w 42"/>
                  <a:gd name="T59" fmla="*/ 2 h 30"/>
                  <a:gd name="T60" fmla="*/ 38 w 42"/>
                  <a:gd name="T61" fmla="*/ 0 h 30"/>
                  <a:gd name="T62" fmla="*/ 36 w 42"/>
                  <a:gd name="T63" fmla="*/ 0 h 30"/>
                  <a:gd name="T64" fmla="*/ 36 w 42"/>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0">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0" name="Freeform 69"/>
              <p:cNvSpPr>
                <a:spLocks/>
              </p:cNvSpPr>
              <p:nvPr/>
            </p:nvSpPr>
            <p:spPr bwMode="auto">
              <a:xfrm>
                <a:off x="1129" y="1105"/>
                <a:ext cx="104" cy="56"/>
              </a:xfrm>
              <a:custGeom>
                <a:avLst/>
                <a:gdLst>
                  <a:gd name="T0" fmla="*/ 32 w 104"/>
                  <a:gd name="T1" fmla="*/ 56 h 56"/>
                  <a:gd name="T2" fmla="*/ 30 w 104"/>
                  <a:gd name="T3" fmla="*/ 48 h 56"/>
                  <a:gd name="T4" fmla="*/ 26 w 104"/>
                  <a:gd name="T5" fmla="*/ 50 h 56"/>
                  <a:gd name="T6" fmla="*/ 24 w 104"/>
                  <a:gd name="T7" fmla="*/ 52 h 56"/>
                  <a:gd name="T8" fmla="*/ 10 w 104"/>
                  <a:gd name="T9" fmla="*/ 52 h 56"/>
                  <a:gd name="T10" fmla="*/ 0 w 104"/>
                  <a:gd name="T11" fmla="*/ 48 h 56"/>
                  <a:gd name="T12" fmla="*/ 0 w 104"/>
                  <a:gd name="T13" fmla="*/ 46 h 56"/>
                  <a:gd name="T14" fmla="*/ 4 w 104"/>
                  <a:gd name="T15" fmla="*/ 36 h 56"/>
                  <a:gd name="T16" fmla="*/ 16 w 104"/>
                  <a:gd name="T17" fmla="*/ 34 h 56"/>
                  <a:gd name="T18" fmla="*/ 34 w 104"/>
                  <a:gd name="T19" fmla="*/ 24 h 56"/>
                  <a:gd name="T20" fmla="*/ 52 w 104"/>
                  <a:gd name="T21" fmla="*/ 10 h 56"/>
                  <a:gd name="T22" fmla="*/ 54 w 104"/>
                  <a:gd name="T23" fmla="*/ 10 h 56"/>
                  <a:gd name="T24" fmla="*/ 80 w 104"/>
                  <a:gd name="T25" fmla="*/ 8 h 56"/>
                  <a:gd name="T26" fmla="*/ 80 w 104"/>
                  <a:gd name="T27" fmla="*/ 8 h 56"/>
                  <a:gd name="T28" fmla="*/ 86 w 104"/>
                  <a:gd name="T29" fmla="*/ 2 h 56"/>
                  <a:gd name="T30" fmla="*/ 88 w 104"/>
                  <a:gd name="T31" fmla="*/ 2 h 56"/>
                  <a:gd name="T32" fmla="*/ 88 w 104"/>
                  <a:gd name="T33" fmla="*/ 0 h 56"/>
                  <a:gd name="T34" fmla="*/ 88 w 104"/>
                  <a:gd name="T35" fmla="*/ 2 h 56"/>
                  <a:gd name="T36" fmla="*/ 104 w 104"/>
                  <a:gd name="T37" fmla="*/ 8 h 56"/>
                  <a:gd name="T38" fmla="*/ 104 w 104"/>
                  <a:gd name="T39" fmla="*/ 10 h 56"/>
                  <a:gd name="T40" fmla="*/ 104 w 104"/>
                  <a:gd name="T41" fmla="*/ 10 h 56"/>
                  <a:gd name="T42" fmla="*/ 100 w 104"/>
                  <a:gd name="T43" fmla="*/ 16 h 56"/>
                  <a:gd name="T44" fmla="*/ 96 w 104"/>
                  <a:gd name="T45" fmla="*/ 18 h 56"/>
                  <a:gd name="T46" fmla="*/ 98 w 104"/>
                  <a:gd name="T47" fmla="*/ 22 h 56"/>
                  <a:gd name="T48" fmla="*/ 98 w 104"/>
                  <a:gd name="T49" fmla="*/ 30 h 56"/>
                  <a:gd name="T50" fmla="*/ 96 w 104"/>
                  <a:gd name="T51" fmla="*/ 30 h 56"/>
                  <a:gd name="T52" fmla="*/ 78 w 104"/>
                  <a:gd name="T53" fmla="*/ 42 h 56"/>
                  <a:gd name="T54" fmla="*/ 78 w 104"/>
                  <a:gd name="T55" fmla="*/ 44 h 56"/>
                  <a:gd name="T56" fmla="*/ 78 w 104"/>
                  <a:gd name="T57" fmla="*/ 44 h 56"/>
                  <a:gd name="T58" fmla="*/ 68 w 104"/>
                  <a:gd name="T59" fmla="*/ 42 h 56"/>
                  <a:gd name="T60" fmla="*/ 66 w 104"/>
                  <a:gd name="T61" fmla="*/ 40 h 56"/>
                  <a:gd name="T62" fmla="*/ 68 w 104"/>
                  <a:gd name="T63" fmla="*/ 32 h 56"/>
                  <a:gd name="T64" fmla="*/ 62 w 104"/>
                  <a:gd name="T65" fmla="*/ 30 h 56"/>
                  <a:gd name="T66" fmla="*/ 62 w 104"/>
                  <a:gd name="T67" fmla="*/ 38 h 56"/>
                  <a:gd name="T68" fmla="*/ 62 w 104"/>
                  <a:gd name="T69" fmla="*/ 38 h 56"/>
                  <a:gd name="T70" fmla="*/ 58 w 104"/>
                  <a:gd name="T71" fmla="*/ 46 h 56"/>
                  <a:gd name="T72" fmla="*/ 52 w 104"/>
                  <a:gd name="T73" fmla="*/ 48 h 56"/>
                  <a:gd name="T74" fmla="*/ 50 w 104"/>
                  <a:gd name="T75" fmla="*/ 48 h 56"/>
                  <a:gd name="T76" fmla="*/ 50 w 104"/>
                  <a:gd name="T77" fmla="*/ 48 h 56"/>
                  <a:gd name="T78" fmla="*/ 48 w 104"/>
                  <a:gd name="T79" fmla="*/ 54 h 56"/>
                  <a:gd name="T80" fmla="*/ 46 w 104"/>
                  <a:gd name="T8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56">
                    <a:moveTo>
                      <a:pt x="32" y="56"/>
                    </a:moveTo>
                    <a:lnTo>
                      <a:pt x="32" y="56"/>
                    </a:lnTo>
                    <a:lnTo>
                      <a:pt x="30" y="54"/>
                    </a:lnTo>
                    <a:lnTo>
                      <a:pt x="30" y="48"/>
                    </a:lnTo>
                    <a:lnTo>
                      <a:pt x="26" y="48"/>
                    </a:lnTo>
                    <a:lnTo>
                      <a:pt x="26" y="50"/>
                    </a:lnTo>
                    <a:lnTo>
                      <a:pt x="26" y="50"/>
                    </a:lnTo>
                    <a:lnTo>
                      <a:pt x="24" y="52"/>
                    </a:lnTo>
                    <a:lnTo>
                      <a:pt x="10" y="52"/>
                    </a:lnTo>
                    <a:lnTo>
                      <a:pt x="10" y="52"/>
                    </a:lnTo>
                    <a:lnTo>
                      <a:pt x="8" y="52"/>
                    </a:lnTo>
                    <a:lnTo>
                      <a:pt x="0" y="48"/>
                    </a:lnTo>
                    <a:lnTo>
                      <a:pt x="0" y="48"/>
                    </a:lnTo>
                    <a:lnTo>
                      <a:pt x="0" y="46"/>
                    </a:lnTo>
                    <a:lnTo>
                      <a:pt x="4" y="36"/>
                    </a:lnTo>
                    <a:lnTo>
                      <a:pt x="4" y="36"/>
                    </a:lnTo>
                    <a:lnTo>
                      <a:pt x="6" y="36"/>
                    </a:lnTo>
                    <a:lnTo>
                      <a:pt x="16" y="34"/>
                    </a:lnTo>
                    <a:lnTo>
                      <a:pt x="24" y="28"/>
                    </a:lnTo>
                    <a:lnTo>
                      <a:pt x="34" y="24"/>
                    </a:lnTo>
                    <a:lnTo>
                      <a:pt x="46" y="16"/>
                    </a:lnTo>
                    <a:lnTo>
                      <a:pt x="52" y="10"/>
                    </a:lnTo>
                    <a:lnTo>
                      <a:pt x="52" y="10"/>
                    </a:lnTo>
                    <a:lnTo>
                      <a:pt x="54" y="10"/>
                    </a:lnTo>
                    <a:lnTo>
                      <a:pt x="70" y="8"/>
                    </a:lnTo>
                    <a:lnTo>
                      <a:pt x="80" y="8"/>
                    </a:lnTo>
                    <a:lnTo>
                      <a:pt x="80" y="8"/>
                    </a:lnTo>
                    <a:lnTo>
                      <a:pt x="80" y="8"/>
                    </a:lnTo>
                    <a:lnTo>
                      <a:pt x="84" y="10"/>
                    </a:lnTo>
                    <a:lnTo>
                      <a:pt x="86" y="2"/>
                    </a:lnTo>
                    <a:lnTo>
                      <a:pt x="86" y="2"/>
                    </a:lnTo>
                    <a:lnTo>
                      <a:pt x="88" y="2"/>
                    </a:lnTo>
                    <a:lnTo>
                      <a:pt x="88" y="2"/>
                    </a:lnTo>
                    <a:lnTo>
                      <a:pt x="88" y="0"/>
                    </a:lnTo>
                    <a:lnTo>
                      <a:pt x="88" y="0"/>
                    </a:lnTo>
                    <a:lnTo>
                      <a:pt x="88" y="2"/>
                    </a:lnTo>
                    <a:lnTo>
                      <a:pt x="98" y="4"/>
                    </a:lnTo>
                    <a:lnTo>
                      <a:pt x="104" y="8"/>
                    </a:lnTo>
                    <a:lnTo>
                      <a:pt x="104" y="8"/>
                    </a:lnTo>
                    <a:lnTo>
                      <a:pt x="104" y="10"/>
                    </a:lnTo>
                    <a:lnTo>
                      <a:pt x="104" y="10"/>
                    </a:lnTo>
                    <a:lnTo>
                      <a:pt x="104" y="10"/>
                    </a:lnTo>
                    <a:lnTo>
                      <a:pt x="100" y="16"/>
                    </a:lnTo>
                    <a:lnTo>
                      <a:pt x="100" y="16"/>
                    </a:lnTo>
                    <a:lnTo>
                      <a:pt x="100" y="18"/>
                    </a:lnTo>
                    <a:lnTo>
                      <a:pt x="96" y="18"/>
                    </a:lnTo>
                    <a:lnTo>
                      <a:pt x="98" y="22"/>
                    </a:lnTo>
                    <a:lnTo>
                      <a:pt x="98" y="22"/>
                    </a:lnTo>
                    <a:lnTo>
                      <a:pt x="100" y="24"/>
                    </a:lnTo>
                    <a:lnTo>
                      <a:pt x="98" y="30"/>
                    </a:lnTo>
                    <a:lnTo>
                      <a:pt x="98" y="30"/>
                    </a:lnTo>
                    <a:lnTo>
                      <a:pt x="96" y="30"/>
                    </a:lnTo>
                    <a:lnTo>
                      <a:pt x="90" y="32"/>
                    </a:lnTo>
                    <a:lnTo>
                      <a:pt x="78" y="42"/>
                    </a:lnTo>
                    <a:lnTo>
                      <a:pt x="78" y="42"/>
                    </a:lnTo>
                    <a:lnTo>
                      <a:pt x="78" y="44"/>
                    </a:lnTo>
                    <a:lnTo>
                      <a:pt x="78" y="44"/>
                    </a:lnTo>
                    <a:lnTo>
                      <a:pt x="78" y="44"/>
                    </a:lnTo>
                    <a:lnTo>
                      <a:pt x="68" y="42"/>
                    </a:lnTo>
                    <a:lnTo>
                      <a:pt x="68" y="42"/>
                    </a:lnTo>
                    <a:lnTo>
                      <a:pt x="66" y="40"/>
                    </a:lnTo>
                    <a:lnTo>
                      <a:pt x="66" y="40"/>
                    </a:lnTo>
                    <a:lnTo>
                      <a:pt x="66" y="40"/>
                    </a:lnTo>
                    <a:lnTo>
                      <a:pt x="68" y="32"/>
                    </a:lnTo>
                    <a:lnTo>
                      <a:pt x="66" y="30"/>
                    </a:lnTo>
                    <a:lnTo>
                      <a:pt x="62" y="30"/>
                    </a:lnTo>
                    <a:lnTo>
                      <a:pt x="62" y="32"/>
                    </a:lnTo>
                    <a:lnTo>
                      <a:pt x="62" y="38"/>
                    </a:lnTo>
                    <a:lnTo>
                      <a:pt x="62" y="38"/>
                    </a:lnTo>
                    <a:lnTo>
                      <a:pt x="62" y="38"/>
                    </a:lnTo>
                    <a:lnTo>
                      <a:pt x="58" y="46"/>
                    </a:lnTo>
                    <a:lnTo>
                      <a:pt x="58" y="46"/>
                    </a:lnTo>
                    <a:lnTo>
                      <a:pt x="56" y="46"/>
                    </a:lnTo>
                    <a:lnTo>
                      <a:pt x="52" y="48"/>
                    </a:lnTo>
                    <a:lnTo>
                      <a:pt x="52" y="48"/>
                    </a:lnTo>
                    <a:lnTo>
                      <a:pt x="50" y="48"/>
                    </a:lnTo>
                    <a:lnTo>
                      <a:pt x="50" y="48"/>
                    </a:lnTo>
                    <a:lnTo>
                      <a:pt x="50" y="48"/>
                    </a:lnTo>
                    <a:lnTo>
                      <a:pt x="48" y="48"/>
                    </a:lnTo>
                    <a:lnTo>
                      <a:pt x="48" y="54"/>
                    </a:lnTo>
                    <a:lnTo>
                      <a:pt x="48" y="54"/>
                    </a:lnTo>
                    <a:lnTo>
                      <a:pt x="46" y="56"/>
                    </a:lnTo>
                    <a:lnTo>
                      <a:pt x="3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1" name="Freeform 70"/>
              <p:cNvSpPr>
                <a:spLocks noEditPoints="1"/>
              </p:cNvSpPr>
              <p:nvPr/>
            </p:nvSpPr>
            <p:spPr bwMode="auto">
              <a:xfrm>
                <a:off x="1127" y="1103"/>
                <a:ext cx="108" cy="60"/>
              </a:xfrm>
              <a:custGeom>
                <a:avLst/>
                <a:gdLst>
                  <a:gd name="T0" fmla="*/ 104 w 108"/>
                  <a:gd name="T1" fmla="*/ 12 h 60"/>
                  <a:gd name="T2" fmla="*/ 100 w 108"/>
                  <a:gd name="T3" fmla="*/ 26 h 60"/>
                  <a:gd name="T4" fmla="*/ 84 w 108"/>
                  <a:gd name="T5" fmla="*/ 38 h 60"/>
                  <a:gd name="T6" fmla="*/ 72 w 108"/>
                  <a:gd name="T7" fmla="*/ 32 h 60"/>
                  <a:gd name="T8" fmla="*/ 62 w 108"/>
                  <a:gd name="T9" fmla="*/ 34 h 60"/>
                  <a:gd name="T10" fmla="*/ 52 w 108"/>
                  <a:gd name="T11" fmla="*/ 48 h 60"/>
                  <a:gd name="T12" fmla="*/ 34 w 108"/>
                  <a:gd name="T13" fmla="*/ 56 h 60"/>
                  <a:gd name="T14" fmla="*/ 26 w 108"/>
                  <a:gd name="T15" fmla="*/ 52 h 60"/>
                  <a:gd name="T16" fmla="*/ 8 w 108"/>
                  <a:gd name="T17" fmla="*/ 40 h 60"/>
                  <a:gd name="T18" fmla="*/ 36 w 108"/>
                  <a:gd name="T19" fmla="*/ 28 h 60"/>
                  <a:gd name="T20" fmla="*/ 72 w 108"/>
                  <a:gd name="T21" fmla="*/ 12 h 60"/>
                  <a:gd name="T22" fmla="*/ 90 w 108"/>
                  <a:gd name="T23" fmla="*/ 4 h 60"/>
                  <a:gd name="T24" fmla="*/ 88 w 108"/>
                  <a:gd name="T25" fmla="*/ 2 h 60"/>
                  <a:gd name="T26" fmla="*/ 84 w 108"/>
                  <a:gd name="T27" fmla="*/ 10 h 60"/>
                  <a:gd name="T28" fmla="*/ 82 w 108"/>
                  <a:gd name="T29" fmla="*/ 8 h 60"/>
                  <a:gd name="T30" fmla="*/ 72 w 108"/>
                  <a:gd name="T31" fmla="*/ 8 h 60"/>
                  <a:gd name="T32" fmla="*/ 54 w 108"/>
                  <a:gd name="T33" fmla="*/ 10 h 60"/>
                  <a:gd name="T34" fmla="*/ 26 w 108"/>
                  <a:gd name="T35" fmla="*/ 30 h 60"/>
                  <a:gd name="T36" fmla="*/ 6 w 108"/>
                  <a:gd name="T37" fmla="*/ 36 h 60"/>
                  <a:gd name="T38" fmla="*/ 0 w 108"/>
                  <a:gd name="T39" fmla="*/ 46 h 60"/>
                  <a:gd name="T40" fmla="*/ 10 w 108"/>
                  <a:gd name="T41" fmla="*/ 56 h 60"/>
                  <a:gd name="T42" fmla="*/ 26 w 108"/>
                  <a:gd name="T43" fmla="*/ 56 h 60"/>
                  <a:gd name="T44" fmla="*/ 30 w 108"/>
                  <a:gd name="T45" fmla="*/ 52 h 60"/>
                  <a:gd name="T46" fmla="*/ 30 w 108"/>
                  <a:gd name="T47" fmla="*/ 56 h 60"/>
                  <a:gd name="T48" fmla="*/ 48 w 108"/>
                  <a:gd name="T49" fmla="*/ 60 h 60"/>
                  <a:gd name="T50" fmla="*/ 52 w 108"/>
                  <a:gd name="T51" fmla="*/ 56 h 60"/>
                  <a:gd name="T52" fmla="*/ 52 w 108"/>
                  <a:gd name="T53" fmla="*/ 52 h 60"/>
                  <a:gd name="T54" fmla="*/ 54 w 108"/>
                  <a:gd name="T55" fmla="*/ 52 h 60"/>
                  <a:gd name="T56" fmla="*/ 62 w 108"/>
                  <a:gd name="T57" fmla="*/ 48 h 60"/>
                  <a:gd name="T58" fmla="*/ 66 w 108"/>
                  <a:gd name="T59" fmla="*/ 40 h 60"/>
                  <a:gd name="T60" fmla="*/ 68 w 108"/>
                  <a:gd name="T61" fmla="*/ 34 h 60"/>
                  <a:gd name="T62" fmla="*/ 66 w 108"/>
                  <a:gd name="T63" fmla="*/ 40 h 60"/>
                  <a:gd name="T64" fmla="*/ 70 w 108"/>
                  <a:gd name="T65" fmla="*/ 46 h 60"/>
                  <a:gd name="T66" fmla="*/ 80 w 108"/>
                  <a:gd name="T67" fmla="*/ 48 h 60"/>
                  <a:gd name="T68" fmla="*/ 88 w 108"/>
                  <a:gd name="T69" fmla="*/ 40 h 60"/>
                  <a:gd name="T70" fmla="*/ 98 w 108"/>
                  <a:gd name="T71" fmla="*/ 34 h 60"/>
                  <a:gd name="T72" fmla="*/ 102 w 108"/>
                  <a:gd name="T73" fmla="*/ 28 h 60"/>
                  <a:gd name="T74" fmla="*/ 102 w 108"/>
                  <a:gd name="T75" fmla="*/ 20 h 60"/>
                  <a:gd name="T76" fmla="*/ 108 w 108"/>
                  <a:gd name="T77" fmla="*/ 14 h 60"/>
                  <a:gd name="T78" fmla="*/ 108 w 108"/>
                  <a:gd name="T79" fmla="*/ 12 h 60"/>
                  <a:gd name="T80" fmla="*/ 102 w 108"/>
                  <a:gd name="T81" fmla="*/ 4 h 60"/>
                  <a:gd name="T82" fmla="*/ 92 w 108"/>
                  <a:gd name="T8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60">
                    <a:moveTo>
                      <a:pt x="90" y="4"/>
                    </a:moveTo>
                    <a:lnTo>
                      <a:pt x="100" y="8"/>
                    </a:lnTo>
                    <a:lnTo>
                      <a:pt x="104" y="12"/>
                    </a:lnTo>
                    <a:lnTo>
                      <a:pt x="100" y="18"/>
                    </a:lnTo>
                    <a:lnTo>
                      <a:pt x="94" y="18"/>
                    </a:lnTo>
                    <a:lnTo>
                      <a:pt x="100" y="26"/>
                    </a:lnTo>
                    <a:lnTo>
                      <a:pt x="98" y="30"/>
                    </a:lnTo>
                    <a:lnTo>
                      <a:pt x="90" y="32"/>
                    </a:lnTo>
                    <a:lnTo>
                      <a:pt x="84" y="38"/>
                    </a:lnTo>
                    <a:lnTo>
                      <a:pt x="80" y="44"/>
                    </a:lnTo>
                    <a:lnTo>
                      <a:pt x="70" y="42"/>
                    </a:lnTo>
                    <a:lnTo>
                      <a:pt x="72" y="32"/>
                    </a:lnTo>
                    <a:lnTo>
                      <a:pt x="68" y="30"/>
                    </a:lnTo>
                    <a:lnTo>
                      <a:pt x="64" y="30"/>
                    </a:lnTo>
                    <a:lnTo>
                      <a:pt x="62" y="34"/>
                    </a:lnTo>
                    <a:lnTo>
                      <a:pt x="62" y="40"/>
                    </a:lnTo>
                    <a:lnTo>
                      <a:pt x="58" y="46"/>
                    </a:lnTo>
                    <a:lnTo>
                      <a:pt x="52" y="48"/>
                    </a:lnTo>
                    <a:lnTo>
                      <a:pt x="48" y="46"/>
                    </a:lnTo>
                    <a:lnTo>
                      <a:pt x="48" y="56"/>
                    </a:lnTo>
                    <a:lnTo>
                      <a:pt x="34" y="56"/>
                    </a:lnTo>
                    <a:lnTo>
                      <a:pt x="32" y="48"/>
                    </a:lnTo>
                    <a:lnTo>
                      <a:pt x="26" y="48"/>
                    </a:lnTo>
                    <a:lnTo>
                      <a:pt x="26" y="52"/>
                    </a:lnTo>
                    <a:lnTo>
                      <a:pt x="12" y="52"/>
                    </a:lnTo>
                    <a:lnTo>
                      <a:pt x="4" y="48"/>
                    </a:lnTo>
                    <a:lnTo>
                      <a:pt x="8" y="40"/>
                    </a:lnTo>
                    <a:lnTo>
                      <a:pt x="18" y="38"/>
                    </a:lnTo>
                    <a:lnTo>
                      <a:pt x="28" y="32"/>
                    </a:lnTo>
                    <a:lnTo>
                      <a:pt x="36" y="28"/>
                    </a:lnTo>
                    <a:lnTo>
                      <a:pt x="48" y="20"/>
                    </a:lnTo>
                    <a:lnTo>
                      <a:pt x="56" y="14"/>
                    </a:lnTo>
                    <a:lnTo>
                      <a:pt x="72" y="12"/>
                    </a:lnTo>
                    <a:lnTo>
                      <a:pt x="82" y="12"/>
                    </a:lnTo>
                    <a:lnTo>
                      <a:pt x="86" y="16"/>
                    </a:lnTo>
                    <a:lnTo>
                      <a:pt x="90" y="4"/>
                    </a:lnTo>
                    <a:close/>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2" name="Freeform 71"/>
              <p:cNvSpPr>
                <a:spLocks/>
              </p:cNvSpPr>
              <p:nvPr/>
            </p:nvSpPr>
            <p:spPr bwMode="auto">
              <a:xfrm>
                <a:off x="1131" y="1107"/>
                <a:ext cx="100" cy="52"/>
              </a:xfrm>
              <a:custGeom>
                <a:avLst/>
                <a:gdLst>
                  <a:gd name="T0" fmla="*/ 86 w 100"/>
                  <a:gd name="T1" fmla="*/ 0 h 52"/>
                  <a:gd name="T2" fmla="*/ 96 w 100"/>
                  <a:gd name="T3" fmla="*/ 4 h 52"/>
                  <a:gd name="T4" fmla="*/ 100 w 100"/>
                  <a:gd name="T5" fmla="*/ 8 h 52"/>
                  <a:gd name="T6" fmla="*/ 96 w 100"/>
                  <a:gd name="T7" fmla="*/ 14 h 52"/>
                  <a:gd name="T8" fmla="*/ 90 w 100"/>
                  <a:gd name="T9" fmla="*/ 14 h 52"/>
                  <a:gd name="T10" fmla="*/ 96 w 100"/>
                  <a:gd name="T11" fmla="*/ 22 h 52"/>
                  <a:gd name="T12" fmla="*/ 94 w 100"/>
                  <a:gd name="T13" fmla="*/ 26 h 52"/>
                  <a:gd name="T14" fmla="*/ 86 w 100"/>
                  <a:gd name="T15" fmla="*/ 28 h 52"/>
                  <a:gd name="T16" fmla="*/ 80 w 100"/>
                  <a:gd name="T17" fmla="*/ 34 h 52"/>
                  <a:gd name="T18" fmla="*/ 76 w 100"/>
                  <a:gd name="T19" fmla="*/ 40 h 52"/>
                  <a:gd name="T20" fmla="*/ 66 w 100"/>
                  <a:gd name="T21" fmla="*/ 38 h 52"/>
                  <a:gd name="T22" fmla="*/ 68 w 100"/>
                  <a:gd name="T23" fmla="*/ 28 h 52"/>
                  <a:gd name="T24" fmla="*/ 64 w 100"/>
                  <a:gd name="T25" fmla="*/ 26 h 52"/>
                  <a:gd name="T26" fmla="*/ 60 w 100"/>
                  <a:gd name="T27" fmla="*/ 26 h 52"/>
                  <a:gd name="T28" fmla="*/ 58 w 100"/>
                  <a:gd name="T29" fmla="*/ 30 h 52"/>
                  <a:gd name="T30" fmla="*/ 58 w 100"/>
                  <a:gd name="T31" fmla="*/ 36 h 52"/>
                  <a:gd name="T32" fmla="*/ 54 w 100"/>
                  <a:gd name="T33" fmla="*/ 42 h 52"/>
                  <a:gd name="T34" fmla="*/ 48 w 100"/>
                  <a:gd name="T35" fmla="*/ 44 h 52"/>
                  <a:gd name="T36" fmla="*/ 44 w 100"/>
                  <a:gd name="T37" fmla="*/ 42 h 52"/>
                  <a:gd name="T38" fmla="*/ 44 w 100"/>
                  <a:gd name="T39" fmla="*/ 52 h 52"/>
                  <a:gd name="T40" fmla="*/ 30 w 100"/>
                  <a:gd name="T41" fmla="*/ 52 h 52"/>
                  <a:gd name="T42" fmla="*/ 28 w 100"/>
                  <a:gd name="T43" fmla="*/ 44 h 52"/>
                  <a:gd name="T44" fmla="*/ 22 w 100"/>
                  <a:gd name="T45" fmla="*/ 44 h 52"/>
                  <a:gd name="T46" fmla="*/ 22 w 100"/>
                  <a:gd name="T47" fmla="*/ 48 h 52"/>
                  <a:gd name="T48" fmla="*/ 8 w 100"/>
                  <a:gd name="T49" fmla="*/ 48 h 52"/>
                  <a:gd name="T50" fmla="*/ 0 w 100"/>
                  <a:gd name="T51" fmla="*/ 44 h 52"/>
                  <a:gd name="T52" fmla="*/ 4 w 100"/>
                  <a:gd name="T53" fmla="*/ 36 h 52"/>
                  <a:gd name="T54" fmla="*/ 14 w 100"/>
                  <a:gd name="T55" fmla="*/ 34 h 52"/>
                  <a:gd name="T56" fmla="*/ 24 w 100"/>
                  <a:gd name="T57" fmla="*/ 28 h 52"/>
                  <a:gd name="T58" fmla="*/ 32 w 100"/>
                  <a:gd name="T59" fmla="*/ 24 h 52"/>
                  <a:gd name="T60" fmla="*/ 44 w 100"/>
                  <a:gd name="T61" fmla="*/ 16 h 52"/>
                  <a:gd name="T62" fmla="*/ 52 w 100"/>
                  <a:gd name="T63" fmla="*/ 10 h 52"/>
                  <a:gd name="T64" fmla="*/ 68 w 100"/>
                  <a:gd name="T65" fmla="*/ 8 h 52"/>
                  <a:gd name="T66" fmla="*/ 78 w 100"/>
                  <a:gd name="T67" fmla="*/ 8 h 52"/>
                  <a:gd name="T68" fmla="*/ 82 w 100"/>
                  <a:gd name="T69" fmla="*/ 12 h 52"/>
                  <a:gd name="T70" fmla="*/ 86 w 100"/>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52">
                    <a:moveTo>
                      <a:pt x="86" y="0"/>
                    </a:moveTo>
                    <a:lnTo>
                      <a:pt x="96" y="4"/>
                    </a:lnTo>
                    <a:lnTo>
                      <a:pt x="100" y="8"/>
                    </a:lnTo>
                    <a:lnTo>
                      <a:pt x="96" y="14"/>
                    </a:lnTo>
                    <a:lnTo>
                      <a:pt x="90" y="14"/>
                    </a:lnTo>
                    <a:lnTo>
                      <a:pt x="96" y="22"/>
                    </a:lnTo>
                    <a:lnTo>
                      <a:pt x="94" y="26"/>
                    </a:lnTo>
                    <a:lnTo>
                      <a:pt x="86" y="28"/>
                    </a:lnTo>
                    <a:lnTo>
                      <a:pt x="80" y="34"/>
                    </a:lnTo>
                    <a:lnTo>
                      <a:pt x="76" y="40"/>
                    </a:lnTo>
                    <a:lnTo>
                      <a:pt x="66" y="38"/>
                    </a:lnTo>
                    <a:lnTo>
                      <a:pt x="68" y="28"/>
                    </a:lnTo>
                    <a:lnTo>
                      <a:pt x="64" y="26"/>
                    </a:lnTo>
                    <a:lnTo>
                      <a:pt x="60" y="26"/>
                    </a:lnTo>
                    <a:lnTo>
                      <a:pt x="58" y="30"/>
                    </a:lnTo>
                    <a:lnTo>
                      <a:pt x="58" y="36"/>
                    </a:lnTo>
                    <a:lnTo>
                      <a:pt x="54" y="42"/>
                    </a:lnTo>
                    <a:lnTo>
                      <a:pt x="48" y="44"/>
                    </a:lnTo>
                    <a:lnTo>
                      <a:pt x="44" y="42"/>
                    </a:lnTo>
                    <a:lnTo>
                      <a:pt x="44" y="52"/>
                    </a:lnTo>
                    <a:lnTo>
                      <a:pt x="30" y="52"/>
                    </a:lnTo>
                    <a:lnTo>
                      <a:pt x="28" y="44"/>
                    </a:lnTo>
                    <a:lnTo>
                      <a:pt x="22" y="44"/>
                    </a:lnTo>
                    <a:lnTo>
                      <a:pt x="22" y="48"/>
                    </a:lnTo>
                    <a:lnTo>
                      <a:pt x="8" y="48"/>
                    </a:lnTo>
                    <a:lnTo>
                      <a:pt x="0" y="44"/>
                    </a:lnTo>
                    <a:lnTo>
                      <a:pt x="4" y="36"/>
                    </a:lnTo>
                    <a:lnTo>
                      <a:pt x="14" y="34"/>
                    </a:lnTo>
                    <a:lnTo>
                      <a:pt x="24" y="28"/>
                    </a:lnTo>
                    <a:lnTo>
                      <a:pt x="32" y="24"/>
                    </a:lnTo>
                    <a:lnTo>
                      <a:pt x="44" y="16"/>
                    </a:lnTo>
                    <a:lnTo>
                      <a:pt x="52" y="10"/>
                    </a:lnTo>
                    <a:lnTo>
                      <a:pt x="68" y="8"/>
                    </a:lnTo>
                    <a:lnTo>
                      <a:pt x="78" y="8"/>
                    </a:lnTo>
                    <a:lnTo>
                      <a:pt x="82" y="12"/>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3" name="Freeform 72"/>
              <p:cNvSpPr>
                <a:spLocks/>
              </p:cNvSpPr>
              <p:nvPr/>
            </p:nvSpPr>
            <p:spPr bwMode="auto">
              <a:xfrm>
                <a:off x="1127" y="1103"/>
                <a:ext cx="108" cy="60"/>
              </a:xfrm>
              <a:custGeom>
                <a:avLst/>
                <a:gdLst>
                  <a:gd name="T0" fmla="*/ 90 w 108"/>
                  <a:gd name="T1" fmla="*/ 0 h 60"/>
                  <a:gd name="T2" fmla="*/ 88 w 108"/>
                  <a:gd name="T3" fmla="*/ 2 h 60"/>
                  <a:gd name="T4" fmla="*/ 84 w 108"/>
                  <a:gd name="T5" fmla="*/ 10 h 60"/>
                  <a:gd name="T6" fmla="*/ 84 w 108"/>
                  <a:gd name="T7" fmla="*/ 8 h 60"/>
                  <a:gd name="T8" fmla="*/ 72 w 108"/>
                  <a:gd name="T9" fmla="*/ 8 h 60"/>
                  <a:gd name="T10" fmla="*/ 72 w 108"/>
                  <a:gd name="T11" fmla="*/ 8 h 60"/>
                  <a:gd name="T12" fmla="*/ 56 w 108"/>
                  <a:gd name="T13" fmla="*/ 10 h 60"/>
                  <a:gd name="T14" fmla="*/ 46 w 108"/>
                  <a:gd name="T15" fmla="*/ 18 h 60"/>
                  <a:gd name="T16" fmla="*/ 26 w 108"/>
                  <a:gd name="T17" fmla="*/ 30 h 60"/>
                  <a:gd name="T18" fmla="*/ 6 w 108"/>
                  <a:gd name="T19" fmla="*/ 36 h 60"/>
                  <a:gd name="T20" fmla="*/ 4 w 108"/>
                  <a:gd name="T21" fmla="*/ 38 h 60"/>
                  <a:gd name="T22" fmla="*/ 0 w 108"/>
                  <a:gd name="T23" fmla="*/ 46 h 60"/>
                  <a:gd name="T24" fmla="*/ 2 w 108"/>
                  <a:gd name="T25" fmla="*/ 52 h 60"/>
                  <a:gd name="T26" fmla="*/ 10 w 108"/>
                  <a:gd name="T27" fmla="*/ 56 h 60"/>
                  <a:gd name="T28" fmla="*/ 26 w 108"/>
                  <a:gd name="T29" fmla="*/ 56 h 60"/>
                  <a:gd name="T30" fmla="*/ 28 w 108"/>
                  <a:gd name="T31" fmla="*/ 54 h 60"/>
                  <a:gd name="T32" fmla="*/ 30 w 108"/>
                  <a:gd name="T33" fmla="*/ 52 h 60"/>
                  <a:gd name="T34" fmla="*/ 30 w 108"/>
                  <a:gd name="T35" fmla="*/ 56 h 60"/>
                  <a:gd name="T36" fmla="*/ 34 w 108"/>
                  <a:gd name="T37" fmla="*/ 60 h 60"/>
                  <a:gd name="T38" fmla="*/ 48 w 108"/>
                  <a:gd name="T39" fmla="*/ 60 h 60"/>
                  <a:gd name="T40" fmla="*/ 52 w 108"/>
                  <a:gd name="T41" fmla="*/ 56 h 60"/>
                  <a:gd name="T42" fmla="*/ 52 w 108"/>
                  <a:gd name="T43" fmla="*/ 52 h 60"/>
                  <a:gd name="T44" fmla="*/ 52 w 108"/>
                  <a:gd name="T45" fmla="*/ 52 h 60"/>
                  <a:gd name="T46" fmla="*/ 54 w 108"/>
                  <a:gd name="T47" fmla="*/ 52 h 60"/>
                  <a:gd name="T48" fmla="*/ 60 w 108"/>
                  <a:gd name="T49" fmla="*/ 50 h 60"/>
                  <a:gd name="T50" fmla="*/ 64 w 108"/>
                  <a:gd name="T51" fmla="*/ 42 h 60"/>
                  <a:gd name="T52" fmla="*/ 66 w 108"/>
                  <a:gd name="T53" fmla="*/ 40 h 60"/>
                  <a:gd name="T54" fmla="*/ 66 w 108"/>
                  <a:gd name="T55" fmla="*/ 34 h 60"/>
                  <a:gd name="T56" fmla="*/ 68 w 108"/>
                  <a:gd name="T57" fmla="*/ 34 h 60"/>
                  <a:gd name="T58" fmla="*/ 66 w 108"/>
                  <a:gd name="T59" fmla="*/ 40 h 60"/>
                  <a:gd name="T60" fmla="*/ 68 w 108"/>
                  <a:gd name="T61" fmla="*/ 44 h 60"/>
                  <a:gd name="T62" fmla="*/ 78 w 108"/>
                  <a:gd name="T63" fmla="*/ 48 h 60"/>
                  <a:gd name="T64" fmla="*/ 80 w 108"/>
                  <a:gd name="T65" fmla="*/ 48 h 60"/>
                  <a:gd name="T66" fmla="*/ 82 w 108"/>
                  <a:gd name="T67" fmla="*/ 46 h 60"/>
                  <a:gd name="T68" fmla="*/ 92 w 108"/>
                  <a:gd name="T69" fmla="*/ 36 h 60"/>
                  <a:gd name="T70" fmla="*/ 98 w 108"/>
                  <a:gd name="T71" fmla="*/ 34 h 60"/>
                  <a:gd name="T72" fmla="*/ 102 w 108"/>
                  <a:gd name="T73" fmla="*/ 28 h 60"/>
                  <a:gd name="T74" fmla="*/ 102 w 108"/>
                  <a:gd name="T75" fmla="*/ 24 h 60"/>
                  <a:gd name="T76" fmla="*/ 102 w 108"/>
                  <a:gd name="T77" fmla="*/ 20 h 60"/>
                  <a:gd name="T78" fmla="*/ 104 w 108"/>
                  <a:gd name="T79" fmla="*/ 20 h 60"/>
                  <a:gd name="T80" fmla="*/ 108 w 108"/>
                  <a:gd name="T81" fmla="*/ 14 h 60"/>
                  <a:gd name="T82" fmla="*/ 108 w 108"/>
                  <a:gd name="T83" fmla="*/ 12 h 60"/>
                  <a:gd name="T84" fmla="*/ 102 w 108"/>
                  <a:gd name="T85" fmla="*/ 4 h 60"/>
                  <a:gd name="T86" fmla="*/ 100 w 108"/>
                  <a:gd name="T87" fmla="*/ 4 h 60"/>
                  <a:gd name="T88" fmla="*/ 92 w 108"/>
                  <a:gd name="T89" fmla="*/ 2 h 60"/>
                  <a:gd name="T90" fmla="*/ 90 w 108"/>
                  <a:gd name="T9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60">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4" name="Freeform 73"/>
              <p:cNvSpPr>
                <a:spLocks/>
              </p:cNvSpPr>
              <p:nvPr/>
            </p:nvSpPr>
            <p:spPr bwMode="auto">
              <a:xfrm>
                <a:off x="1173" y="1151"/>
                <a:ext cx="32" cy="20"/>
              </a:xfrm>
              <a:custGeom>
                <a:avLst/>
                <a:gdLst>
                  <a:gd name="T0" fmla="*/ 14 w 32"/>
                  <a:gd name="T1" fmla="*/ 20 h 20"/>
                  <a:gd name="T2" fmla="*/ 14 w 32"/>
                  <a:gd name="T3" fmla="*/ 20 h 20"/>
                  <a:gd name="T4" fmla="*/ 14 w 32"/>
                  <a:gd name="T5" fmla="*/ 20 h 20"/>
                  <a:gd name="T6" fmla="*/ 2 w 32"/>
                  <a:gd name="T7" fmla="*/ 18 h 20"/>
                  <a:gd name="T8" fmla="*/ 2 w 32"/>
                  <a:gd name="T9" fmla="*/ 18 h 20"/>
                  <a:gd name="T10" fmla="*/ 0 w 32"/>
                  <a:gd name="T11" fmla="*/ 16 h 20"/>
                  <a:gd name="T12" fmla="*/ 0 w 32"/>
                  <a:gd name="T13" fmla="*/ 16 h 20"/>
                  <a:gd name="T14" fmla="*/ 0 w 32"/>
                  <a:gd name="T15" fmla="*/ 14 h 20"/>
                  <a:gd name="T16" fmla="*/ 4 w 32"/>
                  <a:gd name="T17" fmla="*/ 8 h 20"/>
                  <a:gd name="T18" fmla="*/ 4 w 32"/>
                  <a:gd name="T19" fmla="*/ 8 h 20"/>
                  <a:gd name="T20" fmla="*/ 6 w 32"/>
                  <a:gd name="T21" fmla="*/ 6 h 20"/>
                  <a:gd name="T22" fmla="*/ 16 w 32"/>
                  <a:gd name="T23" fmla="*/ 2 h 20"/>
                  <a:gd name="T24" fmla="*/ 20 w 32"/>
                  <a:gd name="T25" fmla="*/ 0 h 20"/>
                  <a:gd name="T26" fmla="*/ 20 w 32"/>
                  <a:gd name="T27" fmla="*/ 0 h 20"/>
                  <a:gd name="T28" fmla="*/ 20 w 32"/>
                  <a:gd name="T29" fmla="*/ 0 h 20"/>
                  <a:gd name="T30" fmla="*/ 20 w 32"/>
                  <a:gd name="T31" fmla="*/ 0 h 20"/>
                  <a:gd name="T32" fmla="*/ 20 w 32"/>
                  <a:gd name="T33" fmla="*/ 0 h 20"/>
                  <a:gd name="T34" fmla="*/ 30 w 32"/>
                  <a:gd name="T35" fmla="*/ 2 h 20"/>
                  <a:gd name="T36" fmla="*/ 30 w 32"/>
                  <a:gd name="T37" fmla="*/ 2 h 20"/>
                  <a:gd name="T38" fmla="*/ 32 w 32"/>
                  <a:gd name="T39" fmla="*/ 2 h 20"/>
                  <a:gd name="T40" fmla="*/ 32 w 32"/>
                  <a:gd name="T41" fmla="*/ 2 h 20"/>
                  <a:gd name="T42" fmla="*/ 32 w 32"/>
                  <a:gd name="T43" fmla="*/ 4 h 20"/>
                  <a:gd name="T44" fmla="*/ 30 w 32"/>
                  <a:gd name="T45" fmla="*/ 10 h 20"/>
                  <a:gd name="T46" fmla="*/ 24 w 32"/>
                  <a:gd name="T47" fmla="*/ 18 h 20"/>
                  <a:gd name="T48" fmla="*/ 24 w 32"/>
                  <a:gd name="T49" fmla="*/ 18 h 20"/>
                  <a:gd name="T50" fmla="*/ 24 w 32"/>
                  <a:gd name="T51" fmla="*/ 18 h 20"/>
                  <a:gd name="T52" fmla="*/ 16 w 32"/>
                  <a:gd name="T53" fmla="*/ 20 h 20"/>
                  <a:gd name="T54" fmla="*/ 16 w 32"/>
                  <a:gd name="T55" fmla="*/ 20 h 20"/>
                  <a:gd name="T56" fmla="*/ 14 w 32"/>
                  <a:gd name="T57" fmla="*/ 20 h 20"/>
                  <a:gd name="T58" fmla="*/ 14 w 32"/>
                  <a:gd name="T5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0">
                    <a:moveTo>
                      <a:pt x="14" y="20"/>
                    </a:moveTo>
                    <a:lnTo>
                      <a:pt x="14" y="20"/>
                    </a:lnTo>
                    <a:lnTo>
                      <a:pt x="14" y="20"/>
                    </a:lnTo>
                    <a:lnTo>
                      <a:pt x="2" y="18"/>
                    </a:lnTo>
                    <a:lnTo>
                      <a:pt x="2" y="18"/>
                    </a:lnTo>
                    <a:lnTo>
                      <a:pt x="0" y="16"/>
                    </a:lnTo>
                    <a:lnTo>
                      <a:pt x="0" y="16"/>
                    </a:lnTo>
                    <a:lnTo>
                      <a:pt x="0" y="14"/>
                    </a:lnTo>
                    <a:lnTo>
                      <a:pt x="4" y="8"/>
                    </a:lnTo>
                    <a:lnTo>
                      <a:pt x="4" y="8"/>
                    </a:lnTo>
                    <a:lnTo>
                      <a:pt x="6" y="6"/>
                    </a:lnTo>
                    <a:lnTo>
                      <a:pt x="16" y="2"/>
                    </a:lnTo>
                    <a:lnTo>
                      <a:pt x="20" y="0"/>
                    </a:lnTo>
                    <a:lnTo>
                      <a:pt x="20" y="0"/>
                    </a:lnTo>
                    <a:lnTo>
                      <a:pt x="20" y="0"/>
                    </a:lnTo>
                    <a:lnTo>
                      <a:pt x="20" y="0"/>
                    </a:lnTo>
                    <a:lnTo>
                      <a:pt x="20" y="0"/>
                    </a:lnTo>
                    <a:lnTo>
                      <a:pt x="30" y="2"/>
                    </a:lnTo>
                    <a:lnTo>
                      <a:pt x="30" y="2"/>
                    </a:lnTo>
                    <a:lnTo>
                      <a:pt x="32" y="2"/>
                    </a:lnTo>
                    <a:lnTo>
                      <a:pt x="32" y="2"/>
                    </a:lnTo>
                    <a:lnTo>
                      <a:pt x="32" y="4"/>
                    </a:lnTo>
                    <a:lnTo>
                      <a:pt x="30" y="10"/>
                    </a:lnTo>
                    <a:lnTo>
                      <a:pt x="24" y="18"/>
                    </a:lnTo>
                    <a:lnTo>
                      <a:pt x="24" y="18"/>
                    </a:lnTo>
                    <a:lnTo>
                      <a:pt x="24" y="18"/>
                    </a:lnTo>
                    <a:lnTo>
                      <a:pt x="16" y="20"/>
                    </a:lnTo>
                    <a:lnTo>
                      <a:pt x="16" y="20"/>
                    </a:lnTo>
                    <a:lnTo>
                      <a:pt x="14" y="20"/>
                    </a:lnTo>
                    <a:lnTo>
                      <a:pt x="1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5" name="Freeform 74"/>
              <p:cNvSpPr>
                <a:spLocks noEditPoints="1"/>
              </p:cNvSpPr>
              <p:nvPr/>
            </p:nvSpPr>
            <p:spPr bwMode="auto">
              <a:xfrm>
                <a:off x="1171" y="1149"/>
                <a:ext cx="36" cy="24"/>
              </a:xfrm>
              <a:custGeom>
                <a:avLst/>
                <a:gdLst>
                  <a:gd name="T0" fmla="*/ 22 w 36"/>
                  <a:gd name="T1" fmla="*/ 4 h 24"/>
                  <a:gd name="T2" fmla="*/ 32 w 36"/>
                  <a:gd name="T3" fmla="*/ 6 h 24"/>
                  <a:gd name="T4" fmla="*/ 30 w 36"/>
                  <a:gd name="T5" fmla="*/ 10 h 24"/>
                  <a:gd name="T6" fmla="*/ 24 w 36"/>
                  <a:gd name="T7" fmla="*/ 18 h 24"/>
                  <a:gd name="T8" fmla="*/ 16 w 36"/>
                  <a:gd name="T9" fmla="*/ 20 h 24"/>
                  <a:gd name="T10" fmla="*/ 4 w 36"/>
                  <a:gd name="T11" fmla="*/ 18 h 24"/>
                  <a:gd name="T12" fmla="*/ 8 w 36"/>
                  <a:gd name="T13" fmla="*/ 10 h 24"/>
                  <a:gd name="T14" fmla="*/ 18 w 36"/>
                  <a:gd name="T15" fmla="*/ 6 h 24"/>
                  <a:gd name="T16" fmla="*/ 22 w 36"/>
                  <a:gd name="T17" fmla="*/ 4 h 24"/>
                  <a:gd name="T18" fmla="*/ 22 w 36"/>
                  <a:gd name="T19" fmla="*/ 0 h 24"/>
                  <a:gd name="T20" fmla="*/ 22 w 36"/>
                  <a:gd name="T21" fmla="*/ 0 h 24"/>
                  <a:gd name="T22" fmla="*/ 22 w 36"/>
                  <a:gd name="T23" fmla="*/ 0 h 24"/>
                  <a:gd name="T24" fmla="*/ 18 w 36"/>
                  <a:gd name="T25" fmla="*/ 2 h 24"/>
                  <a:gd name="T26" fmla="*/ 6 w 36"/>
                  <a:gd name="T27" fmla="*/ 6 h 24"/>
                  <a:gd name="T28" fmla="*/ 6 w 36"/>
                  <a:gd name="T29" fmla="*/ 6 h 24"/>
                  <a:gd name="T30" fmla="*/ 6 w 36"/>
                  <a:gd name="T31" fmla="*/ 8 h 24"/>
                  <a:gd name="T32" fmla="*/ 2 w 36"/>
                  <a:gd name="T33" fmla="*/ 16 h 24"/>
                  <a:gd name="T34" fmla="*/ 2 w 36"/>
                  <a:gd name="T35" fmla="*/ 16 h 24"/>
                  <a:gd name="T36" fmla="*/ 0 w 36"/>
                  <a:gd name="T37" fmla="*/ 18 h 24"/>
                  <a:gd name="T38" fmla="*/ 0 w 36"/>
                  <a:gd name="T39" fmla="*/ 18 h 24"/>
                  <a:gd name="T40" fmla="*/ 4 w 36"/>
                  <a:gd name="T41" fmla="*/ 22 h 24"/>
                  <a:gd name="T42" fmla="*/ 16 w 36"/>
                  <a:gd name="T43" fmla="*/ 24 h 24"/>
                  <a:gd name="T44" fmla="*/ 16 w 36"/>
                  <a:gd name="T45" fmla="*/ 24 h 24"/>
                  <a:gd name="T46" fmla="*/ 16 w 36"/>
                  <a:gd name="T47" fmla="*/ 24 h 24"/>
                  <a:gd name="T48" fmla="*/ 16 w 36"/>
                  <a:gd name="T49" fmla="*/ 24 h 24"/>
                  <a:gd name="T50" fmla="*/ 18 w 36"/>
                  <a:gd name="T51" fmla="*/ 24 h 24"/>
                  <a:gd name="T52" fmla="*/ 26 w 36"/>
                  <a:gd name="T53" fmla="*/ 22 h 24"/>
                  <a:gd name="T54" fmla="*/ 26 w 36"/>
                  <a:gd name="T55" fmla="*/ 22 h 24"/>
                  <a:gd name="T56" fmla="*/ 28 w 36"/>
                  <a:gd name="T57" fmla="*/ 22 h 24"/>
                  <a:gd name="T58" fmla="*/ 34 w 36"/>
                  <a:gd name="T59" fmla="*/ 12 h 24"/>
                  <a:gd name="T60" fmla="*/ 34 w 36"/>
                  <a:gd name="T61" fmla="*/ 12 h 24"/>
                  <a:gd name="T62" fmla="*/ 34 w 36"/>
                  <a:gd name="T63" fmla="*/ 12 h 24"/>
                  <a:gd name="T64" fmla="*/ 36 w 36"/>
                  <a:gd name="T65" fmla="*/ 6 h 24"/>
                  <a:gd name="T66" fmla="*/ 36 w 36"/>
                  <a:gd name="T67" fmla="*/ 6 h 24"/>
                  <a:gd name="T68" fmla="*/ 36 w 36"/>
                  <a:gd name="T69" fmla="*/ 4 h 24"/>
                  <a:gd name="T70" fmla="*/ 36 w 36"/>
                  <a:gd name="T71" fmla="*/ 4 h 24"/>
                  <a:gd name="T72" fmla="*/ 34 w 36"/>
                  <a:gd name="T73" fmla="*/ 2 h 24"/>
                  <a:gd name="T74" fmla="*/ 24 w 36"/>
                  <a:gd name="T75" fmla="*/ 0 h 24"/>
                  <a:gd name="T76" fmla="*/ 24 w 36"/>
                  <a:gd name="T77" fmla="*/ 0 h 24"/>
                  <a:gd name="T78" fmla="*/ 22 w 36"/>
                  <a:gd name="T79" fmla="*/ 0 h 24"/>
                  <a:gd name="T80" fmla="*/ 22 w 36"/>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24">
                    <a:moveTo>
                      <a:pt x="22" y="4"/>
                    </a:moveTo>
                    <a:lnTo>
                      <a:pt x="32" y="6"/>
                    </a:lnTo>
                    <a:lnTo>
                      <a:pt x="30" y="10"/>
                    </a:lnTo>
                    <a:lnTo>
                      <a:pt x="24" y="18"/>
                    </a:lnTo>
                    <a:lnTo>
                      <a:pt x="16" y="20"/>
                    </a:lnTo>
                    <a:lnTo>
                      <a:pt x="4" y="18"/>
                    </a:lnTo>
                    <a:lnTo>
                      <a:pt x="8" y="10"/>
                    </a:lnTo>
                    <a:lnTo>
                      <a:pt x="18" y="6"/>
                    </a:lnTo>
                    <a:lnTo>
                      <a:pt x="22" y="4"/>
                    </a:lnTo>
                    <a:close/>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6" name="Freeform 75"/>
              <p:cNvSpPr>
                <a:spLocks/>
              </p:cNvSpPr>
              <p:nvPr/>
            </p:nvSpPr>
            <p:spPr bwMode="auto">
              <a:xfrm>
                <a:off x="1175" y="1153"/>
                <a:ext cx="28" cy="16"/>
              </a:xfrm>
              <a:custGeom>
                <a:avLst/>
                <a:gdLst>
                  <a:gd name="T0" fmla="*/ 18 w 28"/>
                  <a:gd name="T1" fmla="*/ 0 h 16"/>
                  <a:gd name="T2" fmla="*/ 28 w 28"/>
                  <a:gd name="T3" fmla="*/ 2 h 16"/>
                  <a:gd name="T4" fmla="*/ 26 w 28"/>
                  <a:gd name="T5" fmla="*/ 6 h 16"/>
                  <a:gd name="T6" fmla="*/ 20 w 28"/>
                  <a:gd name="T7" fmla="*/ 14 h 16"/>
                  <a:gd name="T8" fmla="*/ 12 w 28"/>
                  <a:gd name="T9" fmla="*/ 16 h 16"/>
                  <a:gd name="T10" fmla="*/ 0 w 28"/>
                  <a:gd name="T11" fmla="*/ 14 h 16"/>
                  <a:gd name="T12" fmla="*/ 4 w 28"/>
                  <a:gd name="T13" fmla="*/ 6 h 16"/>
                  <a:gd name="T14" fmla="*/ 14 w 28"/>
                  <a:gd name="T15" fmla="*/ 2 h 16"/>
                  <a:gd name="T16" fmla="*/ 18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8" y="0"/>
                    </a:moveTo>
                    <a:lnTo>
                      <a:pt x="28" y="2"/>
                    </a:lnTo>
                    <a:lnTo>
                      <a:pt x="26" y="6"/>
                    </a:lnTo>
                    <a:lnTo>
                      <a:pt x="20" y="14"/>
                    </a:lnTo>
                    <a:lnTo>
                      <a:pt x="12" y="16"/>
                    </a:lnTo>
                    <a:lnTo>
                      <a:pt x="0" y="14"/>
                    </a:lnTo>
                    <a:lnTo>
                      <a:pt x="4" y="6"/>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7" name="Freeform 76"/>
              <p:cNvSpPr>
                <a:spLocks/>
              </p:cNvSpPr>
              <p:nvPr/>
            </p:nvSpPr>
            <p:spPr bwMode="auto">
              <a:xfrm>
                <a:off x="1171" y="1149"/>
                <a:ext cx="36" cy="24"/>
              </a:xfrm>
              <a:custGeom>
                <a:avLst/>
                <a:gdLst>
                  <a:gd name="T0" fmla="*/ 22 w 36"/>
                  <a:gd name="T1" fmla="*/ 0 h 24"/>
                  <a:gd name="T2" fmla="*/ 22 w 36"/>
                  <a:gd name="T3" fmla="*/ 0 h 24"/>
                  <a:gd name="T4" fmla="*/ 22 w 36"/>
                  <a:gd name="T5" fmla="*/ 0 h 24"/>
                  <a:gd name="T6" fmla="*/ 18 w 36"/>
                  <a:gd name="T7" fmla="*/ 2 h 24"/>
                  <a:gd name="T8" fmla="*/ 6 w 36"/>
                  <a:gd name="T9" fmla="*/ 6 h 24"/>
                  <a:gd name="T10" fmla="*/ 6 w 36"/>
                  <a:gd name="T11" fmla="*/ 6 h 24"/>
                  <a:gd name="T12" fmla="*/ 6 w 36"/>
                  <a:gd name="T13" fmla="*/ 8 h 24"/>
                  <a:gd name="T14" fmla="*/ 2 w 36"/>
                  <a:gd name="T15" fmla="*/ 16 h 24"/>
                  <a:gd name="T16" fmla="*/ 2 w 36"/>
                  <a:gd name="T17" fmla="*/ 16 h 24"/>
                  <a:gd name="T18" fmla="*/ 0 w 36"/>
                  <a:gd name="T19" fmla="*/ 18 h 24"/>
                  <a:gd name="T20" fmla="*/ 0 w 36"/>
                  <a:gd name="T21" fmla="*/ 18 h 24"/>
                  <a:gd name="T22" fmla="*/ 4 w 36"/>
                  <a:gd name="T23" fmla="*/ 22 h 24"/>
                  <a:gd name="T24" fmla="*/ 16 w 36"/>
                  <a:gd name="T25" fmla="*/ 24 h 24"/>
                  <a:gd name="T26" fmla="*/ 16 w 36"/>
                  <a:gd name="T27" fmla="*/ 24 h 24"/>
                  <a:gd name="T28" fmla="*/ 16 w 36"/>
                  <a:gd name="T29" fmla="*/ 24 h 24"/>
                  <a:gd name="T30" fmla="*/ 16 w 36"/>
                  <a:gd name="T31" fmla="*/ 24 h 24"/>
                  <a:gd name="T32" fmla="*/ 18 w 36"/>
                  <a:gd name="T33" fmla="*/ 24 h 24"/>
                  <a:gd name="T34" fmla="*/ 26 w 36"/>
                  <a:gd name="T35" fmla="*/ 22 h 24"/>
                  <a:gd name="T36" fmla="*/ 26 w 36"/>
                  <a:gd name="T37" fmla="*/ 22 h 24"/>
                  <a:gd name="T38" fmla="*/ 28 w 36"/>
                  <a:gd name="T39" fmla="*/ 22 h 24"/>
                  <a:gd name="T40" fmla="*/ 34 w 36"/>
                  <a:gd name="T41" fmla="*/ 12 h 24"/>
                  <a:gd name="T42" fmla="*/ 34 w 36"/>
                  <a:gd name="T43" fmla="*/ 12 h 24"/>
                  <a:gd name="T44" fmla="*/ 34 w 36"/>
                  <a:gd name="T45" fmla="*/ 12 h 24"/>
                  <a:gd name="T46" fmla="*/ 36 w 36"/>
                  <a:gd name="T47" fmla="*/ 6 h 24"/>
                  <a:gd name="T48" fmla="*/ 36 w 36"/>
                  <a:gd name="T49" fmla="*/ 6 h 24"/>
                  <a:gd name="T50" fmla="*/ 36 w 36"/>
                  <a:gd name="T51" fmla="*/ 4 h 24"/>
                  <a:gd name="T52" fmla="*/ 36 w 36"/>
                  <a:gd name="T53" fmla="*/ 4 h 24"/>
                  <a:gd name="T54" fmla="*/ 34 w 36"/>
                  <a:gd name="T55" fmla="*/ 2 h 24"/>
                  <a:gd name="T56" fmla="*/ 24 w 36"/>
                  <a:gd name="T57" fmla="*/ 0 h 24"/>
                  <a:gd name="T58" fmla="*/ 24 w 36"/>
                  <a:gd name="T59" fmla="*/ 0 h 24"/>
                  <a:gd name="T60" fmla="*/ 22 w 36"/>
                  <a:gd name="T61" fmla="*/ 0 h 24"/>
                  <a:gd name="T62" fmla="*/ 22 w 3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4">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8" name="Freeform 77"/>
              <p:cNvSpPr>
                <a:spLocks/>
              </p:cNvSpPr>
              <p:nvPr/>
            </p:nvSpPr>
            <p:spPr bwMode="auto">
              <a:xfrm>
                <a:off x="1263" y="1095"/>
                <a:ext cx="54" cy="26"/>
              </a:xfrm>
              <a:custGeom>
                <a:avLst/>
                <a:gdLst>
                  <a:gd name="T0" fmla="*/ 16 w 54"/>
                  <a:gd name="T1" fmla="*/ 26 h 26"/>
                  <a:gd name="T2" fmla="*/ 16 w 54"/>
                  <a:gd name="T3" fmla="*/ 26 h 26"/>
                  <a:gd name="T4" fmla="*/ 16 w 54"/>
                  <a:gd name="T5" fmla="*/ 26 h 26"/>
                  <a:gd name="T6" fmla="*/ 4 w 54"/>
                  <a:gd name="T7" fmla="*/ 20 h 26"/>
                  <a:gd name="T8" fmla="*/ 4 w 54"/>
                  <a:gd name="T9" fmla="*/ 20 h 26"/>
                  <a:gd name="T10" fmla="*/ 4 w 54"/>
                  <a:gd name="T11" fmla="*/ 20 h 26"/>
                  <a:gd name="T12" fmla="*/ 0 w 54"/>
                  <a:gd name="T13" fmla="*/ 8 h 26"/>
                  <a:gd name="T14" fmla="*/ 0 w 54"/>
                  <a:gd name="T15" fmla="*/ 8 h 26"/>
                  <a:gd name="T16" fmla="*/ 2 w 54"/>
                  <a:gd name="T17" fmla="*/ 4 h 26"/>
                  <a:gd name="T18" fmla="*/ 14 w 54"/>
                  <a:gd name="T19" fmla="*/ 0 h 26"/>
                  <a:gd name="T20" fmla="*/ 30 w 54"/>
                  <a:gd name="T21" fmla="*/ 0 h 26"/>
                  <a:gd name="T22" fmla="*/ 50 w 54"/>
                  <a:gd name="T23" fmla="*/ 0 h 26"/>
                  <a:gd name="T24" fmla="*/ 50 w 54"/>
                  <a:gd name="T25" fmla="*/ 0 h 26"/>
                  <a:gd name="T26" fmla="*/ 52 w 54"/>
                  <a:gd name="T27" fmla="*/ 0 h 26"/>
                  <a:gd name="T28" fmla="*/ 54 w 54"/>
                  <a:gd name="T29" fmla="*/ 6 h 26"/>
                  <a:gd name="T30" fmla="*/ 54 w 54"/>
                  <a:gd name="T31" fmla="*/ 6 h 26"/>
                  <a:gd name="T32" fmla="*/ 54 w 54"/>
                  <a:gd name="T33" fmla="*/ 8 h 26"/>
                  <a:gd name="T34" fmla="*/ 54 w 54"/>
                  <a:gd name="T35" fmla="*/ 8 h 26"/>
                  <a:gd name="T36" fmla="*/ 52 w 54"/>
                  <a:gd name="T37" fmla="*/ 8 h 26"/>
                  <a:gd name="T38" fmla="*/ 46 w 54"/>
                  <a:gd name="T39" fmla="*/ 10 h 26"/>
                  <a:gd name="T40" fmla="*/ 48 w 54"/>
                  <a:gd name="T41" fmla="*/ 10 h 26"/>
                  <a:gd name="T42" fmla="*/ 48 w 54"/>
                  <a:gd name="T43" fmla="*/ 10 h 26"/>
                  <a:gd name="T44" fmla="*/ 50 w 54"/>
                  <a:gd name="T45" fmla="*/ 12 h 26"/>
                  <a:gd name="T46" fmla="*/ 50 w 54"/>
                  <a:gd name="T47" fmla="*/ 18 h 26"/>
                  <a:gd name="T48" fmla="*/ 50 w 54"/>
                  <a:gd name="T49" fmla="*/ 18 h 26"/>
                  <a:gd name="T50" fmla="*/ 48 w 54"/>
                  <a:gd name="T51" fmla="*/ 18 h 26"/>
                  <a:gd name="T52" fmla="*/ 44 w 54"/>
                  <a:gd name="T53" fmla="*/ 24 h 26"/>
                  <a:gd name="T54" fmla="*/ 44 w 54"/>
                  <a:gd name="T55" fmla="*/ 24 h 26"/>
                  <a:gd name="T56" fmla="*/ 42 w 54"/>
                  <a:gd name="T57" fmla="*/ 24 h 26"/>
                  <a:gd name="T58" fmla="*/ 22 w 54"/>
                  <a:gd name="T59" fmla="*/ 24 h 26"/>
                  <a:gd name="T60" fmla="*/ 18 w 54"/>
                  <a:gd name="T61" fmla="*/ 26 h 26"/>
                  <a:gd name="T62" fmla="*/ 18 w 54"/>
                  <a:gd name="T63" fmla="*/ 26 h 26"/>
                  <a:gd name="T64" fmla="*/ 16 w 54"/>
                  <a:gd name="T65" fmla="*/ 26 h 26"/>
                  <a:gd name="T66" fmla="*/ 16 w 54"/>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26">
                    <a:moveTo>
                      <a:pt x="16" y="26"/>
                    </a:moveTo>
                    <a:lnTo>
                      <a:pt x="16" y="26"/>
                    </a:lnTo>
                    <a:lnTo>
                      <a:pt x="16" y="26"/>
                    </a:lnTo>
                    <a:lnTo>
                      <a:pt x="4" y="20"/>
                    </a:lnTo>
                    <a:lnTo>
                      <a:pt x="4" y="20"/>
                    </a:lnTo>
                    <a:lnTo>
                      <a:pt x="4" y="20"/>
                    </a:lnTo>
                    <a:lnTo>
                      <a:pt x="0" y="8"/>
                    </a:lnTo>
                    <a:lnTo>
                      <a:pt x="0" y="8"/>
                    </a:lnTo>
                    <a:lnTo>
                      <a:pt x="2" y="4"/>
                    </a:lnTo>
                    <a:lnTo>
                      <a:pt x="14" y="0"/>
                    </a:lnTo>
                    <a:lnTo>
                      <a:pt x="30" y="0"/>
                    </a:lnTo>
                    <a:lnTo>
                      <a:pt x="50" y="0"/>
                    </a:lnTo>
                    <a:lnTo>
                      <a:pt x="50" y="0"/>
                    </a:lnTo>
                    <a:lnTo>
                      <a:pt x="52" y="0"/>
                    </a:lnTo>
                    <a:lnTo>
                      <a:pt x="54" y="6"/>
                    </a:lnTo>
                    <a:lnTo>
                      <a:pt x="54" y="6"/>
                    </a:lnTo>
                    <a:lnTo>
                      <a:pt x="54" y="8"/>
                    </a:lnTo>
                    <a:lnTo>
                      <a:pt x="54" y="8"/>
                    </a:lnTo>
                    <a:lnTo>
                      <a:pt x="52" y="8"/>
                    </a:lnTo>
                    <a:lnTo>
                      <a:pt x="46" y="10"/>
                    </a:lnTo>
                    <a:lnTo>
                      <a:pt x="48" y="10"/>
                    </a:lnTo>
                    <a:lnTo>
                      <a:pt x="48" y="10"/>
                    </a:lnTo>
                    <a:lnTo>
                      <a:pt x="50" y="12"/>
                    </a:lnTo>
                    <a:lnTo>
                      <a:pt x="50" y="18"/>
                    </a:lnTo>
                    <a:lnTo>
                      <a:pt x="50" y="18"/>
                    </a:lnTo>
                    <a:lnTo>
                      <a:pt x="48" y="18"/>
                    </a:lnTo>
                    <a:lnTo>
                      <a:pt x="44" y="24"/>
                    </a:lnTo>
                    <a:lnTo>
                      <a:pt x="44" y="24"/>
                    </a:lnTo>
                    <a:lnTo>
                      <a:pt x="42" y="24"/>
                    </a:lnTo>
                    <a:lnTo>
                      <a:pt x="22" y="24"/>
                    </a:lnTo>
                    <a:lnTo>
                      <a:pt x="18" y="26"/>
                    </a:lnTo>
                    <a:lnTo>
                      <a:pt x="18"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9" name="Freeform 78"/>
              <p:cNvSpPr>
                <a:spLocks noEditPoints="1"/>
              </p:cNvSpPr>
              <p:nvPr/>
            </p:nvSpPr>
            <p:spPr bwMode="auto">
              <a:xfrm>
                <a:off x="1261" y="1093"/>
                <a:ext cx="58" cy="30"/>
              </a:xfrm>
              <a:custGeom>
                <a:avLst/>
                <a:gdLst>
                  <a:gd name="T0" fmla="*/ 52 w 58"/>
                  <a:gd name="T1" fmla="*/ 4 h 30"/>
                  <a:gd name="T2" fmla="*/ 54 w 58"/>
                  <a:gd name="T3" fmla="*/ 8 h 30"/>
                  <a:gd name="T4" fmla="*/ 44 w 58"/>
                  <a:gd name="T5" fmla="*/ 10 h 30"/>
                  <a:gd name="T6" fmla="*/ 40 w 58"/>
                  <a:gd name="T7" fmla="*/ 14 h 30"/>
                  <a:gd name="T8" fmla="*/ 50 w 58"/>
                  <a:gd name="T9" fmla="*/ 14 h 30"/>
                  <a:gd name="T10" fmla="*/ 50 w 58"/>
                  <a:gd name="T11" fmla="*/ 20 h 30"/>
                  <a:gd name="T12" fmla="*/ 44 w 58"/>
                  <a:gd name="T13" fmla="*/ 24 h 30"/>
                  <a:gd name="T14" fmla="*/ 32 w 58"/>
                  <a:gd name="T15" fmla="*/ 24 h 30"/>
                  <a:gd name="T16" fmla="*/ 24 w 58"/>
                  <a:gd name="T17" fmla="*/ 24 h 30"/>
                  <a:gd name="T18" fmla="*/ 18 w 58"/>
                  <a:gd name="T19" fmla="*/ 26 h 30"/>
                  <a:gd name="T20" fmla="*/ 8 w 58"/>
                  <a:gd name="T21" fmla="*/ 20 h 30"/>
                  <a:gd name="T22" fmla="*/ 4 w 58"/>
                  <a:gd name="T23" fmla="*/ 8 h 30"/>
                  <a:gd name="T24" fmla="*/ 16 w 58"/>
                  <a:gd name="T25" fmla="*/ 4 h 30"/>
                  <a:gd name="T26" fmla="*/ 32 w 58"/>
                  <a:gd name="T27" fmla="*/ 4 h 30"/>
                  <a:gd name="T28" fmla="*/ 52 w 58"/>
                  <a:gd name="T29" fmla="*/ 4 h 30"/>
                  <a:gd name="T30" fmla="*/ 52 w 58"/>
                  <a:gd name="T31" fmla="*/ 0 h 30"/>
                  <a:gd name="T32" fmla="*/ 32 w 58"/>
                  <a:gd name="T33" fmla="*/ 0 h 30"/>
                  <a:gd name="T34" fmla="*/ 16 w 58"/>
                  <a:gd name="T35" fmla="*/ 0 h 30"/>
                  <a:gd name="T36" fmla="*/ 16 w 58"/>
                  <a:gd name="T37" fmla="*/ 0 h 30"/>
                  <a:gd name="T38" fmla="*/ 16 w 58"/>
                  <a:gd name="T39" fmla="*/ 0 h 30"/>
                  <a:gd name="T40" fmla="*/ 2 w 58"/>
                  <a:gd name="T41" fmla="*/ 6 h 30"/>
                  <a:gd name="T42" fmla="*/ 2 w 58"/>
                  <a:gd name="T43" fmla="*/ 6 h 30"/>
                  <a:gd name="T44" fmla="*/ 0 w 58"/>
                  <a:gd name="T45" fmla="*/ 8 h 30"/>
                  <a:gd name="T46" fmla="*/ 0 w 58"/>
                  <a:gd name="T47" fmla="*/ 10 h 30"/>
                  <a:gd name="T48" fmla="*/ 4 w 58"/>
                  <a:gd name="T49" fmla="*/ 22 h 30"/>
                  <a:gd name="T50" fmla="*/ 4 w 58"/>
                  <a:gd name="T51" fmla="*/ 22 h 30"/>
                  <a:gd name="T52" fmla="*/ 6 w 58"/>
                  <a:gd name="T53" fmla="*/ 24 h 30"/>
                  <a:gd name="T54" fmla="*/ 16 w 58"/>
                  <a:gd name="T55" fmla="*/ 30 h 30"/>
                  <a:gd name="T56" fmla="*/ 16 w 58"/>
                  <a:gd name="T57" fmla="*/ 30 h 30"/>
                  <a:gd name="T58" fmla="*/ 18 w 58"/>
                  <a:gd name="T59" fmla="*/ 30 h 30"/>
                  <a:gd name="T60" fmla="*/ 18 w 58"/>
                  <a:gd name="T61" fmla="*/ 30 h 30"/>
                  <a:gd name="T62" fmla="*/ 20 w 58"/>
                  <a:gd name="T63" fmla="*/ 30 h 30"/>
                  <a:gd name="T64" fmla="*/ 24 w 58"/>
                  <a:gd name="T65" fmla="*/ 28 h 30"/>
                  <a:gd name="T66" fmla="*/ 32 w 58"/>
                  <a:gd name="T67" fmla="*/ 28 h 30"/>
                  <a:gd name="T68" fmla="*/ 44 w 58"/>
                  <a:gd name="T69" fmla="*/ 28 h 30"/>
                  <a:gd name="T70" fmla="*/ 44 w 58"/>
                  <a:gd name="T71" fmla="*/ 28 h 30"/>
                  <a:gd name="T72" fmla="*/ 46 w 58"/>
                  <a:gd name="T73" fmla="*/ 28 h 30"/>
                  <a:gd name="T74" fmla="*/ 52 w 58"/>
                  <a:gd name="T75" fmla="*/ 22 h 30"/>
                  <a:gd name="T76" fmla="*/ 52 w 58"/>
                  <a:gd name="T77" fmla="*/ 22 h 30"/>
                  <a:gd name="T78" fmla="*/ 54 w 58"/>
                  <a:gd name="T79" fmla="*/ 20 h 30"/>
                  <a:gd name="T80" fmla="*/ 54 w 58"/>
                  <a:gd name="T81" fmla="*/ 14 h 30"/>
                  <a:gd name="T82" fmla="*/ 54 w 58"/>
                  <a:gd name="T83" fmla="*/ 14 h 30"/>
                  <a:gd name="T84" fmla="*/ 52 w 58"/>
                  <a:gd name="T85" fmla="*/ 14 h 30"/>
                  <a:gd name="T86" fmla="*/ 56 w 58"/>
                  <a:gd name="T87" fmla="*/ 12 h 30"/>
                  <a:gd name="T88" fmla="*/ 56 w 58"/>
                  <a:gd name="T89" fmla="*/ 12 h 30"/>
                  <a:gd name="T90" fmla="*/ 58 w 58"/>
                  <a:gd name="T91" fmla="*/ 10 h 30"/>
                  <a:gd name="T92" fmla="*/ 58 w 58"/>
                  <a:gd name="T93" fmla="*/ 10 h 30"/>
                  <a:gd name="T94" fmla="*/ 58 w 58"/>
                  <a:gd name="T95" fmla="*/ 8 h 30"/>
                  <a:gd name="T96" fmla="*/ 56 w 58"/>
                  <a:gd name="T97" fmla="*/ 2 h 30"/>
                  <a:gd name="T98" fmla="*/ 56 w 58"/>
                  <a:gd name="T99" fmla="*/ 2 h 30"/>
                  <a:gd name="T100" fmla="*/ 54 w 58"/>
                  <a:gd name="T101" fmla="*/ 0 h 30"/>
                  <a:gd name="T102" fmla="*/ 52 w 58"/>
                  <a:gd name="T103" fmla="*/ 0 h 30"/>
                  <a:gd name="T104" fmla="*/ 52 w 58"/>
                  <a:gd name="T10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30">
                    <a:moveTo>
                      <a:pt x="52" y="4"/>
                    </a:moveTo>
                    <a:lnTo>
                      <a:pt x="54" y="8"/>
                    </a:lnTo>
                    <a:lnTo>
                      <a:pt x="44" y="10"/>
                    </a:lnTo>
                    <a:lnTo>
                      <a:pt x="40" y="14"/>
                    </a:lnTo>
                    <a:lnTo>
                      <a:pt x="50" y="14"/>
                    </a:lnTo>
                    <a:lnTo>
                      <a:pt x="50" y="20"/>
                    </a:lnTo>
                    <a:lnTo>
                      <a:pt x="44" y="24"/>
                    </a:lnTo>
                    <a:lnTo>
                      <a:pt x="32" y="24"/>
                    </a:lnTo>
                    <a:lnTo>
                      <a:pt x="24" y="24"/>
                    </a:lnTo>
                    <a:lnTo>
                      <a:pt x="18" y="26"/>
                    </a:lnTo>
                    <a:lnTo>
                      <a:pt x="8" y="20"/>
                    </a:lnTo>
                    <a:lnTo>
                      <a:pt x="4" y="8"/>
                    </a:lnTo>
                    <a:lnTo>
                      <a:pt x="16" y="4"/>
                    </a:lnTo>
                    <a:lnTo>
                      <a:pt x="32" y="4"/>
                    </a:lnTo>
                    <a:lnTo>
                      <a:pt x="52" y="4"/>
                    </a:lnTo>
                    <a:close/>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0" name="Freeform 79"/>
              <p:cNvSpPr>
                <a:spLocks/>
              </p:cNvSpPr>
              <p:nvPr/>
            </p:nvSpPr>
            <p:spPr bwMode="auto">
              <a:xfrm>
                <a:off x="1265" y="1097"/>
                <a:ext cx="50" cy="22"/>
              </a:xfrm>
              <a:custGeom>
                <a:avLst/>
                <a:gdLst>
                  <a:gd name="T0" fmla="*/ 48 w 50"/>
                  <a:gd name="T1" fmla="*/ 0 h 22"/>
                  <a:gd name="T2" fmla="*/ 50 w 50"/>
                  <a:gd name="T3" fmla="*/ 4 h 22"/>
                  <a:gd name="T4" fmla="*/ 40 w 50"/>
                  <a:gd name="T5" fmla="*/ 6 h 22"/>
                  <a:gd name="T6" fmla="*/ 36 w 50"/>
                  <a:gd name="T7" fmla="*/ 10 h 22"/>
                  <a:gd name="T8" fmla="*/ 46 w 50"/>
                  <a:gd name="T9" fmla="*/ 10 h 22"/>
                  <a:gd name="T10" fmla="*/ 46 w 50"/>
                  <a:gd name="T11" fmla="*/ 16 h 22"/>
                  <a:gd name="T12" fmla="*/ 40 w 50"/>
                  <a:gd name="T13" fmla="*/ 20 h 22"/>
                  <a:gd name="T14" fmla="*/ 28 w 50"/>
                  <a:gd name="T15" fmla="*/ 20 h 22"/>
                  <a:gd name="T16" fmla="*/ 20 w 50"/>
                  <a:gd name="T17" fmla="*/ 20 h 22"/>
                  <a:gd name="T18" fmla="*/ 14 w 50"/>
                  <a:gd name="T19" fmla="*/ 22 h 22"/>
                  <a:gd name="T20" fmla="*/ 4 w 50"/>
                  <a:gd name="T21" fmla="*/ 16 h 22"/>
                  <a:gd name="T22" fmla="*/ 0 w 50"/>
                  <a:gd name="T23" fmla="*/ 4 h 22"/>
                  <a:gd name="T24" fmla="*/ 12 w 50"/>
                  <a:gd name="T25" fmla="*/ 0 h 22"/>
                  <a:gd name="T26" fmla="*/ 28 w 50"/>
                  <a:gd name="T27" fmla="*/ 0 h 22"/>
                  <a:gd name="T28" fmla="*/ 48 w 50"/>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22">
                    <a:moveTo>
                      <a:pt x="48" y="0"/>
                    </a:moveTo>
                    <a:lnTo>
                      <a:pt x="50" y="4"/>
                    </a:lnTo>
                    <a:lnTo>
                      <a:pt x="40" y="6"/>
                    </a:lnTo>
                    <a:lnTo>
                      <a:pt x="36" y="10"/>
                    </a:lnTo>
                    <a:lnTo>
                      <a:pt x="46" y="10"/>
                    </a:lnTo>
                    <a:lnTo>
                      <a:pt x="46" y="16"/>
                    </a:lnTo>
                    <a:lnTo>
                      <a:pt x="40" y="20"/>
                    </a:lnTo>
                    <a:lnTo>
                      <a:pt x="28" y="20"/>
                    </a:lnTo>
                    <a:lnTo>
                      <a:pt x="20" y="20"/>
                    </a:lnTo>
                    <a:lnTo>
                      <a:pt x="14" y="22"/>
                    </a:lnTo>
                    <a:lnTo>
                      <a:pt x="4" y="16"/>
                    </a:lnTo>
                    <a:lnTo>
                      <a:pt x="0" y="4"/>
                    </a:lnTo>
                    <a:lnTo>
                      <a:pt x="12" y="0"/>
                    </a:lnTo>
                    <a:lnTo>
                      <a:pt x="2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1" name="Freeform 80"/>
              <p:cNvSpPr>
                <a:spLocks/>
              </p:cNvSpPr>
              <p:nvPr/>
            </p:nvSpPr>
            <p:spPr bwMode="auto">
              <a:xfrm>
                <a:off x="1261" y="1093"/>
                <a:ext cx="58" cy="30"/>
              </a:xfrm>
              <a:custGeom>
                <a:avLst/>
                <a:gdLst>
                  <a:gd name="T0" fmla="*/ 52 w 58"/>
                  <a:gd name="T1" fmla="*/ 0 h 30"/>
                  <a:gd name="T2" fmla="*/ 32 w 58"/>
                  <a:gd name="T3" fmla="*/ 0 h 30"/>
                  <a:gd name="T4" fmla="*/ 16 w 58"/>
                  <a:gd name="T5" fmla="*/ 0 h 30"/>
                  <a:gd name="T6" fmla="*/ 16 w 58"/>
                  <a:gd name="T7" fmla="*/ 0 h 30"/>
                  <a:gd name="T8" fmla="*/ 16 w 58"/>
                  <a:gd name="T9" fmla="*/ 0 h 30"/>
                  <a:gd name="T10" fmla="*/ 2 w 58"/>
                  <a:gd name="T11" fmla="*/ 6 h 30"/>
                  <a:gd name="T12" fmla="*/ 2 w 58"/>
                  <a:gd name="T13" fmla="*/ 6 h 30"/>
                  <a:gd name="T14" fmla="*/ 0 w 58"/>
                  <a:gd name="T15" fmla="*/ 8 h 30"/>
                  <a:gd name="T16" fmla="*/ 0 w 58"/>
                  <a:gd name="T17" fmla="*/ 10 h 30"/>
                  <a:gd name="T18" fmla="*/ 4 w 58"/>
                  <a:gd name="T19" fmla="*/ 22 h 30"/>
                  <a:gd name="T20" fmla="*/ 4 w 58"/>
                  <a:gd name="T21" fmla="*/ 22 h 30"/>
                  <a:gd name="T22" fmla="*/ 6 w 58"/>
                  <a:gd name="T23" fmla="*/ 24 h 30"/>
                  <a:gd name="T24" fmla="*/ 16 w 58"/>
                  <a:gd name="T25" fmla="*/ 30 h 30"/>
                  <a:gd name="T26" fmla="*/ 16 w 58"/>
                  <a:gd name="T27" fmla="*/ 30 h 30"/>
                  <a:gd name="T28" fmla="*/ 18 w 58"/>
                  <a:gd name="T29" fmla="*/ 30 h 30"/>
                  <a:gd name="T30" fmla="*/ 18 w 58"/>
                  <a:gd name="T31" fmla="*/ 30 h 30"/>
                  <a:gd name="T32" fmla="*/ 20 w 58"/>
                  <a:gd name="T33" fmla="*/ 30 h 30"/>
                  <a:gd name="T34" fmla="*/ 24 w 58"/>
                  <a:gd name="T35" fmla="*/ 28 h 30"/>
                  <a:gd name="T36" fmla="*/ 32 w 58"/>
                  <a:gd name="T37" fmla="*/ 28 h 30"/>
                  <a:gd name="T38" fmla="*/ 44 w 58"/>
                  <a:gd name="T39" fmla="*/ 28 h 30"/>
                  <a:gd name="T40" fmla="*/ 44 w 58"/>
                  <a:gd name="T41" fmla="*/ 28 h 30"/>
                  <a:gd name="T42" fmla="*/ 46 w 58"/>
                  <a:gd name="T43" fmla="*/ 28 h 30"/>
                  <a:gd name="T44" fmla="*/ 52 w 58"/>
                  <a:gd name="T45" fmla="*/ 22 h 30"/>
                  <a:gd name="T46" fmla="*/ 52 w 58"/>
                  <a:gd name="T47" fmla="*/ 22 h 30"/>
                  <a:gd name="T48" fmla="*/ 54 w 58"/>
                  <a:gd name="T49" fmla="*/ 20 h 30"/>
                  <a:gd name="T50" fmla="*/ 54 w 58"/>
                  <a:gd name="T51" fmla="*/ 14 h 30"/>
                  <a:gd name="T52" fmla="*/ 54 w 58"/>
                  <a:gd name="T53" fmla="*/ 14 h 30"/>
                  <a:gd name="T54" fmla="*/ 52 w 58"/>
                  <a:gd name="T55" fmla="*/ 14 h 30"/>
                  <a:gd name="T56" fmla="*/ 56 w 58"/>
                  <a:gd name="T57" fmla="*/ 12 h 30"/>
                  <a:gd name="T58" fmla="*/ 56 w 58"/>
                  <a:gd name="T59" fmla="*/ 12 h 30"/>
                  <a:gd name="T60" fmla="*/ 58 w 58"/>
                  <a:gd name="T61" fmla="*/ 10 h 30"/>
                  <a:gd name="T62" fmla="*/ 58 w 58"/>
                  <a:gd name="T63" fmla="*/ 10 h 30"/>
                  <a:gd name="T64" fmla="*/ 58 w 58"/>
                  <a:gd name="T65" fmla="*/ 8 h 30"/>
                  <a:gd name="T66" fmla="*/ 56 w 58"/>
                  <a:gd name="T67" fmla="*/ 2 h 30"/>
                  <a:gd name="T68" fmla="*/ 56 w 58"/>
                  <a:gd name="T69" fmla="*/ 2 h 30"/>
                  <a:gd name="T70" fmla="*/ 54 w 58"/>
                  <a:gd name="T71" fmla="*/ 0 h 30"/>
                  <a:gd name="T72" fmla="*/ 52 w 58"/>
                  <a:gd name="T73" fmla="*/ 0 h 30"/>
                  <a:gd name="T74" fmla="*/ 52 w 58"/>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30">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2" name="Freeform 81"/>
              <p:cNvSpPr>
                <a:spLocks/>
              </p:cNvSpPr>
              <p:nvPr/>
            </p:nvSpPr>
            <p:spPr bwMode="auto">
              <a:xfrm>
                <a:off x="1263" y="1073"/>
                <a:ext cx="60" cy="20"/>
              </a:xfrm>
              <a:custGeom>
                <a:avLst/>
                <a:gdLst>
                  <a:gd name="T0" fmla="*/ 2 w 60"/>
                  <a:gd name="T1" fmla="*/ 20 h 20"/>
                  <a:gd name="T2" fmla="*/ 2 w 60"/>
                  <a:gd name="T3" fmla="*/ 20 h 20"/>
                  <a:gd name="T4" fmla="*/ 0 w 60"/>
                  <a:gd name="T5" fmla="*/ 18 h 20"/>
                  <a:gd name="T6" fmla="*/ 0 w 60"/>
                  <a:gd name="T7" fmla="*/ 18 h 20"/>
                  <a:gd name="T8" fmla="*/ 0 w 60"/>
                  <a:gd name="T9" fmla="*/ 16 h 20"/>
                  <a:gd name="T10" fmla="*/ 8 w 60"/>
                  <a:gd name="T11" fmla="*/ 10 h 20"/>
                  <a:gd name="T12" fmla="*/ 22 w 60"/>
                  <a:gd name="T13" fmla="*/ 4 h 20"/>
                  <a:gd name="T14" fmla="*/ 38 w 60"/>
                  <a:gd name="T15" fmla="*/ 0 h 20"/>
                  <a:gd name="T16" fmla="*/ 38 w 60"/>
                  <a:gd name="T17" fmla="*/ 0 h 20"/>
                  <a:gd name="T18" fmla="*/ 38 w 60"/>
                  <a:gd name="T19" fmla="*/ 0 h 20"/>
                  <a:gd name="T20" fmla="*/ 38 w 60"/>
                  <a:gd name="T21" fmla="*/ 0 h 20"/>
                  <a:gd name="T22" fmla="*/ 52 w 60"/>
                  <a:gd name="T23" fmla="*/ 2 h 20"/>
                  <a:gd name="T24" fmla="*/ 52 w 60"/>
                  <a:gd name="T25" fmla="*/ 2 h 20"/>
                  <a:gd name="T26" fmla="*/ 52 w 60"/>
                  <a:gd name="T27" fmla="*/ 2 h 20"/>
                  <a:gd name="T28" fmla="*/ 60 w 60"/>
                  <a:gd name="T29" fmla="*/ 8 h 20"/>
                  <a:gd name="T30" fmla="*/ 60 w 60"/>
                  <a:gd name="T31" fmla="*/ 8 h 20"/>
                  <a:gd name="T32" fmla="*/ 60 w 60"/>
                  <a:gd name="T33" fmla="*/ 10 h 20"/>
                  <a:gd name="T34" fmla="*/ 58 w 60"/>
                  <a:gd name="T35" fmla="*/ 14 h 20"/>
                  <a:gd name="T36" fmla="*/ 58 w 60"/>
                  <a:gd name="T37" fmla="*/ 14 h 20"/>
                  <a:gd name="T38" fmla="*/ 56 w 60"/>
                  <a:gd name="T39" fmla="*/ 16 h 20"/>
                  <a:gd name="T40" fmla="*/ 48 w 60"/>
                  <a:gd name="T41" fmla="*/ 18 h 20"/>
                  <a:gd name="T42" fmla="*/ 32 w 60"/>
                  <a:gd name="T43" fmla="*/ 18 h 20"/>
                  <a:gd name="T44" fmla="*/ 32 w 60"/>
                  <a:gd name="T45" fmla="*/ 18 h 20"/>
                  <a:gd name="T46" fmla="*/ 14 w 60"/>
                  <a:gd name="T47" fmla="*/ 20 h 20"/>
                  <a:gd name="T48" fmla="*/ 2 w 6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0">
                    <a:moveTo>
                      <a:pt x="2" y="20"/>
                    </a:moveTo>
                    <a:lnTo>
                      <a:pt x="2" y="20"/>
                    </a:lnTo>
                    <a:lnTo>
                      <a:pt x="0" y="18"/>
                    </a:lnTo>
                    <a:lnTo>
                      <a:pt x="0" y="18"/>
                    </a:lnTo>
                    <a:lnTo>
                      <a:pt x="0" y="16"/>
                    </a:lnTo>
                    <a:lnTo>
                      <a:pt x="8" y="10"/>
                    </a:lnTo>
                    <a:lnTo>
                      <a:pt x="22" y="4"/>
                    </a:lnTo>
                    <a:lnTo>
                      <a:pt x="38" y="0"/>
                    </a:lnTo>
                    <a:lnTo>
                      <a:pt x="38" y="0"/>
                    </a:lnTo>
                    <a:lnTo>
                      <a:pt x="38" y="0"/>
                    </a:lnTo>
                    <a:lnTo>
                      <a:pt x="38" y="0"/>
                    </a:lnTo>
                    <a:lnTo>
                      <a:pt x="52" y="2"/>
                    </a:lnTo>
                    <a:lnTo>
                      <a:pt x="52" y="2"/>
                    </a:lnTo>
                    <a:lnTo>
                      <a:pt x="52" y="2"/>
                    </a:lnTo>
                    <a:lnTo>
                      <a:pt x="60" y="8"/>
                    </a:lnTo>
                    <a:lnTo>
                      <a:pt x="60" y="8"/>
                    </a:lnTo>
                    <a:lnTo>
                      <a:pt x="60" y="10"/>
                    </a:lnTo>
                    <a:lnTo>
                      <a:pt x="58" y="14"/>
                    </a:lnTo>
                    <a:lnTo>
                      <a:pt x="58" y="14"/>
                    </a:lnTo>
                    <a:lnTo>
                      <a:pt x="56" y="16"/>
                    </a:lnTo>
                    <a:lnTo>
                      <a:pt x="48" y="18"/>
                    </a:lnTo>
                    <a:lnTo>
                      <a:pt x="32" y="18"/>
                    </a:lnTo>
                    <a:lnTo>
                      <a:pt x="32" y="18"/>
                    </a:lnTo>
                    <a:lnTo>
                      <a:pt x="14"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3" name="Freeform 82"/>
              <p:cNvSpPr>
                <a:spLocks noEditPoints="1"/>
              </p:cNvSpPr>
              <p:nvPr/>
            </p:nvSpPr>
            <p:spPr bwMode="auto">
              <a:xfrm>
                <a:off x="1261" y="1071"/>
                <a:ext cx="64" cy="24"/>
              </a:xfrm>
              <a:custGeom>
                <a:avLst/>
                <a:gdLst>
                  <a:gd name="T0" fmla="*/ 40 w 64"/>
                  <a:gd name="T1" fmla="*/ 4 h 24"/>
                  <a:gd name="T2" fmla="*/ 54 w 64"/>
                  <a:gd name="T3" fmla="*/ 6 h 24"/>
                  <a:gd name="T4" fmla="*/ 60 w 64"/>
                  <a:gd name="T5" fmla="*/ 10 h 24"/>
                  <a:gd name="T6" fmla="*/ 58 w 64"/>
                  <a:gd name="T7" fmla="*/ 16 h 24"/>
                  <a:gd name="T8" fmla="*/ 50 w 64"/>
                  <a:gd name="T9" fmla="*/ 18 h 24"/>
                  <a:gd name="T10" fmla="*/ 34 w 64"/>
                  <a:gd name="T11" fmla="*/ 18 h 24"/>
                  <a:gd name="T12" fmla="*/ 16 w 64"/>
                  <a:gd name="T13" fmla="*/ 20 h 24"/>
                  <a:gd name="T14" fmla="*/ 4 w 64"/>
                  <a:gd name="T15" fmla="*/ 20 h 24"/>
                  <a:gd name="T16" fmla="*/ 12 w 64"/>
                  <a:gd name="T17" fmla="*/ 14 h 24"/>
                  <a:gd name="T18" fmla="*/ 26 w 64"/>
                  <a:gd name="T19" fmla="*/ 8 h 24"/>
                  <a:gd name="T20" fmla="*/ 40 w 64"/>
                  <a:gd name="T21" fmla="*/ 4 h 24"/>
                  <a:gd name="T22" fmla="*/ 40 w 64"/>
                  <a:gd name="T23" fmla="*/ 0 h 24"/>
                  <a:gd name="T24" fmla="*/ 40 w 64"/>
                  <a:gd name="T25" fmla="*/ 0 h 24"/>
                  <a:gd name="T26" fmla="*/ 40 w 64"/>
                  <a:gd name="T27" fmla="*/ 0 h 24"/>
                  <a:gd name="T28" fmla="*/ 24 w 64"/>
                  <a:gd name="T29" fmla="*/ 6 h 24"/>
                  <a:gd name="T30" fmla="*/ 10 w 64"/>
                  <a:gd name="T31" fmla="*/ 10 h 24"/>
                  <a:gd name="T32" fmla="*/ 10 w 64"/>
                  <a:gd name="T33" fmla="*/ 10 h 24"/>
                  <a:gd name="T34" fmla="*/ 8 w 64"/>
                  <a:gd name="T35" fmla="*/ 12 h 24"/>
                  <a:gd name="T36" fmla="*/ 2 w 64"/>
                  <a:gd name="T37" fmla="*/ 16 h 24"/>
                  <a:gd name="T38" fmla="*/ 2 w 64"/>
                  <a:gd name="T39" fmla="*/ 16 h 24"/>
                  <a:gd name="T40" fmla="*/ 0 w 64"/>
                  <a:gd name="T41" fmla="*/ 18 h 24"/>
                  <a:gd name="T42" fmla="*/ 0 w 64"/>
                  <a:gd name="T43" fmla="*/ 22 h 24"/>
                  <a:gd name="T44" fmla="*/ 0 w 64"/>
                  <a:gd name="T45" fmla="*/ 22 h 24"/>
                  <a:gd name="T46" fmla="*/ 2 w 64"/>
                  <a:gd name="T47" fmla="*/ 24 h 24"/>
                  <a:gd name="T48" fmla="*/ 4 w 64"/>
                  <a:gd name="T49" fmla="*/ 24 h 24"/>
                  <a:gd name="T50" fmla="*/ 16 w 64"/>
                  <a:gd name="T51" fmla="*/ 24 h 24"/>
                  <a:gd name="T52" fmla="*/ 16 w 64"/>
                  <a:gd name="T53" fmla="*/ 24 h 24"/>
                  <a:gd name="T54" fmla="*/ 16 w 64"/>
                  <a:gd name="T55" fmla="*/ 24 h 24"/>
                  <a:gd name="T56" fmla="*/ 34 w 64"/>
                  <a:gd name="T57" fmla="*/ 22 h 24"/>
                  <a:gd name="T58" fmla="*/ 50 w 64"/>
                  <a:gd name="T59" fmla="*/ 22 h 24"/>
                  <a:gd name="T60" fmla="*/ 50 w 64"/>
                  <a:gd name="T61" fmla="*/ 22 h 24"/>
                  <a:gd name="T62" fmla="*/ 50 w 64"/>
                  <a:gd name="T63" fmla="*/ 22 h 24"/>
                  <a:gd name="T64" fmla="*/ 60 w 64"/>
                  <a:gd name="T65" fmla="*/ 20 h 24"/>
                  <a:gd name="T66" fmla="*/ 60 w 64"/>
                  <a:gd name="T67" fmla="*/ 20 h 24"/>
                  <a:gd name="T68" fmla="*/ 62 w 64"/>
                  <a:gd name="T69" fmla="*/ 18 h 24"/>
                  <a:gd name="T70" fmla="*/ 64 w 64"/>
                  <a:gd name="T71" fmla="*/ 12 h 24"/>
                  <a:gd name="T72" fmla="*/ 64 w 64"/>
                  <a:gd name="T73" fmla="*/ 12 h 24"/>
                  <a:gd name="T74" fmla="*/ 64 w 64"/>
                  <a:gd name="T75" fmla="*/ 10 h 24"/>
                  <a:gd name="T76" fmla="*/ 62 w 64"/>
                  <a:gd name="T77" fmla="*/ 8 h 24"/>
                  <a:gd name="T78" fmla="*/ 56 w 64"/>
                  <a:gd name="T79" fmla="*/ 2 h 24"/>
                  <a:gd name="T80" fmla="*/ 56 w 64"/>
                  <a:gd name="T81" fmla="*/ 2 h 24"/>
                  <a:gd name="T82" fmla="*/ 54 w 64"/>
                  <a:gd name="T83" fmla="*/ 2 h 24"/>
                  <a:gd name="T84" fmla="*/ 42 w 64"/>
                  <a:gd name="T85" fmla="*/ 0 h 24"/>
                  <a:gd name="T86" fmla="*/ 42 w 64"/>
                  <a:gd name="T87" fmla="*/ 0 h 24"/>
                  <a:gd name="T88" fmla="*/ 40 w 64"/>
                  <a:gd name="T89" fmla="*/ 0 h 24"/>
                  <a:gd name="T90" fmla="*/ 40 w 6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 h="24">
                    <a:moveTo>
                      <a:pt x="40" y="4"/>
                    </a:moveTo>
                    <a:lnTo>
                      <a:pt x="54" y="6"/>
                    </a:lnTo>
                    <a:lnTo>
                      <a:pt x="60" y="10"/>
                    </a:lnTo>
                    <a:lnTo>
                      <a:pt x="58" y="16"/>
                    </a:lnTo>
                    <a:lnTo>
                      <a:pt x="50" y="18"/>
                    </a:lnTo>
                    <a:lnTo>
                      <a:pt x="34" y="18"/>
                    </a:lnTo>
                    <a:lnTo>
                      <a:pt x="16" y="20"/>
                    </a:lnTo>
                    <a:lnTo>
                      <a:pt x="4" y="20"/>
                    </a:lnTo>
                    <a:lnTo>
                      <a:pt x="12" y="14"/>
                    </a:lnTo>
                    <a:lnTo>
                      <a:pt x="26" y="8"/>
                    </a:lnTo>
                    <a:lnTo>
                      <a:pt x="40" y="4"/>
                    </a:lnTo>
                    <a:close/>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4" name="Freeform 83"/>
              <p:cNvSpPr>
                <a:spLocks/>
              </p:cNvSpPr>
              <p:nvPr/>
            </p:nvSpPr>
            <p:spPr bwMode="auto">
              <a:xfrm>
                <a:off x="1265" y="1075"/>
                <a:ext cx="56" cy="16"/>
              </a:xfrm>
              <a:custGeom>
                <a:avLst/>
                <a:gdLst>
                  <a:gd name="T0" fmla="*/ 36 w 56"/>
                  <a:gd name="T1" fmla="*/ 0 h 16"/>
                  <a:gd name="T2" fmla="*/ 50 w 56"/>
                  <a:gd name="T3" fmla="*/ 2 h 16"/>
                  <a:gd name="T4" fmla="*/ 56 w 56"/>
                  <a:gd name="T5" fmla="*/ 6 h 16"/>
                  <a:gd name="T6" fmla="*/ 54 w 56"/>
                  <a:gd name="T7" fmla="*/ 12 h 16"/>
                  <a:gd name="T8" fmla="*/ 46 w 56"/>
                  <a:gd name="T9" fmla="*/ 14 h 16"/>
                  <a:gd name="T10" fmla="*/ 30 w 56"/>
                  <a:gd name="T11" fmla="*/ 14 h 16"/>
                  <a:gd name="T12" fmla="*/ 12 w 56"/>
                  <a:gd name="T13" fmla="*/ 16 h 16"/>
                  <a:gd name="T14" fmla="*/ 0 w 56"/>
                  <a:gd name="T15" fmla="*/ 16 h 16"/>
                  <a:gd name="T16" fmla="*/ 8 w 56"/>
                  <a:gd name="T17" fmla="*/ 10 h 16"/>
                  <a:gd name="T18" fmla="*/ 22 w 56"/>
                  <a:gd name="T19" fmla="*/ 4 h 16"/>
                  <a:gd name="T20" fmla="*/ 36 w 5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6">
                    <a:moveTo>
                      <a:pt x="36" y="0"/>
                    </a:moveTo>
                    <a:lnTo>
                      <a:pt x="50" y="2"/>
                    </a:lnTo>
                    <a:lnTo>
                      <a:pt x="56" y="6"/>
                    </a:lnTo>
                    <a:lnTo>
                      <a:pt x="54" y="12"/>
                    </a:lnTo>
                    <a:lnTo>
                      <a:pt x="46" y="14"/>
                    </a:lnTo>
                    <a:lnTo>
                      <a:pt x="30" y="14"/>
                    </a:lnTo>
                    <a:lnTo>
                      <a:pt x="12" y="16"/>
                    </a:lnTo>
                    <a:lnTo>
                      <a:pt x="0" y="16"/>
                    </a:lnTo>
                    <a:lnTo>
                      <a:pt x="8" y="10"/>
                    </a:lnTo>
                    <a:lnTo>
                      <a:pt x="22" y="4"/>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5" name="Freeform 84"/>
              <p:cNvSpPr>
                <a:spLocks/>
              </p:cNvSpPr>
              <p:nvPr/>
            </p:nvSpPr>
            <p:spPr bwMode="auto">
              <a:xfrm>
                <a:off x="1261" y="1071"/>
                <a:ext cx="64" cy="24"/>
              </a:xfrm>
              <a:custGeom>
                <a:avLst/>
                <a:gdLst>
                  <a:gd name="T0" fmla="*/ 40 w 64"/>
                  <a:gd name="T1" fmla="*/ 0 h 24"/>
                  <a:gd name="T2" fmla="*/ 40 w 64"/>
                  <a:gd name="T3" fmla="*/ 0 h 24"/>
                  <a:gd name="T4" fmla="*/ 40 w 64"/>
                  <a:gd name="T5" fmla="*/ 0 h 24"/>
                  <a:gd name="T6" fmla="*/ 24 w 64"/>
                  <a:gd name="T7" fmla="*/ 6 h 24"/>
                  <a:gd name="T8" fmla="*/ 10 w 64"/>
                  <a:gd name="T9" fmla="*/ 10 h 24"/>
                  <a:gd name="T10" fmla="*/ 10 w 64"/>
                  <a:gd name="T11" fmla="*/ 10 h 24"/>
                  <a:gd name="T12" fmla="*/ 8 w 64"/>
                  <a:gd name="T13" fmla="*/ 12 h 24"/>
                  <a:gd name="T14" fmla="*/ 2 w 64"/>
                  <a:gd name="T15" fmla="*/ 16 h 24"/>
                  <a:gd name="T16" fmla="*/ 2 w 64"/>
                  <a:gd name="T17" fmla="*/ 16 h 24"/>
                  <a:gd name="T18" fmla="*/ 0 w 64"/>
                  <a:gd name="T19" fmla="*/ 18 h 24"/>
                  <a:gd name="T20" fmla="*/ 0 w 64"/>
                  <a:gd name="T21" fmla="*/ 22 h 24"/>
                  <a:gd name="T22" fmla="*/ 0 w 64"/>
                  <a:gd name="T23" fmla="*/ 22 h 24"/>
                  <a:gd name="T24" fmla="*/ 2 w 64"/>
                  <a:gd name="T25" fmla="*/ 24 h 24"/>
                  <a:gd name="T26" fmla="*/ 4 w 64"/>
                  <a:gd name="T27" fmla="*/ 24 h 24"/>
                  <a:gd name="T28" fmla="*/ 16 w 64"/>
                  <a:gd name="T29" fmla="*/ 24 h 24"/>
                  <a:gd name="T30" fmla="*/ 16 w 64"/>
                  <a:gd name="T31" fmla="*/ 24 h 24"/>
                  <a:gd name="T32" fmla="*/ 16 w 64"/>
                  <a:gd name="T33" fmla="*/ 24 h 24"/>
                  <a:gd name="T34" fmla="*/ 34 w 64"/>
                  <a:gd name="T35" fmla="*/ 22 h 24"/>
                  <a:gd name="T36" fmla="*/ 50 w 64"/>
                  <a:gd name="T37" fmla="*/ 22 h 24"/>
                  <a:gd name="T38" fmla="*/ 50 w 64"/>
                  <a:gd name="T39" fmla="*/ 22 h 24"/>
                  <a:gd name="T40" fmla="*/ 50 w 64"/>
                  <a:gd name="T41" fmla="*/ 22 h 24"/>
                  <a:gd name="T42" fmla="*/ 60 w 64"/>
                  <a:gd name="T43" fmla="*/ 20 h 24"/>
                  <a:gd name="T44" fmla="*/ 60 w 64"/>
                  <a:gd name="T45" fmla="*/ 20 h 24"/>
                  <a:gd name="T46" fmla="*/ 62 w 64"/>
                  <a:gd name="T47" fmla="*/ 18 h 24"/>
                  <a:gd name="T48" fmla="*/ 64 w 64"/>
                  <a:gd name="T49" fmla="*/ 12 h 24"/>
                  <a:gd name="T50" fmla="*/ 64 w 64"/>
                  <a:gd name="T51" fmla="*/ 12 h 24"/>
                  <a:gd name="T52" fmla="*/ 64 w 64"/>
                  <a:gd name="T53" fmla="*/ 10 h 24"/>
                  <a:gd name="T54" fmla="*/ 62 w 64"/>
                  <a:gd name="T55" fmla="*/ 8 h 24"/>
                  <a:gd name="T56" fmla="*/ 56 w 64"/>
                  <a:gd name="T57" fmla="*/ 2 h 24"/>
                  <a:gd name="T58" fmla="*/ 56 w 64"/>
                  <a:gd name="T59" fmla="*/ 2 h 24"/>
                  <a:gd name="T60" fmla="*/ 54 w 64"/>
                  <a:gd name="T61" fmla="*/ 2 h 24"/>
                  <a:gd name="T62" fmla="*/ 42 w 64"/>
                  <a:gd name="T63" fmla="*/ 0 h 24"/>
                  <a:gd name="T64" fmla="*/ 42 w 64"/>
                  <a:gd name="T65" fmla="*/ 0 h 24"/>
                  <a:gd name="T66" fmla="*/ 40 w 64"/>
                  <a:gd name="T67" fmla="*/ 0 h 24"/>
                  <a:gd name="T68" fmla="*/ 40 w 64"/>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24">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6" name="Freeform 85"/>
              <p:cNvSpPr>
                <a:spLocks/>
              </p:cNvSpPr>
              <p:nvPr/>
            </p:nvSpPr>
            <p:spPr bwMode="auto">
              <a:xfrm>
                <a:off x="1415" y="1219"/>
                <a:ext cx="88" cy="70"/>
              </a:xfrm>
              <a:custGeom>
                <a:avLst/>
                <a:gdLst>
                  <a:gd name="T0" fmla="*/ 56 w 88"/>
                  <a:gd name="T1" fmla="*/ 70 h 70"/>
                  <a:gd name="T2" fmla="*/ 44 w 88"/>
                  <a:gd name="T3" fmla="*/ 60 h 70"/>
                  <a:gd name="T4" fmla="*/ 22 w 88"/>
                  <a:gd name="T5" fmla="*/ 44 h 70"/>
                  <a:gd name="T6" fmla="*/ 10 w 88"/>
                  <a:gd name="T7" fmla="*/ 42 h 70"/>
                  <a:gd name="T8" fmla="*/ 2 w 88"/>
                  <a:gd name="T9" fmla="*/ 38 h 70"/>
                  <a:gd name="T10" fmla="*/ 0 w 88"/>
                  <a:gd name="T11" fmla="*/ 36 h 70"/>
                  <a:gd name="T12" fmla="*/ 0 w 88"/>
                  <a:gd name="T13" fmla="*/ 30 h 70"/>
                  <a:gd name="T14" fmla="*/ 2 w 88"/>
                  <a:gd name="T15" fmla="*/ 20 h 70"/>
                  <a:gd name="T16" fmla="*/ 4 w 88"/>
                  <a:gd name="T17" fmla="*/ 18 h 70"/>
                  <a:gd name="T18" fmla="*/ 6 w 88"/>
                  <a:gd name="T19" fmla="*/ 18 h 70"/>
                  <a:gd name="T20" fmla="*/ 12 w 88"/>
                  <a:gd name="T21" fmla="*/ 20 h 70"/>
                  <a:gd name="T22" fmla="*/ 18 w 88"/>
                  <a:gd name="T23" fmla="*/ 26 h 70"/>
                  <a:gd name="T24" fmla="*/ 32 w 88"/>
                  <a:gd name="T25" fmla="*/ 22 h 70"/>
                  <a:gd name="T26" fmla="*/ 18 w 88"/>
                  <a:gd name="T27" fmla="*/ 14 h 70"/>
                  <a:gd name="T28" fmla="*/ 16 w 88"/>
                  <a:gd name="T29" fmla="*/ 12 h 70"/>
                  <a:gd name="T30" fmla="*/ 18 w 88"/>
                  <a:gd name="T31" fmla="*/ 10 h 70"/>
                  <a:gd name="T32" fmla="*/ 28 w 88"/>
                  <a:gd name="T33" fmla="*/ 2 h 70"/>
                  <a:gd name="T34" fmla="*/ 28 w 88"/>
                  <a:gd name="T35" fmla="*/ 0 h 70"/>
                  <a:gd name="T36" fmla="*/ 42 w 88"/>
                  <a:gd name="T37" fmla="*/ 0 h 70"/>
                  <a:gd name="T38" fmla="*/ 46 w 88"/>
                  <a:gd name="T39" fmla="*/ 2 h 70"/>
                  <a:gd name="T40" fmla="*/ 58 w 88"/>
                  <a:gd name="T41" fmla="*/ 0 h 70"/>
                  <a:gd name="T42" fmla="*/ 58 w 88"/>
                  <a:gd name="T43" fmla="*/ 0 h 70"/>
                  <a:gd name="T44" fmla="*/ 82 w 88"/>
                  <a:gd name="T45" fmla="*/ 0 h 70"/>
                  <a:gd name="T46" fmla="*/ 84 w 88"/>
                  <a:gd name="T47" fmla="*/ 2 h 70"/>
                  <a:gd name="T48" fmla="*/ 82 w 88"/>
                  <a:gd name="T49" fmla="*/ 4 h 70"/>
                  <a:gd name="T50" fmla="*/ 70 w 88"/>
                  <a:gd name="T51" fmla="*/ 14 h 70"/>
                  <a:gd name="T52" fmla="*/ 60 w 88"/>
                  <a:gd name="T53" fmla="*/ 22 h 70"/>
                  <a:gd name="T54" fmla="*/ 72 w 88"/>
                  <a:gd name="T55" fmla="*/ 22 h 70"/>
                  <a:gd name="T56" fmla="*/ 76 w 88"/>
                  <a:gd name="T57" fmla="*/ 28 h 70"/>
                  <a:gd name="T58" fmla="*/ 82 w 88"/>
                  <a:gd name="T59" fmla="*/ 24 h 70"/>
                  <a:gd name="T60" fmla="*/ 84 w 88"/>
                  <a:gd name="T61" fmla="*/ 24 h 70"/>
                  <a:gd name="T62" fmla="*/ 84 w 88"/>
                  <a:gd name="T63" fmla="*/ 24 h 70"/>
                  <a:gd name="T64" fmla="*/ 88 w 88"/>
                  <a:gd name="T65" fmla="*/ 34 h 70"/>
                  <a:gd name="T66" fmla="*/ 88 w 88"/>
                  <a:gd name="T67" fmla="*/ 34 h 70"/>
                  <a:gd name="T68" fmla="*/ 76 w 88"/>
                  <a:gd name="T69" fmla="*/ 60 h 70"/>
                  <a:gd name="T70" fmla="*/ 76 w 88"/>
                  <a:gd name="T71" fmla="*/ 60 h 70"/>
                  <a:gd name="T72" fmla="*/ 70 w 88"/>
                  <a:gd name="T73" fmla="*/ 62 h 70"/>
                  <a:gd name="T74" fmla="*/ 70 w 88"/>
                  <a:gd name="T75" fmla="*/ 62 h 70"/>
                  <a:gd name="T76" fmla="*/ 64 w 88"/>
                  <a:gd name="T77" fmla="*/ 58 h 70"/>
                  <a:gd name="T78" fmla="*/ 58 w 88"/>
                  <a:gd name="T79" fmla="*/ 70 h 70"/>
                  <a:gd name="T80" fmla="*/ 56 w 88"/>
                  <a:gd name="T81" fmla="*/ 70 h 70"/>
                  <a:gd name="T82" fmla="*/ 56 w 88"/>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70">
                    <a:moveTo>
                      <a:pt x="56" y="70"/>
                    </a:moveTo>
                    <a:lnTo>
                      <a:pt x="56" y="70"/>
                    </a:lnTo>
                    <a:lnTo>
                      <a:pt x="54" y="70"/>
                    </a:lnTo>
                    <a:lnTo>
                      <a:pt x="44" y="60"/>
                    </a:lnTo>
                    <a:lnTo>
                      <a:pt x="30" y="52"/>
                    </a:lnTo>
                    <a:lnTo>
                      <a:pt x="22" y="44"/>
                    </a:lnTo>
                    <a:lnTo>
                      <a:pt x="10" y="42"/>
                    </a:lnTo>
                    <a:lnTo>
                      <a:pt x="10" y="42"/>
                    </a:lnTo>
                    <a:lnTo>
                      <a:pt x="8" y="42"/>
                    </a:lnTo>
                    <a:lnTo>
                      <a:pt x="2" y="38"/>
                    </a:lnTo>
                    <a:lnTo>
                      <a:pt x="2" y="38"/>
                    </a:lnTo>
                    <a:lnTo>
                      <a:pt x="0" y="36"/>
                    </a:lnTo>
                    <a:lnTo>
                      <a:pt x="0" y="30"/>
                    </a:lnTo>
                    <a:lnTo>
                      <a:pt x="0" y="30"/>
                    </a:lnTo>
                    <a:lnTo>
                      <a:pt x="0" y="28"/>
                    </a:lnTo>
                    <a:lnTo>
                      <a:pt x="2" y="20"/>
                    </a:lnTo>
                    <a:lnTo>
                      <a:pt x="2" y="20"/>
                    </a:lnTo>
                    <a:lnTo>
                      <a:pt x="4" y="18"/>
                    </a:lnTo>
                    <a:lnTo>
                      <a:pt x="4" y="18"/>
                    </a:lnTo>
                    <a:lnTo>
                      <a:pt x="6" y="18"/>
                    </a:lnTo>
                    <a:lnTo>
                      <a:pt x="12" y="20"/>
                    </a:lnTo>
                    <a:lnTo>
                      <a:pt x="12" y="20"/>
                    </a:lnTo>
                    <a:lnTo>
                      <a:pt x="14" y="20"/>
                    </a:lnTo>
                    <a:lnTo>
                      <a:pt x="18" y="26"/>
                    </a:lnTo>
                    <a:lnTo>
                      <a:pt x="26" y="26"/>
                    </a:lnTo>
                    <a:lnTo>
                      <a:pt x="32" y="22"/>
                    </a:lnTo>
                    <a:lnTo>
                      <a:pt x="30" y="18"/>
                    </a:lnTo>
                    <a:lnTo>
                      <a:pt x="18" y="14"/>
                    </a:lnTo>
                    <a:lnTo>
                      <a:pt x="18" y="14"/>
                    </a:lnTo>
                    <a:lnTo>
                      <a:pt x="16" y="12"/>
                    </a:lnTo>
                    <a:lnTo>
                      <a:pt x="16" y="12"/>
                    </a:lnTo>
                    <a:lnTo>
                      <a:pt x="18" y="10"/>
                    </a:lnTo>
                    <a:lnTo>
                      <a:pt x="28" y="2"/>
                    </a:lnTo>
                    <a:lnTo>
                      <a:pt x="28" y="2"/>
                    </a:lnTo>
                    <a:lnTo>
                      <a:pt x="28" y="0"/>
                    </a:lnTo>
                    <a:lnTo>
                      <a:pt x="28" y="0"/>
                    </a:lnTo>
                    <a:lnTo>
                      <a:pt x="42" y="0"/>
                    </a:lnTo>
                    <a:lnTo>
                      <a:pt x="42" y="0"/>
                    </a:lnTo>
                    <a:lnTo>
                      <a:pt x="42" y="0"/>
                    </a:lnTo>
                    <a:lnTo>
                      <a:pt x="46" y="2"/>
                    </a:lnTo>
                    <a:lnTo>
                      <a:pt x="52" y="2"/>
                    </a:lnTo>
                    <a:lnTo>
                      <a:pt x="58" y="0"/>
                    </a:lnTo>
                    <a:lnTo>
                      <a:pt x="58" y="0"/>
                    </a:lnTo>
                    <a:lnTo>
                      <a:pt x="58" y="0"/>
                    </a:lnTo>
                    <a:lnTo>
                      <a:pt x="58" y="0"/>
                    </a:lnTo>
                    <a:lnTo>
                      <a:pt x="82" y="0"/>
                    </a:lnTo>
                    <a:lnTo>
                      <a:pt x="82" y="0"/>
                    </a:lnTo>
                    <a:lnTo>
                      <a:pt x="84" y="2"/>
                    </a:lnTo>
                    <a:lnTo>
                      <a:pt x="84" y="2"/>
                    </a:lnTo>
                    <a:lnTo>
                      <a:pt x="82" y="4"/>
                    </a:lnTo>
                    <a:lnTo>
                      <a:pt x="78" y="8"/>
                    </a:lnTo>
                    <a:lnTo>
                      <a:pt x="70" y="14"/>
                    </a:lnTo>
                    <a:lnTo>
                      <a:pt x="62" y="20"/>
                    </a:lnTo>
                    <a:lnTo>
                      <a:pt x="60" y="22"/>
                    </a:lnTo>
                    <a:lnTo>
                      <a:pt x="72" y="22"/>
                    </a:lnTo>
                    <a:lnTo>
                      <a:pt x="72" y="22"/>
                    </a:lnTo>
                    <a:lnTo>
                      <a:pt x="72" y="22"/>
                    </a:lnTo>
                    <a:lnTo>
                      <a:pt x="76" y="28"/>
                    </a:lnTo>
                    <a:lnTo>
                      <a:pt x="82" y="24"/>
                    </a:lnTo>
                    <a:lnTo>
                      <a:pt x="82" y="24"/>
                    </a:lnTo>
                    <a:lnTo>
                      <a:pt x="84" y="24"/>
                    </a:lnTo>
                    <a:lnTo>
                      <a:pt x="84" y="24"/>
                    </a:lnTo>
                    <a:lnTo>
                      <a:pt x="84" y="24"/>
                    </a:lnTo>
                    <a:lnTo>
                      <a:pt x="84" y="24"/>
                    </a:lnTo>
                    <a:lnTo>
                      <a:pt x="86" y="24"/>
                    </a:lnTo>
                    <a:lnTo>
                      <a:pt x="88" y="34"/>
                    </a:lnTo>
                    <a:lnTo>
                      <a:pt x="88" y="34"/>
                    </a:lnTo>
                    <a:lnTo>
                      <a:pt x="88" y="34"/>
                    </a:lnTo>
                    <a:lnTo>
                      <a:pt x="84" y="48"/>
                    </a:lnTo>
                    <a:lnTo>
                      <a:pt x="76" y="60"/>
                    </a:lnTo>
                    <a:lnTo>
                      <a:pt x="76" y="60"/>
                    </a:lnTo>
                    <a:lnTo>
                      <a:pt x="76" y="60"/>
                    </a:lnTo>
                    <a:lnTo>
                      <a:pt x="70" y="62"/>
                    </a:lnTo>
                    <a:lnTo>
                      <a:pt x="70" y="62"/>
                    </a:lnTo>
                    <a:lnTo>
                      <a:pt x="70" y="62"/>
                    </a:lnTo>
                    <a:lnTo>
                      <a:pt x="70" y="62"/>
                    </a:lnTo>
                    <a:lnTo>
                      <a:pt x="68" y="62"/>
                    </a:lnTo>
                    <a:lnTo>
                      <a:pt x="64" y="58"/>
                    </a:lnTo>
                    <a:lnTo>
                      <a:pt x="62" y="60"/>
                    </a:lnTo>
                    <a:lnTo>
                      <a:pt x="58" y="70"/>
                    </a:lnTo>
                    <a:lnTo>
                      <a:pt x="58" y="70"/>
                    </a:lnTo>
                    <a:lnTo>
                      <a:pt x="56" y="70"/>
                    </a:lnTo>
                    <a:lnTo>
                      <a:pt x="56" y="70"/>
                    </a:lnTo>
                    <a:lnTo>
                      <a:pt x="56" y="70"/>
                    </a:lnTo>
                    <a:lnTo>
                      <a:pt x="5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7" name="Freeform 86"/>
              <p:cNvSpPr>
                <a:spLocks noEditPoints="1"/>
              </p:cNvSpPr>
              <p:nvPr/>
            </p:nvSpPr>
            <p:spPr bwMode="auto">
              <a:xfrm>
                <a:off x="1413" y="1217"/>
                <a:ext cx="92" cy="74"/>
              </a:xfrm>
              <a:custGeom>
                <a:avLst/>
                <a:gdLst>
                  <a:gd name="T0" fmla="*/ 78 w 92"/>
                  <a:gd name="T1" fmla="*/ 8 h 74"/>
                  <a:gd name="T2" fmla="*/ 60 w 92"/>
                  <a:gd name="T3" fmla="*/ 26 h 74"/>
                  <a:gd name="T4" fmla="*/ 78 w 92"/>
                  <a:gd name="T5" fmla="*/ 32 h 74"/>
                  <a:gd name="T6" fmla="*/ 84 w 92"/>
                  <a:gd name="T7" fmla="*/ 50 h 74"/>
                  <a:gd name="T8" fmla="*/ 64 w 92"/>
                  <a:gd name="T9" fmla="*/ 58 h 74"/>
                  <a:gd name="T10" fmla="*/ 46 w 92"/>
                  <a:gd name="T11" fmla="*/ 60 h 74"/>
                  <a:gd name="T12" fmla="*/ 12 w 92"/>
                  <a:gd name="T13" fmla="*/ 42 h 74"/>
                  <a:gd name="T14" fmla="*/ 6 w 92"/>
                  <a:gd name="T15" fmla="*/ 22 h 74"/>
                  <a:gd name="T16" fmla="*/ 28 w 92"/>
                  <a:gd name="T17" fmla="*/ 28 h 74"/>
                  <a:gd name="T18" fmla="*/ 20 w 92"/>
                  <a:gd name="T19" fmla="*/ 14 h 74"/>
                  <a:gd name="T20" fmla="*/ 46 w 92"/>
                  <a:gd name="T21" fmla="*/ 6 h 74"/>
                  <a:gd name="T22" fmla="*/ 44 w 92"/>
                  <a:gd name="T23" fmla="*/ 0 h 74"/>
                  <a:gd name="T24" fmla="*/ 30 w 92"/>
                  <a:gd name="T25" fmla="*/ 0 h 74"/>
                  <a:gd name="T26" fmla="*/ 18 w 92"/>
                  <a:gd name="T27" fmla="*/ 10 h 74"/>
                  <a:gd name="T28" fmla="*/ 16 w 92"/>
                  <a:gd name="T29" fmla="*/ 14 h 74"/>
                  <a:gd name="T30" fmla="*/ 30 w 92"/>
                  <a:gd name="T31" fmla="*/ 22 h 74"/>
                  <a:gd name="T32" fmla="*/ 16 w 92"/>
                  <a:gd name="T33" fmla="*/ 22 h 74"/>
                  <a:gd name="T34" fmla="*/ 8 w 92"/>
                  <a:gd name="T35" fmla="*/ 18 h 74"/>
                  <a:gd name="T36" fmla="*/ 6 w 92"/>
                  <a:gd name="T37" fmla="*/ 18 h 74"/>
                  <a:gd name="T38" fmla="*/ 0 w 92"/>
                  <a:gd name="T39" fmla="*/ 30 h 74"/>
                  <a:gd name="T40" fmla="*/ 2 w 92"/>
                  <a:gd name="T41" fmla="*/ 38 h 74"/>
                  <a:gd name="T42" fmla="*/ 10 w 92"/>
                  <a:gd name="T43" fmla="*/ 46 h 74"/>
                  <a:gd name="T44" fmla="*/ 24 w 92"/>
                  <a:gd name="T45" fmla="*/ 48 h 74"/>
                  <a:gd name="T46" fmla="*/ 30 w 92"/>
                  <a:gd name="T47" fmla="*/ 54 h 74"/>
                  <a:gd name="T48" fmla="*/ 54 w 92"/>
                  <a:gd name="T49" fmla="*/ 74 h 74"/>
                  <a:gd name="T50" fmla="*/ 58 w 92"/>
                  <a:gd name="T51" fmla="*/ 74 h 74"/>
                  <a:gd name="T52" fmla="*/ 66 w 92"/>
                  <a:gd name="T53" fmla="*/ 64 h 74"/>
                  <a:gd name="T54" fmla="*/ 70 w 92"/>
                  <a:gd name="T55" fmla="*/ 66 h 74"/>
                  <a:gd name="T56" fmla="*/ 72 w 92"/>
                  <a:gd name="T57" fmla="*/ 66 h 74"/>
                  <a:gd name="T58" fmla="*/ 80 w 92"/>
                  <a:gd name="T59" fmla="*/ 62 h 74"/>
                  <a:gd name="T60" fmla="*/ 88 w 92"/>
                  <a:gd name="T61" fmla="*/ 50 h 74"/>
                  <a:gd name="T62" fmla="*/ 92 w 92"/>
                  <a:gd name="T63" fmla="*/ 36 h 74"/>
                  <a:gd name="T64" fmla="*/ 86 w 92"/>
                  <a:gd name="T65" fmla="*/ 24 h 74"/>
                  <a:gd name="T66" fmla="*/ 86 w 92"/>
                  <a:gd name="T67" fmla="*/ 24 h 74"/>
                  <a:gd name="T68" fmla="*/ 76 w 92"/>
                  <a:gd name="T69" fmla="*/ 24 h 74"/>
                  <a:gd name="T70" fmla="*/ 68 w 92"/>
                  <a:gd name="T71" fmla="*/ 22 h 74"/>
                  <a:gd name="T72" fmla="*/ 74 w 92"/>
                  <a:gd name="T73" fmla="*/ 18 h 74"/>
                  <a:gd name="T74" fmla="*/ 86 w 92"/>
                  <a:gd name="T75" fmla="*/ 8 h 74"/>
                  <a:gd name="T76" fmla="*/ 88 w 92"/>
                  <a:gd name="T77" fmla="*/ 4 h 74"/>
                  <a:gd name="T78" fmla="*/ 62 w 92"/>
                  <a:gd name="T79" fmla="*/ 0 h 74"/>
                  <a:gd name="T80" fmla="*/ 60 w 92"/>
                  <a:gd name="T81" fmla="*/ 0 h 74"/>
                  <a:gd name="T82" fmla="*/ 48 w 92"/>
                  <a:gd name="T83" fmla="*/ 2 h 74"/>
                  <a:gd name="T84" fmla="*/ 44 w 92"/>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74">
                    <a:moveTo>
                      <a:pt x="60" y="4"/>
                    </a:moveTo>
                    <a:lnTo>
                      <a:pt x="84" y="4"/>
                    </a:lnTo>
                    <a:lnTo>
                      <a:pt x="78" y="8"/>
                    </a:lnTo>
                    <a:lnTo>
                      <a:pt x="72" y="16"/>
                    </a:lnTo>
                    <a:lnTo>
                      <a:pt x="62" y="20"/>
                    </a:lnTo>
                    <a:lnTo>
                      <a:pt x="60" y="26"/>
                    </a:lnTo>
                    <a:lnTo>
                      <a:pt x="68" y="26"/>
                    </a:lnTo>
                    <a:lnTo>
                      <a:pt x="74" y="26"/>
                    </a:lnTo>
                    <a:lnTo>
                      <a:pt x="78" y="32"/>
                    </a:lnTo>
                    <a:lnTo>
                      <a:pt x="86" y="28"/>
                    </a:lnTo>
                    <a:lnTo>
                      <a:pt x="88" y="36"/>
                    </a:lnTo>
                    <a:lnTo>
                      <a:pt x="84" y="50"/>
                    </a:lnTo>
                    <a:lnTo>
                      <a:pt x="76" y="60"/>
                    </a:lnTo>
                    <a:lnTo>
                      <a:pt x="72" y="62"/>
                    </a:lnTo>
                    <a:lnTo>
                      <a:pt x="64" y="58"/>
                    </a:lnTo>
                    <a:lnTo>
                      <a:pt x="62" y="62"/>
                    </a:lnTo>
                    <a:lnTo>
                      <a:pt x="58" y="70"/>
                    </a:lnTo>
                    <a:lnTo>
                      <a:pt x="46" y="60"/>
                    </a:lnTo>
                    <a:lnTo>
                      <a:pt x="32" y="52"/>
                    </a:lnTo>
                    <a:lnTo>
                      <a:pt x="26" y="44"/>
                    </a:lnTo>
                    <a:lnTo>
                      <a:pt x="12" y="42"/>
                    </a:lnTo>
                    <a:lnTo>
                      <a:pt x="4" y="38"/>
                    </a:lnTo>
                    <a:lnTo>
                      <a:pt x="4" y="30"/>
                    </a:lnTo>
                    <a:lnTo>
                      <a:pt x="6" y="22"/>
                    </a:lnTo>
                    <a:lnTo>
                      <a:pt x="14" y="24"/>
                    </a:lnTo>
                    <a:lnTo>
                      <a:pt x="18" y="30"/>
                    </a:lnTo>
                    <a:lnTo>
                      <a:pt x="28" y="28"/>
                    </a:lnTo>
                    <a:lnTo>
                      <a:pt x="36" y="24"/>
                    </a:lnTo>
                    <a:lnTo>
                      <a:pt x="32" y="18"/>
                    </a:lnTo>
                    <a:lnTo>
                      <a:pt x="20" y="14"/>
                    </a:lnTo>
                    <a:lnTo>
                      <a:pt x="32" y="4"/>
                    </a:lnTo>
                    <a:lnTo>
                      <a:pt x="44" y="4"/>
                    </a:lnTo>
                    <a:lnTo>
                      <a:pt x="46" y="6"/>
                    </a:lnTo>
                    <a:lnTo>
                      <a:pt x="54" y="6"/>
                    </a:lnTo>
                    <a:lnTo>
                      <a:pt x="60" y="4"/>
                    </a:lnTo>
                    <a:close/>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8" name="Freeform 87"/>
              <p:cNvSpPr>
                <a:spLocks/>
              </p:cNvSpPr>
              <p:nvPr/>
            </p:nvSpPr>
            <p:spPr bwMode="auto">
              <a:xfrm>
                <a:off x="1417" y="1221"/>
                <a:ext cx="84" cy="66"/>
              </a:xfrm>
              <a:custGeom>
                <a:avLst/>
                <a:gdLst>
                  <a:gd name="T0" fmla="*/ 56 w 84"/>
                  <a:gd name="T1" fmla="*/ 0 h 66"/>
                  <a:gd name="T2" fmla="*/ 80 w 84"/>
                  <a:gd name="T3" fmla="*/ 0 h 66"/>
                  <a:gd name="T4" fmla="*/ 74 w 84"/>
                  <a:gd name="T5" fmla="*/ 4 h 66"/>
                  <a:gd name="T6" fmla="*/ 68 w 84"/>
                  <a:gd name="T7" fmla="*/ 12 h 66"/>
                  <a:gd name="T8" fmla="*/ 58 w 84"/>
                  <a:gd name="T9" fmla="*/ 16 h 66"/>
                  <a:gd name="T10" fmla="*/ 56 w 84"/>
                  <a:gd name="T11" fmla="*/ 22 h 66"/>
                  <a:gd name="T12" fmla="*/ 64 w 84"/>
                  <a:gd name="T13" fmla="*/ 22 h 66"/>
                  <a:gd name="T14" fmla="*/ 70 w 84"/>
                  <a:gd name="T15" fmla="*/ 22 h 66"/>
                  <a:gd name="T16" fmla="*/ 74 w 84"/>
                  <a:gd name="T17" fmla="*/ 28 h 66"/>
                  <a:gd name="T18" fmla="*/ 82 w 84"/>
                  <a:gd name="T19" fmla="*/ 24 h 66"/>
                  <a:gd name="T20" fmla="*/ 84 w 84"/>
                  <a:gd name="T21" fmla="*/ 32 h 66"/>
                  <a:gd name="T22" fmla="*/ 80 w 84"/>
                  <a:gd name="T23" fmla="*/ 46 h 66"/>
                  <a:gd name="T24" fmla="*/ 72 w 84"/>
                  <a:gd name="T25" fmla="*/ 56 h 66"/>
                  <a:gd name="T26" fmla="*/ 68 w 84"/>
                  <a:gd name="T27" fmla="*/ 58 h 66"/>
                  <a:gd name="T28" fmla="*/ 60 w 84"/>
                  <a:gd name="T29" fmla="*/ 54 h 66"/>
                  <a:gd name="T30" fmla="*/ 58 w 84"/>
                  <a:gd name="T31" fmla="*/ 58 h 66"/>
                  <a:gd name="T32" fmla="*/ 54 w 84"/>
                  <a:gd name="T33" fmla="*/ 66 h 66"/>
                  <a:gd name="T34" fmla="*/ 42 w 84"/>
                  <a:gd name="T35" fmla="*/ 56 h 66"/>
                  <a:gd name="T36" fmla="*/ 28 w 84"/>
                  <a:gd name="T37" fmla="*/ 48 h 66"/>
                  <a:gd name="T38" fmla="*/ 22 w 84"/>
                  <a:gd name="T39" fmla="*/ 40 h 66"/>
                  <a:gd name="T40" fmla="*/ 8 w 84"/>
                  <a:gd name="T41" fmla="*/ 38 h 66"/>
                  <a:gd name="T42" fmla="*/ 0 w 84"/>
                  <a:gd name="T43" fmla="*/ 34 h 66"/>
                  <a:gd name="T44" fmla="*/ 0 w 84"/>
                  <a:gd name="T45" fmla="*/ 26 h 66"/>
                  <a:gd name="T46" fmla="*/ 2 w 84"/>
                  <a:gd name="T47" fmla="*/ 18 h 66"/>
                  <a:gd name="T48" fmla="*/ 10 w 84"/>
                  <a:gd name="T49" fmla="*/ 20 h 66"/>
                  <a:gd name="T50" fmla="*/ 14 w 84"/>
                  <a:gd name="T51" fmla="*/ 26 h 66"/>
                  <a:gd name="T52" fmla="*/ 24 w 84"/>
                  <a:gd name="T53" fmla="*/ 24 h 66"/>
                  <a:gd name="T54" fmla="*/ 32 w 84"/>
                  <a:gd name="T55" fmla="*/ 20 h 66"/>
                  <a:gd name="T56" fmla="*/ 28 w 84"/>
                  <a:gd name="T57" fmla="*/ 14 h 66"/>
                  <a:gd name="T58" fmla="*/ 16 w 84"/>
                  <a:gd name="T59" fmla="*/ 10 h 66"/>
                  <a:gd name="T60" fmla="*/ 28 w 84"/>
                  <a:gd name="T61" fmla="*/ 0 h 66"/>
                  <a:gd name="T62" fmla="*/ 40 w 84"/>
                  <a:gd name="T63" fmla="*/ 0 h 66"/>
                  <a:gd name="T64" fmla="*/ 42 w 84"/>
                  <a:gd name="T65" fmla="*/ 2 h 66"/>
                  <a:gd name="T66" fmla="*/ 50 w 84"/>
                  <a:gd name="T67" fmla="*/ 2 h 66"/>
                  <a:gd name="T68" fmla="*/ 56 w 84"/>
                  <a:gd name="T6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66">
                    <a:moveTo>
                      <a:pt x="56" y="0"/>
                    </a:moveTo>
                    <a:lnTo>
                      <a:pt x="80" y="0"/>
                    </a:lnTo>
                    <a:lnTo>
                      <a:pt x="74" y="4"/>
                    </a:lnTo>
                    <a:lnTo>
                      <a:pt x="68" y="12"/>
                    </a:lnTo>
                    <a:lnTo>
                      <a:pt x="58" y="16"/>
                    </a:lnTo>
                    <a:lnTo>
                      <a:pt x="56" y="22"/>
                    </a:lnTo>
                    <a:lnTo>
                      <a:pt x="64" y="22"/>
                    </a:lnTo>
                    <a:lnTo>
                      <a:pt x="70" y="22"/>
                    </a:lnTo>
                    <a:lnTo>
                      <a:pt x="74" y="28"/>
                    </a:lnTo>
                    <a:lnTo>
                      <a:pt x="82" y="24"/>
                    </a:lnTo>
                    <a:lnTo>
                      <a:pt x="84" y="32"/>
                    </a:lnTo>
                    <a:lnTo>
                      <a:pt x="80" y="46"/>
                    </a:lnTo>
                    <a:lnTo>
                      <a:pt x="72" y="56"/>
                    </a:lnTo>
                    <a:lnTo>
                      <a:pt x="68" y="58"/>
                    </a:lnTo>
                    <a:lnTo>
                      <a:pt x="60" y="54"/>
                    </a:lnTo>
                    <a:lnTo>
                      <a:pt x="58" y="58"/>
                    </a:lnTo>
                    <a:lnTo>
                      <a:pt x="54" y="66"/>
                    </a:lnTo>
                    <a:lnTo>
                      <a:pt x="42" y="56"/>
                    </a:lnTo>
                    <a:lnTo>
                      <a:pt x="28" y="48"/>
                    </a:lnTo>
                    <a:lnTo>
                      <a:pt x="22" y="40"/>
                    </a:lnTo>
                    <a:lnTo>
                      <a:pt x="8" y="38"/>
                    </a:lnTo>
                    <a:lnTo>
                      <a:pt x="0" y="34"/>
                    </a:lnTo>
                    <a:lnTo>
                      <a:pt x="0" y="26"/>
                    </a:lnTo>
                    <a:lnTo>
                      <a:pt x="2" y="18"/>
                    </a:lnTo>
                    <a:lnTo>
                      <a:pt x="10" y="20"/>
                    </a:lnTo>
                    <a:lnTo>
                      <a:pt x="14" y="26"/>
                    </a:lnTo>
                    <a:lnTo>
                      <a:pt x="24" y="24"/>
                    </a:lnTo>
                    <a:lnTo>
                      <a:pt x="32" y="20"/>
                    </a:lnTo>
                    <a:lnTo>
                      <a:pt x="28" y="14"/>
                    </a:lnTo>
                    <a:lnTo>
                      <a:pt x="16" y="10"/>
                    </a:lnTo>
                    <a:lnTo>
                      <a:pt x="28" y="0"/>
                    </a:lnTo>
                    <a:lnTo>
                      <a:pt x="40" y="0"/>
                    </a:lnTo>
                    <a:lnTo>
                      <a:pt x="42" y="2"/>
                    </a:lnTo>
                    <a:lnTo>
                      <a:pt x="50" y="2"/>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9" name="Freeform 88"/>
              <p:cNvSpPr>
                <a:spLocks/>
              </p:cNvSpPr>
              <p:nvPr/>
            </p:nvSpPr>
            <p:spPr bwMode="auto">
              <a:xfrm>
                <a:off x="1413" y="1217"/>
                <a:ext cx="92" cy="74"/>
              </a:xfrm>
              <a:custGeom>
                <a:avLst/>
                <a:gdLst>
                  <a:gd name="T0" fmla="*/ 44 w 92"/>
                  <a:gd name="T1" fmla="*/ 0 h 74"/>
                  <a:gd name="T2" fmla="*/ 30 w 92"/>
                  <a:gd name="T3" fmla="*/ 0 h 74"/>
                  <a:gd name="T4" fmla="*/ 28 w 92"/>
                  <a:gd name="T5" fmla="*/ 2 h 74"/>
                  <a:gd name="T6" fmla="*/ 18 w 92"/>
                  <a:gd name="T7" fmla="*/ 10 h 74"/>
                  <a:gd name="T8" fmla="*/ 16 w 92"/>
                  <a:gd name="T9" fmla="*/ 14 h 74"/>
                  <a:gd name="T10" fmla="*/ 30 w 92"/>
                  <a:gd name="T11" fmla="*/ 22 h 74"/>
                  <a:gd name="T12" fmla="*/ 26 w 92"/>
                  <a:gd name="T13" fmla="*/ 26 h 74"/>
                  <a:gd name="T14" fmla="*/ 16 w 92"/>
                  <a:gd name="T15" fmla="*/ 22 h 74"/>
                  <a:gd name="T16" fmla="*/ 14 w 92"/>
                  <a:gd name="T17" fmla="*/ 20 h 74"/>
                  <a:gd name="T18" fmla="*/ 8 w 92"/>
                  <a:gd name="T19" fmla="*/ 18 h 74"/>
                  <a:gd name="T20" fmla="*/ 6 w 92"/>
                  <a:gd name="T21" fmla="*/ 18 h 74"/>
                  <a:gd name="T22" fmla="*/ 2 w 92"/>
                  <a:gd name="T23" fmla="*/ 20 h 74"/>
                  <a:gd name="T24" fmla="*/ 0 w 92"/>
                  <a:gd name="T25" fmla="*/ 30 h 74"/>
                  <a:gd name="T26" fmla="*/ 2 w 92"/>
                  <a:gd name="T27" fmla="*/ 38 h 74"/>
                  <a:gd name="T28" fmla="*/ 2 w 92"/>
                  <a:gd name="T29" fmla="*/ 40 h 74"/>
                  <a:gd name="T30" fmla="*/ 10 w 92"/>
                  <a:gd name="T31" fmla="*/ 46 h 74"/>
                  <a:gd name="T32" fmla="*/ 24 w 92"/>
                  <a:gd name="T33" fmla="*/ 48 h 74"/>
                  <a:gd name="T34" fmla="*/ 30 w 92"/>
                  <a:gd name="T35" fmla="*/ 54 h 74"/>
                  <a:gd name="T36" fmla="*/ 44 w 92"/>
                  <a:gd name="T37" fmla="*/ 64 h 74"/>
                  <a:gd name="T38" fmla="*/ 54 w 92"/>
                  <a:gd name="T39" fmla="*/ 74 h 74"/>
                  <a:gd name="T40" fmla="*/ 58 w 92"/>
                  <a:gd name="T41" fmla="*/ 74 h 74"/>
                  <a:gd name="T42" fmla="*/ 58 w 92"/>
                  <a:gd name="T43" fmla="*/ 74 h 74"/>
                  <a:gd name="T44" fmla="*/ 66 w 92"/>
                  <a:gd name="T45" fmla="*/ 64 h 74"/>
                  <a:gd name="T46" fmla="*/ 70 w 92"/>
                  <a:gd name="T47" fmla="*/ 66 h 74"/>
                  <a:gd name="T48" fmla="*/ 72 w 92"/>
                  <a:gd name="T49" fmla="*/ 66 h 74"/>
                  <a:gd name="T50" fmla="*/ 72 w 92"/>
                  <a:gd name="T51" fmla="*/ 66 h 74"/>
                  <a:gd name="T52" fmla="*/ 78 w 92"/>
                  <a:gd name="T53" fmla="*/ 64 h 74"/>
                  <a:gd name="T54" fmla="*/ 86 w 92"/>
                  <a:gd name="T55" fmla="*/ 52 h 74"/>
                  <a:gd name="T56" fmla="*/ 88 w 92"/>
                  <a:gd name="T57" fmla="*/ 50 h 74"/>
                  <a:gd name="T58" fmla="*/ 90 w 92"/>
                  <a:gd name="T59" fmla="*/ 36 h 74"/>
                  <a:gd name="T60" fmla="*/ 90 w 92"/>
                  <a:gd name="T61" fmla="*/ 26 h 74"/>
                  <a:gd name="T62" fmla="*/ 86 w 92"/>
                  <a:gd name="T63" fmla="*/ 24 h 74"/>
                  <a:gd name="T64" fmla="*/ 86 w 92"/>
                  <a:gd name="T65" fmla="*/ 24 h 74"/>
                  <a:gd name="T66" fmla="*/ 82 w 92"/>
                  <a:gd name="T67" fmla="*/ 24 h 74"/>
                  <a:gd name="T68" fmla="*/ 76 w 92"/>
                  <a:gd name="T69" fmla="*/ 24 h 74"/>
                  <a:gd name="T70" fmla="*/ 74 w 92"/>
                  <a:gd name="T71" fmla="*/ 22 h 74"/>
                  <a:gd name="T72" fmla="*/ 74 w 92"/>
                  <a:gd name="T73" fmla="*/ 18 h 74"/>
                  <a:gd name="T74" fmla="*/ 74 w 92"/>
                  <a:gd name="T75" fmla="*/ 18 h 74"/>
                  <a:gd name="T76" fmla="*/ 86 w 92"/>
                  <a:gd name="T77" fmla="*/ 8 h 74"/>
                  <a:gd name="T78" fmla="*/ 88 w 92"/>
                  <a:gd name="T79" fmla="*/ 6 h 74"/>
                  <a:gd name="T80" fmla="*/ 88 w 92"/>
                  <a:gd name="T81" fmla="*/ 4 h 74"/>
                  <a:gd name="T82" fmla="*/ 84 w 92"/>
                  <a:gd name="T83" fmla="*/ 0 h 74"/>
                  <a:gd name="T84" fmla="*/ 62 w 92"/>
                  <a:gd name="T85" fmla="*/ 0 h 74"/>
                  <a:gd name="T86" fmla="*/ 60 w 92"/>
                  <a:gd name="T87" fmla="*/ 0 h 74"/>
                  <a:gd name="T88" fmla="*/ 52 w 92"/>
                  <a:gd name="T89" fmla="*/ 2 h 74"/>
                  <a:gd name="T90" fmla="*/ 46 w 92"/>
                  <a:gd name="T91" fmla="*/ 0 h 74"/>
                  <a:gd name="T92" fmla="*/ 44 w 92"/>
                  <a:gd name="T9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74">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0" name="Freeform 89"/>
              <p:cNvSpPr>
                <a:spLocks/>
              </p:cNvSpPr>
              <p:nvPr/>
            </p:nvSpPr>
            <p:spPr bwMode="auto">
              <a:xfrm>
                <a:off x="1499" y="1161"/>
                <a:ext cx="48" cy="34"/>
              </a:xfrm>
              <a:custGeom>
                <a:avLst/>
                <a:gdLst>
                  <a:gd name="T0" fmla="*/ 28 w 48"/>
                  <a:gd name="T1" fmla="*/ 32 h 34"/>
                  <a:gd name="T2" fmla="*/ 12 w 48"/>
                  <a:gd name="T3" fmla="*/ 30 h 34"/>
                  <a:gd name="T4" fmla="*/ 12 w 48"/>
                  <a:gd name="T5" fmla="*/ 30 h 34"/>
                  <a:gd name="T6" fmla="*/ 12 w 48"/>
                  <a:gd name="T7" fmla="*/ 30 h 34"/>
                  <a:gd name="T8" fmla="*/ 0 w 48"/>
                  <a:gd name="T9" fmla="*/ 22 h 34"/>
                  <a:gd name="T10" fmla="*/ 0 w 48"/>
                  <a:gd name="T11" fmla="*/ 22 h 34"/>
                  <a:gd name="T12" fmla="*/ 0 w 48"/>
                  <a:gd name="T13" fmla="*/ 22 h 34"/>
                  <a:gd name="T14" fmla="*/ 0 w 48"/>
                  <a:gd name="T15" fmla="*/ 22 h 34"/>
                  <a:gd name="T16" fmla="*/ 0 w 48"/>
                  <a:gd name="T17" fmla="*/ 20 h 34"/>
                  <a:gd name="T18" fmla="*/ 8 w 48"/>
                  <a:gd name="T19" fmla="*/ 12 h 34"/>
                  <a:gd name="T20" fmla="*/ 18 w 48"/>
                  <a:gd name="T21" fmla="*/ 6 h 34"/>
                  <a:gd name="T22" fmla="*/ 26 w 48"/>
                  <a:gd name="T23" fmla="*/ 2 h 34"/>
                  <a:gd name="T24" fmla="*/ 26 w 48"/>
                  <a:gd name="T25" fmla="*/ 2 h 34"/>
                  <a:gd name="T26" fmla="*/ 26 w 48"/>
                  <a:gd name="T27" fmla="*/ 0 h 34"/>
                  <a:gd name="T28" fmla="*/ 26 w 48"/>
                  <a:gd name="T29" fmla="*/ 0 h 34"/>
                  <a:gd name="T30" fmla="*/ 28 w 48"/>
                  <a:gd name="T31" fmla="*/ 2 h 34"/>
                  <a:gd name="T32" fmla="*/ 36 w 48"/>
                  <a:gd name="T33" fmla="*/ 6 h 34"/>
                  <a:gd name="T34" fmla="*/ 46 w 48"/>
                  <a:gd name="T35" fmla="*/ 12 h 34"/>
                  <a:gd name="T36" fmla="*/ 46 w 48"/>
                  <a:gd name="T37" fmla="*/ 12 h 34"/>
                  <a:gd name="T38" fmla="*/ 46 w 48"/>
                  <a:gd name="T39" fmla="*/ 14 h 34"/>
                  <a:gd name="T40" fmla="*/ 48 w 48"/>
                  <a:gd name="T41" fmla="*/ 20 h 34"/>
                  <a:gd name="T42" fmla="*/ 48 w 48"/>
                  <a:gd name="T43" fmla="*/ 32 h 34"/>
                  <a:gd name="T44" fmla="*/ 48 w 48"/>
                  <a:gd name="T45" fmla="*/ 32 h 34"/>
                  <a:gd name="T46" fmla="*/ 48 w 48"/>
                  <a:gd name="T47" fmla="*/ 32 h 34"/>
                  <a:gd name="T48" fmla="*/ 48 w 48"/>
                  <a:gd name="T49" fmla="*/ 32 h 34"/>
                  <a:gd name="T50" fmla="*/ 46 w 48"/>
                  <a:gd name="T51" fmla="*/ 34 h 34"/>
                  <a:gd name="T52" fmla="*/ 46 w 48"/>
                  <a:gd name="T53" fmla="*/ 34 h 34"/>
                  <a:gd name="T54" fmla="*/ 28 w 48"/>
                  <a:gd name="T55" fmla="*/ 32 h 34"/>
                  <a:gd name="T56" fmla="*/ 28 w 48"/>
                  <a:gd name="T5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4">
                    <a:moveTo>
                      <a:pt x="28" y="32"/>
                    </a:moveTo>
                    <a:lnTo>
                      <a:pt x="12" y="30"/>
                    </a:lnTo>
                    <a:lnTo>
                      <a:pt x="12" y="30"/>
                    </a:lnTo>
                    <a:lnTo>
                      <a:pt x="12" y="30"/>
                    </a:lnTo>
                    <a:lnTo>
                      <a:pt x="0" y="22"/>
                    </a:lnTo>
                    <a:lnTo>
                      <a:pt x="0" y="22"/>
                    </a:lnTo>
                    <a:lnTo>
                      <a:pt x="0" y="22"/>
                    </a:lnTo>
                    <a:lnTo>
                      <a:pt x="0" y="22"/>
                    </a:lnTo>
                    <a:lnTo>
                      <a:pt x="0" y="20"/>
                    </a:lnTo>
                    <a:lnTo>
                      <a:pt x="8" y="12"/>
                    </a:lnTo>
                    <a:lnTo>
                      <a:pt x="18" y="6"/>
                    </a:lnTo>
                    <a:lnTo>
                      <a:pt x="26" y="2"/>
                    </a:lnTo>
                    <a:lnTo>
                      <a:pt x="26" y="2"/>
                    </a:lnTo>
                    <a:lnTo>
                      <a:pt x="26" y="0"/>
                    </a:lnTo>
                    <a:lnTo>
                      <a:pt x="26" y="0"/>
                    </a:lnTo>
                    <a:lnTo>
                      <a:pt x="28" y="2"/>
                    </a:lnTo>
                    <a:lnTo>
                      <a:pt x="36" y="6"/>
                    </a:lnTo>
                    <a:lnTo>
                      <a:pt x="46" y="12"/>
                    </a:lnTo>
                    <a:lnTo>
                      <a:pt x="46" y="12"/>
                    </a:lnTo>
                    <a:lnTo>
                      <a:pt x="46" y="14"/>
                    </a:lnTo>
                    <a:lnTo>
                      <a:pt x="48" y="20"/>
                    </a:lnTo>
                    <a:lnTo>
                      <a:pt x="48" y="32"/>
                    </a:lnTo>
                    <a:lnTo>
                      <a:pt x="48" y="32"/>
                    </a:lnTo>
                    <a:lnTo>
                      <a:pt x="48" y="32"/>
                    </a:lnTo>
                    <a:lnTo>
                      <a:pt x="48" y="32"/>
                    </a:lnTo>
                    <a:lnTo>
                      <a:pt x="46" y="34"/>
                    </a:lnTo>
                    <a:lnTo>
                      <a:pt x="46" y="34"/>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1" name="Freeform 90"/>
              <p:cNvSpPr>
                <a:spLocks noEditPoints="1"/>
              </p:cNvSpPr>
              <p:nvPr/>
            </p:nvSpPr>
            <p:spPr bwMode="auto">
              <a:xfrm>
                <a:off x="1497" y="1159"/>
                <a:ext cx="52" cy="38"/>
              </a:xfrm>
              <a:custGeom>
                <a:avLst/>
                <a:gdLst>
                  <a:gd name="T0" fmla="*/ 28 w 52"/>
                  <a:gd name="T1" fmla="*/ 4 h 38"/>
                  <a:gd name="T2" fmla="*/ 36 w 52"/>
                  <a:gd name="T3" fmla="*/ 10 h 38"/>
                  <a:gd name="T4" fmla="*/ 46 w 52"/>
                  <a:gd name="T5" fmla="*/ 16 h 38"/>
                  <a:gd name="T6" fmla="*/ 48 w 52"/>
                  <a:gd name="T7" fmla="*/ 24 h 38"/>
                  <a:gd name="T8" fmla="*/ 48 w 52"/>
                  <a:gd name="T9" fmla="*/ 34 h 38"/>
                  <a:gd name="T10" fmla="*/ 30 w 52"/>
                  <a:gd name="T11" fmla="*/ 32 h 38"/>
                  <a:gd name="T12" fmla="*/ 14 w 52"/>
                  <a:gd name="T13" fmla="*/ 30 h 38"/>
                  <a:gd name="T14" fmla="*/ 4 w 52"/>
                  <a:gd name="T15" fmla="*/ 24 h 38"/>
                  <a:gd name="T16" fmla="*/ 10 w 52"/>
                  <a:gd name="T17" fmla="*/ 14 h 38"/>
                  <a:gd name="T18" fmla="*/ 20 w 52"/>
                  <a:gd name="T19" fmla="*/ 10 h 38"/>
                  <a:gd name="T20" fmla="*/ 28 w 52"/>
                  <a:gd name="T21" fmla="*/ 4 h 38"/>
                  <a:gd name="T22" fmla="*/ 28 w 52"/>
                  <a:gd name="T23" fmla="*/ 0 h 38"/>
                  <a:gd name="T24" fmla="*/ 28 w 52"/>
                  <a:gd name="T25" fmla="*/ 0 h 38"/>
                  <a:gd name="T26" fmla="*/ 26 w 52"/>
                  <a:gd name="T27" fmla="*/ 2 h 38"/>
                  <a:gd name="T28" fmla="*/ 18 w 52"/>
                  <a:gd name="T29" fmla="*/ 6 h 38"/>
                  <a:gd name="T30" fmla="*/ 10 w 52"/>
                  <a:gd name="T31" fmla="*/ 12 h 38"/>
                  <a:gd name="T32" fmla="*/ 10 w 52"/>
                  <a:gd name="T33" fmla="*/ 12 h 38"/>
                  <a:gd name="T34" fmla="*/ 8 w 52"/>
                  <a:gd name="T35" fmla="*/ 12 h 38"/>
                  <a:gd name="T36" fmla="*/ 0 w 52"/>
                  <a:gd name="T37" fmla="*/ 20 h 38"/>
                  <a:gd name="T38" fmla="*/ 0 w 52"/>
                  <a:gd name="T39" fmla="*/ 20 h 38"/>
                  <a:gd name="T40" fmla="*/ 0 w 52"/>
                  <a:gd name="T41" fmla="*/ 24 h 38"/>
                  <a:gd name="T42" fmla="*/ 0 w 52"/>
                  <a:gd name="T43" fmla="*/ 24 h 38"/>
                  <a:gd name="T44" fmla="*/ 2 w 52"/>
                  <a:gd name="T45" fmla="*/ 26 h 38"/>
                  <a:gd name="T46" fmla="*/ 12 w 52"/>
                  <a:gd name="T47" fmla="*/ 34 h 38"/>
                  <a:gd name="T48" fmla="*/ 12 w 52"/>
                  <a:gd name="T49" fmla="*/ 34 h 38"/>
                  <a:gd name="T50" fmla="*/ 14 w 52"/>
                  <a:gd name="T51" fmla="*/ 34 h 38"/>
                  <a:gd name="T52" fmla="*/ 30 w 52"/>
                  <a:gd name="T53" fmla="*/ 36 h 38"/>
                  <a:gd name="T54" fmla="*/ 48 w 52"/>
                  <a:gd name="T55" fmla="*/ 38 h 38"/>
                  <a:gd name="T56" fmla="*/ 48 w 52"/>
                  <a:gd name="T57" fmla="*/ 38 h 38"/>
                  <a:gd name="T58" fmla="*/ 48 w 52"/>
                  <a:gd name="T59" fmla="*/ 38 h 38"/>
                  <a:gd name="T60" fmla="*/ 48 w 52"/>
                  <a:gd name="T61" fmla="*/ 38 h 38"/>
                  <a:gd name="T62" fmla="*/ 50 w 52"/>
                  <a:gd name="T63" fmla="*/ 36 h 38"/>
                  <a:gd name="T64" fmla="*/ 50 w 52"/>
                  <a:gd name="T65" fmla="*/ 36 h 38"/>
                  <a:gd name="T66" fmla="*/ 52 w 52"/>
                  <a:gd name="T67" fmla="*/ 34 h 38"/>
                  <a:gd name="T68" fmla="*/ 52 w 52"/>
                  <a:gd name="T69" fmla="*/ 24 h 38"/>
                  <a:gd name="T70" fmla="*/ 52 w 52"/>
                  <a:gd name="T71" fmla="*/ 24 h 38"/>
                  <a:gd name="T72" fmla="*/ 52 w 52"/>
                  <a:gd name="T73" fmla="*/ 22 h 38"/>
                  <a:gd name="T74" fmla="*/ 50 w 52"/>
                  <a:gd name="T75" fmla="*/ 16 h 38"/>
                  <a:gd name="T76" fmla="*/ 50 w 52"/>
                  <a:gd name="T77" fmla="*/ 16 h 38"/>
                  <a:gd name="T78" fmla="*/ 48 w 52"/>
                  <a:gd name="T79" fmla="*/ 14 h 38"/>
                  <a:gd name="T80" fmla="*/ 38 w 52"/>
                  <a:gd name="T81" fmla="*/ 6 h 38"/>
                  <a:gd name="T82" fmla="*/ 30 w 52"/>
                  <a:gd name="T83" fmla="*/ 2 h 38"/>
                  <a:gd name="T84" fmla="*/ 30 w 52"/>
                  <a:gd name="T85" fmla="*/ 2 h 38"/>
                  <a:gd name="T86" fmla="*/ 28 w 52"/>
                  <a:gd name="T87" fmla="*/ 0 h 38"/>
                  <a:gd name="T88" fmla="*/ 28 w 52"/>
                  <a:gd name="T8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 h="38">
                    <a:moveTo>
                      <a:pt x="28" y="4"/>
                    </a:moveTo>
                    <a:lnTo>
                      <a:pt x="36" y="10"/>
                    </a:lnTo>
                    <a:lnTo>
                      <a:pt x="46" y="16"/>
                    </a:lnTo>
                    <a:lnTo>
                      <a:pt x="48" y="24"/>
                    </a:lnTo>
                    <a:lnTo>
                      <a:pt x="48" y="34"/>
                    </a:lnTo>
                    <a:lnTo>
                      <a:pt x="30" y="32"/>
                    </a:lnTo>
                    <a:lnTo>
                      <a:pt x="14" y="30"/>
                    </a:lnTo>
                    <a:lnTo>
                      <a:pt x="4" y="24"/>
                    </a:lnTo>
                    <a:lnTo>
                      <a:pt x="10" y="14"/>
                    </a:lnTo>
                    <a:lnTo>
                      <a:pt x="20" y="10"/>
                    </a:lnTo>
                    <a:lnTo>
                      <a:pt x="28" y="4"/>
                    </a:lnTo>
                    <a:close/>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2" name="Freeform 91"/>
              <p:cNvSpPr>
                <a:spLocks/>
              </p:cNvSpPr>
              <p:nvPr/>
            </p:nvSpPr>
            <p:spPr bwMode="auto">
              <a:xfrm>
                <a:off x="1501" y="1163"/>
                <a:ext cx="44" cy="30"/>
              </a:xfrm>
              <a:custGeom>
                <a:avLst/>
                <a:gdLst>
                  <a:gd name="T0" fmla="*/ 24 w 44"/>
                  <a:gd name="T1" fmla="*/ 0 h 30"/>
                  <a:gd name="T2" fmla="*/ 32 w 44"/>
                  <a:gd name="T3" fmla="*/ 6 h 30"/>
                  <a:gd name="T4" fmla="*/ 42 w 44"/>
                  <a:gd name="T5" fmla="*/ 12 h 30"/>
                  <a:gd name="T6" fmla="*/ 44 w 44"/>
                  <a:gd name="T7" fmla="*/ 20 h 30"/>
                  <a:gd name="T8" fmla="*/ 44 w 44"/>
                  <a:gd name="T9" fmla="*/ 30 h 30"/>
                  <a:gd name="T10" fmla="*/ 26 w 44"/>
                  <a:gd name="T11" fmla="*/ 28 h 30"/>
                  <a:gd name="T12" fmla="*/ 10 w 44"/>
                  <a:gd name="T13" fmla="*/ 26 h 30"/>
                  <a:gd name="T14" fmla="*/ 0 w 44"/>
                  <a:gd name="T15" fmla="*/ 20 h 30"/>
                  <a:gd name="T16" fmla="*/ 6 w 44"/>
                  <a:gd name="T17" fmla="*/ 10 h 30"/>
                  <a:gd name="T18" fmla="*/ 16 w 44"/>
                  <a:gd name="T19" fmla="*/ 6 h 30"/>
                  <a:gd name="T20" fmla="*/ 24 w 44"/>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0">
                    <a:moveTo>
                      <a:pt x="24" y="0"/>
                    </a:moveTo>
                    <a:lnTo>
                      <a:pt x="32" y="6"/>
                    </a:lnTo>
                    <a:lnTo>
                      <a:pt x="42" y="12"/>
                    </a:lnTo>
                    <a:lnTo>
                      <a:pt x="44" y="20"/>
                    </a:lnTo>
                    <a:lnTo>
                      <a:pt x="44" y="30"/>
                    </a:lnTo>
                    <a:lnTo>
                      <a:pt x="26" y="28"/>
                    </a:lnTo>
                    <a:lnTo>
                      <a:pt x="10" y="26"/>
                    </a:lnTo>
                    <a:lnTo>
                      <a:pt x="0" y="20"/>
                    </a:lnTo>
                    <a:lnTo>
                      <a:pt x="6" y="10"/>
                    </a:lnTo>
                    <a:lnTo>
                      <a:pt x="16" y="6"/>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3" name="Freeform 92"/>
              <p:cNvSpPr>
                <a:spLocks/>
              </p:cNvSpPr>
              <p:nvPr/>
            </p:nvSpPr>
            <p:spPr bwMode="auto">
              <a:xfrm>
                <a:off x="1497" y="1159"/>
                <a:ext cx="52" cy="38"/>
              </a:xfrm>
              <a:custGeom>
                <a:avLst/>
                <a:gdLst>
                  <a:gd name="T0" fmla="*/ 28 w 52"/>
                  <a:gd name="T1" fmla="*/ 0 h 38"/>
                  <a:gd name="T2" fmla="*/ 28 w 52"/>
                  <a:gd name="T3" fmla="*/ 0 h 38"/>
                  <a:gd name="T4" fmla="*/ 26 w 52"/>
                  <a:gd name="T5" fmla="*/ 2 h 38"/>
                  <a:gd name="T6" fmla="*/ 18 w 52"/>
                  <a:gd name="T7" fmla="*/ 6 h 38"/>
                  <a:gd name="T8" fmla="*/ 10 w 52"/>
                  <a:gd name="T9" fmla="*/ 12 h 38"/>
                  <a:gd name="T10" fmla="*/ 10 w 52"/>
                  <a:gd name="T11" fmla="*/ 12 h 38"/>
                  <a:gd name="T12" fmla="*/ 8 w 52"/>
                  <a:gd name="T13" fmla="*/ 12 h 38"/>
                  <a:gd name="T14" fmla="*/ 0 w 52"/>
                  <a:gd name="T15" fmla="*/ 20 h 38"/>
                  <a:gd name="T16" fmla="*/ 0 w 52"/>
                  <a:gd name="T17" fmla="*/ 20 h 38"/>
                  <a:gd name="T18" fmla="*/ 0 w 52"/>
                  <a:gd name="T19" fmla="*/ 24 h 38"/>
                  <a:gd name="T20" fmla="*/ 0 w 52"/>
                  <a:gd name="T21" fmla="*/ 24 h 38"/>
                  <a:gd name="T22" fmla="*/ 2 w 52"/>
                  <a:gd name="T23" fmla="*/ 26 h 38"/>
                  <a:gd name="T24" fmla="*/ 12 w 52"/>
                  <a:gd name="T25" fmla="*/ 34 h 38"/>
                  <a:gd name="T26" fmla="*/ 12 w 52"/>
                  <a:gd name="T27" fmla="*/ 34 h 38"/>
                  <a:gd name="T28" fmla="*/ 14 w 52"/>
                  <a:gd name="T29" fmla="*/ 34 h 38"/>
                  <a:gd name="T30" fmla="*/ 30 w 52"/>
                  <a:gd name="T31" fmla="*/ 36 h 38"/>
                  <a:gd name="T32" fmla="*/ 48 w 52"/>
                  <a:gd name="T33" fmla="*/ 38 h 38"/>
                  <a:gd name="T34" fmla="*/ 48 w 52"/>
                  <a:gd name="T35" fmla="*/ 38 h 38"/>
                  <a:gd name="T36" fmla="*/ 48 w 52"/>
                  <a:gd name="T37" fmla="*/ 38 h 38"/>
                  <a:gd name="T38" fmla="*/ 48 w 52"/>
                  <a:gd name="T39" fmla="*/ 38 h 38"/>
                  <a:gd name="T40" fmla="*/ 50 w 52"/>
                  <a:gd name="T41" fmla="*/ 36 h 38"/>
                  <a:gd name="T42" fmla="*/ 50 w 52"/>
                  <a:gd name="T43" fmla="*/ 36 h 38"/>
                  <a:gd name="T44" fmla="*/ 52 w 52"/>
                  <a:gd name="T45" fmla="*/ 34 h 38"/>
                  <a:gd name="T46" fmla="*/ 52 w 52"/>
                  <a:gd name="T47" fmla="*/ 24 h 38"/>
                  <a:gd name="T48" fmla="*/ 52 w 52"/>
                  <a:gd name="T49" fmla="*/ 24 h 38"/>
                  <a:gd name="T50" fmla="*/ 52 w 52"/>
                  <a:gd name="T51" fmla="*/ 22 h 38"/>
                  <a:gd name="T52" fmla="*/ 50 w 52"/>
                  <a:gd name="T53" fmla="*/ 16 h 38"/>
                  <a:gd name="T54" fmla="*/ 50 w 52"/>
                  <a:gd name="T55" fmla="*/ 16 h 38"/>
                  <a:gd name="T56" fmla="*/ 48 w 52"/>
                  <a:gd name="T57" fmla="*/ 14 h 38"/>
                  <a:gd name="T58" fmla="*/ 38 w 52"/>
                  <a:gd name="T59" fmla="*/ 6 h 38"/>
                  <a:gd name="T60" fmla="*/ 30 w 52"/>
                  <a:gd name="T61" fmla="*/ 2 h 38"/>
                  <a:gd name="T62" fmla="*/ 30 w 52"/>
                  <a:gd name="T63" fmla="*/ 2 h 38"/>
                  <a:gd name="T64" fmla="*/ 28 w 52"/>
                  <a:gd name="T65" fmla="*/ 0 h 38"/>
                  <a:gd name="T66" fmla="*/ 28 w 52"/>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8">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4" name="Freeform 93"/>
              <p:cNvSpPr>
                <a:spLocks/>
              </p:cNvSpPr>
              <p:nvPr/>
            </p:nvSpPr>
            <p:spPr bwMode="auto">
              <a:xfrm>
                <a:off x="1475" y="1067"/>
                <a:ext cx="50" cy="38"/>
              </a:xfrm>
              <a:custGeom>
                <a:avLst/>
                <a:gdLst>
                  <a:gd name="T0" fmla="*/ 20 w 50"/>
                  <a:gd name="T1" fmla="*/ 38 h 38"/>
                  <a:gd name="T2" fmla="*/ 20 w 50"/>
                  <a:gd name="T3" fmla="*/ 38 h 38"/>
                  <a:gd name="T4" fmla="*/ 18 w 50"/>
                  <a:gd name="T5" fmla="*/ 36 h 38"/>
                  <a:gd name="T6" fmla="*/ 14 w 50"/>
                  <a:gd name="T7" fmla="*/ 26 h 38"/>
                  <a:gd name="T8" fmla="*/ 6 w 50"/>
                  <a:gd name="T9" fmla="*/ 22 h 38"/>
                  <a:gd name="T10" fmla="*/ 6 w 50"/>
                  <a:gd name="T11" fmla="*/ 22 h 38"/>
                  <a:gd name="T12" fmla="*/ 6 w 50"/>
                  <a:gd name="T13" fmla="*/ 22 h 38"/>
                  <a:gd name="T14" fmla="*/ 2 w 50"/>
                  <a:gd name="T15" fmla="*/ 16 h 38"/>
                  <a:gd name="T16" fmla="*/ 2 w 50"/>
                  <a:gd name="T17" fmla="*/ 16 h 38"/>
                  <a:gd name="T18" fmla="*/ 0 w 50"/>
                  <a:gd name="T19" fmla="*/ 14 h 38"/>
                  <a:gd name="T20" fmla="*/ 0 w 50"/>
                  <a:gd name="T21" fmla="*/ 6 h 38"/>
                  <a:gd name="T22" fmla="*/ 0 w 50"/>
                  <a:gd name="T23" fmla="*/ 6 h 38"/>
                  <a:gd name="T24" fmla="*/ 2 w 50"/>
                  <a:gd name="T25" fmla="*/ 4 h 38"/>
                  <a:gd name="T26" fmla="*/ 4 w 50"/>
                  <a:gd name="T27" fmla="*/ 0 h 38"/>
                  <a:gd name="T28" fmla="*/ 4 w 50"/>
                  <a:gd name="T29" fmla="*/ 0 h 38"/>
                  <a:gd name="T30" fmla="*/ 6 w 50"/>
                  <a:gd name="T31" fmla="*/ 0 h 38"/>
                  <a:gd name="T32" fmla="*/ 6 w 50"/>
                  <a:gd name="T33" fmla="*/ 0 h 38"/>
                  <a:gd name="T34" fmla="*/ 6 w 50"/>
                  <a:gd name="T35" fmla="*/ 0 h 38"/>
                  <a:gd name="T36" fmla="*/ 22 w 50"/>
                  <a:gd name="T37" fmla="*/ 4 h 38"/>
                  <a:gd name="T38" fmla="*/ 34 w 50"/>
                  <a:gd name="T39" fmla="*/ 10 h 38"/>
                  <a:gd name="T40" fmla="*/ 44 w 50"/>
                  <a:gd name="T41" fmla="*/ 14 h 38"/>
                  <a:gd name="T42" fmla="*/ 44 w 50"/>
                  <a:gd name="T43" fmla="*/ 14 h 38"/>
                  <a:gd name="T44" fmla="*/ 44 w 50"/>
                  <a:gd name="T45" fmla="*/ 16 h 38"/>
                  <a:gd name="T46" fmla="*/ 50 w 50"/>
                  <a:gd name="T47" fmla="*/ 22 h 38"/>
                  <a:gd name="T48" fmla="*/ 50 w 50"/>
                  <a:gd name="T49" fmla="*/ 22 h 38"/>
                  <a:gd name="T50" fmla="*/ 50 w 50"/>
                  <a:gd name="T51" fmla="*/ 24 h 38"/>
                  <a:gd name="T52" fmla="*/ 44 w 50"/>
                  <a:gd name="T53" fmla="*/ 34 h 38"/>
                  <a:gd name="T54" fmla="*/ 44 w 50"/>
                  <a:gd name="T55" fmla="*/ 34 h 38"/>
                  <a:gd name="T56" fmla="*/ 42 w 50"/>
                  <a:gd name="T57" fmla="*/ 36 h 38"/>
                  <a:gd name="T58" fmla="*/ 32 w 50"/>
                  <a:gd name="T59" fmla="*/ 38 h 38"/>
                  <a:gd name="T60" fmla="*/ 32 w 50"/>
                  <a:gd name="T61" fmla="*/ 38 h 38"/>
                  <a:gd name="T62" fmla="*/ 32 w 50"/>
                  <a:gd name="T63" fmla="*/ 38 h 38"/>
                  <a:gd name="T64" fmla="*/ 20 w 5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8">
                    <a:moveTo>
                      <a:pt x="20" y="38"/>
                    </a:moveTo>
                    <a:lnTo>
                      <a:pt x="20" y="38"/>
                    </a:lnTo>
                    <a:lnTo>
                      <a:pt x="18" y="36"/>
                    </a:lnTo>
                    <a:lnTo>
                      <a:pt x="14" y="26"/>
                    </a:lnTo>
                    <a:lnTo>
                      <a:pt x="6" y="22"/>
                    </a:lnTo>
                    <a:lnTo>
                      <a:pt x="6" y="22"/>
                    </a:lnTo>
                    <a:lnTo>
                      <a:pt x="6" y="22"/>
                    </a:lnTo>
                    <a:lnTo>
                      <a:pt x="2" y="16"/>
                    </a:lnTo>
                    <a:lnTo>
                      <a:pt x="2" y="16"/>
                    </a:lnTo>
                    <a:lnTo>
                      <a:pt x="0" y="14"/>
                    </a:lnTo>
                    <a:lnTo>
                      <a:pt x="0" y="6"/>
                    </a:lnTo>
                    <a:lnTo>
                      <a:pt x="0" y="6"/>
                    </a:lnTo>
                    <a:lnTo>
                      <a:pt x="2" y="4"/>
                    </a:lnTo>
                    <a:lnTo>
                      <a:pt x="4" y="0"/>
                    </a:lnTo>
                    <a:lnTo>
                      <a:pt x="4" y="0"/>
                    </a:lnTo>
                    <a:lnTo>
                      <a:pt x="6" y="0"/>
                    </a:lnTo>
                    <a:lnTo>
                      <a:pt x="6" y="0"/>
                    </a:lnTo>
                    <a:lnTo>
                      <a:pt x="6" y="0"/>
                    </a:lnTo>
                    <a:lnTo>
                      <a:pt x="22" y="4"/>
                    </a:lnTo>
                    <a:lnTo>
                      <a:pt x="34" y="10"/>
                    </a:lnTo>
                    <a:lnTo>
                      <a:pt x="44" y="14"/>
                    </a:lnTo>
                    <a:lnTo>
                      <a:pt x="44" y="14"/>
                    </a:lnTo>
                    <a:lnTo>
                      <a:pt x="44" y="16"/>
                    </a:lnTo>
                    <a:lnTo>
                      <a:pt x="50" y="22"/>
                    </a:lnTo>
                    <a:lnTo>
                      <a:pt x="50" y="22"/>
                    </a:lnTo>
                    <a:lnTo>
                      <a:pt x="50" y="24"/>
                    </a:lnTo>
                    <a:lnTo>
                      <a:pt x="44" y="34"/>
                    </a:lnTo>
                    <a:lnTo>
                      <a:pt x="44" y="34"/>
                    </a:lnTo>
                    <a:lnTo>
                      <a:pt x="42" y="36"/>
                    </a:lnTo>
                    <a:lnTo>
                      <a:pt x="32" y="38"/>
                    </a:lnTo>
                    <a:lnTo>
                      <a:pt x="32" y="38"/>
                    </a:lnTo>
                    <a:lnTo>
                      <a:pt x="32"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5" name="Freeform 94"/>
              <p:cNvSpPr>
                <a:spLocks noEditPoints="1"/>
              </p:cNvSpPr>
              <p:nvPr/>
            </p:nvSpPr>
            <p:spPr bwMode="auto">
              <a:xfrm>
                <a:off x="1473" y="1065"/>
                <a:ext cx="54" cy="42"/>
              </a:xfrm>
              <a:custGeom>
                <a:avLst/>
                <a:gdLst>
                  <a:gd name="T0" fmla="*/ 8 w 54"/>
                  <a:gd name="T1" fmla="*/ 4 h 42"/>
                  <a:gd name="T2" fmla="*/ 22 w 54"/>
                  <a:gd name="T3" fmla="*/ 8 h 42"/>
                  <a:gd name="T4" fmla="*/ 34 w 54"/>
                  <a:gd name="T5" fmla="*/ 14 h 42"/>
                  <a:gd name="T6" fmla="*/ 44 w 54"/>
                  <a:gd name="T7" fmla="*/ 18 h 42"/>
                  <a:gd name="T8" fmla="*/ 50 w 54"/>
                  <a:gd name="T9" fmla="*/ 24 h 42"/>
                  <a:gd name="T10" fmla="*/ 44 w 54"/>
                  <a:gd name="T11" fmla="*/ 36 h 42"/>
                  <a:gd name="T12" fmla="*/ 34 w 54"/>
                  <a:gd name="T13" fmla="*/ 38 h 42"/>
                  <a:gd name="T14" fmla="*/ 22 w 54"/>
                  <a:gd name="T15" fmla="*/ 38 h 42"/>
                  <a:gd name="T16" fmla="*/ 18 w 54"/>
                  <a:gd name="T17" fmla="*/ 26 h 42"/>
                  <a:gd name="T18" fmla="*/ 10 w 54"/>
                  <a:gd name="T19" fmla="*/ 22 h 42"/>
                  <a:gd name="T20" fmla="*/ 4 w 54"/>
                  <a:gd name="T21" fmla="*/ 16 h 42"/>
                  <a:gd name="T22" fmla="*/ 4 w 54"/>
                  <a:gd name="T23" fmla="*/ 8 h 42"/>
                  <a:gd name="T24" fmla="*/ 8 w 54"/>
                  <a:gd name="T25" fmla="*/ 4 h 42"/>
                  <a:gd name="T26" fmla="*/ 8 w 54"/>
                  <a:gd name="T27" fmla="*/ 0 h 42"/>
                  <a:gd name="T28" fmla="*/ 8 w 54"/>
                  <a:gd name="T29" fmla="*/ 0 h 42"/>
                  <a:gd name="T30" fmla="*/ 4 w 54"/>
                  <a:gd name="T31" fmla="*/ 2 h 42"/>
                  <a:gd name="T32" fmla="*/ 2 w 54"/>
                  <a:gd name="T33" fmla="*/ 6 h 42"/>
                  <a:gd name="T34" fmla="*/ 2 w 54"/>
                  <a:gd name="T35" fmla="*/ 6 h 42"/>
                  <a:gd name="T36" fmla="*/ 0 w 54"/>
                  <a:gd name="T37" fmla="*/ 8 h 42"/>
                  <a:gd name="T38" fmla="*/ 0 w 54"/>
                  <a:gd name="T39" fmla="*/ 16 h 42"/>
                  <a:gd name="T40" fmla="*/ 0 w 54"/>
                  <a:gd name="T41" fmla="*/ 16 h 42"/>
                  <a:gd name="T42" fmla="*/ 2 w 54"/>
                  <a:gd name="T43" fmla="*/ 18 h 42"/>
                  <a:gd name="T44" fmla="*/ 6 w 54"/>
                  <a:gd name="T45" fmla="*/ 26 h 42"/>
                  <a:gd name="T46" fmla="*/ 6 w 54"/>
                  <a:gd name="T47" fmla="*/ 26 h 42"/>
                  <a:gd name="T48" fmla="*/ 8 w 54"/>
                  <a:gd name="T49" fmla="*/ 26 h 42"/>
                  <a:gd name="T50" fmla="*/ 14 w 54"/>
                  <a:gd name="T51" fmla="*/ 30 h 42"/>
                  <a:gd name="T52" fmla="*/ 18 w 54"/>
                  <a:gd name="T53" fmla="*/ 38 h 42"/>
                  <a:gd name="T54" fmla="*/ 18 w 54"/>
                  <a:gd name="T55" fmla="*/ 38 h 42"/>
                  <a:gd name="T56" fmla="*/ 18 w 54"/>
                  <a:gd name="T57" fmla="*/ 40 h 42"/>
                  <a:gd name="T58" fmla="*/ 22 w 54"/>
                  <a:gd name="T59" fmla="*/ 42 h 42"/>
                  <a:gd name="T60" fmla="*/ 34 w 54"/>
                  <a:gd name="T61" fmla="*/ 42 h 42"/>
                  <a:gd name="T62" fmla="*/ 34 w 54"/>
                  <a:gd name="T63" fmla="*/ 42 h 42"/>
                  <a:gd name="T64" fmla="*/ 36 w 54"/>
                  <a:gd name="T65" fmla="*/ 42 h 42"/>
                  <a:gd name="T66" fmla="*/ 46 w 54"/>
                  <a:gd name="T67" fmla="*/ 40 h 42"/>
                  <a:gd name="T68" fmla="*/ 46 w 54"/>
                  <a:gd name="T69" fmla="*/ 40 h 42"/>
                  <a:gd name="T70" fmla="*/ 48 w 54"/>
                  <a:gd name="T71" fmla="*/ 36 h 42"/>
                  <a:gd name="T72" fmla="*/ 54 w 54"/>
                  <a:gd name="T73" fmla="*/ 26 h 42"/>
                  <a:gd name="T74" fmla="*/ 54 w 54"/>
                  <a:gd name="T75" fmla="*/ 26 h 42"/>
                  <a:gd name="T76" fmla="*/ 54 w 54"/>
                  <a:gd name="T77" fmla="*/ 24 h 42"/>
                  <a:gd name="T78" fmla="*/ 52 w 54"/>
                  <a:gd name="T79" fmla="*/ 22 h 42"/>
                  <a:gd name="T80" fmla="*/ 48 w 54"/>
                  <a:gd name="T81" fmla="*/ 16 h 42"/>
                  <a:gd name="T82" fmla="*/ 48 w 54"/>
                  <a:gd name="T83" fmla="*/ 16 h 42"/>
                  <a:gd name="T84" fmla="*/ 46 w 54"/>
                  <a:gd name="T85" fmla="*/ 14 h 42"/>
                  <a:gd name="T86" fmla="*/ 36 w 54"/>
                  <a:gd name="T87" fmla="*/ 10 h 42"/>
                  <a:gd name="T88" fmla="*/ 24 w 54"/>
                  <a:gd name="T89" fmla="*/ 4 h 42"/>
                  <a:gd name="T90" fmla="*/ 24 w 54"/>
                  <a:gd name="T91" fmla="*/ 4 h 42"/>
                  <a:gd name="T92" fmla="*/ 24 w 54"/>
                  <a:gd name="T93" fmla="*/ 4 h 42"/>
                  <a:gd name="T94" fmla="*/ 10 w 54"/>
                  <a:gd name="T95" fmla="*/ 0 h 42"/>
                  <a:gd name="T96" fmla="*/ 10 w 54"/>
                  <a:gd name="T97" fmla="*/ 0 h 42"/>
                  <a:gd name="T98" fmla="*/ 8 w 54"/>
                  <a:gd name="T99" fmla="*/ 0 h 42"/>
                  <a:gd name="T100" fmla="*/ 8 w 54"/>
                  <a:gd name="T10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42">
                    <a:moveTo>
                      <a:pt x="8" y="4"/>
                    </a:moveTo>
                    <a:lnTo>
                      <a:pt x="22" y="8"/>
                    </a:lnTo>
                    <a:lnTo>
                      <a:pt x="34" y="14"/>
                    </a:lnTo>
                    <a:lnTo>
                      <a:pt x="44" y="18"/>
                    </a:lnTo>
                    <a:lnTo>
                      <a:pt x="50" y="24"/>
                    </a:lnTo>
                    <a:lnTo>
                      <a:pt x="44" y="36"/>
                    </a:lnTo>
                    <a:lnTo>
                      <a:pt x="34" y="38"/>
                    </a:lnTo>
                    <a:lnTo>
                      <a:pt x="22" y="38"/>
                    </a:lnTo>
                    <a:lnTo>
                      <a:pt x="18" y="26"/>
                    </a:lnTo>
                    <a:lnTo>
                      <a:pt x="10" y="22"/>
                    </a:lnTo>
                    <a:lnTo>
                      <a:pt x="4" y="16"/>
                    </a:lnTo>
                    <a:lnTo>
                      <a:pt x="4" y="8"/>
                    </a:lnTo>
                    <a:lnTo>
                      <a:pt x="8" y="4"/>
                    </a:lnTo>
                    <a:close/>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6" name="Freeform 95"/>
              <p:cNvSpPr>
                <a:spLocks/>
              </p:cNvSpPr>
              <p:nvPr/>
            </p:nvSpPr>
            <p:spPr bwMode="auto">
              <a:xfrm>
                <a:off x="1477" y="1069"/>
                <a:ext cx="46" cy="34"/>
              </a:xfrm>
              <a:custGeom>
                <a:avLst/>
                <a:gdLst>
                  <a:gd name="T0" fmla="*/ 4 w 46"/>
                  <a:gd name="T1" fmla="*/ 0 h 34"/>
                  <a:gd name="T2" fmla="*/ 18 w 46"/>
                  <a:gd name="T3" fmla="*/ 4 h 34"/>
                  <a:gd name="T4" fmla="*/ 30 w 46"/>
                  <a:gd name="T5" fmla="*/ 10 h 34"/>
                  <a:gd name="T6" fmla="*/ 40 w 46"/>
                  <a:gd name="T7" fmla="*/ 14 h 34"/>
                  <a:gd name="T8" fmla="*/ 46 w 46"/>
                  <a:gd name="T9" fmla="*/ 20 h 34"/>
                  <a:gd name="T10" fmla="*/ 40 w 46"/>
                  <a:gd name="T11" fmla="*/ 32 h 34"/>
                  <a:gd name="T12" fmla="*/ 30 w 46"/>
                  <a:gd name="T13" fmla="*/ 34 h 34"/>
                  <a:gd name="T14" fmla="*/ 18 w 46"/>
                  <a:gd name="T15" fmla="*/ 34 h 34"/>
                  <a:gd name="T16" fmla="*/ 14 w 46"/>
                  <a:gd name="T17" fmla="*/ 22 h 34"/>
                  <a:gd name="T18" fmla="*/ 6 w 46"/>
                  <a:gd name="T19" fmla="*/ 18 h 34"/>
                  <a:gd name="T20" fmla="*/ 0 w 46"/>
                  <a:gd name="T21" fmla="*/ 12 h 34"/>
                  <a:gd name="T22" fmla="*/ 0 w 46"/>
                  <a:gd name="T23" fmla="*/ 4 h 34"/>
                  <a:gd name="T24" fmla="*/ 4 w 46"/>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4">
                    <a:moveTo>
                      <a:pt x="4" y="0"/>
                    </a:moveTo>
                    <a:lnTo>
                      <a:pt x="18" y="4"/>
                    </a:lnTo>
                    <a:lnTo>
                      <a:pt x="30" y="10"/>
                    </a:lnTo>
                    <a:lnTo>
                      <a:pt x="40" y="14"/>
                    </a:lnTo>
                    <a:lnTo>
                      <a:pt x="46" y="20"/>
                    </a:lnTo>
                    <a:lnTo>
                      <a:pt x="40" y="32"/>
                    </a:lnTo>
                    <a:lnTo>
                      <a:pt x="30" y="34"/>
                    </a:lnTo>
                    <a:lnTo>
                      <a:pt x="18" y="34"/>
                    </a:lnTo>
                    <a:lnTo>
                      <a:pt x="14" y="22"/>
                    </a:lnTo>
                    <a:lnTo>
                      <a:pt x="6" y="18"/>
                    </a:lnTo>
                    <a:lnTo>
                      <a:pt x="0"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7" name="Freeform 96"/>
              <p:cNvSpPr>
                <a:spLocks/>
              </p:cNvSpPr>
              <p:nvPr/>
            </p:nvSpPr>
            <p:spPr bwMode="auto">
              <a:xfrm>
                <a:off x="1473" y="1065"/>
                <a:ext cx="54" cy="42"/>
              </a:xfrm>
              <a:custGeom>
                <a:avLst/>
                <a:gdLst>
                  <a:gd name="T0" fmla="*/ 8 w 54"/>
                  <a:gd name="T1" fmla="*/ 0 h 42"/>
                  <a:gd name="T2" fmla="*/ 8 w 54"/>
                  <a:gd name="T3" fmla="*/ 0 h 42"/>
                  <a:gd name="T4" fmla="*/ 4 w 54"/>
                  <a:gd name="T5" fmla="*/ 2 h 42"/>
                  <a:gd name="T6" fmla="*/ 2 w 54"/>
                  <a:gd name="T7" fmla="*/ 6 h 42"/>
                  <a:gd name="T8" fmla="*/ 2 w 54"/>
                  <a:gd name="T9" fmla="*/ 6 h 42"/>
                  <a:gd name="T10" fmla="*/ 0 w 54"/>
                  <a:gd name="T11" fmla="*/ 8 h 42"/>
                  <a:gd name="T12" fmla="*/ 0 w 54"/>
                  <a:gd name="T13" fmla="*/ 16 h 42"/>
                  <a:gd name="T14" fmla="*/ 0 w 54"/>
                  <a:gd name="T15" fmla="*/ 16 h 42"/>
                  <a:gd name="T16" fmla="*/ 2 w 54"/>
                  <a:gd name="T17" fmla="*/ 18 h 42"/>
                  <a:gd name="T18" fmla="*/ 6 w 54"/>
                  <a:gd name="T19" fmla="*/ 26 h 42"/>
                  <a:gd name="T20" fmla="*/ 6 w 54"/>
                  <a:gd name="T21" fmla="*/ 26 h 42"/>
                  <a:gd name="T22" fmla="*/ 8 w 54"/>
                  <a:gd name="T23" fmla="*/ 26 h 42"/>
                  <a:gd name="T24" fmla="*/ 14 w 54"/>
                  <a:gd name="T25" fmla="*/ 30 h 42"/>
                  <a:gd name="T26" fmla="*/ 18 w 54"/>
                  <a:gd name="T27" fmla="*/ 38 h 42"/>
                  <a:gd name="T28" fmla="*/ 18 w 54"/>
                  <a:gd name="T29" fmla="*/ 38 h 42"/>
                  <a:gd name="T30" fmla="*/ 18 w 54"/>
                  <a:gd name="T31" fmla="*/ 40 h 42"/>
                  <a:gd name="T32" fmla="*/ 22 w 54"/>
                  <a:gd name="T33" fmla="*/ 42 h 42"/>
                  <a:gd name="T34" fmla="*/ 34 w 54"/>
                  <a:gd name="T35" fmla="*/ 42 h 42"/>
                  <a:gd name="T36" fmla="*/ 34 w 54"/>
                  <a:gd name="T37" fmla="*/ 42 h 42"/>
                  <a:gd name="T38" fmla="*/ 36 w 54"/>
                  <a:gd name="T39" fmla="*/ 42 h 42"/>
                  <a:gd name="T40" fmla="*/ 46 w 54"/>
                  <a:gd name="T41" fmla="*/ 40 h 42"/>
                  <a:gd name="T42" fmla="*/ 46 w 54"/>
                  <a:gd name="T43" fmla="*/ 40 h 42"/>
                  <a:gd name="T44" fmla="*/ 48 w 54"/>
                  <a:gd name="T45" fmla="*/ 36 h 42"/>
                  <a:gd name="T46" fmla="*/ 54 w 54"/>
                  <a:gd name="T47" fmla="*/ 26 h 42"/>
                  <a:gd name="T48" fmla="*/ 54 w 54"/>
                  <a:gd name="T49" fmla="*/ 26 h 42"/>
                  <a:gd name="T50" fmla="*/ 54 w 54"/>
                  <a:gd name="T51" fmla="*/ 24 h 42"/>
                  <a:gd name="T52" fmla="*/ 52 w 54"/>
                  <a:gd name="T53" fmla="*/ 22 h 42"/>
                  <a:gd name="T54" fmla="*/ 48 w 54"/>
                  <a:gd name="T55" fmla="*/ 16 h 42"/>
                  <a:gd name="T56" fmla="*/ 48 w 54"/>
                  <a:gd name="T57" fmla="*/ 16 h 42"/>
                  <a:gd name="T58" fmla="*/ 46 w 54"/>
                  <a:gd name="T59" fmla="*/ 14 h 42"/>
                  <a:gd name="T60" fmla="*/ 36 w 54"/>
                  <a:gd name="T61" fmla="*/ 10 h 42"/>
                  <a:gd name="T62" fmla="*/ 24 w 54"/>
                  <a:gd name="T63" fmla="*/ 4 h 42"/>
                  <a:gd name="T64" fmla="*/ 24 w 54"/>
                  <a:gd name="T65" fmla="*/ 4 h 42"/>
                  <a:gd name="T66" fmla="*/ 24 w 54"/>
                  <a:gd name="T67" fmla="*/ 4 h 42"/>
                  <a:gd name="T68" fmla="*/ 10 w 54"/>
                  <a:gd name="T69" fmla="*/ 0 h 42"/>
                  <a:gd name="T70" fmla="*/ 10 w 54"/>
                  <a:gd name="T71" fmla="*/ 0 h 42"/>
                  <a:gd name="T72" fmla="*/ 8 w 54"/>
                  <a:gd name="T73" fmla="*/ 0 h 42"/>
                  <a:gd name="T74" fmla="*/ 8 w 54"/>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42">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8" name="Freeform 97"/>
              <p:cNvSpPr>
                <a:spLocks/>
              </p:cNvSpPr>
              <p:nvPr/>
            </p:nvSpPr>
            <p:spPr bwMode="auto">
              <a:xfrm>
                <a:off x="1499" y="989"/>
                <a:ext cx="164" cy="104"/>
              </a:xfrm>
              <a:custGeom>
                <a:avLst/>
                <a:gdLst>
                  <a:gd name="T0" fmla="*/ 110 w 164"/>
                  <a:gd name="T1" fmla="*/ 104 h 104"/>
                  <a:gd name="T2" fmla="*/ 94 w 164"/>
                  <a:gd name="T3" fmla="*/ 92 h 104"/>
                  <a:gd name="T4" fmla="*/ 96 w 164"/>
                  <a:gd name="T5" fmla="*/ 98 h 104"/>
                  <a:gd name="T6" fmla="*/ 88 w 164"/>
                  <a:gd name="T7" fmla="*/ 100 h 104"/>
                  <a:gd name="T8" fmla="*/ 76 w 164"/>
                  <a:gd name="T9" fmla="*/ 104 h 104"/>
                  <a:gd name="T10" fmla="*/ 60 w 164"/>
                  <a:gd name="T11" fmla="*/ 98 h 104"/>
                  <a:gd name="T12" fmla="*/ 56 w 164"/>
                  <a:gd name="T13" fmla="*/ 88 h 104"/>
                  <a:gd name="T14" fmla="*/ 56 w 164"/>
                  <a:gd name="T15" fmla="*/ 86 h 104"/>
                  <a:gd name="T16" fmla="*/ 52 w 164"/>
                  <a:gd name="T17" fmla="*/ 88 h 104"/>
                  <a:gd name="T18" fmla="*/ 52 w 164"/>
                  <a:gd name="T19" fmla="*/ 88 h 104"/>
                  <a:gd name="T20" fmla="*/ 36 w 164"/>
                  <a:gd name="T21" fmla="*/ 78 h 104"/>
                  <a:gd name="T22" fmla="*/ 36 w 164"/>
                  <a:gd name="T23" fmla="*/ 74 h 104"/>
                  <a:gd name="T24" fmla="*/ 76 w 164"/>
                  <a:gd name="T25" fmla="*/ 70 h 104"/>
                  <a:gd name="T26" fmla="*/ 70 w 164"/>
                  <a:gd name="T27" fmla="*/ 66 h 104"/>
                  <a:gd name="T28" fmla="*/ 32 w 164"/>
                  <a:gd name="T29" fmla="*/ 66 h 104"/>
                  <a:gd name="T30" fmla="*/ 22 w 164"/>
                  <a:gd name="T31" fmla="*/ 68 h 104"/>
                  <a:gd name="T32" fmla="*/ 4 w 164"/>
                  <a:gd name="T33" fmla="*/ 50 h 104"/>
                  <a:gd name="T34" fmla="*/ 0 w 164"/>
                  <a:gd name="T35" fmla="*/ 38 h 104"/>
                  <a:gd name="T36" fmla="*/ 8 w 164"/>
                  <a:gd name="T37" fmla="*/ 38 h 104"/>
                  <a:gd name="T38" fmla="*/ 14 w 164"/>
                  <a:gd name="T39" fmla="*/ 40 h 104"/>
                  <a:gd name="T40" fmla="*/ 22 w 164"/>
                  <a:gd name="T41" fmla="*/ 38 h 104"/>
                  <a:gd name="T42" fmla="*/ 14 w 164"/>
                  <a:gd name="T43" fmla="*/ 34 h 104"/>
                  <a:gd name="T44" fmla="*/ 12 w 164"/>
                  <a:gd name="T45" fmla="*/ 24 h 104"/>
                  <a:gd name="T46" fmla="*/ 22 w 164"/>
                  <a:gd name="T47" fmla="*/ 24 h 104"/>
                  <a:gd name="T48" fmla="*/ 30 w 164"/>
                  <a:gd name="T49" fmla="*/ 22 h 104"/>
                  <a:gd name="T50" fmla="*/ 20 w 164"/>
                  <a:gd name="T51" fmla="*/ 16 h 104"/>
                  <a:gd name="T52" fmla="*/ 24 w 164"/>
                  <a:gd name="T53" fmla="*/ 8 h 104"/>
                  <a:gd name="T54" fmla="*/ 50 w 164"/>
                  <a:gd name="T55" fmla="*/ 8 h 104"/>
                  <a:gd name="T56" fmla="*/ 38 w 164"/>
                  <a:gd name="T57" fmla="*/ 6 h 104"/>
                  <a:gd name="T58" fmla="*/ 38 w 164"/>
                  <a:gd name="T59" fmla="*/ 4 h 104"/>
                  <a:gd name="T60" fmla="*/ 42 w 164"/>
                  <a:gd name="T61" fmla="*/ 0 h 104"/>
                  <a:gd name="T62" fmla="*/ 64 w 164"/>
                  <a:gd name="T63" fmla="*/ 0 h 104"/>
                  <a:gd name="T64" fmla="*/ 106 w 164"/>
                  <a:gd name="T65" fmla="*/ 28 h 104"/>
                  <a:gd name="T66" fmla="*/ 108 w 164"/>
                  <a:gd name="T67" fmla="*/ 36 h 104"/>
                  <a:gd name="T68" fmla="*/ 116 w 164"/>
                  <a:gd name="T69" fmla="*/ 34 h 104"/>
                  <a:gd name="T70" fmla="*/ 124 w 164"/>
                  <a:gd name="T71" fmla="*/ 28 h 104"/>
                  <a:gd name="T72" fmla="*/ 124 w 164"/>
                  <a:gd name="T73" fmla="*/ 28 h 104"/>
                  <a:gd name="T74" fmla="*/ 132 w 164"/>
                  <a:gd name="T75" fmla="*/ 32 h 104"/>
                  <a:gd name="T76" fmla="*/ 136 w 164"/>
                  <a:gd name="T77" fmla="*/ 44 h 104"/>
                  <a:gd name="T78" fmla="*/ 138 w 164"/>
                  <a:gd name="T79" fmla="*/ 50 h 104"/>
                  <a:gd name="T80" fmla="*/ 148 w 164"/>
                  <a:gd name="T81" fmla="*/ 56 h 104"/>
                  <a:gd name="T82" fmla="*/ 158 w 164"/>
                  <a:gd name="T83" fmla="*/ 58 h 104"/>
                  <a:gd name="T84" fmla="*/ 164 w 164"/>
                  <a:gd name="T85" fmla="*/ 64 h 104"/>
                  <a:gd name="T86" fmla="*/ 156 w 164"/>
                  <a:gd name="T87" fmla="*/ 76 h 104"/>
                  <a:gd name="T88" fmla="*/ 154 w 164"/>
                  <a:gd name="T89" fmla="*/ 76 h 104"/>
                  <a:gd name="T90" fmla="*/ 140 w 164"/>
                  <a:gd name="T91" fmla="*/ 76 h 104"/>
                  <a:gd name="T92" fmla="*/ 126 w 164"/>
                  <a:gd name="T93" fmla="*/ 88 h 104"/>
                  <a:gd name="T94" fmla="*/ 126 w 164"/>
                  <a:gd name="T95" fmla="*/ 88 h 104"/>
                  <a:gd name="T96" fmla="*/ 126 w 164"/>
                  <a:gd name="T97" fmla="*/ 74 h 104"/>
                  <a:gd name="T98" fmla="*/ 122 w 164"/>
                  <a:gd name="T99" fmla="*/ 84 h 104"/>
                  <a:gd name="T100" fmla="*/ 124 w 164"/>
                  <a:gd name="T101" fmla="*/ 96 h 104"/>
                  <a:gd name="T102" fmla="*/ 122 w 164"/>
                  <a:gd name="T103" fmla="*/ 98 h 104"/>
                  <a:gd name="T104" fmla="*/ 120 w 164"/>
                  <a:gd name="T105" fmla="*/ 98 h 104"/>
                  <a:gd name="T106" fmla="*/ 114 w 164"/>
                  <a:gd name="T107" fmla="*/ 102 h 104"/>
                  <a:gd name="T108" fmla="*/ 112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12" y="104"/>
                    </a:moveTo>
                    <a:lnTo>
                      <a:pt x="112" y="104"/>
                    </a:lnTo>
                    <a:lnTo>
                      <a:pt x="110" y="104"/>
                    </a:lnTo>
                    <a:lnTo>
                      <a:pt x="104" y="98"/>
                    </a:lnTo>
                    <a:lnTo>
                      <a:pt x="96" y="90"/>
                    </a:lnTo>
                    <a:lnTo>
                      <a:pt x="94" y="92"/>
                    </a:lnTo>
                    <a:lnTo>
                      <a:pt x="96" y="96"/>
                    </a:lnTo>
                    <a:lnTo>
                      <a:pt x="96" y="96"/>
                    </a:lnTo>
                    <a:lnTo>
                      <a:pt x="96" y="98"/>
                    </a:lnTo>
                    <a:lnTo>
                      <a:pt x="96" y="98"/>
                    </a:lnTo>
                    <a:lnTo>
                      <a:pt x="94" y="98"/>
                    </a:lnTo>
                    <a:lnTo>
                      <a:pt x="88" y="100"/>
                    </a:lnTo>
                    <a:lnTo>
                      <a:pt x="76" y="104"/>
                    </a:lnTo>
                    <a:lnTo>
                      <a:pt x="76" y="104"/>
                    </a:lnTo>
                    <a:lnTo>
                      <a:pt x="76" y="104"/>
                    </a:lnTo>
                    <a:lnTo>
                      <a:pt x="76" y="104"/>
                    </a:lnTo>
                    <a:lnTo>
                      <a:pt x="76" y="104"/>
                    </a:lnTo>
                    <a:lnTo>
                      <a:pt x="60" y="98"/>
                    </a:lnTo>
                    <a:lnTo>
                      <a:pt x="60" y="98"/>
                    </a:lnTo>
                    <a:lnTo>
                      <a:pt x="58" y="98"/>
                    </a:lnTo>
                    <a:lnTo>
                      <a:pt x="56" y="88"/>
                    </a:lnTo>
                    <a:lnTo>
                      <a:pt x="56" y="88"/>
                    </a:lnTo>
                    <a:lnTo>
                      <a:pt x="56" y="86"/>
                    </a:lnTo>
                    <a:lnTo>
                      <a:pt x="56" y="86"/>
                    </a:lnTo>
                    <a:lnTo>
                      <a:pt x="56" y="86"/>
                    </a:lnTo>
                    <a:lnTo>
                      <a:pt x="56" y="86"/>
                    </a:lnTo>
                    <a:lnTo>
                      <a:pt x="52" y="88"/>
                    </a:lnTo>
                    <a:lnTo>
                      <a:pt x="52" y="88"/>
                    </a:lnTo>
                    <a:lnTo>
                      <a:pt x="52" y="88"/>
                    </a:lnTo>
                    <a:lnTo>
                      <a:pt x="52" y="88"/>
                    </a:lnTo>
                    <a:lnTo>
                      <a:pt x="50" y="88"/>
                    </a:lnTo>
                    <a:lnTo>
                      <a:pt x="36" y="78"/>
                    </a:lnTo>
                    <a:lnTo>
                      <a:pt x="36" y="78"/>
                    </a:lnTo>
                    <a:lnTo>
                      <a:pt x="34" y="76"/>
                    </a:lnTo>
                    <a:lnTo>
                      <a:pt x="34" y="76"/>
                    </a:lnTo>
                    <a:lnTo>
                      <a:pt x="36" y="74"/>
                    </a:lnTo>
                    <a:lnTo>
                      <a:pt x="46" y="70"/>
                    </a:lnTo>
                    <a:lnTo>
                      <a:pt x="64" y="70"/>
                    </a:lnTo>
                    <a:lnTo>
                      <a:pt x="76" y="70"/>
                    </a:lnTo>
                    <a:lnTo>
                      <a:pt x="82" y="70"/>
                    </a:lnTo>
                    <a:lnTo>
                      <a:pt x="80" y="68"/>
                    </a:lnTo>
                    <a:lnTo>
                      <a:pt x="70" y="66"/>
                    </a:lnTo>
                    <a:lnTo>
                      <a:pt x="56" y="66"/>
                    </a:lnTo>
                    <a:lnTo>
                      <a:pt x="46" y="68"/>
                    </a:lnTo>
                    <a:lnTo>
                      <a:pt x="32" y="66"/>
                    </a:lnTo>
                    <a:lnTo>
                      <a:pt x="22" y="68"/>
                    </a:lnTo>
                    <a:lnTo>
                      <a:pt x="22" y="68"/>
                    </a:lnTo>
                    <a:lnTo>
                      <a:pt x="22" y="68"/>
                    </a:lnTo>
                    <a:lnTo>
                      <a:pt x="22" y="68"/>
                    </a:lnTo>
                    <a:lnTo>
                      <a:pt x="22" y="66"/>
                    </a:lnTo>
                    <a:lnTo>
                      <a:pt x="4" y="50"/>
                    </a:lnTo>
                    <a:lnTo>
                      <a:pt x="0" y="40"/>
                    </a:lnTo>
                    <a:lnTo>
                      <a:pt x="0" y="40"/>
                    </a:lnTo>
                    <a:lnTo>
                      <a:pt x="0" y="38"/>
                    </a:lnTo>
                    <a:lnTo>
                      <a:pt x="0" y="38"/>
                    </a:lnTo>
                    <a:lnTo>
                      <a:pt x="2" y="38"/>
                    </a:lnTo>
                    <a:lnTo>
                      <a:pt x="8" y="38"/>
                    </a:lnTo>
                    <a:lnTo>
                      <a:pt x="8" y="38"/>
                    </a:lnTo>
                    <a:lnTo>
                      <a:pt x="10" y="38"/>
                    </a:lnTo>
                    <a:lnTo>
                      <a:pt x="14" y="40"/>
                    </a:lnTo>
                    <a:lnTo>
                      <a:pt x="26" y="42"/>
                    </a:lnTo>
                    <a:lnTo>
                      <a:pt x="30" y="40"/>
                    </a:lnTo>
                    <a:lnTo>
                      <a:pt x="22" y="38"/>
                    </a:lnTo>
                    <a:lnTo>
                      <a:pt x="14" y="36"/>
                    </a:lnTo>
                    <a:lnTo>
                      <a:pt x="14" y="36"/>
                    </a:lnTo>
                    <a:lnTo>
                      <a:pt x="14" y="34"/>
                    </a:lnTo>
                    <a:lnTo>
                      <a:pt x="12" y="26"/>
                    </a:lnTo>
                    <a:lnTo>
                      <a:pt x="12" y="26"/>
                    </a:lnTo>
                    <a:lnTo>
                      <a:pt x="12" y="24"/>
                    </a:lnTo>
                    <a:lnTo>
                      <a:pt x="12" y="24"/>
                    </a:lnTo>
                    <a:lnTo>
                      <a:pt x="14" y="24"/>
                    </a:lnTo>
                    <a:lnTo>
                      <a:pt x="22" y="24"/>
                    </a:lnTo>
                    <a:lnTo>
                      <a:pt x="32" y="26"/>
                    </a:lnTo>
                    <a:lnTo>
                      <a:pt x="34" y="24"/>
                    </a:lnTo>
                    <a:lnTo>
                      <a:pt x="30" y="22"/>
                    </a:lnTo>
                    <a:lnTo>
                      <a:pt x="22" y="18"/>
                    </a:lnTo>
                    <a:lnTo>
                      <a:pt x="22" y="18"/>
                    </a:lnTo>
                    <a:lnTo>
                      <a:pt x="20" y="16"/>
                    </a:lnTo>
                    <a:lnTo>
                      <a:pt x="22" y="10"/>
                    </a:lnTo>
                    <a:lnTo>
                      <a:pt x="22" y="10"/>
                    </a:lnTo>
                    <a:lnTo>
                      <a:pt x="24" y="8"/>
                    </a:lnTo>
                    <a:lnTo>
                      <a:pt x="32" y="8"/>
                    </a:lnTo>
                    <a:lnTo>
                      <a:pt x="40" y="10"/>
                    </a:lnTo>
                    <a:lnTo>
                      <a:pt x="50" y="8"/>
                    </a:lnTo>
                    <a:lnTo>
                      <a:pt x="50" y="8"/>
                    </a:lnTo>
                    <a:lnTo>
                      <a:pt x="38" y="6"/>
                    </a:lnTo>
                    <a:lnTo>
                      <a:pt x="38" y="6"/>
                    </a:lnTo>
                    <a:lnTo>
                      <a:pt x="36" y="6"/>
                    </a:lnTo>
                    <a:lnTo>
                      <a:pt x="36" y="6"/>
                    </a:lnTo>
                    <a:lnTo>
                      <a:pt x="38" y="4"/>
                    </a:lnTo>
                    <a:lnTo>
                      <a:pt x="40" y="0"/>
                    </a:lnTo>
                    <a:lnTo>
                      <a:pt x="40" y="0"/>
                    </a:lnTo>
                    <a:lnTo>
                      <a:pt x="42" y="0"/>
                    </a:lnTo>
                    <a:lnTo>
                      <a:pt x="42" y="0"/>
                    </a:lnTo>
                    <a:lnTo>
                      <a:pt x="64" y="0"/>
                    </a:lnTo>
                    <a:lnTo>
                      <a:pt x="64" y="0"/>
                    </a:lnTo>
                    <a:lnTo>
                      <a:pt x="64" y="2"/>
                    </a:lnTo>
                    <a:lnTo>
                      <a:pt x="90" y="26"/>
                    </a:lnTo>
                    <a:lnTo>
                      <a:pt x="106" y="28"/>
                    </a:lnTo>
                    <a:lnTo>
                      <a:pt x="106" y="28"/>
                    </a:lnTo>
                    <a:lnTo>
                      <a:pt x="108" y="30"/>
                    </a:lnTo>
                    <a:lnTo>
                      <a:pt x="108" y="36"/>
                    </a:lnTo>
                    <a:lnTo>
                      <a:pt x="112" y="40"/>
                    </a:lnTo>
                    <a:lnTo>
                      <a:pt x="116" y="34"/>
                    </a:lnTo>
                    <a:lnTo>
                      <a:pt x="116" y="34"/>
                    </a:lnTo>
                    <a:lnTo>
                      <a:pt x="116" y="32"/>
                    </a:lnTo>
                    <a:lnTo>
                      <a:pt x="124" y="28"/>
                    </a:lnTo>
                    <a:lnTo>
                      <a:pt x="124" y="28"/>
                    </a:lnTo>
                    <a:lnTo>
                      <a:pt x="124" y="28"/>
                    </a:lnTo>
                    <a:lnTo>
                      <a:pt x="124" y="28"/>
                    </a:lnTo>
                    <a:lnTo>
                      <a:pt x="124" y="28"/>
                    </a:lnTo>
                    <a:lnTo>
                      <a:pt x="130" y="30"/>
                    </a:lnTo>
                    <a:lnTo>
                      <a:pt x="130" y="30"/>
                    </a:lnTo>
                    <a:lnTo>
                      <a:pt x="132" y="32"/>
                    </a:lnTo>
                    <a:lnTo>
                      <a:pt x="130" y="40"/>
                    </a:lnTo>
                    <a:lnTo>
                      <a:pt x="136" y="44"/>
                    </a:lnTo>
                    <a:lnTo>
                      <a:pt x="136" y="44"/>
                    </a:lnTo>
                    <a:lnTo>
                      <a:pt x="136" y="46"/>
                    </a:lnTo>
                    <a:lnTo>
                      <a:pt x="138" y="50"/>
                    </a:lnTo>
                    <a:lnTo>
                      <a:pt x="138" y="50"/>
                    </a:lnTo>
                    <a:lnTo>
                      <a:pt x="138" y="52"/>
                    </a:lnTo>
                    <a:lnTo>
                      <a:pt x="138" y="58"/>
                    </a:lnTo>
                    <a:lnTo>
                      <a:pt x="148" y="56"/>
                    </a:lnTo>
                    <a:lnTo>
                      <a:pt x="154" y="58"/>
                    </a:lnTo>
                    <a:lnTo>
                      <a:pt x="158" y="58"/>
                    </a:lnTo>
                    <a:lnTo>
                      <a:pt x="158" y="58"/>
                    </a:lnTo>
                    <a:lnTo>
                      <a:pt x="160" y="58"/>
                    </a:lnTo>
                    <a:lnTo>
                      <a:pt x="164" y="64"/>
                    </a:lnTo>
                    <a:lnTo>
                      <a:pt x="164" y="64"/>
                    </a:lnTo>
                    <a:lnTo>
                      <a:pt x="164" y="66"/>
                    </a:lnTo>
                    <a:lnTo>
                      <a:pt x="162" y="72"/>
                    </a:lnTo>
                    <a:lnTo>
                      <a:pt x="156" y="76"/>
                    </a:lnTo>
                    <a:lnTo>
                      <a:pt x="156" y="76"/>
                    </a:lnTo>
                    <a:lnTo>
                      <a:pt x="154" y="76"/>
                    </a:lnTo>
                    <a:lnTo>
                      <a:pt x="154" y="76"/>
                    </a:lnTo>
                    <a:lnTo>
                      <a:pt x="154" y="76"/>
                    </a:lnTo>
                    <a:lnTo>
                      <a:pt x="146" y="74"/>
                    </a:lnTo>
                    <a:lnTo>
                      <a:pt x="140" y="76"/>
                    </a:lnTo>
                    <a:lnTo>
                      <a:pt x="128" y="88"/>
                    </a:lnTo>
                    <a:lnTo>
                      <a:pt x="128" y="88"/>
                    </a:lnTo>
                    <a:lnTo>
                      <a:pt x="126" y="88"/>
                    </a:lnTo>
                    <a:lnTo>
                      <a:pt x="126" y="88"/>
                    </a:lnTo>
                    <a:lnTo>
                      <a:pt x="126" y="88"/>
                    </a:lnTo>
                    <a:lnTo>
                      <a:pt x="126" y="88"/>
                    </a:lnTo>
                    <a:lnTo>
                      <a:pt x="124" y="86"/>
                    </a:lnTo>
                    <a:lnTo>
                      <a:pt x="124" y="82"/>
                    </a:lnTo>
                    <a:lnTo>
                      <a:pt x="126" y="74"/>
                    </a:lnTo>
                    <a:lnTo>
                      <a:pt x="126" y="74"/>
                    </a:lnTo>
                    <a:lnTo>
                      <a:pt x="122" y="82"/>
                    </a:lnTo>
                    <a:lnTo>
                      <a:pt x="122" y="84"/>
                    </a:lnTo>
                    <a:lnTo>
                      <a:pt x="124" y="90"/>
                    </a:lnTo>
                    <a:lnTo>
                      <a:pt x="124" y="94"/>
                    </a:lnTo>
                    <a:lnTo>
                      <a:pt x="124" y="96"/>
                    </a:lnTo>
                    <a:lnTo>
                      <a:pt x="124" y="96"/>
                    </a:lnTo>
                    <a:lnTo>
                      <a:pt x="124" y="96"/>
                    </a:lnTo>
                    <a:lnTo>
                      <a:pt x="122" y="98"/>
                    </a:lnTo>
                    <a:lnTo>
                      <a:pt x="122" y="98"/>
                    </a:lnTo>
                    <a:lnTo>
                      <a:pt x="120" y="98"/>
                    </a:lnTo>
                    <a:lnTo>
                      <a:pt x="120" y="98"/>
                    </a:lnTo>
                    <a:lnTo>
                      <a:pt x="120" y="98"/>
                    </a:lnTo>
                    <a:lnTo>
                      <a:pt x="114" y="96"/>
                    </a:lnTo>
                    <a:lnTo>
                      <a:pt x="114" y="102"/>
                    </a:lnTo>
                    <a:lnTo>
                      <a:pt x="114" y="102"/>
                    </a:lnTo>
                    <a:lnTo>
                      <a:pt x="112" y="104"/>
                    </a:lnTo>
                    <a:lnTo>
                      <a:pt x="112" y="104"/>
                    </a:lnTo>
                    <a:lnTo>
                      <a:pt x="112" y="104"/>
                    </a:lnTo>
                    <a:lnTo>
                      <a:pt x="11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9" name="Freeform 98"/>
              <p:cNvSpPr>
                <a:spLocks noEditPoints="1"/>
              </p:cNvSpPr>
              <p:nvPr/>
            </p:nvSpPr>
            <p:spPr bwMode="auto">
              <a:xfrm>
                <a:off x="1497" y="987"/>
                <a:ext cx="170" cy="108"/>
              </a:xfrm>
              <a:custGeom>
                <a:avLst/>
                <a:gdLst>
                  <a:gd name="T0" fmla="*/ 108 w 170"/>
                  <a:gd name="T1" fmla="*/ 32 h 108"/>
                  <a:gd name="T2" fmla="*/ 126 w 170"/>
                  <a:gd name="T3" fmla="*/ 32 h 108"/>
                  <a:gd name="T4" fmla="*/ 138 w 170"/>
                  <a:gd name="T5" fmla="*/ 54 h 108"/>
                  <a:gd name="T6" fmla="*/ 160 w 170"/>
                  <a:gd name="T7" fmla="*/ 62 h 108"/>
                  <a:gd name="T8" fmla="*/ 148 w 170"/>
                  <a:gd name="T9" fmla="*/ 74 h 108"/>
                  <a:gd name="T10" fmla="*/ 132 w 170"/>
                  <a:gd name="T11" fmla="*/ 74 h 108"/>
                  <a:gd name="T12" fmla="*/ 124 w 170"/>
                  <a:gd name="T13" fmla="*/ 92 h 108"/>
                  <a:gd name="T14" fmla="*/ 118 w 170"/>
                  <a:gd name="T15" fmla="*/ 96 h 108"/>
                  <a:gd name="T16" fmla="*/ 100 w 170"/>
                  <a:gd name="T17" fmla="*/ 90 h 108"/>
                  <a:gd name="T18" fmla="*/ 78 w 170"/>
                  <a:gd name="T19" fmla="*/ 104 h 108"/>
                  <a:gd name="T20" fmla="*/ 70 w 170"/>
                  <a:gd name="T21" fmla="*/ 88 h 108"/>
                  <a:gd name="T22" fmla="*/ 50 w 170"/>
                  <a:gd name="T23" fmla="*/ 74 h 108"/>
                  <a:gd name="T24" fmla="*/ 84 w 170"/>
                  <a:gd name="T25" fmla="*/ 68 h 108"/>
                  <a:gd name="T26" fmla="*/ 34 w 170"/>
                  <a:gd name="T27" fmla="*/ 66 h 108"/>
                  <a:gd name="T28" fmla="*/ 10 w 170"/>
                  <a:gd name="T29" fmla="*/ 42 h 108"/>
                  <a:gd name="T30" fmla="*/ 24 w 170"/>
                  <a:gd name="T31" fmla="*/ 38 h 108"/>
                  <a:gd name="T32" fmla="*/ 36 w 170"/>
                  <a:gd name="T33" fmla="*/ 30 h 108"/>
                  <a:gd name="T34" fmla="*/ 26 w 170"/>
                  <a:gd name="T35" fmla="*/ 12 h 108"/>
                  <a:gd name="T36" fmla="*/ 54 w 170"/>
                  <a:gd name="T37" fmla="*/ 8 h 108"/>
                  <a:gd name="T38" fmla="*/ 44 w 170"/>
                  <a:gd name="T39" fmla="*/ 0 h 108"/>
                  <a:gd name="T40" fmla="*/ 36 w 170"/>
                  <a:gd name="T41" fmla="*/ 6 h 108"/>
                  <a:gd name="T42" fmla="*/ 34 w 170"/>
                  <a:gd name="T43" fmla="*/ 8 h 108"/>
                  <a:gd name="T44" fmla="*/ 26 w 170"/>
                  <a:gd name="T45" fmla="*/ 8 h 108"/>
                  <a:gd name="T46" fmla="*/ 20 w 170"/>
                  <a:gd name="T47" fmla="*/ 18 h 108"/>
                  <a:gd name="T48" fmla="*/ 26 w 170"/>
                  <a:gd name="T49" fmla="*/ 24 h 108"/>
                  <a:gd name="T50" fmla="*/ 16 w 170"/>
                  <a:gd name="T51" fmla="*/ 24 h 108"/>
                  <a:gd name="T52" fmla="*/ 14 w 170"/>
                  <a:gd name="T53" fmla="*/ 36 h 108"/>
                  <a:gd name="T54" fmla="*/ 24 w 170"/>
                  <a:gd name="T55" fmla="*/ 42 h 108"/>
                  <a:gd name="T56" fmla="*/ 12 w 170"/>
                  <a:gd name="T57" fmla="*/ 38 h 108"/>
                  <a:gd name="T58" fmla="*/ 0 w 170"/>
                  <a:gd name="T59" fmla="*/ 40 h 108"/>
                  <a:gd name="T60" fmla="*/ 6 w 170"/>
                  <a:gd name="T61" fmla="*/ 52 h 108"/>
                  <a:gd name="T62" fmla="*/ 24 w 170"/>
                  <a:gd name="T63" fmla="*/ 72 h 108"/>
                  <a:gd name="T64" fmla="*/ 46 w 170"/>
                  <a:gd name="T65" fmla="*/ 72 h 108"/>
                  <a:gd name="T66" fmla="*/ 34 w 170"/>
                  <a:gd name="T67" fmla="*/ 78 h 108"/>
                  <a:gd name="T68" fmla="*/ 54 w 170"/>
                  <a:gd name="T69" fmla="*/ 92 h 108"/>
                  <a:gd name="T70" fmla="*/ 58 w 170"/>
                  <a:gd name="T71" fmla="*/ 100 h 108"/>
                  <a:gd name="T72" fmla="*/ 76 w 170"/>
                  <a:gd name="T73" fmla="*/ 108 h 108"/>
                  <a:gd name="T74" fmla="*/ 90 w 170"/>
                  <a:gd name="T75" fmla="*/ 104 h 108"/>
                  <a:gd name="T76" fmla="*/ 100 w 170"/>
                  <a:gd name="T77" fmla="*/ 100 h 108"/>
                  <a:gd name="T78" fmla="*/ 104 w 170"/>
                  <a:gd name="T79" fmla="*/ 102 h 108"/>
                  <a:gd name="T80" fmla="*/ 114 w 170"/>
                  <a:gd name="T81" fmla="*/ 108 h 108"/>
                  <a:gd name="T82" fmla="*/ 118 w 170"/>
                  <a:gd name="T83" fmla="*/ 104 h 108"/>
                  <a:gd name="T84" fmla="*/ 122 w 170"/>
                  <a:gd name="T85" fmla="*/ 102 h 108"/>
                  <a:gd name="T86" fmla="*/ 128 w 170"/>
                  <a:gd name="T87" fmla="*/ 100 h 108"/>
                  <a:gd name="T88" fmla="*/ 128 w 170"/>
                  <a:gd name="T89" fmla="*/ 92 h 108"/>
                  <a:gd name="T90" fmla="*/ 156 w 170"/>
                  <a:gd name="T91" fmla="*/ 80 h 108"/>
                  <a:gd name="T92" fmla="*/ 158 w 170"/>
                  <a:gd name="T93" fmla="*/ 80 h 108"/>
                  <a:gd name="T94" fmla="*/ 168 w 170"/>
                  <a:gd name="T95" fmla="*/ 70 h 108"/>
                  <a:gd name="T96" fmla="*/ 162 w 170"/>
                  <a:gd name="T97" fmla="*/ 60 h 108"/>
                  <a:gd name="T98" fmla="*/ 150 w 170"/>
                  <a:gd name="T99" fmla="*/ 56 h 108"/>
                  <a:gd name="T100" fmla="*/ 148 w 170"/>
                  <a:gd name="T101" fmla="*/ 56 h 108"/>
                  <a:gd name="T102" fmla="*/ 142 w 170"/>
                  <a:gd name="T103" fmla="*/ 52 h 108"/>
                  <a:gd name="T104" fmla="*/ 134 w 170"/>
                  <a:gd name="T105" fmla="*/ 42 h 108"/>
                  <a:gd name="T106" fmla="*/ 132 w 170"/>
                  <a:gd name="T107" fmla="*/ 30 h 108"/>
                  <a:gd name="T108" fmla="*/ 126 w 170"/>
                  <a:gd name="T109" fmla="*/ 28 h 108"/>
                  <a:gd name="T110" fmla="*/ 116 w 170"/>
                  <a:gd name="T111" fmla="*/ 34 h 108"/>
                  <a:gd name="T112" fmla="*/ 112 w 170"/>
                  <a:gd name="T113" fmla="*/ 32 h 108"/>
                  <a:gd name="T114" fmla="*/ 68 w 170"/>
                  <a:gd name="T115" fmla="*/ 2 h 108"/>
                  <a:gd name="T116" fmla="*/ 44 w 170"/>
                  <a:gd name="T117" fmla="*/ 0 h 108"/>
                  <a:gd name="T118" fmla="*/ 72 w 170"/>
                  <a:gd name="T119" fmla="*/ 70 h 108"/>
                  <a:gd name="T120" fmla="*/ 58 w 170"/>
                  <a:gd name="T121"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08">
                    <a:moveTo>
                      <a:pt x="44" y="4"/>
                    </a:moveTo>
                    <a:lnTo>
                      <a:pt x="66" y="4"/>
                    </a:lnTo>
                    <a:lnTo>
                      <a:pt x="90" y="30"/>
                    </a:lnTo>
                    <a:lnTo>
                      <a:pt x="108" y="32"/>
                    </a:lnTo>
                    <a:lnTo>
                      <a:pt x="108" y="40"/>
                    </a:lnTo>
                    <a:lnTo>
                      <a:pt x="116" y="44"/>
                    </a:lnTo>
                    <a:lnTo>
                      <a:pt x="118" y="36"/>
                    </a:lnTo>
                    <a:lnTo>
                      <a:pt x="126" y="32"/>
                    </a:lnTo>
                    <a:lnTo>
                      <a:pt x="132" y="34"/>
                    </a:lnTo>
                    <a:lnTo>
                      <a:pt x="130" y="44"/>
                    </a:lnTo>
                    <a:lnTo>
                      <a:pt x="136" y="48"/>
                    </a:lnTo>
                    <a:lnTo>
                      <a:pt x="138" y="54"/>
                    </a:lnTo>
                    <a:lnTo>
                      <a:pt x="136" y="62"/>
                    </a:lnTo>
                    <a:lnTo>
                      <a:pt x="150" y="60"/>
                    </a:lnTo>
                    <a:lnTo>
                      <a:pt x="156" y="62"/>
                    </a:lnTo>
                    <a:lnTo>
                      <a:pt x="160" y="62"/>
                    </a:lnTo>
                    <a:lnTo>
                      <a:pt x="166" y="68"/>
                    </a:lnTo>
                    <a:lnTo>
                      <a:pt x="162" y="72"/>
                    </a:lnTo>
                    <a:lnTo>
                      <a:pt x="156" y="76"/>
                    </a:lnTo>
                    <a:lnTo>
                      <a:pt x="148" y="74"/>
                    </a:lnTo>
                    <a:lnTo>
                      <a:pt x="142" y="76"/>
                    </a:lnTo>
                    <a:lnTo>
                      <a:pt x="128" y="88"/>
                    </a:lnTo>
                    <a:lnTo>
                      <a:pt x="128" y="84"/>
                    </a:lnTo>
                    <a:lnTo>
                      <a:pt x="132" y="74"/>
                    </a:lnTo>
                    <a:lnTo>
                      <a:pt x="126" y="74"/>
                    </a:lnTo>
                    <a:lnTo>
                      <a:pt x="122" y="84"/>
                    </a:lnTo>
                    <a:lnTo>
                      <a:pt x="122" y="86"/>
                    </a:lnTo>
                    <a:lnTo>
                      <a:pt x="124" y="92"/>
                    </a:lnTo>
                    <a:lnTo>
                      <a:pt x="124" y="96"/>
                    </a:lnTo>
                    <a:lnTo>
                      <a:pt x="124" y="98"/>
                    </a:lnTo>
                    <a:lnTo>
                      <a:pt x="122" y="98"/>
                    </a:lnTo>
                    <a:lnTo>
                      <a:pt x="118" y="96"/>
                    </a:lnTo>
                    <a:lnTo>
                      <a:pt x="116" y="94"/>
                    </a:lnTo>
                    <a:lnTo>
                      <a:pt x="114" y="104"/>
                    </a:lnTo>
                    <a:lnTo>
                      <a:pt x="106" y="98"/>
                    </a:lnTo>
                    <a:lnTo>
                      <a:pt x="100" y="90"/>
                    </a:lnTo>
                    <a:lnTo>
                      <a:pt x="94" y="94"/>
                    </a:lnTo>
                    <a:lnTo>
                      <a:pt x="96" y="98"/>
                    </a:lnTo>
                    <a:lnTo>
                      <a:pt x="88" y="100"/>
                    </a:lnTo>
                    <a:lnTo>
                      <a:pt x="78" y="104"/>
                    </a:lnTo>
                    <a:lnTo>
                      <a:pt x="62" y="98"/>
                    </a:lnTo>
                    <a:lnTo>
                      <a:pt x="60" y="90"/>
                    </a:lnTo>
                    <a:lnTo>
                      <a:pt x="72" y="92"/>
                    </a:lnTo>
                    <a:lnTo>
                      <a:pt x="70" y="88"/>
                    </a:lnTo>
                    <a:lnTo>
                      <a:pt x="58" y="86"/>
                    </a:lnTo>
                    <a:lnTo>
                      <a:pt x="54" y="88"/>
                    </a:lnTo>
                    <a:lnTo>
                      <a:pt x="38" y="78"/>
                    </a:lnTo>
                    <a:lnTo>
                      <a:pt x="50" y="74"/>
                    </a:lnTo>
                    <a:lnTo>
                      <a:pt x="66" y="74"/>
                    </a:lnTo>
                    <a:lnTo>
                      <a:pt x="78" y="74"/>
                    </a:lnTo>
                    <a:lnTo>
                      <a:pt x="88" y="72"/>
                    </a:lnTo>
                    <a:lnTo>
                      <a:pt x="84" y="68"/>
                    </a:lnTo>
                    <a:lnTo>
                      <a:pt x="72" y="66"/>
                    </a:lnTo>
                    <a:lnTo>
                      <a:pt x="58" y="66"/>
                    </a:lnTo>
                    <a:lnTo>
                      <a:pt x="48" y="68"/>
                    </a:lnTo>
                    <a:lnTo>
                      <a:pt x="34" y="66"/>
                    </a:lnTo>
                    <a:lnTo>
                      <a:pt x="24" y="68"/>
                    </a:lnTo>
                    <a:lnTo>
                      <a:pt x="8" y="50"/>
                    </a:lnTo>
                    <a:lnTo>
                      <a:pt x="4" y="42"/>
                    </a:lnTo>
                    <a:lnTo>
                      <a:pt x="10" y="42"/>
                    </a:lnTo>
                    <a:lnTo>
                      <a:pt x="16" y="44"/>
                    </a:lnTo>
                    <a:lnTo>
                      <a:pt x="30" y="46"/>
                    </a:lnTo>
                    <a:lnTo>
                      <a:pt x="36" y="40"/>
                    </a:lnTo>
                    <a:lnTo>
                      <a:pt x="24" y="38"/>
                    </a:lnTo>
                    <a:lnTo>
                      <a:pt x="18" y="36"/>
                    </a:lnTo>
                    <a:lnTo>
                      <a:pt x="16" y="28"/>
                    </a:lnTo>
                    <a:lnTo>
                      <a:pt x="24" y="28"/>
                    </a:lnTo>
                    <a:lnTo>
                      <a:pt x="36" y="30"/>
                    </a:lnTo>
                    <a:lnTo>
                      <a:pt x="40" y="26"/>
                    </a:lnTo>
                    <a:lnTo>
                      <a:pt x="34" y="22"/>
                    </a:lnTo>
                    <a:lnTo>
                      <a:pt x="24" y="18"/>
                    </a:lnTo>
                    <a:lnTo>
                      <a:pt x="26" y="12"/>
                    </a:lnTo>
                    <a:lnTo>
                      <a:pt x="34" y="12"/>
                    </a:lnTo>
                    <a:lnTo>
                      <a:pt x="40" y="14"/>
                    </a:lnTo>
                    <a:lnTo>
                      <a:pt x="54" y="12"/>
                    </a:lnTo>
                    <a:lnTo>
                      <a:pt x="54" y="8"/>
                    </a:lnTo>
                    <a:lnTo>
                      <a:pt x="40" y="6"/>
                    </a:lnTo>
                    <a:lnTo>
                      <a:pt x="44" y="4"/>
                    </a:lnTo>
                    <a:close/>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close/>
                    <a:moveTo>
                      <a:pt x="58" y="70"/>
                    </a:moveTo>
                    <a:lnTo>
                      <a:pt x="72" y="70"/>
                    </a:lnTo>
                    <a:lnTo>
                      <a:pt x="76" y="70"/>
                    </a:lnTo>
                    <a:lnTo>
                      <a:pt x="66" y="70"/>
                    </a:lnTo>
                    <a:lnTo>
                      <a:pt x="54"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0" name="Freeform 99"/>
              <p:cNvSpPr>
                <a:spLocks/>
              </p:cNvSpPr>
              <p:nvPr/>
            </p:nvSpPr>
            <p:spPr bwMode="auto">
              <a:xfrm>
                <a:off x="1501" y="991"/>
                <a:ext cx="162" cy="100"/>
              </a:xfrm>
              <a:custGeom>
                <a:avLst/>
                <a:gdLst>
                  <a:gd name="T0" fmla="*/ 62 w 162"/>
                  <a:gd name="T1" fmla="*/ 0 h 100"/>
                  <a:gd name="T2" fmla="*/ 104 w 162"/>
                  <a:gd name="T3" fmla="*/ 28 h 100"/>
                  <a:gd name="T4" fmla="*/ 112 w 162"/>
                  <a:gd name="T5" fmla="*/ 40 h 100"/>
                  <a:gd name="T6" fmla="*/ 122 w 162"/>
                  <a:gd name="T7" fmla="*/ 28 h 100"/>
                  <a:gd name="T8" fmla="*/ 126 w 162"/>
                  <a:gd name="T9" fmla="*/ 40 h 100"/>
                  <a:gd name="T10" fmla="*/ 134 w 162"/>
                  <a:gd name="T11" fmla="*/ 50 h 100"/>
                  <a:gd name="T12" fmla="*/ 146 w 162"/>
                  <a:gd name="T13" fmla="*/ 56 h 100"/>
                  <a:gd name="T14" fmla="*/ 156 w 162"/>
                  <a:gd name="T15" fmla="*/ 58 h 100"/>
                  <a:gd name="T16" fmla="*/ 158 w 162"/>
                  <a:gd name="T17" fmla="*/ 68 h 100"/>
                  <a:gd name="T18" fmla="*/ 144 w 162"/>
                  <a:gd name="T19" fmla="*/ 70 h 100"/>
                  <a:gd name="T20" fmla="*/ 124 w 162"/>
                  <a:gd name="T21" fmla="*/ 84 h 100"/>
                  <a:gd name="T22" fmla="*/ 128 w 162"/>
                  <a:gd name="T23" fmla="*/ 70 h 100"/>
                  <a:gd name="T24" fmla="*/ 118 w 162"/>
                  <a:gd name="T25" fmla="*/ 80 h 100"/>
                  <a:gd name="T26" fmla="*/ 120 w 162"/>
                  <a:gd name="T27" fmla="*/ 88 h 100"/>
                  <a:gd name="T28" fmla="*/ 120 w 162"/>
                  <a:gd name="T29" fmla="*/ 94 h 100"/>
                  <a:gd name="T30" fmla="*/ 114 w 162"/>
                  <a:gd name="T31" fmla="*/ 92 h 100"/>
                  <a:gd name="T32" fmla="*/ 110 w 162"/>
                  <a:gd name="T33" fmla="*/ 100 h 100"/>
                  <a:gd name="T34" fmla="*/ 96 w 162"/>
                  <a:gd name="T35" fmla="*/ 86 h 100"/>
                  <a:gd name="T36" fmla="*/ 92 w 162"/>
                  <a:gd name="T37" fmla="*/ 94 h 100"/>
                  <a:gd name="T38" fmla="*/ 74 w 162"/>
                  <a:gd name="T39" fmla="*/ 100 h 100"/>
                  <a:gd name="T40" fmla="*/ 56 w 162"/>
                  <a:gd name="T41" fmla="*/ 86 h 100"/>
                  <a:gd name="T42" fmla="*/ 66 w 162"/>
                  <a:gd name="T43" fmla="*/ 84 h 100"/>
                  <a:gd name="T44" fmla="*/ 50 w 162"/>
                  <a:gd name="T45" fmla="*/ 84 h 100"/>
                  <a:gd name="T46" fmla="*/ 46 w 162"/>
                  <a:gd name="T47" fmla="*/ 70 h 100"/>
                  <a:gd name="T48" fmla="*/ 74 w 162"/>
                  <a:gd name="T49" fmla="*/ 70 h 100"/>
                  <a:gd name="T50" fmla="*/ 80 w 162"/>
                  <a:gd name="T51" fmla="*/ 64 h 100"/>
                  <a:gd name="T52" fmla="*/ 54 w 162"/>
                  <a:gd name="T53" fmla="*/ 62 h 100"/>
                  <a:gd name="T54" fmla="*/ 30 w 162"/>
                  <a:gd name="T55" fmla="*/ 62 h 100"/>
                  <a:gd name="T56" fmla="*/ 4 w 162"/>
                  <a:gd name="T57" fmla="*/ 46 h 100"/>
                  <a:gd name="T58" fmla="*/ 6 w 162"/>
                  <a:gd name="T59" fmla="*/ 38 h 100"/>
                  <a:gd name="T60" fmla="*/ 26 w 162"/>
                  <a:gd name="T61" fmla="*/ 42 h 100"/>
                  <a:gd name="T62" fmla="*/ 20 w 162"/>
                  <a:gd name="T63" fmla="*/ 34 h 100"/>
                  <a:gd name="T64" fmla="*/ 12 w 162"/>
                  <a:gd name="T65" fmla="*/ 24 h 100"/>
                  <a:gd name="T66" fmla="*/ 32 w 162"/>
                  <a:gd name="T67" fmla="*/ 26 h 100"/>
                  <a:gd name="T68" fmla="*/ 30 w 162"/>
                  <a:gd name="T69" fmla="*/ 18 h 100"/>
                  <a:gd name="T70" fmla="*/ 22 w 162"/>
                  <a:gd name="T71" fmla="*/ 8 h 100"/>
                  <a:gd name="T72" fmla="*/ 36 w 162"/>
                  <a:gd name="T73" fmla="*/ 10 h 100"/>
                  <a:gd name="T74" fmla="*/ 50 w 162"/>
                  <a:gd name="T75" fmla="*/ 4 h 100"/>
                  <a:gd name="T76" fmla="*/ 40 w 162"/>
                  <a:gd name="T7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00">
                    <a:moveTo>
                      <a:pt x="40" y="0"/>
                    </a:moveTo>
                    <a:lnTo>
                      <a:pt x="62" y="0"/>
                    </a:lnTo>
                    <a:lnTo>
                      <a:pt x="86" y="26"/>
                    </a:lnTo>
                    <a:lnTo>
                      <a:pt x="104" y="28"/>
                    </a:lnTo>
                    <a:lnTo>
                      <a:pt x="104" y="36"/>
                    </a:lnTo>
                    <a:lnTo>
                      <a:pt x="112" y="40"/>
                    </a:lnTo>
                    <a:lnTo>
                      <a:pt x="114" y="32"/>
                    </a:lnTo>
                    <a:lnTo>
                      <a:pt x="122" y="28"/>
                    </a:lnTo>
                    <a:lnTo>
                      <a:pt x="128" y="30"/>
                    </a:lnTo>
                    <a:lnTo>
                      <a:pt x="126" y="40"/>
                    </a:lnTo>
                    <a:lnTo>
                      <a:pt x="132" y="44"/>
                    </a:lnTo>
                    <a:lnTo>
                      <a:pt x="134" y="50"/>
                    </a:lnTo>
                    <a:lnTo>
                      <a:pt x="132" y="58"/>
                    </a:lnTo>
                    <a:lnTo>
                      <a:pt x="146" y="56"/>
                    </a:lnTo>
                    <a:lnTo>
                      <a:pt x="152" y="58"/>
                    </a:lnTo>
                    <a:lnTo>
                      <a:pt x="156" y="58"/>
                    </a:lnTo>
                    <a:lnTo>
                      <a:pt x="162" y="64"/>
                    </a:lnTo>
                    <a:lnTo>
                      <a:pt x="158" y="68"/>
                    </a:lnTo>
                    <a:lnTo>
                      <a:pt x="152" y="72"/>
                    </a:lnTo>
                    <a:lnTo>
                      <a:pt x="144" y="70"/>
                    </a:lnTo>
                    <a:lnTo>
                      <a:pt x="138" y="72"/>
                    </a:lnTo>
                    <a:lnTo>
                      <a:pt x="124" y="84"/>
                    </a:lnTo>
                    <a:lnTo>
                      <a:pt x="124" y="80"/>
                    </a:lnTo>
                    <a:lnTo>
                      <a:pt x="128" y="70"/>
                    </a:lnTo>
                    <a:lnTo>
                      <a:pt x="122" y="70"/>
                    </a:lnTo>
                    <a:lnTo>
                      <a:pt x="118" y="80"/>
                    </a:lnTo>
                    <a:lnTo>
                      <a:pt x="118" y="82"/>
                    </a:lnTo>
                    <a:lnTo>
                      <a:pt x="120" y="88"/>
                    </a:lnTo>
                    <a:lnTo>
                      <a:pt x="120" y="92"/>
                    </a:lnTo>
                    <a:lnTo>
                      <a:pt x="120" y="94"/>
                    </a:lnTo>
                    <a:lnTo>
                      <a:pt x="118" y="94"/>
                    </a:lnTo>
                    <a:lnTo>
                      <a:pt x="114" y="92"/>
                    </a:lnTo>
                    <a:lnTo>
                      <a:pt x="112" y="90"/>
                    </a:lnTo>
                    <a:lnTo>
                      <a:pt x="110" y="100"/>
                    </a:lnTo>
                    <a:lnTo>
                      <a:pt x="102" y="94"/>
                    </a:lnTo>
                    <a:lnTo>
                      <a:pt x="96" y="86"/>
                    </a:lnTo>
                    <a:lnTo>
                      <a:pt x="90" y="90"/>
                    </a:lnTo>
                    <a:lnTo>
                      <a:pt x="92" y="94"/>
                    </a:lnTo>
                    <a:lnTo>
                      <a:pt x="84" y="96"/>
                    </a:lnTo>
                    <a:lnTo>
                      <a:pt x="74" y="100"/>
                    </a:lnTo>
                    <a:lnTo>
                      <a:pt x="58" y="94"/>
                    </a:lnTo>
                    <a:lnTo>
                      <a:pt x="56" y="86"/>
                    </a:lnTo>
                    <a:lnTo>
                      <a:pt x="68" y="88"/>
                    </a:lnTo>
                    <a:lnTo>
                      <a:pt x="66" y="84"/>
                    </a:lnTo>
                    <a:lnTo>
                      <a:pt x="54" y="82"/>
                    </a:lnTo>
                    <a:lnTo>
                      <a:pt x="50" y="84"/>
                    </a:lnTo>
                    <a:lnTo>
                      <a:pt x="34" y="74"/>
                    </a:lnTo>
                    <a:lnTo>
                      <a:pt x="46" y="70"/>
                    </a:lnTo>
                    <a:lnTo>
                      <a:pt x="62" y="70"/>
                    </a:lnTo>
                    <a:lnTo>
                      <a:pt x="74" y="70"/>
                    </a:lnTo>
                    <a:lnTo>
                      <a:pt x="84" y="68"/>
                    </a:lnTo>
                    <a:lnTo>
                      <a:pt x="80" y="64"/>
                    </a:lnTo>
                    <a:lnTo>
                      <a:pt x="68" y="62"/>
                    </a:lnTo>
                    <a:lnTo>
                      <a:pt x="54" y="62"/>
                    </a:lnTo>
                    <a:lnTo>
                      <a:pt x="44" y="64"/>
                    </a:lnTo>
                    <a:lnTo>
                      <a:pt x="30" y="62"/>
                    </a:lnTo>
                    <a:lnTo>
                      <a:pt x="20" y="64"/>
                    </a:lnTo>
                    <a:lnTo>
                      <a:pt x="4" y="46"/>
                    </a:lnTo>
                    <a:lnTo>
                      <a:pt x="0" y="38"/>
                    </a:lnTo>
                    <a:lnTo>
                      <a:pt x="6" y="38"/>
                    </a:lnTo>
                    <a:lnTo>
                      <a:pt x="12" y="40"/>
                    </a:lnTo>
                    <a:lnTo>
                      <a:pt x="26" y="42"/>
                    </a:lnTo>
                    <a:lnTo>
                      <a:pt x="32" y="36"/>
                    </a:lnTo>
                    <a:lnTo>
                      <a:pt x="20" y="34"/>
                    </a:lnTo>
                    <a:lnTo>
                      <a:pt x="14" y="32"/>
                    </a:lnTo>
                    <a:lnTo>
                      <a:pt x="12" y="24"/>
                    </a:lnTo>
                    <a:lnTo>
                      <a:pt x="20" y="24"/>
                    </a:lnTo>
                    <a:lnTo>
                      <a:pt x="32" y="26"/>
                    </a:lnTo>
                    <a:lnTo>
                      <a:pt x="36" y="22"/>
                    </a:lnTo>
                    <a:lnTo>
                      <a:pt x="30" y="18"/>
                    </a:lnTo>
                    <a:lnTo>
                      <a:pt x="20" y="14"/>
                    </a:lnTo>
                    <a:lnTo>
                      <a:pt x="22" y="8"/>
                    </a:lnTo>
                    <a:lnTo>
                      <a:pt x="30" y="8"/>
                    </a:lnTo>
                    <a:lnTo>
                      <a:pt x="36" y="10"/>
                    </a:lnTo>
                    <a:lnTo>
                      <a:pt x="50" y="8"/>
                    </a:lnTo>
                    <a:lnTo>
                      <a:pt x="50" y="4"/>
                    </a:lnTo>
                    <a:lnTo>
                      <a:pt x="36"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1" name="Freeform 100"/>
              <p:cNvSpPr>
                <a:spLocks/>
              </p:cNvSpPr>
              <p:nvPr/>
            </p:nvSpPr>
            <p:spPr bwMode="auto">
              <a:xfrm>
                <a:off x="1497" y="987"/>
                <a:ext cx="170" cy="108"/>
              </a:xfrm>
              <a:custGeom>
                <a:avLst/>
                <a:gdLst>
                  <a:gd name="T0" fmla="*/ 42 w 170"/>
                  <a:gd name="T1" fmla="*/ 0 h 108"/>
                  <a:gd name="T2" fmla="*/ 36 w 170"/>
                  <a:gd name="T3" fmla="*/ 6 h 108"/>
                  <a:gd name="T4" fmla="*/ 38 w 170"/>
                  <a:gd name="T5" fmla="*/ 8 h 108"/>
                  <a:gd name="T6" fmla="*/ 34 w 170"/>
                  <a:gd name="T7" fmla="*/ 8 h 108"/>
                  <a:gd name="T8" fmla="*/ 24 w 170"/>
                  <a:gd name="T9" fmla="*/ 8 h 108"/>
                  <a:gd name="T10" fmla="*/ 20 w 170"/>
                  <a:gd name="T11" fmla="*/ 18 h 108"/>
                  <a:gd name="T12" fmla="*/ 26 w 170"/>
                  <a:gd name="T13" fmla="*/ 24 h 108"/>
                  <a:gd name="T14" fmla="*/ 24 w 170"/>
                  <a:gd name="T15" fmla="*/ 24 h 108"/>
                  <a:gd name="T16" fmla="*/ 12 w 170"/>
                  <a:gd name="T17" fmla="*/ 24 h 108"/>
                  <a:gd name="T18" fmla="*/ 14 w 170"/>
                  <a:gd name="T19" fmla="*/ 36 h 108"/>
                  <a:gd name="T20" fmla="*/ 16 w 170"/>
                  <a:gd name="T21" fmla="*/ 40 h 108"/>
                  <a:gd name="T22" fmla="*/ 16 w 170"/>
                  <a:gd name="T23" fmla="*/ 40 h 108"/>
                  <a:gd name="T24" fmla="*/ 10 w 170"/>
                  <a:gd name="T25" fmla="*/ 38 h 108"/>
                  <a:gd name="T26" fmla="*/ 0 w 170"/>
                  <a:gd name="T27" fmla="*/ 40 h 108"/>
                  <a:gd name="T28" fmla="*/ 6 w 170"/>
                  <a:gd name="T29" fmla="*/ 52 h 108"/>
                  <a:gd name="T30" fmla="*/ 22 w 170"/>
                  <a:gd name="T31" fmla="*/ 70 h 108"/>
                  <a:gd name="T32" fmla="*/ 24 w 170"/>
                  <a:gd name="T33" fmla="*/ 72 h 108"/>
                  <a:gd name="T34" fmla="*/ 46 w 170"/>
                  <a:gd name="T35" fmla="*/ 72 h 108"/>
                  <a:gd name="T36" fmla="*/ 34 w 170"/>
                  <a:gd name="T37" fmla="*/ 78 h 108"/>
                  <a:gd name="T38" fmla="*/ 50 w 170"/>
                  <a:gd name="T39" fmla="*/ 92 h 108"/>
                  <a:gd name="T40" fmla="*/ 54 w 170"/>
                  <a:gd name="T41" fmla="*/ 92 h 108"/>
                  <a:gd name="T42" fmla="*/ 58 w 170"/>
                  <a:gd name="T43" fmla="*/ 100 h 108"/>
                  <a:gd name="T44" fmla="*/ 76 w 170"/>
                  <a:gd name="T45" fmla="*/ 108 h 108"/>
                  <a:gd name="T46" fmla="*/ 78 w 170"/>
                  <a:gd name="T47" fmla="*/ 108 h 108"/>
                  <a:gd name="T48" fmla="*/ 96 w 170"/>
                  <a:gd name="T49" fmla="*/ 102 h 108"/>
                  <a:gd name="T50" fmla="*/ 100 w 170"/>
                  <a:gd name="T51" fmla="*/ 100 h 108"/>
                  <a:gd name="T52" fmla="*/ 104 w 170"/>
                  <a:gd name="T53" fmla="*/ 102 h 108"/>
                  <a:gd name="T54" fmla="*/ 112 w 170"/>
                  <a:gd name="T55" fmla="*/ 108 h 108"/>
                  <a:gd name="T56" fmla="*/ 114 w 170"/>
                  <a:gd name="T57" fmla="*/ 108 h 108"/>
                  <a:gd name="T58" fmla="*/ 118 w 170"/>
                  <a:gd name="T59" fmla="*/ 104 h 108"/>
                  <a:gd name="T60" fmla="*/ 120 w 170"/>
                  <a:gd name="T61" fmla="*/ 102 h 108"/>
                  <a:gd name="T62" fmla="*/ 126 w 170"/>
                  <a:gd name="T63" fmla="*/ 102 h 108"/>
                  <a:gd name="T64" fmla="*/ 128 w 170"/>
                  <a:gd name="T65" fmla="*/ 98 h 108"/>
                  <a:gd name="T66" fmla="*/ 128 w 170"/>
                  <a:gd name="T67" fmla="*/ 92 h 108"/>
                  <a:gd name="T68" fmla="*/ 148 w 170"/>
                  <a:gd name="T69" fmla="*/ 78 h 108"/>
                  <a:gd name="T70" fmla="*/ 156 w 170"/>
                  <a:gd name="T71" fmla="*/ 80 h 108"/>
                  <a:gd name="T72" fmla="*/ 164 w 170"/>
                  <a:gd name="T73" fmla="*/ 76 h 108"/>
                  <a:gd name="T74" fmla="*/ 168 w 170"/>
                  <a:gd name="T75" fmla="*/ 70 h 108"/>
                  <a:gd name="T76" fmla="*/ 168 w 170"/>
                  <a:gd name="T77" fmla="*/ 64 h 108"/>
                  <a:gd name="T78" fmla="*/ 160 w 170"/>
                  <a:gd name="T79" fmla="*/ 58 h 108"/>
                  <a:gd name="T80" fmla="*/ 150 w 170"/>
                  <a:gd name="T81" fmla="*/ 56 h 108"/>
                  <a:gd name="T82" fmla="*/ 148 w 170"/>
                  <a:gd name="T83" fmla="*/ 56 h 108"/>
                  <a:gd name="T84" fmla="*/ 142 w 170"/>
                  <a:gd name="T85" fmla="*/ 54 h 108"/>
                  <a:gd name="T86" fmla="*/ 140 w 170"/>
                  <a:gd name="T87" fmla="*/ 48 h 108"/>
                  <a:gd name="T88" fmla="*/ 136 w 170"/>
                  <a:gd name="T89" fmla="*/ 36 h 108"/>
                  <a:gd name="T90" fmla="*/ 132 w 170"/>
                  <a:gd name="T91" fmla="*/ 30 h 108"/>
                  <a:gd name="T92" fmla="*/ 126 w 170"/>
                  <a:gd name="T93" fmla="*/ 28 h 108"/>
                  <a:gd name="T94" fmla="*/ 118 w 170"/>
                  <a:gd name="T95" fmla="*/ 32 h 108"/>
                  <a:gd name="T96" fmla="*/ 114 w 170"/>
                  <a:gd name="T97" fmla="*/ 38 h 108"/>
                  <a:gd name="T98" fmla="*/ 112 w 170"/>
                  <a:gd name="T99" fmla="*/ 32 h 108"/>
                  <a:gd name="T100" fmla="*/ 92 w 170"/>
                  <a:gd name="T101" fmla="*/ 26 h 108"/>
                  <a:gd name="T102" fmla="*/ 66 w 170"/>
                  <a:gd name="T103" fmla="*/ 0 h 108"/>
                  <a:gd name="T104" fmla="*/ 44 w 170"/>
                  <a:gd name="T10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08">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2" name="Freeform 101"/>
              <p:cNvSpPr>
                <a:spLocks/>
              </p:cNvSpPr>
              <p:nvPr/>
            </p:nvSpPr>
            <p:spPr bwMode="auto">
              <a:xfrm>
                <a:off x="1551" y="1057"/>
                <a:ext cx="22" cy="0"/>
              </a:xfrm>
              <a:custGeom>
                <a:avLst/>
                <a:gdLst>
                  <a:gd name="T0" fmla="*/ 4 w 22"/>
                  <a:gd name="T1" fmla="*/ 18 w 22"/>
                  <a:gd name="T2" fmla="*/ 22 w 22"/>
                  <a:gd name="T3" fmla="*/ 12 w 22"/>
                  <a:gd name="T4" fmla="*/ 0 w 22"/>
                  <a:gd name="T5" fmla="*/ 4 w 22"/>
                  <a:gd name="T6" fmla="*/ 4 w 22"/>
                </a:gdLst>
                <a:ahLst/>
                <a:cxnLst>
                  <a:cxn ang="0">
                    <a:pos x="T0" y="0"/>
                  </a:cxn>
                  <a:cxn ang="0">
                    <a:pos x="T1" y="0"/>
                  </a:cxn>
                  <a:cxn ang="0">
                    <a:pos x="T2" y="0"/>
                  </a:cxn>
                  <a:cxn ang="0">
                    <a:pos x="T3" y="0"/>
                  </a:cxn>
                  <a:cxn ang="0">
                    <a:pos x="T4" y="0"/>
                  </a:cxn>
                  <a:cxn ang="0">
                    <a:pos x="T5" y="0"/>
                  </a:cxn>
                  <a:cxn ang="0">
                    <a:pos x="T6" y="0"/>
                  </a:cxn>
                </a:cxnLst>
                <a:rect l="0" t="0" r="r" b="b"/>
                <a:pathLst>
                  <a:path w="22">
                    <a:moveTo>
                      <a:pt x="4" y="0"/>
                    </a:moveTo>
                    <a:lnTo>
                      <a:pt x="18" y="0"/>
                    </a:lnTo>
                    <a:lnTo>
                      <a:pt x="22" y="0"/>
                    </a:lnTo>
                    <a:lnTo>
                      <a:pt x="12" y="0"/>
                    </a:lnTo>
                    <a:lnTo>
                      <a:pt x="0"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3" name="Freeform 102"/>
              <p:cNvSpPr>
                <a:spLocks/>
              </p:cNvSpPr>
              <p:nvPr/>
            </p:nvSpPr>
            <p:spPr bwMode="auto">
              <a:xfrm>
                <a:off x="1443" y="1027"/>
                <a:ext cx="32" cy="16"/>
              </a:xfrm>
              <a:custGeom>
                <a:avLst/>
                <a:gdLst>
                  <a:gd name="T0" fmla="*/ 20 w 32"/>
                  <a:gd name="T1" fmla="*/ 16 h 16"/>
                  <a:gd name="T2" fmla="*/ 20 w 32"/>
                  <a:gd name="T3" fmla="*/ 16 h 16"/>
                  <a:gd name="T4" fmla="*/ 20 w 32"/>
                  <a:gd name="T5" fmla="*/ 16 h 16"/>
                  <a:gd name="T6" fmla="*/ 16 w 32"/>
                  <a:gd name="T7" fmla="*/ 12 h 16"/>
                  <a:gd name="T8" fmla="*/ 6 w 32"/>
                  <a:gd name="T9" fmla="*/ 12 h 16"/>
                  <a:gd name="T10" fmla="*/ 6 w 32"/>
                  <a:gd name="T11" fmla="*/ 12 h 16"/>
                  <a:gd name="T12" fmla="*/ 4 w 32"/>
                  <a:gd name="T13" fmla="*/ 12 h 16"/>
                  <a:gd name="T14" fmla="*/ 0 w 32"/>
                  <a:gd name="T15" fmla="*/ 6 h 16"/>
                  <a:gd name="T16" fmla="*/ 0 w 32"/>
                  <a:gd name="T17" fmla="*/ 6 h 16"/>
                  <a:gd name="T18" fmla="*/ 0 w 32"/>
                  <a:gd name="T19" fmla="*/ 4 h 16"/>
                  <a:gd name="T20" fmla="*/ 0 w 32"/>
                  <a:gd name="T21" fmla="*/ 4 h 16"/>
                  <a:gd name="T22" fmla="*/ 0 w 32"/>
                  <a:gd name="T23" fmla="*/ 4 h 16"/>
                  <a:gd name="T24" fmla="*/ 10 w 32"/>
                  <a:gd name="T25" fmla="*/ 0 h 16"/>
                  <a:gd name="T26" fmla="*/ 20 w 32"/>
                  <a:gd name="T27" fmla="*/ 0 h 16"/>
                  <a:gd name="T28" fmla="*/ 20 w 32"/>
                  <a:gd name="T29" fmla="*/ 0 h 16"/>
                  <a:gd name="T30" fmla="*/ 22 w 32"/>
                  <a:gd name="T31" fmla="*/ 0 h 16"/>
                  <a:gd name="T32" fmla="*/ 30 w 32"/>
                  <a:gd name="T33" fmla="*/ 4 h 16"/>
                  <a:gd name="T34" fmla="*/ 30 w 32"/>
                  <a:gd name="T35" fmla="*/ 4 h 16"/>
                  <a:gd name="T36" fmla="*/ 32 w 32"/>
                  <a:gd name="T37" fmla="*/ 6 h 16"/>
                  <a:gd name="T38" fmla="*/ 32 w 32"/>
                  <a:gd name="T39" fmla="*/ 14 h 16"/>
                  <a:gd name="T40" fmla="*/ 32 w 32"/>
                  <a:gd name="T41" fmla="*/ 14 h 16"/>
                  <a:gd name="T42" fmla="*/ 30 w 32"/>
                  <a:gd name="T43" fmla="*/ 16 h 16"/>
                  <a:gd name="T44" fmla="*/ 20 w 32"/>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6">
                    <a:moveTo>
                      <a:pt x="20" y="16"/>
                    </a:moveTo>
                    <a:lnTo>
                      <a:pt x="20" y="16"/>
                    </a:lnTo>
                    <a:lnTo>
                      <a:pt x="20" y="16"/>
                    </a:lnTo>
                    <a:lnTo>
                      <a:pt x="16" y="12"/>
                    </a:lnTo>
                    <a:lnTo>
                      <a:pt x="6" y="12"/>
                    </a:lnTo>
                    <a:lnTo>
                      <a:pt x="6" y="12"/>
                    </a:lnTo>
                    <a:lnTo>
                      <a:pt x="4" y="12"/>
                    </a:lnTo>
                    <a:lnTo>
                      <a:pt x="0" y="6"/>
                    </a:lnTo>
                    <a:lnTo>
                      <a:pt x="0" y="6"/>
                    </a:lnTo>
                    <a:lnTo>
                      <a:pt x="0" y="4"/>
                    </a:lnTo>
                    <a:lnTo>
                      <a:pt x="0" y="4"/>
                    </a:lnTo>
                    <a:lnTo>
                      <a:pt x="0" y="4"/>
                    </a:lnTo>
                    <a:lnTo>
                      <a:pt x="10" y="0"/>
                    </a:lnTo>
                    <a:lnTo>
                      <a:pt x="20" y="0"/>
                    </a:lnTo>
                    <a:lnTo>
                      <a:pt x="20" y="0"/>
                    </a:lnTo>
                    <a:lnTo>
                      <a:pt x="22" y="0"/>
                    </a:lnTo>
                    <a:lnTo>
                      <a:pt x="30" y="4"/>
                    </a:lnTo>
                    <a:lnTo>
                      <a:pt x="30" y="4"/>
                    </a:lnTo>
                    <a:lnTo>
                      <a:pt x="32" y="6"/>
                    </a:lnTo>
                    <a:lnTo>
                      <a:pt x="32" y="14"/>
                    </a:lnTo>
                    <a:lnTo>
                      <a:pt x="32" y="14"/>
                    </a:lnTo>
                    <a:lnTo>
                      <a:pt x="30" y="16"/>
                    </a:lnTo>
                    <a:lnTo>
                      <a:pt x="20"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4" name="Freeform 103"/>
              <p:cNvSpPr>
                <a:spLocks noEditPoints="1"/>
              </p:cNvSpPr>
              <p:nvPr/>
            </p:nvSpPr>
            <p:spPr bwMode="auto">
              <a:xfrm>
                <a:off x="1441" y="1025"/>
                <a:ext cx="36" cy="20"/>
              </a:xfrm>
              <a:custGeom>
                <a:avLst/>
                <a:gdLst>
                  <a:gd name="T0" fmla="*/ 22 w 36"/>
                  <a:gd name="T1" fmla="*/ 4 h 20"/>
                  <a:gd name="T2" fmla="*/ 32 w 36"/>
                  <a:gd name="T3" fmla="*/ 8 h 20"/>
                  <a:gd name="T4" fmla="*/ 32 w 36"/>
                  <a:gd name="T5" fmla="*/ 16 h 20"/>
                  <a:gd name="T6" fmla="*/ 22 w 36"/>
                  <a:gd name="T7" fmla="*/ 16 h 20"/>
                  <a:gd name="T8" fmla="*/ 18 w 36"/>
                  <a:gd name="T9" fmla="*/ 12 h 20"/>
                  <a:gd name="T10" fmla="*/ 8 w 36"/>
                  <a:gd name="T11" fmla="*/ 12 h 20"/>
                  <a:gd name="T12" fmla="*/ 4 w 36"/>
                  <a:gd name="T13" fmla="*/ 8 h 20"/>
                  <a:gd name="T14" fmla="*/ 12 w 36"/>
                  <a:gd name="T15" fmla="*/ 4 h 20"/>
                  <a:gd name="T16" fmla="*/ 22 w 36"/>
                  <a:gd name="T17" fmla="*/ 4 h 20"/>
                  <a:gd name="T18" fmla="*/ 22 w 36"/>
                  <a:gd name="T19" fmla="*/ 0 h 20"/>
                  <a:gd name="T20" fmla="*/ 12 w 36"/>
                  <a:gd name="T21" fmla="*/ 0 h 20"/>
                  <a:gd name="T22" fmla="*/ 12 w 36"/>
                  <a:gd name="T23" fmla="*/ 0 h 20"/>
                  <a:gd name="T24" fmla="*/ 10 w 36"/>
                  <a:gd name="T25" fmla="*/ 0 h 20"/>
                  <a:gd name="T26" fmla="*/ 2 w 36"/>
                  <a:gd name="T27" fmla="*/ 4 h 20"/>
                  <a:gd name="T28" fmla="*/ 2 w 36"/>
                  <a:gd name="T29" fmla="*/ 4 h 20"/>
                  <a:gd name="T30" fmla="*/ 0 w 36"/>
                  <a:gd name="T31" fmla="*/ 6 h 20"/>
                  <a:gd name="T32" fmla="*/ 0 w 36"/>
                  <a:gd name="T33" fmla="*/ 6 h 20"/>
                  <a:gd name="T34" fmla="*/ 0 w 36"/>
                  <a:gd name="T35" fmla="*/ 10 h 20"/>
                  <a:gd name="T36" fmla="*/ 4 w 36"/>
                  <a:gd name="T37" fmla="*/ 16 h 20"/>
                  <a:gd name="T38" fmla="*/ 4 w 36"/>
                  <a:gd name="T39" fmla="*/ 16 h 20"/>
                  <a:gd name="T40" fmla="*/ 8 w 36"/>
                  <a:gd name="T41" fmla="*/ 16 h 20"/>
                  <a:gd name="T42" fmla="*/ 18 w 36"/>
                  <a:gd name="T43" fmla="*/ 16 h 20"/>
                  <a:gd name="T44" fmla="*/ 20 w 36"/>
                  <a:gd name="T45" fmla="*/ 18 h 20"/>
                  <a:gd name="T46" fmla="*/ 20 w 36"/>
                  <a:gd name="T47" fmla="*/ 18 h 20"/>
                  <a:gd name="T48" fmla="*/ 22 w 36"/>
                  <a:gd name="T49" fmla="*/ 20 h 20"/>
                  <a:gd name="T50" fmla="*/ 32 w 36"/>
                  <a:gd name="T51" fmla="*/ 20 h 20"/>
                  <a:gd name="T52" fmla="*/ 32 w 36"/>
                  <a:gd name="T53" fmla="*/ 20 h 20"/>
                  <a:gd name="T54" fmla="*/ 34 w 36"/>
                  <a:gd name="T55" fmla="*/ 18 h 20"/>
                  <a:gd name="T56" fmla="*/ 36 w 36"/>
                  <a:gd name="T57" fmla="*/ 16 h 20"/>
                  <a:gd name="T58" fmla="*/ 36 w 36"/>
                  <a:gd name="T59" fmla="*/ 8 h 20"/>
                  <a:gd name="T60" fmla="*/ 36 w 36"/>
                  <a:gd name="T61" fmla="*/ 8 h 20"/>
                  <a:gd name="T62" fmla="*/ 34 w 36"/>
                  <a:gd name="T63" fmla="*/ 6 h 20"/>
                  <a:gd name="T64" fmla="*/ 32 w 36"/>
                  <a:gd name="T65" fmla="*/ 4 h 20"/>
                  <a:gd name="T66" fmla="*/ 24 w 36"/>
                  <a:gd name="T67" fmla="*/ 0 h 20"/>
                  <a:gd name="T68" fmla="*/ 24 w 36"/>
                  <a:gd name="T69" fmla="*/ 0 h 20"/>
                  <a:gd name="T70" fmla="*/ 22 w 36"/>
                  <a:gd name="T71" fmla="*/ 0 h 20"/>
                  <a:gd name="T72" fmla="*/ 22 w 36"/>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0">
                    <a:moveTo>
                      <a:pt x="22" y="4"/>
                    </a:moveTo>
                    <a:lnTo>
                      <a:pt x="32" y="8"/>
                    </a:lnTo>
                    <a:lnTo>
                      <a:pt x="32" y="16"/>
                    </a:lnTo>
                    <a:lnTo>
                      <a:pt x="22" y="16"/>
                    </a:lnTo>
                    <a:lnTo>
                      <a:pt x="18" y="12"/>
                    </a:lnTo>
                    <a:lnTo>
                      <a:pt x="8" y="12"/>
                    </a:lnTo>
                    <a:lnTo>
                      <a:pt x="4" y="8"/>
                    </a:lnTo>
                    <a:lnTo>
                      <a:pt x="12" y="4"/>
                    </a:lnTo>
                    <a:lnTo>
                      <a:pt x="22" y="4"/>
                    </a:lnTo>
                    <a:close/>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5" name="Freeform 104"/>
              <p:cNvSpPr>
                <a:spLocks/>
              </p:cNvSpPr>
              <p:nvPr/>
            </p:nvSpPr>
            <p:spPr bwMode="auto">
              <a:xfrm>
                <a:off x="1445" y="1029"/>
                <a:ext cx="28" cy="12"/>
              </a:xfrm>
              <a:custGeom>
                <a:avLst/>
                <a:gdLst>
                  <a:gd name="T0" fmla="*/ 18 w 28"/>
                  <a:gd name="T1" fmla="*/ 0 h 12"/>
                  <a:gd name="T2" fmla="*/ 28 w 28"/>
                  <a:gd name="T3" fmla="*/ 4 h 12"/>
                  <a:gd name="T4" fmla="*/ 28 w 28"/>
                  <a:gd name="T5" fmla="*/ 12 h 12"/>
                  <a:gd name="T6" fmla="*/ 18 w 28"/>
                  <a:gd name="T7" fmla="*/ 12 h 12"/>
                  <a:gd name="T8" fmla="*/ 14 w 28"/>
                  <a:gd name="T9" fmla="*/ 8 h 12"/>
                  <a:gd name="T10" fmla="*/ 4 w 28"/>
                  <a:gd name="T11" fmla="*/ 8 h 12"/>
                  <a:gd name="T12" fmla="*/ 0 w 28"/>
                  <a:gd name="T13" fmla="*/ 4 h 12"/>
                  <a:gd name="T14" fmla="*/ 8 w 28"/>
                  <a:gd name="T15" fmla="*/ 0 h 12"/>
                  <a:gd name="T16" fmla="*/ 18 w 2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18" y="0"/>
                    </a:moveTo>
                    <a:lnTo>
                      <a:pt x="28" y="4"/>
                    </a:lnTo>
                    <a:lnTo>
                      <a:pt x="28" y="12"/>
                    </a:lnTo>
                    <a:lnTo>
                      <a:pt x="18" y="12"/>
                    </a:lnTo>
                    <a:lnTo>
                      <a:pt x="14" y="8"/>
                    </a:lnTo>
                    <a:lnTo>
                      <a:pt x="4" y="8"/>
                    </a:lnTo>
                    <a:lnTo>
                      <a:pt x="0" y="4"/>
                    </a:lnTo>
                    <a:lnTo>
                      <a:pt x="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6" name="Freeform 105"/>
              <p:cNvSpPr>
                <a:spLocks/>
              </p:cNvSpPr>
              <p:nvPr/>
            </p:nvSpPr>
            <p:spPr bwMode="auto">
              <a:xfrm>
                <a:off x="1441" y="1025"/>
                <a:ext cx="36" cy="20"/>
              </a:xfrm>
              <a:custGeom>
                <a:avLst/>
                <a:gdLst>
                  <a:gd name="T0" fmla="*/ 22 w 36"/>
                  <a:gd name="T1" fmla="*/ 0 h 20"/>
                  <a:gd name="T2" fmla="*/ 12 w 36"/>
                  <a:gd name="T3" fmla="*/ 0 h 20"/>
                  <a:gd name="T4" fmla="*/ 12 w 36"/>
                  <a:gd name="T5" fmla="*/ 0 h 20"/>
                  <a:gd name="T6" fmla="*/ 10 w 36"/>
                  <a:gd name="T7" fmla="*/ 0 h 20"/>
                  <a:gd name="T8" fmla="*/ 2 w 36"/>
                  <a:gd name="T9" fmla="*/ 4 h 20"/>
                  <a:gd name="T10" fmla="*/ 2 w 36"/>
                  <a:gd name="T11" fmla="*/ 4 h 20"/>
                  <a:gd name="T12" fmla="*/ 0 w 36"/>
                  <a:gd name="T13" fmla="*/ 6 h 20"/>
                  <a:gd name="T14" fmla="*/ 0 w 36"/>
                  <a:gd name="T15" fmla="*/ 6 h 20"/>
                  <a:gd name="T16" fmla="*/ 0 w 36"/>
                  <a:gd name="T17" fmla="*/ 10 h 20"/>
                  <a:gd name="T18" fmla="*/ 4 w 36"/>
                  <a:gd name="T19" fmla="*/ 16 h 20"/>
                  <a:gd name="T20" fmla="*/ 4 w 36"/>
                  <a:gd name="T21" fmla="*/ 16 h 20"/>
                  <a:gd name="T22" fmla="*/ 8 w 36"/>
                  <a:gd name="T23" fmla="*/ 16 h 20"/>
                  <a:gd name="T24" fmla="*/ 18 w 36"/>
                  <a:gd name="T25" fmla="*/ 16 h 20"/>
                  <a:gd name="T26" fmla="*/ 20 w 36"/>
                  <a:gd name="T27" fmla="*/ 18 h 20"/>
                  <a:gd name="T28" fmla="*/ 20 w 36"/>
                  <a:gd name="T29" fmla="*/ 18 h 20"/>
                  <a:gd name="T30" fmla="*/ 22 w 36"/>
                  <a:gd name="T31" fmla="*/ 20 h 20"/>
                  <a:gd name="T32" fmla="*/ 32 w 36"/>
                  <a:gd name="T33" fmla="*/ 20 h 20"/>
                  <a:gd name="T34" fmla="*/ 32 w 36"/>
                  <a:gd name="T35" fmla="*/ 20 h 20"/>
                  <a:gd name="T36" fmla="*/ 34 w 36"/>
                  <a:gd name="T37" fmla="*/ 18 h 20"/>
                  <a:gd name="T38" fmla="*/ 36 w 36"/>
                  <a:gd name="T39" fmla="*/ 16 h 20"/>
                  <a:gd name="T40" fmla="*/ 36 w 36"/>
                  <a:gd name="T41" fmla="*/ 8 h 20"/>
                  <a:gd name="T42" fmla="*/ 36 w 36"/>
                  <a:gd name="T43" fmla="*/ 8 h 20"/>
                  <a:gd name="T44" fmla="*/ 34 w 36"/>
                  <a:gd name="T45" fmla="*/ 6 h 20"/>
                  <a:gd name="T46" fmla="*/ 32 w 36"/>
                  <a:gd name="T47" fmla="*/ 4 h 20"/>
                  <a:gd name="T48" fmla="*/ 24 w 36"/>
                  <a:gd name="T49" fmla="*/ 0 h 20"/>
                  <a:gd name="T50" fmla="*/ 24 w 36"/>
                  <a:gd name="T51" fmla="*/ 0 h 20"/>
                  <a:gd name="T52" fmla="*/ 22 w 36"/>
                  <a:gd name="T53" fmla="*/ 0 h 20"/>
                  <a:gd name="T54" fmla="*/ 22 w 36"/>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20">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7" name="Freeform 106"/>
              <p:cNvSpPr>
                <a:spLocks/>
              </p:cNvSpPr>
              <p:nvPr/>
            </p:nvSpPr>
            <p:spPr bwMode="auto">
              <a:xfrm>
                <a:off x="1721" y="1219"/>
                <a:ext cx="66" cy="32"/>
              </a:xfrm>
              <a:custGeom>
                <a:avLst/>
                <a:gdLst>
                  <a:gd name="T0" fmla="*/ 26 w 66"/>
                  <a:gd name="T1" fmla="*/ 32 h 32"/>
                  <a:gd name="T2" fmla="*/ 14 w 66"/>
                  <a:gd name="T3" fmla="*/ 30 h 32"/>
                  <a:gd name="T4" fmla="*/ 14 w 66"/>
                  <a:gd name="T5" fmla="*/ 30 h 32"/>
                  <a:gd name="T6" fmla="*/ 14 w 66"/>
                  <a:gd name="T7" fmla="*/ 28 h 32"/>
                  <a:gd name="T8" fmla="*/ 10 w 66"/>
                  <a:gd name="T9" fmla="*/ 18 h 32"/>
                  <a:gd name="T10" fmla="*/ 2 w 66"/>
                  <a:gd name="T11" fmla="*/ 12 h 32"/>
                  <a:gd name="T12" fmla="*/ 2 w 66"/>
                  <a:gd name="T13" fmla="*/ 12 h 32"/>
                  <a:gd name="T14" fmla="*/ 0 w 66"/>
                  <a:gd name="T15" fmla="*/ 12 h 32"/>
                  <a:gd name="T16" fmla="*/ 0 w 66"/>
                  <a:gd name="T17" fmla="*/ 2 h 32"/>
                  <a:gd name="T18" fmla="*/ 0 w 66"/>
                  <a:gd name="T19" fmla="*/ 2 h 32"/>
                  <a:gd name="T20" fmla="*/ 2 w 66"/>
                  <a:gd name="T21" fmla="*/ 0 h 32"/>
                  <a:gd name="T22" fmla="*/ 22 w 66"/>
                  <a:gd name="T23" fmla="*/ 0 h 32"/>
                  <a:gd name="T24" fmla="*/ 40 w 66"/>
                  <a:gd name="T25" fmla="*/ 2 h 32"/>
                  <a:gd name="T26" fmla="*/ 40 w 66"/>
                  <a:gd name="T27" fmla="*/ 2 h 32"/>
                  <a:gd name="T28" fmla="*/ 40 w 66"/>
                  <a:gd name="T29" fmla="*/ 2 h 32"/>
                  <a:gd name="T30" fmla="*/ 58 w 66"/>
                  <a:gd name="T31" fmla="*/ 12 h 32"/>
                  <a:gd name="T32" fmla="*/ 58 w 66"/>
                  <a:gd name="T33" fmla="*/ 12 h 32"/>
                  <a:gd name="T34" fmla="*/ 60 w 66"/>
                  <a:gd name="T35" fmla="*/ 12 h 32"/>
                  <a:gd name="T36" fmla="*/ 66 w 66"/>
                  <a:gd name="T37" fmla="*/ 22 h 32"/>
                  <a:gd name="T38" fmla="*/ 66 w 66"/>
                  <a:gd name="T39" fmla="*/ 22 h 32"/>
                  <a:gd name="T40" fmla="*/ 66 w 66"/>
                  <a:gd name="T41" fmla="*/ 24 h 32"/>
                  <a:gd name="T42" fmla="*/ 66 w 66"/>
                  <a:gd name="T43" fmla="*/ 24 h 32"/>
                  <a:gd name="T44" fmla="*/ 64 w 66"/>
                  <a:gd name="T45" fmla="*/ 26 h 32"/>
                  <a:gd name="T46" fmla="*/ 56 w 66"/>
                  <a:gd name="T47" fmla="*/ 28 h 32"/>
                  <a:gd name="T48" fmla="*/ 32 w 66"/>
                  <a:gd name="T49" fmla="*/ 28 h 32"/>
                  <a:gd name="T50" fmla="*/ 26 w 66"/>
                  <a:gd name="T51" fmla="*/ 30 h 32"/>
                  <a:gd name="T52" fmla="*/ 26 w 66"/>
                  <a:gd name="T53" fmla="*/ 30 h 32"/>
                  <a:gd name="T54" fmla="*/ 26 w 66"/>
                  <a:gd name="T55" fmla="*/ 32 h 32"/>
                  <a:gd name="T56" fmla="*/ 26 w 66"/>
                  <a:gd name="T57" fmla="*/ 32 h 32"/>
                  <a:gd name="T58" fmla="*/ 26 w 66"/>
                  <a:gd name="T59" fmla="*/ 32 h 32"/>
                  <a:gd name="T60" fmla="*/ 26 w 6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32">
                    <a:moveTo>
                      <a:pt x="26" y="32"/>
                    </a:moveTo>
                    <a:lnTo>
                      <a:pt x="14" y="30"/>
                    </a:lnTo>
                    <a:lnTo>
                      <a:pt x="14" y="30"/>
                    </a:lnTo>
                    <a:lnTo>
                      <a:pt x="14" y="28"/>
                    </a:lnTo>
                    <a:lnTo>
                      <a:pt x="10" y="18"/>
                    </a:lnTo>
                    <a:lnTo>
                      <a:pt x="2" y="12"/>
                    </a:lnTo>
                    <a:lnTo>
                      <a:pt x="2" y="12"/>
                    </a:lnTo>
                    <a:lnTo>
                      <a:pt x="0" y="12"/>
                    </a:lnTo>
                    <a:lnTo>
                      <a:pt x="0" y="2"/>
                    </a:lnTo>
                    <a:lnTo>
                      <a:pt x="0" y="2"/>
                    </a:lnTo>
                    <a:lnTo>
                      <a:pt x="2" y="0"/>
                    </a:lnTo>
                    <a:lnTo>
                      <a:pt x="22" y="0"/>
                    </a:lnTo>
                    <a:lnTo>
                      <a:pt x="40" y="2"/>
                    </a:lnTo>
                    <a:lnTo>
                      <a:pt x="40" y="2"/>
                    </a:lnTo>
                    <a:lnTo>
                      <a:pt x="40" y="2"/>
                    </a:lnTo>
                    <a:lnTo>
                      <a:pt x="58" y="12"/>
                    </a:lnTo>
                    <a:lnTo>
                      <a:pt x="58" y="12"/>
                    </a:lnTo>
                    <a:lnTo>
                      <a:pt x="60" y="12"/>
                    </a:lnTo>
                    <a:lnTo>
                      <a:pt x="66" y="22"/>
                    </a:lnTo>
                    <a:lnTo>
                      <a:pt x="66" y="22"/>
                    </a:lnTo>
                    <a:lnTo>
                      <a:pt x="66" y="24"/>
                    </a:lnTo>
                    <a:lnTo>
                      <a:pt x="66" y="24"/>
                    </a:lnTo>
                    <a:lnTo>
                      <a:pt x="64" y="26"/>
                    </a:lnTo>
                    <a:lnTo>
                      <a:pt x="56" y="28"/>
                    </a:lnTo>
                    <a:lnTo>
                      <a:pt x="32" y="28"/>
                    </a:lnTo>
                    <a:lnTo>
                      <a:pt x="26" y="30"/>
                    </a:lnTo>
                    <a:lnTo>
                      <a:pt x="26" y="30"/>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8" name="Freeform 107"/>
              <p:cNvSpPr>
                <a:spLocks noEditPoints="1"/>
              </p:cNvSpPr>
              <p:nvPr/>
            </p:nvSpPr>
            <p:spPr bwMode="auto">
              <a:xfrm>
                <a:off x="1719" y="1217"/>
                <a:ext cx="70" cy="36"/>
              </a:xfrm>
              <a:custGeom>
                <a:avLst/>
                <a:gdLst>
                  <a:gd name="T0" fmla="*/ 24 w 70"/>
                  <a:gd name="T1" fmla="*/ 4 h 36"/>
                  <a:gd name="T2" fmla="*/ 42 w 70"/>
                  <a:gd name="T3" fmla="*/ 6 h 36"/>
                  <a:gd name="T4" fmla="*/ 60 w 70"/>
                  <a:gd name="T5" fmla="*/ 16 h 36"/>
                  <a:gd name="T6" fmla="*/ 66 w 70"/>
                  <a:gd name="T7" fmla="*/ 26 h 36"/>
                  <a:gd name="T8" fmla="*/ 58 w 70"/>
                  <a:gd name="T9" fmla="*/ 28 h 36"/>
                  <a:gd name="T10" fmla="*/ 46 w 70"/>
                  <a:gd name="T11" fmla="*/ 28 h 36"/>
                  <a:gd name="T12" fmla="*/ 34 w 70"/>
                  <a:gd name="T13" fmla="*/ 28 h 36"/>
                  <a:gd name="T14" fmla="*/ 28 w 70"/>
                  <a:gd name="T15" fmla="*/ 32 h 36"/>
                  <a:gd name="T16" fmla="*/ 18 w 70"/>
                  <a:gd name="T17" fmla="*/ 30 h 36"/>
                  <a:gd name="T18" fmla="*/ 14 w 70"/>
                  <a:gd name="T19" fmla="*/ 20 h 36"/>
                  <a:gd name="T20" fmla="*/ 4 w 70"/>
                  <a:gd name="T21" fmla="*/ 14 h 36"/>
                  <a:gd name="T22" fmla="*/ 4 w 70"/>
                  <a:gd name="T23" fmla="*/ 4 h 36"/>
                  <a:gd name="T24" fmla="*/ 8 w 70"/>
                  <a:gd name="T25" fmla="*/ 4 h 36"/>
                  <a:gd name="T26" fmla="*/ 24 w 70"/>
                  <a:gd name="T27" fmla="*/ 4 h 36"/>
                  <a:gd name="T28" fmla="*/ 24 w 70"/>
                  <a:gd name="T29" fmla="*/ 0 h 36"/>
                  <a:gd name="T30" fmla="*/ 8 w 70"/>
                  <a:gd name="T31" fmla="*/ 0 h 36"/>
                  <a:gd name="T32" fmla="*/ 4 w 70"/>
                  <a:gd name="T33" fmla="*/ 0 h 36"/>
                  <a:gd name="T34" fmla="*/ 4 w 70"/>
                  <a:gd name="T35" fmla="*/ 0 h 36"/>
                  <a:gd name="T36" fmla="*/ 2 w 70"/>
                  <a:gd name="T37" fmla="*/ 0 h 36"/>
                  <a:gd name="T38" fmla="*/ 0 w 70"/>
                  <a:gd name="T39" fmla="*/ 4 h 36"/>
                  <a:gd name="T40" fmla="*/ 0 w 70"/>
                  <a:gd name="T41" fmla="*/ 14 h 36"/>
                  <a:gd name="T42" fmla="*/ 0 w 70"/>
                  <a:gd name="T43" fmla="*/ 14 h 36"/>
                  <a:gd name="T44" fmla="*/ 2 w 70"/>
                  <a:gd name="T45" fmla="*/ 16 h 36"/>
                  <a:gd name="T46" fmla="*/ 10 w 70"/>
                  <a:gd name="T47" fmla="*/ 22 h 36"/>
                  <a:gd name="T48" fmla="*/ 14 w 70"/>
                  <a:gd name="T49" fmla="*/ 30 h 36"/>
                  <a:gd name="T50" fmla="*/ 14 w 70"/>
                  <a:gd name="T51" fmla="*/ 30 h 36"/>
                  <a:gd name="T52" fmla="*/ 16 w 70"/>
                  <a:gd name="T53" fmla="*/ 34 h 36"/>
                  <a:gd name="T54" fmla="*/ 26 w 70"/>
                  <a:gd name="T55" fmla="*/ 36 h 36"/>
                  <a:gd name="T56" fmla="*/ 26 w 70"/>
                  <a:gd name="T57" fmla="*/ 36 h 36"/>
                  <a:gd name="T58" fmla="*/ 28 w 70"/>
                  <a:gd name="T59" fmla="*/ 36 h 36"/>
                  <a:gd name="T60" fmla="*/ 28 w 70"/>
                  <a:gd name="T61" fmla="*/ 36 h 36"/>
                  <a:gd name="T62" fmla="*/ 30 w 70"/>
                  <a:gd name="T63" fmla="*/ 34 h 36"/>
                  <a:gd name="T64" fmla="*/ 34 w 70"/>
                  <a:gd name="T65" fmla="*/ 32 h 36"/>
                  <a:gd name="T66" fmla="*/ 46 w 70"/>
                  <a:gd name="T67" fmla="*/ 32 h 36"/>
                  <a:gd name="T68" fmla="*/ 58 w 70"/>
                  <a:gd name="T69" fmla="*/ 32 h 36"/>
                  <a:gd name="T70" fmla="*/ 58 w 70"/>
                  <a:gd name="T71" fmla="*/ 32 h 36"/>
                  <a:gd name="T72" fmla="*/ 58 w 70"/>
                  <a:gd name="T73" fmla="*/ 32 h 36"/>
                  <a:gd name="T74" fmla="*/ 68 w 70"/>
                  <a:gd name="T75" fmla="*/ 30 h 36"/>
                  <a:gd name="T76" fmla="*/ 68 w 70"/>
                  <a:gd name="T77" fmla="*/ 30 h 36"/>
                  <a:gd name="T78" fmla="*/ 70 w 70"/>
                  <a:gd name="T79" fmla="*/ 26 h 36"/>
                  <a:gd name="T80" fmla="*/ 70 w 70"/>
                  <a:gd name="T81" fmla="*/ 26 h 36"/>
                  <a:gd name="T82" fmla="*/ 70 w 70"/>
                  <a:gd name="T83" fmla="*/ 22 h 36"/>
                  <a:gd name="T84" fmla="*/ 62 w 70"/>
                  <a:gd name="T85" fmla="*/ 12 h 36"/>
                  <a:gd name="T86" fmla="*/ 62 w 70"/>
                  <a:gd name="T87" fmla="*/ 12 h 36"/>
                  <a:gd name="T88" fmla="*/ 62 w 70"/>
                  <a:gd name="T89" fmla="*/ 12 h 36"/>
                  <a:gd name="T90" fmla="*/ 44 w 70"/>
                  <a:gd name="T91" fmla="*/ 2 h 36"/>
                  <a:gd name="T92" fmla="*/ 44 w 70"/>
                  <a:gd name="T93" fmla="*/ 2 h 36"/>
                  <a:gd name="T94" fmla="*/ 42 w 70"/>
                  <a:gd name="T95" fmla="*/ 2 h 36"/>
                  <a:gd name="T96" fmla="*/ 24 w 70"/>
                  <a:gd name="T97" fmla="*/ 0 h 36"/>
                  <a:gd name="T98" fmla="*/ 24 w 70"/>
                  <a:gd name="T99" fmla="*/ 0 h 36"/>
                  <a:gd name="T100" fmla="*/ 24 w 70"/>
                  <a:gd name="T101" fmla="*/ 0 h 36"/>
                  <a:gd name="T102" fmla="*/ 24 w 70"/>
                  <a:gd name="T10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36">
                    <a:moveTo>
                      <a:pt x="24" y="4"/>
                    </a:moveTo>
                    <a:lnTo>
                      <a:pt x="42" y="6"/>
                    </a:lnTo>
                    <a:lnTo>
                      <a:pt x="60" y="16"/>
                    </a:lnTo>
                    <a:lnTo>
                      <a:pt x="66" y="26"/>
                    </a:lnTo>
                    <a:lnTo>
                      <a:pt x="58" y="28"/>
                    </a:lnTo>
                    <a:lnTo>
                      <a:pt x="46" y="28"/>
                    </a:lnTo>
                    <a:lnTo>
                      <a:pt x="34" y="28"/>
                    </a:lnTo>
                    <a:lnTo>
                      <a:pt x="28" y="32"/>
                    </a:lnTo>
                    <a:lnTo>
                      <a:pt x="18" y="30"/>
                    </a:lnTo>
                    <a:lnTo>
                      <a:pt x="14" y="20"/>
                    </a:lnTo>
                    <a:lnTo>
                      <a:pt x="4" y="14"/>
                    </a:lnTo>
                    <a:lnTo>
                      <a:pt x="4" y="4"/>
                    </a:lnTo>
                    <a:lnTo>
                      <a:pt x="8" y="4"/>
                    </a:lnTo>
                    <a:lnTo>
                      <a:pt x="24" y="4"/>
                    </a:lnTo>
                    <a:close/>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9" name="Freeform 108"/>
              <p:cNvSpPr>
                <a:spLocks/>
              </p:cNvSpPr>
              <p:nvPr/>
            </p:nvSpPr>
            <p:spPr bwMode="auto">
              <a:xfrm>
                <a:off x="1723" y="1221"/>
                <a:ext cx="62" cy="28"/>
              </a:xfrm>
              <a:custGeom>
                <a:avLst/>
                <a:gdLst>
                  <a:gd name="T0" fmla="*/ 20 w 62"/>
                  <a:gd name="T1" fmla="*/ 0 h 28"/>
                  <a:gd name="T2" fmla="*/ 38 w 62"/>
                  <a:gd name="T3" fmla="*/ 2 h 28"/>
                  <a:gd name="T4" fmla="*/ 56 w 62"/>
                  <a:gd name="T5" fmla="*/ 12 h 28"/>
                  <a:gd name="T6" fmla="*/ 62 w 62"/>
                  <a:gd name="T7" fmla="*/ 22 h 28"/>
                  <a:gd name="T8" fmla="*/ 54 w 62"/>
                  <a:gd name="T9" fmla="*/ 24 h 28"/>
                  <a:gd name="T10" fmla="*/ 42 w 62"/>
                  <a:gd name="T11" fmla="*/ 24 h 28"/>
                  <a:gd name="T12" fmla="*/ 30 w 62"/>
                  <a:gd name="T13" fmla="*/ 24 h 28"/>
                  <a:gd name="T14" fmla="*/ 24 w 62"/>
                  <a:gd name="T15" fmla="*/ 28 h 28"/>
                  <a:gd name="T16" fmla="*/ 14 w 62"/>
                  <a:gd name="T17" fmla="*/ 26 h 28"/>
                  <a:gd name="T18" fmla="*/ 10 w 62"/>
                  <a:gd name="T19" fmla="*/ 16 h 28"/>
                  <a:gd name="T20" fmla="*/ 0 w 62"/>
                  <a:gd name="T21" fmla="*/ 10 h 28"/>
                  <a:gd name="T22" fmla="*/ 0 w 62"/>
                  <a:gd name="T23" fmla="*/ 0 h 28"/>
                  <a:gd name="T24" fmla="*/ 4 w 62"/>
                  <a:gd name="T25" fmla="*/ 0 h 28"/>
                  <a:gd name="T26" fmla="*/ 20 w 6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28">
                    <a:moveTo>
                      <a:pt x="20" y="0"/>
                    </a:moveTo>
                    <a:lnTo>
                      <a:pt x="38" y="2"/>
                    </a:lnTo>
                    <a:lnTo>
                      <a:pt x="56" y="12"/>
                    </a:lnTo>
                    <a:lnTo>
                      <a:pt x="62" y="22"/>
                    </a:lnTo>
                    <a:lnTo>
                      <a:pt x="54" y="24"/>
                    </a:lnTo>
                    <a:lnTo>
                      <a:pt x="42" y="24"/>
                    </a:lnTo>
                    <a:lnTo>
                      <a:pt x="30" y="24"/>
                    </a:lnTo>
                    <a:lnTo>
                      <a:pt x="24" y="28"/>
                    </a:lnTo>
                    <a:lnTo>
                      <a:pt x="14" y="26"/>
                    </a:lnTo>
                    <a:lnTo>
                      <a:pt x="10" y="16"/>
                    </a:lnTo>
                    <a:lnTo>
                      <a:pt x="0" y="10"/>
                    </a:lnTo>
                    <a:lnTo>
                      <a:pt x="0" y="0"/>
                    </a:lnTo>
                    <a:lnTo>
                      <a:pt x="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0" name="Freeform 109"/>
              <p:cNvSpPr>
                <a:spLocks/>
              </p:cNvSpPr>
              <p:nvPr/>
            </p:nvSpPr>
            <p:spPr bwMode="auto">
              <a:xfrm>
                <a:off x="1719" y="1217"/>
                <a:ext cx="70" cy="36"/>
              </a:xfrm>
              <a:custGeom>
                <a:avLst/>
                <a:gdLst>
                  <a:gd name="T0" fmla="*/ 24 w 70"/>
                  <a:gd name="T1" fmla="*/ 0 h 36"/>
                  <a:gd name="T2" fmla="*/ 8 w 70"/>
                  <a:gd name="T3" fmla="*/ 0 h 36"/>
                  <a:gd name="T4" fmla="*/ 4 w 70"/>
                  <a:gd name="T5" fmla="*/ 0 h 36"/>
                  <a:gd name="T6" fmla="*/ 4 w 70"/>
                  <a:gd name="T7" fmla="*/ 0 h 36"/>
                  <a:gd name="T8" fmla="*/ 2 w 70"/>
                  <a:gd name="T9" fmla="*/ 0 h 36"/>
                  <a:gd name="T10" fmla="*/ 0 w 70"/>
                  <a:gd name="T11" fmla="*/ 4 h 36"/>
                  <a:gd name="T12" fmla="*/ 0 w 70"/>
                  <a:gd name="T13" fmla="*/ 14 h 36"/>
                  <a:gd name="T14" fmla="*/ 0 w 70"/>
                  <a:gd name="T15" fmla="*/ 14 h 36"/>
                  <a:gd name="T16" fmla="*/ 2 w 70"/>
                  <a:gd name="T17" fmla="*/ 16 h 36"/>
                  <a:gd name="T18" fmla="*/ 10 w 70"/>
                  <a:gd name="T19" fmla="*/ 22 h 36"/>
                  <a:gd name="T20" fmla="*/ 14 w 70"/>
                  <a:gd name="T21" fmla="*/ 30 h 36"/>
                  <a:gd name="T22" fmla="*/ 14 w 70"/>
                  <a:gd name="T23" fmla="*/ 30 h 36"/>
                  <a:gd name="T24" fmla="*/ 16 w 70"/>
                  <a:gd name="T25" fmla="*/ 34 h 36"/>
                  <a:gd name="T26" fmla="*/ 26 w 70"/>
                  <a:gd name="T27" fmla="*/ 36 h 36"/>
                  <a:gd name="T28" fmla="*/ 26 w 70"/>
                  <a:gd name="T29" fmla="*/ 36 h 36"/>
                  <a:gd name="T30" fmla="*/ 28 w 70"/>
                  <a:gd name="T31" fmla="*/ 36 h 36"/>
                  <a:gd name="T32" fmla="*/ 28 w 70"/>
                  <a:gd name="T33" fmla="*/ 36 h 36"/>
                  <a:gd name="T34" fmla="*/ 30 w 70"/>
                  <a:gd name="T35" fmla="*/ 34 h 36"/>
                  <a:gd name="T36" fmla="*/ 34 w 70"/>
                  <a:gd name="T37" fmla="*/ 32 h 36"/>
                  <a:gd name="T38" fmla="*/ 46 w 70"/>
                  <a:gd name="T39" fmla="*/ 32 h 36"/>
                  <a:gd name="T40" fmla="*/ 58 w 70"/>
                  <a:gd name="T41" fmla="*/ 32 h 36"/>
                  <a:gd name="T42" fmla="*/ 58 w 70"/>
                  <a:gd name="T43" fmla="*/ 32 h 36"/>
                  <a:gd name="T44" fmla="*/ 58 w 70"/>
                  <a:gd name="T45" fmla="*/ 32 h 36"/>
                  <a:gd name="T46" fmla="*/ 68 w 70"/>
                  <a:gd name="T47" fmla="*/ 30 h 36"/>
                  <a:gd name="T48" fmla="*/ 68 w 70"/>
                  <a:gd name="T49" fmla="*/ 30 h 36"/>
                  <a:gd name="T50" fmla="*/ 70 w 70"/>
                  <a:gd name="T51" fmla="*/ 26 h 36"/>
                  <a:gd name="T52" fmla="*/ 70 w 70"/>
                  <a:gd name="T53" fmla="*/ 26 h 36"/>
                  <a:gd name="T54" fmla="*/ 70 w 70"/>
                  <a:gd name="T55" fmla="*/ 22 h 36"/>
                  <a:gd name="T56" fmla="*/ 62 w 70"/>
                  <a:gd name="T57" fmla="*/ 12 h 36"/>
                  <a:gd name="T58" fmla="*/ 62 w 70"/>
                  <a:gd name="T59" fmla="*/ 12 h 36"/>
                  <a:gd name="T60" fmla="*/ 62 w 70"/>
                  <a:gd name="T61" fmla="*/ 12 h 36"/>
                  <a:gd name="T62" fmla="*/ 44 w 70"/>
                  <a:gd name="T63" fmla="*/ 2 h 36"/>
                  <a:gd name="T64" fmla="*/ 44 w 70"/>
                  <a:gd name="T65" fmla="*/ 2 h 36"/>
                  <a:gd name="T66" fmla="*/ 42 w 70"/>
                  <a:gd name="T67" fmla="*/ 2 h 36"/>
                  <a:gd name="T68" fmla="*/ 24 w 70"/>
                  <a:gd name="T69" fmla="*/ 0 h 36"/>
                  <a:gd name="T70" fmla="*/ 24 w 70"/>
                  <a:gd name="T71" fmla="*/ 0 h 36"/>
                  <a:gd name="T72" fmla="*/ 24 w 70"/>
                  <a:gd name="T73" fmla="*/ 0 h 36"/>
                  <a:gd name="T74" fmla="*/ 24 w 7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6">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1" name="Freeform 110"/>
              <p:cNvSpPr>
                <a:spLocks/>
              </p:cNvSpPr>
              <p:nvPr/>
            </p:nvSpPr>
            <p:spPr bwMode="auto">
              <a:xfrm>
                <a:off x="1773" y="1359"/>
                <a:ext cx="36" cy="32"/>
              </a:xfrm>
              <a:custGeom>
                <a:avLst/>
                <a:gdLst>
                  <a:gd name="T0" fmla="*/ 14 w 36"/>
                  <a:gd name="T1" fmla="*/ 32 h 32"/>
                  <a:gd name="T2" fmla="*/ 14 w 36"/>
                  <a:gd name="T3" fmla="*/ 32 h 32"/>
                  <a:gd name="T4" fmla="*/ 14 w 36"/>
                  <a:gd name="T5" fmla="*/ 32 h 32"/>
                  <a:gd name="T6" fmla="*/ 0 w 36"/>
                  <a:gd name="T7" fmla="*/ 28 h 32"/>
                  <a:gd name="T8" fmla="*/ 0 w 36"/>
                  <a:gd name="T9" fmla="*/ 28 h 32"/>
                  <a:gd name="T10" fmla="*/ 0 w 36"/>
                  <a:gd name="T11" fmla="*/ 26 h 32"/>
                  <a:gd name="T12" fmla="*/ 2 w 36"/>
                  <a:gd name="T13" fmla="*/ 12 h 32"/>
                  <a:gd name="T14" fmla="*/ 6 w 36"/>
                  <a:gd name="T15" fmla="*/ 4 h 32"/>
                  <a:gd name="T16" fmla="*/ 6 w 36"/>
                  <a:gd name="T17" fmla="*/ 4 h 32"/>
                  <a:gd name="T18" fmla="*/ 6 w 36"/>
                  <a:gd name="T19" fmla="*/ 4 h 32"/>
                  <a:gd name="T20" fmla="*/ 12 w 36"/>
                  <a:gd name="T21" fmla="*/ 2 h 32"/>
                  <a:gd name="T22" fmla="*/ 24 w 36"/>
                  <a:gd name="T23" fmla="*/ 0 h 32"/>
                  <a:gd name="T24" fmla="*/ 24 w 36"/>
                  <a:gd name="T25" fmla="*/ 0 h 32"/>
                  <a:gd name="T26" fmla="*/ 24 w 36"/>
                  <a:gd name="T27" fmla="*/ 0 h 32"/>
                  <a:gd name="T28" fmla="*/ 24 w 36"/>
                  <a:gd name="T29" fmla="*/ 0 h 32"/>
                  <a:gd name="T30" fmla="*/ 24 w 36"/>
                  <a:gd name="T31" fmla="*/ 0 h 32"/>
                  <a:gd name="T32" fmla="*/ 36 w 36"/>
                  <a:gd name="T33" fmla="*/ 4 h 32"/>
                  <a:gd name="T34" fmla="*/ 36 w 36"/>
                  <a:gd name="T35" fmla="*/ 4 h 32"/>
                  <a:gd name="T36" fmla="*/ 36 w 36"/>
                  <a:gd name="T37" fmla="*/ 6 h 32"/>
                  <a:gd name="T38" fmla="*/ 36 w 36"/>
                  <a:gd name="T39" fmla="*/ 10 h 32"/>
                  <a:gd name="T40" fmla="*/ 34 w 36"/>
                  <a:gd name="T41" fmla="*/ 20 h 32"/>
                  <a:gd name="T42" fmla="*/ 34 w 36"/>
                  <a:gd name="T43" fmla="*/ 20 h 32"/>
                  <a:gd name="T44" fmla="*/ 34 w 36"/>
                  <a:gd name="T45" fmla="*/ 22 h 32"/>
                  <a:gd name="T46" fmla="*/ 26 w 36"/>
                  <a:gd name="T47" fmla="*/ 28 h 32"/>
                  <a:gd name="T48" fmla="*/ 14 w 36"/>
                  <a:gd name="T49" fmla="*/ 32 h 32"/>
                  <a:gd name="T50" fmla="*/ 14 w 36"/>
                  <a:gd name="T51" fmla="*/ 32 h 32"/>
                  <a:gd name="T52" fmla="*/ 14 w 36"/>
                  <a:gd name="T53" fmla="*/ 32 h 32"/>
                  <a:gd name="T54" fmla="*/ 14 w 3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2">
                    <a:moveTo>
                      <a:pt x="14" y="32"/>
                    </a:moveTo>
                    <a:lnTo>
                      <a:pt x="14" y="32"/>
                    </a:lnTo>
                    <a:lnTo>
                      <a:pt x="14" y="32"/>
                    </a:lnTo>
                    <a:lnTo>
                      <a:pt x="0" y="28"/>
                    </a:lnTo>
                    <a:lnTo>
                      <a:pt x="0" y="28"/>
                    </a:lnTo>
                    <a:lnTo>
                      <a:pt x="0" y="26"/>
                    </a:lnTo>
                    <a:lnTo>
                      <a:pt x="2" y="12"/>
                    </a:lnTo>
                    <a:lnTo>
                      <a:pt x="6" y="4"/>
                    </a:lnTo>
                    <a:lnTo>
                      <a:pt x="6" y="4"/>
                    </a:lnTo>
                    <a:lnTo>
                      <a:pt x="6" y="4"/>
                    </a:lnTo>
                    <a:lnTo>
                      <a:pt x="12" y="2"/>
                    </a:lnTo>
                    <a:lnTo>
                      <a:pt x="24" y="0"/>
                    </a:lnTo>
                    <a:lnTo>
                      <a:pt x="24" y="0"/>
                    </a:lnTo>
                    <a:lnTo>
                      <a:pt x="24" y="0"/>
                    </a:lnTo>
                    <a:lnTo>
                      <a:pt x="24" y="0"/>
                    </a:lnTo>
                    <a:lnTo>
                      <a:pt x="24" y="0"/>
                    </a:lnTo>
                    <a:lnTo>
                      <a:pt x="36" y="4"/>
                    </a:lnTo>
                    <a:lnTo>
                      <a:pt x="36" y="4"/>
                    </a:lnTo>
                    <a:lnTo>
                      <a:pt x="36" y="6"/>
                    </a:lnTo>
                    <a:lnTo>
                      <a:pt x="36" y="10"/>
                    </a:lnTo>
                    <a:lnTo>
                      <a:pt x="34" y="20"/>
                    </a:lnTo>
                    <a:lnTo>
                      <a:pt x="34" y="20"/>
                    </a:lnTo>
                    <a:lnTo>
                      <a:pt x="34" y="22"/>
                    </a:lnTo>
                    <a:lnTo>
                      <a:pt x="26" y="28"/>
                    </a:lnTo>
                    <a:lnTo>
                      <a:pt x="14" y="32"/>
                    </a:lnTo>
                    <a:lnTo>
                      <a:pt x="14"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2" name="Freeform 111"/>
              <p:cNvSpPr>
                <a:spLocks noEditPoints="1"/>
              </p:cNvSpPr>
              <p:nvPr/>
            </p:nvSpPr>
            <p:spPr bwMode="auto">
              <a:xfrm>
                <a:off x="1771" y="1357"/>
                <a:ext cx="40" cy="36"/>
              </a:xfrm>
              <a:custGeom>
                <a:avLst/>
                <a:gdLst>
                  <a:gd name="T0" fmla="*/ 26 w 40"/>
                  <a:gd name="T1" fmla="*/ 4 h 36"/>
                  <a:gd name="T2" fmla="*/ 36 w 40"/>
                  <a:gd name="T3" fmla="*/ 8 h 36"/>
                  <a:gd name="T4" fmla="*/ 36 w 40"/>
                  <a:gd name="T5" fmla="*/ 12 h 36"/>
                  <a:gd name="T6" fmla="*/ 34 w 40"/>
                  <a:gd name="T7" fmla="*/ 22 h 36"/>
                  <a:gd name="T8" fmla="*/ 28 w 40"/>
                  <a:gd name="T9" fmla="*/ 28 h 36"/>
                  <a:gd name="T10" fmla="*/ 16 w 40"/>
                  <a:gd name="T11" fmla="*/ 32 h 36"/>
                  <a:gd name="T12" fmla="*/ 4 w 40"/>
                  <a:gd name="T13" fmla="*/ 28 h 36"/>
                  <a:gd name="T14" fmla="*/ 6 w 40"/>
                  <a:gd name="T15" fmla="*/ 14 h 36"/>
                  <a:gd name="T16" fmla="*/ 8 w 40"/>
                  <a:gd name="T17" fmla="*/ 8 h 36"/>
                  <a:gd name="T18" fmla="*/ 14 w 40"/>
                  <a:gd name="T19" fmla="*/ 6 h 36"/>
                  <a:gd name="T20" fmla="*/ 26 w 40"/>
                  <a:gd name="T21" fmla="*/ 4 h 36"/>
                  <a:gd name="T22" fmla="*/ 26 w 40"/>
                  <a:gd name="T23" fmla="*/ 0 h 36"/>
                  <a:gd name="T24" fmla="*/ 26 w 40"/>
                  <a:gd name="T25" fmla="*/ 0 h 36"/>
                  <a:gd name="T26" fmla="*/ 24 w 40"/>
                  <a:gd name="T27" fmla="*/ 0 h 36"/>
                  <a:gd name="T28" fmla="*/ 14 w 40"/>
                  <a:gd name="T29" fmla="*/ 2 h 36"/>
                  <a:gd name="T30" fmla="*/ 14 w 40"/>
                  <a:gd name="T31" fmla="*/ 2 h 36"/>
                  <a:gd name="T32" fmla="*/ 14 w 40"/>
                  <a:gd name="T33" fmla="*/ 2 h 36"/>
                  <a:gd name="T34" fmla="*/ 8 w 40"/>
                  <a:gd name="T35" fmla="*/ 4 h 36"/>
                  <a:gd name="T36" fmla="*/ 8 w 40"/>
                  <a:gd name="T37" fmla="*/ 4 h 36"/>
                  <a:gd name="T38" fmla="*/ 6 w 40"/>
                  <a:gd name="T39" fmla="*/ 6 h 36"/>
                  <a:gd name="T40" fmla="*/ 2 w 40"/>
                  <a:gd name="T41" fmla="*/ 12 h 36"/>
                  <a:gd name="T42" fmla="*/ 2 w 40"/>
                  <a:gd name="T43" fmla="*/ 12 h 36"/>
                  <a:gd name="T44" fmla="*/ 2 w 40"/>
                  <a:gd name="T45" fmla="*/ 14 h 36"/>
                  <a:gd name="T46" fmla="*/ 0 w 40"/>
                  <a:gd name="T47" fmla="*/ 28 h 36"/>
                  <a:gd name="T48" fmla="*/ 0 w 40"/>
                  <a:gd name="T49" fmla="*/ 28 h 36"/>
                  <a:gd name="T50" fmla="*/ 0 w 40"/>
                  <a:gd name="T51" fmla="*/ 30 h 36"/>
                  <a:gd name="T52" fmla="*/ 2 w 40"/>
                  <a:gd name="T53" fmla="*/ 32 h 36"/>
                  <a:gd name="T54" fmla="*/ 16 w 40"/>
                  <a:gd name="T55" fmla="*/ 36 h 36"/>
                  <a:gd name="T56" fmla="*/ 16 w 40"/>
                  <a:gd name="T57" fmla="*/ 36 h 36"/>
                  <a:gd name="T58" fmla="*/ 16 w 40"/>
                  <a:gd name="T59" fmla="*/ 36 h 36"/>
                  <a:gd name="T60" fmla="*/ 16 w 40"/>
                  <a:gd name="T61" fmla="*/ 36 h 36"/>
                  <a:gd name="T62" fmla="*/ 18 w 40"/>
                  <a:gd name="T63" fmla="*/ 36 h 36"/>
                  <a:gd name="T64" fmla="*/ 28 w 40"/>
                  <a:gd name="T65" fmla="*/ 32 h 36"/>
                  <a:gd name="T66" fmla="*/ 28 w 40"/>
                  <a:gd name="T67" fmla="*/ 32 h 36"/>
                  <a:gd name="T68" fmla="*/ 30 w 40"/>
                  <a:gd name="T69" fmla="*/ 30 h 36"/>
                  <a:gd name="T70" fmla="*/ 38 w 40"/>
                  <a:gd name="T71" fmla="*/ 26 h 36"/>
                  <a:gd name="T72" fmla="*/ 38 w 40"/>
                  <a:gd name="T73" fmla="*/ 26 h 36"/>
                  <a:gd name="T74" fmla="*/ 38 w 40"/>
                  <a:gd name="T75" fmla="*/ 22 h 36"/>
                  <a:gd name="T76" fmla="*/ 40 w 40"/>
                  <a:gd name="T77" fmla="*/ 14 h 36"/>
                  <a:gd name="T78" fmla="*/ 40 w 40"/>
                  <a:gd name="T79" fmla="*/ 14 h 36"/>
                  <a:gd name="T80" fmla="*/ 40 w 40"/>
                  <a:gd name="T81" fmla="*/ 12 h 36"/>
                  <a:gd name="T82" fmla="*/ 40 w 40"/>
                  <a:gd name="T83" fmla="*/ 8 h 36"/>
                  <a:gd name="T84" fmla="*/ 40 w 40"/>
                  <a:gd name="T85" fmla="*/ 8 h 36"/>
                  <a:gd name="T86" fmla="*/ 40 w 40"/>
                  <a:gd name="T87" fmla="*/ 4 h 36"/>
                  <a:gd name="T88" fmla="*/ 38 w 40"/>
                  <a:gd name="T89" fmla="*/ 4 h 36"/>
                  <a:gd name="T90" fmla="*/ 26 w 40"/>
                  <a:gd name="T91" fmla="*/ 0 h 36"/>
                  <a:gd name="T92" fmla="*/ 26 w 40"/>
                  <a:gd name="T93" fmla="*/ 0 h 36"/>
                  <a:gd name="T94" fmla="*/ 26 w 40"/>
                  <a:gd name="T95" fmla="*/ 0 h 36"/>
                  <a:gd name="T96" fmla="*/ 26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26" y="4"/>
                    </a:moveTo>
                    <a:lnTo>
                      <a:pt x="36" y="8"/>
                    </a:lnTo>
                    <a:lnTo>
                      <a:pt x="36" y="12"/>
                    </a:lnTo>
                    <a:lnTo>
                      <a:pt x="34" y="22"/>
                    </a:lnTo>
                    <a:lnTo>
                      <a:pt x="28" y="28"/>
                    </a:lnTo>
                    <a:lnTo>
                      <a:pt x="16" y="32"/>
                    </a:lnTo>
                    <a:lnTo>
                      <a:pt x="4" y="28"/>
                    </a:lnTo>
                    <a:lnTo>
                      <a:pt x="6" y="14"/>
                    </a:lnTo>
                    <a:lnTo>
                      <a:pt x="8" y="8"/>
                    </a:lnTo>
                    <a:lnTo>
                      <a:pt x="14" y="6"/>
                    </a:lnTo>
                    <a:lnTo>
                      <a:pt x="26" y="4"/>
                    </a:lnTo>
                    <a:close/>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3" name="Freeform 112"/>
              <p:cNvSpPr>
                <a:spLocks/>
              </p:cNvSpPr>
              <p:nvPr/>
            </p:nvSpPr>
            <p:spPr bwMode="auto">
              <a:xfrm>
                <a:off x="1775" y="1361"/>
                <a:ext cx="32" cy="28"/>
              </a:xfrm>
              <a:custGeom>
                <a:avLst/>
                <a:gdLst>
                  <a:gd name="T0" fmla="*/ 22 w 32"/>
                  <a:gd name="T1" fmla="*/ 0 h 28"/>
                  <a:gd name="T2" fmla="*/ 32 w 32"/>
                  <a:gd name="T3" fmla="*/ 4 h 28"/>
                  <a:gd name="T4" fmla="*/ 32 w 32"/>
                  <a:gd name="T5" fmla="*/ 8 h 28"/>
                  <a:gd name="T6" fmla="*/ 30 w 32"/>
                  <a:gd name="T7" fmla="*/ 18 h 28"/>
                  <a:gd name="T8" fmla="*/ 24 w 32"/>
                  <a:gd name="T9" fmla="*/ 24 h 28"/>
                  <a:gd name="T10" fmla="*/ 12 w 32"/>
                  <a:gd name="T11" fmla="*/ 28 h 28"/>
                  <a:gd name="T12" fmla="*/ 0 w 32"/>
                  <a:gd name="T13" fmla="*/ 24 h 28"/>
                  <a:gd name="T14" fmla="*/ 2 w 32"/>
                  <a:gd name="T15" fmla="*/ 10 h 28"/>
                  <a:gd name="T16" fmla="*/ 4 w 32"/>
                  <a:gd name="T17" fmla="*/ 4 h 28"/>
                  <a:gd name="T18" fmla="*/ 10 w 32"/>
                  <a:gd name="T19" fmla="*/ 2 h 28"/>
                  <a:gd name="T20" fmla="*/ 22 w 32"/>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22" y="0"/>
                    </a:moveTo>
                    <a:lnTo>
                      <a:pt x="32" y="4"/>
                    </a:lnTo>
                    <a:lnTo>
                      <a:pt x="32" y="8"/>
                    </a:lnTo>
                    <a:lnTo>
                      <a:pt x="30" y="18"/>
                    </a:lnTo>
                    <a:lnTo>
                      <a:pt x="24" y="24"/>
                    </a:lnTo>
                    <a:lnTo>
                      <a:pt x="12" y="28"/>
                    </a:lnTo>
                    <a:lnTo>
                      <a:pt x="0" y="24"/>
                    </a:lnTo>
                    <a:lnTo>
                      <a:pt x="2" y="10"/>
                    </a:lnTo>
                    <a:lnTo>
                      <a:pt x="4" y="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4" name="Freeform 113"/>
              <p:cNvSpPr>
                <a:spLocks/>
              </p:cNvSpPr>
              <p:nvPr/>
            </p:nvSpPr>
            <p:spPr bwMode="auto">
              <a:xfrm>
                <a:off x="1771" y="1357"/>
                <a:ext cx="40" cy="36"/>
              </a:xfrm>
              <a:custGeom>
                <a:avLst/>
                <a:gdLst>
                  <a:gd name="T0" fmla="*/ 26 w 40"/>
                  <a:gd name="T1" fmla="*/ 0 h 36"/>
                  <a:gd name="T2" fmla="*/ 26 w 40"/>
                  <a:gd name="T3" fmla="*/ 0 h 36"/>
                  <a:gd name="T4" fmla="*/ 24 w 40"/>
                  <a:gd name="T5" fmla="*/ 0 h 36"/>
                  <a:gd name="T6" fmla="*/ 14 w 40"/>
                  <a:gd name="T7" fmla="*/ 2 h 36"/>
                  <a:gd name="T8" fmla="*/ 14 w 40"/>
                  <a:gd name="T9" fmla="*/ 2 h 36"/>
                  <a:gd name="T10" fmla="*/ 14 w 40"/>
                  <a:gd name="T11" fmla="*/ 2 h 36"/>
                  <a:gd name="T12" fmla="*/ 8 w 40"/>
                  <a:gd name="T13" fmla="*/ 4 h 36"/>
                  <a:gd name="T14" fmla="*/ 8 w 40"/>
                  <a:gd name="T15" fmla="*/ 4 h 36"/>
                  <a:gd name="T16" fmla="*/ 6 w 40"/>
                  <a:gd name="T17" fmla="*/ 6 h 36"/>
                  <a:gd name="T18" fmla="*/ 2 w 40"/>
                  <a:gd name="T19" fmla="*/ 12 h 36"/>
                  <a:gd name="T20" fmla="*/ 2 w 40"/>
                  <a:gd name="T21" fmla="*/ 12 h 36"/>
                  <a:gd name="T22" fmla="*/ 2 w 40"/>
                  <a:gd name="T23" fmla="*/ 14 h 36"/>
                  <a:gd name="T24" fmla="*/ 0 w 40"/>
                  <a:gd name="T25" fmla="*/ 28 h 36"/>
                  <a:gd name="T26" fmla="*/ 0 w 40"/>
                  <a:gd name="T27" fmla="*/ 28 h 36"/>
                  <a:gd name="T28" fmla="*/ 0 w 40"/>
                  <a:gd name="T29" fmla="*/ 30 h 36"/>
                  <a:gd name="T30" fmla="*/ 2 w 40"/>
                  <a:gd name="T31" fmla="*/ 32 h 36"/>
                  <a:gd name="T32" fmla="*/ 16 w 40"/>
                  <a:gd name="T33" fmla="*/ 36 h 36"/>
                  <a:gd name="T34" fmla="*/ 16 w 40"/>
                  <a:gd name="T35" fmla="*/ 36 h 36"/>
                  <a:gd name="T36" fmla="*/ 16 w 40"/>
                  <a:gd name="T37" fmla="*/ 36 h 36"/>
                  <a:gd name="T38" fmla="*/ 16 w 40"/>
                  <a:gd name="T39" fmla="*/ 36 h 36"/>
                  <a:gd name="T40" fmla="*/ 18 w 40"/>
                  <a:gd name="T41" fmla="*/ 36 h 36"/>
                  <a:gd name="T42" fmla="*/ 28 w 40"/>
                  <a:gd name="T43" fmla="*/ 32 h 36"/>
                  <a:gd name="T44" fmla="*/ 28 w 40"/>
                  <a:gd name="T45" fmla="*/ 32 h 36"/>
                  <a:gd name="T46" fmla="*/ 30 w 40"/>
                  <a:gd name="T47" fmla="*/ 30 h 36"/>
                  <a:gd name="T48" fmla="*/ 38 w 40"/>
                  <a:gd name="T49" fmla="*/ 26 h 36"/>
                  <a:gd name="T50" fmla="*/ 38 w 40"/>
                  <a:gd name="T51" fmla="*/ 26 h 36"/>
                  <a:gd name="T52" fmla="*/ 38 w 40"/>
                  <a:gd name="T53" fmla="*/ 22 h 36"/>
                  <a:gd name="T54" fmla="*/ 40 w 40"/>
                  <a:gd name="T55" fmla="*/ 14 h 36"/>
                  <a:gd name="T56" fmla="*/ 40 w 40"/>
                  <a:gd name="T57" fmla="*/ 14 h 36"/>
                  <a:gd name="T58" fmla="*/ 40 w 40"/>
                  <a:gd name="T59" fmla="*/ 12 h 36"/>
                  <a:gd name="T60" fmla="*/ 40 w 40"/>
                  <a:gd name="T61" fmla="*/ 8 h 36"/>
                  <a:gd name="T62" fmla="*/ 40 w 40"/>
                  <a:gd name="T63" fmla="*/ 8 h 36"/>
                  <a:gd name="T64" fmla="*/ 40 w 40"/>
                  <a:gd name="T65" fmla="*/ 4 h 36"/>
                  <a:gd name="T66" fmla="*/ 38 w 40"/>
                  <a:gd name="T67" fmla="*/ 4 h 36"/>
                  <a:gd name="T68" fmla="*/ 26 w 40"/>
                  <a:gd name="T69" fmla="*/ 0 h 36"/>
                  <a:gd name="T70" fmla="*/ 26 w 40"/>
                  <a:gd name="T71" fmla="*/ 0 h 36"/>
                  <a:gd name="T72" fmla="*/ 26 w 40"/>
                  <a:gd name="T73" fmla="*/ 0 h 36"/>
                  <a:gd name="T74" fmla="*/ 26 w 4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36">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5" name="Freeform 114"/>
              <p:cNvSpPr>
                <a:spLocks/>
              </p:cNvSpPr>
              <p:nvPr/>
            </p:nvSpPr>
            <p:spPr bwMode="auto">
              <a:xfrm>
                <a:off x="1633" y="1421"/>
                <a:ext cx="98" cy="64"/>
              </a:xfrm>
              <a:custGeom>
                <a:avLst/>
                <a:gdLst>
                  <a:gd name="T0" fmla="*/ 22 w 98"/>
                  <a:gd name="T1" fmla="*/ 64 h 64"/>
                  <a:gd name="T2" fmla="*/ 20 w 98"/>
                  <a:gd name="T3" fmla="*/ 64 h 64"/>
                  <a:gd name="T4" fmla="*/ 22 w 98"/>
                  <a:gd name="T5" fmla="*/ 52 h 64"/>
                  <a:gd name="T6" fmla="*/ 8 w 98"/>
                  <a:gd name="T7" fmla="*/ 56 h 64"/>
                  <a:gd name="T8" fmla="*/ 6 w 98"/>
                  <a:gd name="T9" fmla="*/ 58 h 64"/>
                  <a:gd name="T10" fmla="*/ 6 w 98"/>
                  <a:gd name="T11" fmla="*/ 58 h 64"/>
                  <a:gd name="T12" fmla="*/ 6 w 98"/>
                  <a:gd name="T13" fmla="*/ 58 h 64"/>
                  <a:gd name="T14" fmla="*/ 0 w 98"/>
                  <a:gd name="T15" fmla="*/ 52 h 64"/>
                  <a:gd name="T16" fmla="*/ 4 w 98"/>
                  <a:gd name="T17" fmla="*/ 42 h 64"/>
                  <a:gd name="T18" fmla="*/ 14 w 98"/>
                  <a:gd name="T19" fmla="*/ 24 h 64"/>
                  <a:gd name="T20" fmla="*/ 14 w 98"/>
                  <a:gd name="T21" fmla="*/ 24 h 64"/>
                  <a:gd name="T22" fmla="*/ 14 w 98"/>
                  <a:gd name="T23" fmla="*/ 6 h 64"/>
                  <a:gd name="T24" fmla="*/ 16 w 98"/>
                  <a:gd name="T25" fmla="*/ 4 h 64"/>
                  <a:gd name="T26" fmla="*/ 24 w 98"/>
                  <a:gd name="T27" fmla="*/ 0 h 64"/>
                  <a:gd name="T28" fmla="*/ 36 w 98"/>
                  <a:gd name="T29" fmla="*/ 0 h 64"/>
                  <a:gd name="T30" fmla="*/ 38 w 98"/>
                  <a:gd name="T31" fmla="*/ 2 h 64"/>
                  <a:gd name="T32" fmla="*/ 40 w 98"/>
                  <a:gd name="T33" fmla="*/ 10 h 64"/>
                  <a:gd name="T34" fmla="*/ 46 w 98"/>
                  <a:gd name="T35" fmla="*/ 12 h 64"/>
                  <a:gd name="T36" fmla="*/ 50 w 98"/>
                  <a:gd name="T37" fmla="*/ 14 h 64"/>
                  <a:gd name="T38" fmla="*/ 56 w 98"/>
                  <a:gd name="T39" fmla="*/ 18 h 64"/>
                  <a:gd name="T40" fmla="*/ 56 w 98"/>
                  <a:gd name="T41" fmla="*/ 20 h 64"/>
                  <a:gd name="T42" fmla="*/ 74 w 98"/>
                  <a:gd name="T43" fmla="*/ 28 h 64"/>
                  <a:gd name="T44" fmla="*/ 76 w 98"/>
                  <a:gd name="T45" fmla="*/ 28 h 64"/>
                  <a:gd name="T46" fmla="*/ 80 w 98"/>
                  <a:gd name="T47" fmla="*/ 40 h 64"/>
                  <a:gd name="T48" fmla="*/ 96 w 98"/>
                  <a:gd name="T49" fmla="*/ 42 h 64"/>
                  <a:gd name="T50" fmla="*/ 96 w 98"/>
                  <a:gd name="T51" fmla="*/ 42 h 64"/>
                  <a:gd name="T52" fmla="*/ 98 w 98"/>
                  <a:gd name="T53" fmla="*/ 46 h 64"/>
                  <a:gd name="T54" fmla="*/ 98 w 98"/>
                  <a:gd name="T55" fmla="*/ 50 h 64"/>
                  <a:gd name="T56" fmla="*/ 96 w 98"/>
                  <a:gd name="T57" fmla="*/ 52 h 64"/>
                  <a:gd name="T58" fmla="*/ 94 w 98"/>
                  <a:gd name="T59" fmla="*/ 54 h 64"/>
                  <a:gd name="T60" fmla="*/ 94 w 98"/>
                  <a:gd name="T61" fmla="*/ 56 h 64"/>
                  <a:gd name="T62" fmla="*/ 90 w 98"/>
                  <a:gd name="T63" fmla="*/ 58 h 64"/>
                  <a:gd name="T64" fmla="*/ 88 w 98"/>
                  <a:gd name="T65" fmla="*/ 58 h 64"/>
                  <a:gd name="T66" fmla="*/ 88 w 98"/>
                  <a:gd name="T67" fmla="*/ 58 h 64"/>
                  <a:gd name="T68" fmla="*/ 74 w 98"/>
                  <a:gd name="T69" fmla="*/ 54 h 64"/>
                  <a:gd name="T70" fmla="*/ 58 w 98"/>
                  <a:gd name="T71" fmla="*/ 44 h 64"/>
                  <a:gd name="T72" fmla="*/ 54 w 98"/>
                  <a:gd name="T73" fmla="*/ 42 h 64"/>
                  <a:gd name="T74" fmla="*/ 48 w 98"/>
                  <a:gd name="T75" fmla="*/ 52 h 64"/>
                  <a:gd name="T76" fmla="*/ 38 w 98"/>
                  <a:gd name="T77" fmla="*/ 62 h 64"/>
                  <a:gd name="T78" fmla="*/ 36 w 98"/>
                  <a:gd name="T79" fmla="*/ 62 h 64"/>
                  <a:gd name="T80" fmla="*/ 22 w 98"/>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64">
                    <a:moveTo>
                      <a:pt x="22" y="64"/>
                    </a:moveTo>
                    <a:lnTo>
                      <a:pt x="22" y="64"/>
                    </a:lnTo>
                    <a:lnTo>
                      <a:pt x="20" y="64"/>
                    </a:lnTo>
                    <a:lnTo>
                      <a:pt x="20" y="64"/>
                    </a:lnTo>
                    <a:lnTo>
                      <a:pt x="20" y="62"/>
                    </a:lnTo>
                    <a:lnTo>
                      <a:pt x="22" y="52"/>
                    </a:lnTo>
                    <a:lnTo>
                      <a:pt x="12" y="52"/>
                    </a:lnTo>
                    <a:lnTo>
                      <a:pt x="8" y="56"/>
                    </a:lnTo>
                    <a:lnTo>
                      <a:pt x="8" y="56"/>
                    </a:lnTo>
                    <a:lnTo>
                      <a:pt x="6" y="58"/>
                    </a:lnTo>
                    <a:lnTo>
                      <a:pt x="6" y="58"/>
                    </a:lnTo>
                    <a:lnTo>
                      <a:pt x="6" y="58"/>
                    </a:lnTo>
                    <a:lnTo>
                      <a:pt x="6" y="58"/>
                    </a:lnTo>
                    <a:lnTo>
                      <a:pt x="6" y="58"/>
                    </a:lnTo>
                    <a:lnTo>
                      <a:pt x="0" y="52"/>
                    </a:lnTo>
                    <a:lnTo>
                      <a:pt x="0" y="52"/>
                    </a:lnTo>
                    <a:lnTo>
                      <a:pt x="0" y="50"/>
                    </a:lnTo>
                    <a:lnTo>
                      <a:pt x="4" y="42"/>
                    </a:lnTo>
                    <a:lnTo>
                      <a:pt x="14" y="34"/>
                    </a:lnTo>
                    <a:lnTo>
                      <a:pt x="14" y="24"/>
                    </a:lnTo>
                    <a:lnTo>
                      <a:pt x="14" y="24"/>
                    </a:lnTo>
                    <a:lnTo>
                      <a:pt x="14" y="24"/>
                    </a:lnTo>
                    <a:lnTo>
                      <a:pt x="14" y="20"/>
                    </a:lnTo>
                    <a:lnTo>
                      <a:pt x="14" y="6"/>
                    </a:lnTo>
                    <a:lnTo>
                      <a:pt x="14" y="6"/>
                    </a:lnTo>
                    <a:lnTo>
                      <a:pt x="16" y="4"/>
                    </a:lnTo>
                    <a:lnTo>
                      <a:pt x="24" y="0"/>
                    </a:lnTo>
                    <a:lnTo>
                      <a:pt x="24" y="0"/>
                    </a:lnTo>
                    <a:lnTo>
                      <a:pt x="26" y="0"/>
                    </a:lnTo>
                    <a:lnTo>
                      <a:pt x="36" y="0"/>
                    </a:lnTo>
                    <a:lnTo>
                      <a:pt x="36" y="0"/>
                    </a:lnTo>
                    <a:lnTo>
                      <a:pt x="38" y="2"/>
                    </a:lnTo>
                    <a:lnTo>
                      <a:pt x="38" y="8"/>
                    </a:lnTo>
                    <a:lnTo>
                      <a:pt x="40" y="10"/>
                    </a:lnTo>
                    <a:lnTo>
                      <a:pt x="46" y="12"/>
                    </a:lnTo>
                    <a:lnTo>
                      <a:pt x="46" y="12"/>
                    </a:lnTo>
                    <a:lnTo>
                      <a:pt x="48" y="12"/>
                    </a:lnTo>
                    <a:lnTo>
                      <a:pt x="50" y="14"/>
                    </a:lnTo>
                    <a:lnTo>
                      <a:pt x="52" y="18"/>
                    </a:lnTo>
                    <a:lnTo>
                      <a:pt x="56" y="18"/>
                    </a:lnTo>
                    <a:lnTo>
                      <a:pt x="56" y="18"/>
                    </a:lnTo>
                    <a:lnTo>
                      <a:pt x="56" y="20"/>
                    </a:lnTo>
                    <a:lnTo>
                      <a:pt x="62" y="26"/>
                    </a:lnTo>
                    <a:lnTo>
                      <a:pt x="74" y="28"/>
                    </a:lnTo>
                    <a:lnTo>
                      <a:pt x="74" y="28"/>
                    </a:lnTo>
                    <a:lnTo>
                      <a:pt x="76" y="28"/>
                    </a:lnTo>
                    <a:lnTo>
                      <a:pt x="78" y="34"/>
                    </a:lnTo>
                    <a:lnTo>
                      <a:pt x="80" y="40"/>
                    </a:lnTo>
                    <a:lnTo>
                      <a:pt x="86" y="40"/>
                    </a:lnTo>
                    <a:lnTo>
                      <a:pt x="96" y="42"/>
                    </a:lnTo>
                    <a:lnTo>
                      <a:pt x="96" y="42"/>
                    </a:lnTo>
                    <a:lnTo>
                      <a:pt x="96" y="42"/>
                    </a:lnTo>
                    <a:lnTo>
                      <a:pt x="98" y="46"/>
                    </a:lnTo>
                    <a:lnTo>
                      <a:pt x="98" y="46"/>
                    </a:lnTo>
                    <a:lnTo>
                      <a:pt x="98" y="46"/>
                    </a:lnTo>
                    <a:lnTo>
                      <a:pt x="98" y="50"/>
                    </a:lnTo>
                    <a:lnTo>
                      <a:pt x="98" y="50"/>
                    </a:lnTo>
                    <a:lnTo>
                      <a:pt x="96" y="52"/>
                    </a:lnTo>
                    <a:lnTo>
                      <a:pt x="96" y="52"/>
                    </a:lnTo>
                    <a:lnTo>
                      <a:pt x="94" y="54"/>
                    </a:lnTo>
                    <a:lnTo>
                      <a:pt x="94" y="54"/>
                    </a:lnTo>
                    <a:lnTo>
                      <a:pt x="94" y="56"/>
                    </a:lnTo>
                    <a:lnTo>
                      <a:pt x="90" y="56"/>
                    </a:lnTo>
                    <a:lnTo>
                      <a:pt x="90" y="58"/>
                    </a:lnTo>
                    <a:lnTo>
                      <a:pt x="90" y="58"/>
                    </a:lnTo>
                    <a:lnTo>
                      <a:pt x="88" y="58"/>
                    </a:lnTo>
                    <a:lnTo>
                      <a:pt x="88" y="58"/>
                    </a:lnTo>
                    <a:lnTo>
                      <a:pt x="88" y="58"/>
                    </a:lnTo>
                    <a:lnTo>
                      <a:pt x="78" y="56"/>
                    </a:lnTo>
                    <a:lnTo>
                      <a:pt x="74" y="54"/>
                    </a:lnTo>
                    <a:lnTo>
                      <a:pt x="66" y="48"/>
                    </a:lnTo>
                    <a:lnTo>
                      <a:pt x="58" y="44"/>
                    </a:lnTo>
                    <a:lnTo>
                      <a:pt x="56" y="40"/>
                    </a:lnTo>
                    <a:lnTo>
                      <a:pt x="54" y="42"/>
                    </a:lnTo>
                    <a:lnTo>
                      <a:pt x="54" y="44"/>
                    </a:lnTo>
                    <a:lnTo>
                      <a:pt x="48" y="52"/>
                    </a:lnTo>
                    <a:lnTo>
                      <a:pt x="38" y="62"/>
                    </a:lnTo>
                    <a:lnTo>
                      <a:pt x="38" y="62"/>
                    </a:lnTo>
                    <a:lnTo>
                      <a:pt x="36" y="62"/>
                    </a:lnTo>
                    <a:lnTo>
                      <a:pt x="36" y="62"/>
                    </a:lnTo>
                    <a:lnTo>
                      <a:pt x="22" y="64"/>
                    </a:lnTo>
                    <a:lnTo>
                      <a:pt x="2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6" name="Freeform 115"/>
              <p:cNvSpPr>
                <a:spLocks noEditPoints="1"/>
              </p:cNvSpPr>
              <p:nvPr/>
            </p:nvSpPr>
            <p:spPr bwMode="auto">
              <a:xfrm>
                <a:off x="1631" y="1419"/>
                <a:ext cx="102" cy="68"/>
              </a:xfrm>
              <a:custGeom>
                <a:avLst/>
                <a:gdLst>
                  <a:gd name="T0" fmla="*/ 40 w 102"/>
                  <a:gd name="T1" fmla="*/ 14 h 68"/>
                  <a:gd name="T2" fmla="*/ 52 w 102"/>
                  <a:gd name="T3" fmla="*/ 20 h 68"/>
                  <a:gd name="T4" fmla="*/ 76 w 102"/>
                  <a:gd name="T5" fmla="*/ 32 h 68"/>
                  <a:gd name="T6" fmla="*/ 88 w 102"/>
                  <a:gd name="T7" fmla="*/ 44 h 68"/>
                  <a:gd name="T8" fmla="*/ 98 w 102"/>
                  <a:gd name="T9" fmla="*/ 52 h 68"/>
                  <a:gd name="T10" fmla="*/ 92 w 102"/>
                  <a:gd name="T11" fmla="*/ 56 h 68"/>
                  <a:gd name="T12" fmla="*/ 76 w 102"/>
                  <a:gd name="T13" fmla="*/ 54 h 68"/>
                  <a:gd name="T14" fmla="*/ 58 w 102"/>
                  <a:gd name="T15" fmla="*/ 40 h 68"/>
                  <a:gd name="T16" fmla="*/ 48 w 102"/>
                  <a:gd name="T17" fmla="*/ 52 h 68"/>
                  <a:gd name="T18" fmla="*/ 26 w 102"/>
                  <a:gd name="T19" fmla="*/ 52 h 68"/>
                  <a:gd name="T20" fmla="*/ 8 w 102"/>
                  <a:gd name="T21" fmla="*/ 58 h 68"/>
                  <a:gd name="T22" fmla="*/ 18 w 102"/>
                  <a:gd name="T23" fmla="*/ 36 h 68"/>
                  <a:gd name="T24" fmla="*/ 18 w 102"/>
                  <a:gd name="T25" fmla="*/ 18 h 68"/>
                  <a:gd name="T26" fmla="*/ 38 w 102"/>
                  <a:gd name="T27" fmla="*/ 4 h 68"/>
                  <a:gd name="T28" fmla="*/ 28 w 102"/>
                  <a:gd name="T29" fmla="*/ 0 h 68"/>
                  <a:gd name="T30" fmla="*/ 16 w 102"/>
                  <a:gd name="T31" fmla="*/ 4 h 68"/>
                  <a:gd name="T32" fmla="*/ 14 w 102"/>
                  <a:gd name="T33" fmla="*/ 22 h 68"/>
                  <a:gd name="T34" fmla="*/ 14 w 102"/>
                  <a:gd name="T35" fmla="*/ 26 h 68"/>
                  <a:gd name="T36" fmla="*/ 6 w 102"/>
                  <a:gd name="T37" fmla="*/ 42 h 68"/>
                  <a:gd name="T38" fmla="*/ 0 w 102"/>
                  <a:gd name="T39" fmla="*/ 50 h 68"/>
                  <a:gd name="T40" fmla="*/ 6 w 102"/>
                  <a:gd name="T41" fmla="*/ 60 h 68"/>
                  <a:gd name="T42" fmla="*/ 8 w 102"/>
                  <a:gd name="T43" fmla="*/ 62 h 68"/>
                  <a:gd name="T44" fmla="*/ 12 w 102"/>
                  <a:gd name="T45" fmla="*/ 60 h 68"/>
                  <a:gd name="T46" fmla="*/ 22 w 102"/>
                  <a:gd name="T47" fmla="*/ 56 h 68"/>
                  <a:gd name="T48" fmla="*/ 22 w 102"/>
                  <a:gd name="T49" fmla="*/ 68 h 68"/>
                  <a:gd name="T50" fmla="*/ 24 w 102"/>
                  <a:gd name="T51" fmla="*/ 68 h 68"/>
                  <a:gd name="T52" fmla="*/ 38 w 102"/>
                  <a:gd name="T53" fmla="*/ 66 h 68"/>
                  <a:gd name="T54" fmla="*/ 52 w 102"/>
                  <a:gd name="T55" fmla="*/ 56 h 68"/>
                  <a:gd name="T56" fmla="*/ 56 w 102"/>
                  <a:gd name="T57" fmla="*/ 48 h 68"/>
                  <a:gd name="T58" fmla="*/ 60 w 102"/>
                  <a:gd name="T59" fmla="*/ 46 h 68"/>
                  <a:gd name="T60" fmla="*/ 66 w 102"/>
                  <a:gd name="T61" fmla="*/ 52 h 68"/>
                  <a:gd name="T62" fmla="*/ 74 w 102"/>
                  <a:gd name="T63" fmla="*/ 58 h 68"/>
                  <a:gd name="T64" fmla="*/ 80 w 102"/>
                  <a:gd name="T65" fmla="*/ 60 h 68"/>
                  <a:gd name="T66" fmla="*/ 90 w 102"/>
                  <a:gd name="T67" fmla="*/ 62 h 68"/>
                  <a:gd name="T68" fmla="*/ 94 w 102"/>
                  <a:gd name="T69" fmla="*/ 60 h 68"/>
                  <a:gd name="T70" fmla="*/ 98 w 102"/>
                  <a:gd name="T71" fmla="*/ 60 h 68"/>
                  <a:gd name="T72" fmla="*/ 100 w 102"/>
                  <a:gd name="T73" fmla="*/ 56 h 68"/>
                  <a:gd name="T74" fmla="*/ 102 w 102"/>
                  <a:gd name="T75" fmla="*/ 48 h 68"/>
                  <a:gd name="T76" fmla="*/ 100 w 102"/>
                  <a:gd name="T77" fmla="*/ 44 h 68"/>
                  <a:gd name="T78" fmla="*/ 88 w 102"/>
                  <a:gd name="T79" fmla="*/ 40 h 68"/>
                  <a:gd name="T80" fmla="*/ 82 w 102"/>
                  <a:gd name="T81" fmla="*/ 40 h 68"/>
                  <a:gd name="T82" fmla="*/ 80 w 102"/>
                  <a:gd name="T83" fmla="*/ 30 h 68"/>
                  <a:gd name="T84" fmla="*/ 66 w 102"/>
                  <a:gd name="T85" fmla="*/ 26 h 68"/>
                  <a:gd name="T86" fmla="*/ 58 w 102"/>
                  <a:gd name="T87" fmla="*/ 18 h 68"/>
                  <a:gd name="T88" fmla="*/ 54 w 102"/>
                  <a:gd name="T89" fmla="*/ 16 h 68"/>
                  <a:gd name="T90" fmla="*/ 52 w 102"/>
                  <a:gd name="T91" fmla="*/ 12 h 68"/>
                  <a:gd name="T92" fmla="*/ 42 w 102"/>
                  <a:gd name="T93" fmla="*/ 10 h 68"/>
                  <a:gd name="T94" fmla="*/ 40 w 102"/>
                  <a:gd name="T9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 h="68">
                    <a:moveTo>
                      <a:pt x="38" y="4"/>
                    </a:moveTo>
                    <a:lnTo>
                      <a:pt x="38" y="10"/>
                    </a:lnTo>
                    <a:lnTo>
                      <a:pt x="40" y="14"/>
                    </a:lnTo>
                    <a:lnTo>
                      <a:pt x="48" y="16"/>
                    </a:lnTo>
                    <a:lnTo>
                      <a:pt x="50" y="18"/>
                    </a:lnTo>
                    <a:lnTo>
                      <a:pt x="52" y="20"/>
                    </a:lnTo>
                    <a:lnTo>
                      <a:pt x="56" y="22"/>
                    </a:lnTo>
                    <a:lnTo>
                      <a:pt x="64" y="30"/>
                    </a:lnTo>
                    <a:lnTo>
                      <a:pt x="76" y="32"/>
                    </a:lnTo>
                    <a:lnTo>
                      <a:pt x="78" y="36"/>
                    </a:lnTo>
                    <a:lnTo>
                      <a:pt x="80" y="44"/>
                    </a:lnTo>
                    <a:lnTo>
                      <a:pt x="88" y="44"/>
                    </a:lnTo>
                    <a:lnTo>
                      <a:pt x="96" y="46"/>
                    </a:lnTo>
                    <a:lnTo>
                      <a:pt x="98" y="48"/>
                    </a:lnTo>
                    <a:lnTo>
                      <a:pt x="98" y="52"/>
                    </a:lnTo>
                    <a:lnTo>
                      <a:pt x="96" y="52"/>
                    </a:lnTo>
                    <a:lnTo>
                      <a:pt x="96" y="56"/>
                    </a:lnTo>
                    <a:lnTo>
                      <a:pt x="92" y="56"/>
                    </a:lnTo>
                    <a:lnTo>
                      <a:pt x="90" y="58"/>
                    </a:lnTo>
                    <a:lnTo>
                      <a:pt x="82" y="56"/>
                    </a:lnTo>
                    <a:lnTo>
                      <a:pt x="76" y="54"/>
                    </a:lnTo>
                    <a:lnTo>
                      <a:pt x="70" y="48"/>
                    </a:lnTo>
                    <a:lnTo>
                      <a:pt x="62" y="44"/>
                    </a:lnTo>
                    <a:lnTo>
                      <a:pt x="58" y="40"/>
                    </a:lnTo>
                    <a:lnTo>
                      <a:pt x="56" y="42"/>
                    </a:lnTo>
                    <a:lnTo>
                      <a:pt x="54" y="46"/>
                    </a:lnTo>
                    <a:lnTo>
                      <a:pt x="48" y="52"/>
                    </a:lnTo>
                    <a:lnTo>
                      <a:pt x="38" y="62"/>
                    </a:lnTo>
                    <a:lnTo>
                      <a:pt x="24" y="64"/>
                    </a:lnTo>
                    <a:lnTo>
                      <a:pt x="26" y="52"/>
                    </a:lnTo>
                    <a:lnTo>
                      <a:pt x="16" y="52"/>
                    </a:lnTo>
                    <a:lnTo>
                      <a:pt x="12" y="52"/>
                    </a:lnTo>
                    <a:lnTo>
                      <a:pt x="8" y="58"/>
                    </a:lnTo>
                    <a:lnTo>
                      <a:pt x="4" y="52"/>
                    </a:lnTo>
                    <a:lnTo>
                      <a:pt x="8" y="46"/>
                    </a:lnTo>
                    <a:lnTo>
                      <a:pt x="18" y="36"/>
                    </a:lnTo>
                    <a:lnTo>
                      <a:pt x="18" y="26"/>
                    </a:lnTo>
                    <a:lnTo>
                      <a:pt x="18" y="22"/>
                    </a:lnTo>
                    <a:lnTo>
                      <a:pt x="18" y="18"/>
                    </a:lnTo>
                    <a:lnTo>
                      <a:pt x="18" y="8"/>
                    </a:lnTo>
                    <a:lnTo>
                      <a:pt x="28" y="4"/>
                    </a:lnTo>
                    <a:lnTo>
                      <a:pt x="38" y="4"/>
                    </a:lnTo>
                    <a:close/>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7" name="Freeform 116"/>
              <p:cNvSpPr>
                <a:spLocks/>
              </p:cNvSpPr>
              <p:nvPr/>
            </p:nvSpPr>
            <p:spPr bwMode="auto">
              <a:xfrm>
                <a:off x="1635" y="1423"/>
                <a:ext cx="94" cy="60"/>
              </a:xfrm>
              <a:custGeom>
                <a:avLst/>
                <a:gdLst>
                  <a:gd name="T0" fmla="*/ 34 w 94"/>
                  <a:gd name="T1" fmla="*/ 0 h 60"/>
                  <a:gd name="T2" fmla="*/ 34 w 94"/>
                  <a:gd name="T3" fmla="*/ 6 h 60"/>
                  <a:gd name="T4" fmla="*/ 36 w 94"/>
                  <a:gd name="T5" fmla="*/ 10 h 60"/>
                  <a:gd name="T6" fmla="*/ 44 w 94"/>
                  <a:gd name="T7" fmla="*/ 12 h 60"/>
                  <a:gd name="T8" fmla="*/ 46 w 94"/>
                  <a:gd name="T9" fmla="*/ 14 h 60"/>
                  <a:gd name="T10" fmla="*/ 48 w 94"/>
                  <a:gd name="T11" fmla="*/ 16 h 60"/>
                  <a:gd name="T12" fmla="*/ 52 w 94"/>
                  <a:gd name="T13" fmla="*/ 18 h 60"/>
                  <a:gd name="T14" fmla="*/ 60 w 94"/>
                  <a:gd name="T15" fmla="*/ 26 h 60"/>
                  <a:gd name="T16" fmla="*/ 72 w 94"/>
                  <a:gd name="T17" fmla="*/ 28 h 60"/>
                  <a:gd name="T18" fmla="*/ 74 w 94"/>
                  <a:gd name="T19" fmla="*/ 32 h 60"/>
                  <a:gd name="T20" fmla="*/ 76 w 94"/>
                  <a:gd name="T21" fmla="*/ 40 h 60"/>
                  <a:gd name="T22" fmla="*/ 84 w 94"/>
                  <a:gd name="T23" fmla="*/ 40 h 60"/>
                  <a:gd name="T24" fmla="*/ 92 w 94"/>
                  <a:gd name="T25" fmla="*/ 42 h 60"/>
                  <a:gd name="T26" fmla="*/ 94 w 94"/>
                  <a:gd name="T27" fmla="*/ 44 h 60"/>
                  <a:gd name="T28" fmla="*/ 94 w 94"/>
                  <a:gd name="T29" fmla="*/ 48 h 60"/>
                  <a:gd name="T30" fmla="*/ 92 w 94"/>
                  <a:gd name="T31" fmla="*/ 48 h 60"/>
                  <a:gd name="T32" fmla="*/ 92 w 94"/>
                  <a:gd name="T33" fmla="*/ 52 h 60"/>
                  <a:gd name="T34" fmla="*/ 88 w 94"/>
                  <a:gd name="T35" fmla="*/ 52 h 60"/>
                  <a:gd name="T36" fmla="*/ 86 w 94"/>
                  <a:gd name="T37" fmla="*/ 54 h 60"/>
                  <a:gd name="T38" fmla="*/ 78 w 94"/>
                  <a:gd name="T39" fmla="*/ 52 h 60"/>
                  <a:gd name="T40" fmla="*/ 72 w 94"/>
                  <a:gd name="T41" fmla="*/ 50 h 60"/>
                  <a:gd name="T42" fmla="*/ 66 w 94"/>
                  <a:gd name="T43" fmla="*/ 44 h 60"/>
                  <a:gd name="T44" fmla="*/ 58 w 94"/>
                  <a:gd name="T45" fmla="*/ 40 h 60"/>
                  <a:gd name="T46" fmla="*/ 54 w 94"/>
                  <a:gd name="T47" fmla="*/ 36 h 60"/>
                  <a:gd name="T48" fmla="*/ 52 w 94"/>
                  <a:gd name="T49" fmla="*/ 38 h 60"/>
                  <a:gd name="T50" fmla="*/ 50 w 94"/>
                  <a:gd name="T51" fmla="*/ 42 h 60"/>
                  <a:gd name="T52" fmla="*/ 44 w 94"/>
                  <a:gd name="T53" fmla="*/ 48 h 60"/>
                  <a:gd name="T54" fmla="*/ 34 w 94"/>
                  <a:gd name="T55" fmla="*/ 58 h 60"/>
                  <a:gd name="T56" fmla="*/ 20 w 94"/>
                  <a:gd name="T57" fmla="*/ 60 h 60"/>
                  <a:gd name="T58" fmla="*/ 22 w 94"/>
                  <a:gd name="T59" fmla="*/ 48 h 60"/>
                  <a:gd name="T60" fmla="*/ 12 w 94"/>
                  <a:gd name="T61" fmla="*/ 48 h 60"/>
                  <a:gd name="T62" fmla="*/ 8 w 94"/>
                  <a:gd name="T63" fmla="*/ 48 h 60"/>
                  <a:gd name="T64" fmla="*/ 4 w 94"/>
                  <a:gd name="T65" fmla="*/ 54 h 60"/>
                  <a:gd name="T66" fmla="*/ 0 w 94"/>
                  <a:gd name="T67" fmla="*/ 48 h 60"/>
                  <a:gd name="T68" fmla="*/ 4 w 94"/>
                  <a:gd name="T69" fmla="*/ 42 h 60"/>
                  <a:gd name="T70" fmla="*/ 14 w 94"/>
                  <a:gd name="T71" fmla="*/ 32 h 60"/>
                  <a:gd name="T72" fmla="*/ 14 w 94"/>
                  <a:gd name="T73" fmla="*/ 22 h 60"/>
                  <a:gd name="T74" fmla="*/ 14 w 94"/>
                  <a:gd name="T75" fmla="*/ 18 h 60"/>
                  <a:gd name="T76" fmla="*/ 14 w 94"/>
                  <a:gd name="T77" fmla="*/ 14 h 60"/>
                  <a:gd name="T78" fmla="*/ 14 w 94"/>
                  <a:gd name="T79" fmla="*/ 4 h 60"/>
                  <a:gd name="T80" fmla="*/ 24 w 94"/>
                  <a:gd name="T81" fmla="*/ 0 h 60"/>
                  <a:gd name="T82" fmla="*/ 34 w 94"/>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60">
                    <a:moveTo>
                      <a:pt x="34" y="0"/>
                    </a:moveTo>
                    <a:lnTo>
                      <a:pt x="34" y="6"/>
                    </a:lnTo>
                    <a:lnTo>
                      <a:pt x="36" y="10"/>
                    </a:lnTo>
                    <a:lnTo>
                      <a:pt x="44" y="12"/>
                    </a:lnTo>
                    <a:lnTo>
                      <a:pt x="46" y="14"/>
                    </a:lnTo>
                    <a:lnTo>
                      <a:pt x="48" y="16"/>
                    </a:lnTo>
                    <a:lnTo>
                      <a:pt x="52" y="18"/>
                    </a:lnTo>
                    <a:lnTo>
                      <a:pt x="60" y="26"/>
                    </a:lnTo>
                    <a:lnTo>
                      <a:pt x="72" y="28"/>
                    </a:lnTo>
                    <a:lnTo>
                      <a:pt x="74" y="32"/>
                    </a:lnTo>
                    <a:lnTo>
                      <a:pt x="76" y="40"/>
                    </a:lnTo>
                    <a:lnTo>
                      <a:pt x="84" y="40"/>
                    </a:lnTo>
                    <a:lnTo>
                      <a:pt x="92" y="42"/>
                    </a:lnTo>
                    <a:lnTo>
                      <a:pt x="94" y="44"/>
                    </a:lnTo>
                    <a:lnTo>
                      <a:pt x="94" y="48"/>
                    </a:lnTo>
                    <a:lnTo>
                      <a:pt x="92" y="48"/>
                    </a:lnTo>
                    <a:lnTo>
                      <a:pt x="92" y="52"/>
                    </a:lnTo>
                    <a:lnTo>
                      <a:pt x="88" y="52"/>
                    </a:lnTo>
                    <a:lnTo>
                      <a:pt x="86" y="54"/>
                    </a:lnTo>
                    <a:lnTo>
                      <a:pt x="78" y="52"/>
                    </a:lnTo>
                    <a:lnTo>
                      <a:pt x="72" y="50"/>
                    </a:lnTo>
                    <a:lnTo>
                      <a:pt x="66" y="44"/>
                    </a:lnTo>
                    <a:lnTo>
                      <a:pt x="58" y="40"/>
                    </a:lnTo>
                    <a:lnTo>
                      <a:pt x="54" y="36"/>
                    </a:lnTo>
                    <a:lnTo>
                      <a:pt x="52" y="38"/>
                    </a:lnTo>
                    <a:lnTo>
                      <a:pt x="50" y="42"/>
                    </a:lnTo>
                    <a:lnTo>
                      <a:pt x="44" y="48"/>
                    </a:lnTo>
                    <a:lnTo>
                      <a:pt x="34" y="58"/>
                    </a:lnTo>
                    <a:lnTo>
                      <a:pt x="20" y="60"/>
                    </a:lnTo>
                    <a:lnTo>
                      <a:pt x="22" y="48"/>
                    </a:lnTo>
                    <a:lnTo>
                      <a:pt x="12" y="48"/>
                    </a:lnTo>
                    <a:lnTo>
                      <a:pt x="8" y="48"/>
                    </a:lnTo>
                    <a:lnTo>
                      <a:pt x="4" y="54"/>
                    </a:lnTo>
                    <a:lnTo>
                      <a:pt x="0" y="48"/>
                    </a:lnTo>
                    <a:lnTo>
                      <a:pt x="4" y="42"/>
                    </a:lnTo>
                    <a:lnTo>
                      <a:pt x="14" y="32"/>
                    </a:lnTo>
                    <a:lnTo>
                      <a:pt x="14" y="22"/>
                    </a:lnTo>
                    <a:lnTo>
                      <a:pt x="14" y="18"/>
                    </a:lnTo>
                    <a:lnTo>
                      <a:pt x="14" y="14"/>
                    </a:lnTo>
                    <a:lnTo>
                      <a:pt x="14" y="4"/>
                    </a:lnTo>
                    <a:lnTo>
                      <a:pt x="2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8" name="Freeform 117"/>
              <p:cNvSpPr>
                <a:spLocks/>
              </p:cNvSpPr>
              <p:nvPr/>
            </p:nvSpPr>
            <p:spPr bwMode="auto">
              <a:xfrm>
                <a:off x="1631" y="1419"/>
                <a:ext cx="102" cy="68"/>
              </a:xfrm>
              <a:custGeom>
                <a:avLst/>
                <a:gdLst>
                  <a:gd name="T0" fmla="*/ 28 w 102"/>
                  <a:gd name="T1" fmla="*/ 0 h 68"/>
                  <a:gd name="T2" fmla="*/ 26 w 102"/>
                  <a:gd name="T3" fmla="*/ 0 h 68"/>
                  <a:gd name="T4" fmla="*/ 16 w 102"/>
                  <a:gd name="T5" fmla="*/ 4 h 68"/>
                  <a:gd name="T6" fmla="*/ 14 w 102"/>
                  <a:gd name="T7" fmla="*/ 18 h 68"/>
                  <a:gd name="T8" fmla="*/ 14 w 102"/>
                  <a:gd name="T9" fmla="*/ 24 h 68"/>
                  <a:gd name="T10" fmla="*/ 14 w 102"/>
                  <a:gd name="T11" fmla="*/ 26 h 68"/>
                  <a:gd name="T12" fmla="*/ 6 w 102"/>
                  <a:gd name="T13" fmla="*/ 42 h 68"/>
                  <a:gd name="T14" fmla="*/ 6 w 102"/>
                  <a:gd name="T15" fmla="*/ 42 h 68"/>
                  <a:gd name="T16" fmla="*/ 0 w 102"/>
                  <a:gd name="T17" fmla="*/ 50 h 68"/>
                  <a:gd name="T18" fmla="*/ 0 w 102"/>
                  <a:gd name="T19" fmla="*/ 56 h 68"/>
                  <a:gd name="T20" fmla="*/ 6 w 102"/>
                  <a:gd name="T21" fmla="*/ 60 h 68"/>
                  <a:gd name="T22" fmla="*/ 8 w 102"/>
                  <a:gd name="T23" fmla="*/ 62 h 68"/>
                  <a:gd name="T24" fmla="*/ 8 w 102"/>
                  <a:gd name="T25" fmla="*/ 62 h 68"/>
                  <a:gd name="T26" fmla="*/ 14 w 102"/>
                  <a:gd name="T27" fmla="*/ 56 h 68"/>
                  <a:gd name="T28" fmla="*/ 22 w 102"/>
                  <a:gd name="T29" fmla="*/ 56 h 68"/>
                  <a:gd name="T30" fmla="*/ 20 w 102"/>
                  <a:gd name="T31" fmla="*/ 64 h 68"/>
                  <a:gd name="T32" fmla="*/ 22 w 102"/>
                  <a:gd name="T33" fmla="*/ 68 h 68"/>
                  <a:gd name="T34" fmla="*/ 24 w 102"/>
                  <a:gd name="T35" fmla="*/ 68 h 68"/>
                  <a:gd name="T36" fmla="*/ 38 w 102"/>
                  <a:gd name="T37" fmla="*/ 66 h 68"/>
                  <a:gd name="T38" fmla="*/ 40 w 102"/>
                  <a:gd name="T39" fmla="*/ 66 h 68"/>
                  <a:gd name="T40" fmla="*/ 52 w 102"/>
                  <a:gd name="T41" fmla="*/ 56 h 68"/>
                  <a:gd name="T42" fmla="*/ 56 w 102"/>
                  <a:gd name="T43" fmla="*/ 48 h 68"/>
                  <a:gd name="T44" fmla="*/ 58 w 102"/>
                  <a:gd name="T45" fmla="*/ 48 h 68"/>
                  <a:gd name="T46" fmla="*/ 60 w 102"/>
                  <a:gd name="T47" fmla="*/ 46 h 68"/>
                  <a:gd name="T48" fmla="*/ 60 w 102"/>
                  <a:gd name="T49" fmla="*/ 46 h 68"/>
                  <a:gd name="T50" fmla="*/ 74 w 102"/>
                  <a:gd name="T51" fmla="*/ 58 h 68"/>
                  <a:gd name="T52" fmla="*/ 74 w 102"/>
                  <a:gd name="T53" fmla="*/ 58 h 68"/>
                  <a:gd name="T54" fmla="*/ 80 w 102"/>
                  <a:gd name="T55" fmla="*/ 60 h 68"/>
                  <a:gd name="T56" fmla="*/ 90 w 102"/>
                  <a:gd name="T57" fmla="*/ 62 h 68"/>
                  <a:gd name="T58" fmla="*/ 90 w 102"/>
                  <a:gd name="T59" fmla="*/ 62 h 68"/>
                  <a:gd name="T60" fmla="*/ 92 w 102"/>
                  <a:gd name="T61" fmla="*/ 60 h 68"/>
                  <a:gd name="T62" fmla="*/ 96 w 102"/>
                  <a:gd name="T63" fmla="*/ 60 h 68"/>
                  <a:gd name="T64" fmla="*/ 98 w 102"/>
                  <a:gd name="T65" fmla="*/ 60 h 68"/>
                  <a:gd name="T66" fmla="*/ 100 w 102"/>
                  <a:gd name="T67" fmla="*/ 56 h 68"/>
                  <a:gd name="T68" fmla="*/ 102 w 102"/>
                  <a:gd name="T69" fmla="*/ 54 h 68"/>
                  <a:gd name="T70" fmla="*/ 102 w 102"/>
                  <a:gd name="T71" fmla="*/ 48 h 68"/>
                  <a:gd name="T72" fmla="*/ 102 w 102"/>
                  <a:gd name="T73" fmla="*/ 48 h 68"/>
                  <a:gd name="T74" fmla="*/ 100 w 102"/>
                  <a:gd name="T75" fmla="*/ 44 h 68"/>
                  <a:gd name="T76" fmla="*/ 88 w 102"/>
                  <a:gd name="T77" fmla="*/ 40 h 68"/>
                  <a:gd name="T78" fmla="*/ 88 w 102"/>
                  <a:gd name="T79" fmla="*/ 40 h 68"/>
                  <a:gd name="T80" fmla="*/ 82 w 102"/>
                  <a:gd name="T81" fmla="*/ 36 h 68"/>
                  <a:gd name="T82" fmla="*/ 80 w 102"/>
                  <a:gd name="T83" fmla="*/ 30 h 68"/>
                  <a:gd name="T84" fmla="*/ 76 w 102"/>
                  <a:gd name="T85" fmla="*/ 28 h 68"/>
                  <a:gd name="T86" fmla="*/ 60 w 102"/>
                  <a:gd name="T87" fmla="*/ 20 h 68"/>
                  <a:gd name="T88" fmla="*/ 58 w 102"/>
                  <a:gd name="T89" fmla="*/ 18 h 68"/>
                  <a:gd name="T90" fmla="*/ 54 w 102"/>
                  <a:gd name="T91" fmla="*/ 16 h 68"/>
                  <a:gd name="T92" fmla="*/ 52 w 102"/>
                  <a:gd name="T93" fmla="*/ 14 h 68"/>
                  <a:gd name="T94" fmla="*/ 52 w 102"/>
                  <a:gd name="T95" fmla="*/ 12 h 68"/>
                  <a:gd name="T96" fmla="*/ 42 w 102"/>
                  <a:gd name="T97" fmla="*/ 10 h 68"/>
                  <a:gd name="T98" fmla="*/ 42 w 102"/>
                  <a:gd name="T99" fmla="*/ 4 h 68"/>
                  <a:gd name="T100" fmla="*/ 40 w 102"/>
                  <a:gd name="T101" fmla="*/ 0 h 68"/>
                  <a:gd name="T102" fmla="*/ 38 w 102"/>
                  <a:gd name="T10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68">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9" name="Freeform 118"/>
              <p:cNvSpPr>
                <a:spLocks/>
              </p:cNvSpPr>
              <p:nvPr/>
            </p:nvSpPr>
            <p:spPr bwMode="auto">
              <a:xfrm>
                <a:off x="1459" y="1319"/>
                <a:ext cx="66" cy="38"/>
              </a:xfrm>
              <a:custGeom>
                <a:avLst/>
                <a:gdLst>
                  <a:gd name="T0" fmla="*/ 42 w 66"/>
                  <a:gd name="T1" fmla="*/ 38 h 38"/>
                  <a:gd name="T2" fmla="*/ 28 w 66"/>
                  <a:gd name="T3" fmla="*/ 36 h 38"/>
                  <a:gd name="T4" fmla="*/ 18 w 66"/>
                  <a:gd name="T5" fmla="*/ 32 h 38"/>
                  <a:gd name="T6" fmla="*/ 2 w 66"/>
                  <a:gd name="T7" fmla="*/ 26 h 38"/>
                  <a:gd name="T8" fmla="*/ 2 w 66"/>
                  <a:gd name="T9" fmla="*/ 26 h 38"/>
                  <a:gd name="T10" fmla="*/ 0 w 66"/>
                  <a:gd name="T11" fmla="*/ 24 h 38"/>
                  <a:gd name="T12" fmla="*/ 0 w 66"/>
                  <a:gd name="T13" fmla="*/ 24 h 38"/>
                  <a:gd name="T14" fmla="*/ 0 w 66"/>
                  <a:gd name="T15" fmla="*/ 22 h 38"/>
                  <a:gd name="T16" fmla="*/ 10 w 66"/>
                  <a:gd name="T17" fmla="*/ 16 h 38"/>
                  <a:gd name="T18" fmla="*/ 16 w 66"/>
                  <a:gd name="T19" fmla="*/ 10 h 38"/>
                  <a:gd name="T20" fmla="*/ 18 w 66"/>
                  <a:gd name="T21" fmla="*/ 2 h 38"/>
                  <a:gd name="T22" fmla="*/ 18 w 66"/>
                  <a:gd name="T23" fmla="*/ 2 h 38"/>
                  <a:gd name="T24" fmla="*/ 18 w 66"/>
                  <a:gd name="T25" fmla="*/ 0 h 38"/>
                  <a:gd name="T26" fmla="*/ 18 w 66"/>
                  <a:gd name="T27" fmla="*/ 0 h 38"/>
                  <a:gd name="T28" fmla="*/ 20 w 66"/>
                  <a:gd name="T29" fmla="*/ 0 h 38"/>
                  <a:gd name="T30" fmla="*/ 20 w 66"/>
                  <a:gd name="T31" fmla="*/ 0 h 38"/>
                  <a:gd name="T32" fmla="*/ 20 w 66"/>
                  <a:gd name="T33" fmla="*/ 0 h 38"/>
                  <a:gd name="T34" fmla="*/ 28 w 66"/>
                  <a:gd name="T35" fmla="*/ 2 h 38"/>
                  <a:gd name="T36" fmla="*/ 38 w 66"/>
                  <a:gd name="T37" fmla="*/ 6 h 38"/>
                  <a:gd name="T38" fmla="*/ 46 w 66"/>
                  <a:gd name="T39" fmla="*/ 14 h 38"/>
                  <a:gd name="T40" fmla="*/ 56 w 66"/>
                  <a:gd name="T41" fmla="*/ 18 h 38"/>
                  <a:gd name="T42" fmla="*/ 56 w 66"/>
                  <a:gd name="T43" fmla="*/ 18 h 38"/>
                  <a:gd name="T44" fmla="*/ 58 w 66"/>
                  <a:gd name="T45" fmla="*/ 18 h 38"/>
                  <a:gd name="T46" fmla="*/ 64 w 66"/>
                  <a:gd name="T47" fmla="*/ 24 h 38"/>
                  <a:gd name="T48" fmla="*/ 64 w 66"/>
                  <a:gd name="T49" fmla="*/ 24 h 38"/>
                  <a:gd name="T50" fmla="*/ 64 w 66"/>
                  <a:gd name="T51" fmla="*/ 24 h 38"/>
                  <a:gd name="T52" fmla="*/ 66 w 66"/>
                  <a:gd name="T53" fmla="*/ 32 h 38"/>
                  <a:gd name="T54" fmla="*/ 66 w 66"/>
                  <a:gd name="T55" fmla="*/ 32 h 38"/>
                  <a:gd name="T56" fmla="*/ 64 w 66"/>
                  <a:gd name="T57" fmla="*/ 34 h 38"/>
                  <a:gd name="T58" fmla="*/ 60 w 66"/>
                  <a:gd name="T59" fmla="*/ 36 h 38"/>
                  <a:gd name="T60" fmla="*/ 54 w 66"/>
                  <a:gd name="T61" fmla="*/ 38 h 38"/>
                  <a:gd name="T62" fmla="*/ 54 w 66"/>
                  <a:gd name="T63" fmla="*/ 38 h 38"/>
                  <a:gd name="T64" fmla="*/ 52 w 66"/>
                  <a:gd name="T65" fmla="*/ 38 h 38"/>
                  <a:gd name="T66" fmla="*/ 42 w 66"/>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 h="38">
                    <a:moveTo>
                      <a:pt x="42" y="38"/>
                    </a:moveTo>
                    <a:lnTo>
                      <a:pt x="28" y="36"/>
                    </a:lnTo>
                    <a:lnTo>
                      <a:pt x="18" y="32"/>
                    </a:lnTo>
                    <a:lnTo>
                      <a:pt x="2" y="26"/>
                    </a:lnTo>
                    <a:lnTo>
                      <a:pt x="2" y="26"/>
                    </a:lnTo>
                    <a:lnTo>
                      <a:pt x="0" y="24"/>
                    </a:lnTo>
                    <a:lnTo>
                      <a:pt x="0" y="24"/>
                    </a:lnTo>
                    <a:lnTo>
                      <a:pt x="0" y="22"/>
                    </a:lnTo>
                    <a:lnTo>
                      <a:pt x="10" y="16"/>
                    </a:lnTo>
                    <a:lnTo>
                      <a:pt x="16" y="10"/>
                    </a:lnTo>
                    <a:lnTo>
                      <a:pt x="18" y="2"/>
                    </a:lnTo>
                    <a:lnTo>
                      <a:pt x="18" y="2"/>
                    </a:lnTo>
                    <a:lnTo>
                      <a:pt x="18" y="0"/>
                    </a:lnTo>
                    <a:lnTo>
                      <a:pt x="18" y="0"/>
                    </a:lnTo>
                    <a:lnTo>
                      <a:pt x="20" y="0"/>
                    </a:lnTo>
                    <a:lnTo>
                      <a:pt x="20" y="0"/>
                    </a:lnTo>
                    <a:lnTo>
                      <a:pt x="20" y="0"/>
                    </a:lnTo>
                    <a:lnTo>
                      <a:pt x="28" y="2"/>
                    </a:lnTo>
                    <a:lnTo>
                      <a:pt x="38" y="6"/>
                    </a:lnTo>
                    <a:lnTo>
                      <a:pt x="46" y="14"/>
                    </a:lnTo>
                    <a:lnTo>
                      <a:pt x="56" y="18"/>
                    </a:lnTo>
                    <a:lnTo>
                      <a:pt x="56" y="18"/>
                    </a:lnTo>
                    <a:lnTo>
                      <a:pt x="58" y="18"/>
                    </a:lnTo>
                    <a:lnTo>
                      <a:pt x="64" y="24"/>
                    </a:lnTo>
                    <a:lnTo>
                      <a:pt x="64" y="24"/>
                    </a:lnTo>
                    <a:lnTo>
                      <a:pt x="64" y="24"/>
                    </a:lnTo>
                    <a:lnTo>
                      <a:pt x="66" y="32"/>
                    </a:lnTo>
                    <a:lnTo>
                      <a:pt x="66" y="32"/>
                    </a:lnTo>
                    <a:lnTo>
                      <a:pt x="64" y="34"/>
                    </a:lnTo>
                    <a:lnTo>
                      <a:pt x="60" y="36"/>
                    </a:lnTo>
                    <a:lnTo>
                      <a:pt x="54" y="38"/>
                    </a:lnTo>
                    <a:lnTo>
                      <a:pt x="54" y="38"/>
                    </a:lnTo>
                    <a:lnTo>
                      <a:pt x="52" y="38"/>
                    </a:lnTo>
                    <a:lnTo>
                      <a:pt x="4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0" name="Freeform 119"/>
              <p:cNvSpPr>
                <a:spLocks noEditPoints="1"/>
              </p:cNvSpPr>
              <p:nvPr/>
            </p:nvSpPr>
            <p:spPr bwMode="auto">
              <a:xfrm>
                <a:off x="1457" y="1317"/>
                <a:ext cx="70" cy="42"/>
              </a:xfrm>
              <a:custGeom>
                <a:avLst/>
                <a:gdLst>
                  <a:gd name="T0" fmla="*/ 30 w 70"/>
                  <a:gd name="T1" fmla="*/ 6 h 42"/>
                  <a:gd name="T2" fmla="*/ 48 w 70"/>
                  <a:gd name="T3" fmla="*/ 18 h 42"/>
                  <a:gd name="T4" fmla="*/ 64 w 70"/>
                  <a:gd name="T5" fmla="*/ 26 h 42"/>
                  <a:gd name="T6" fmla="*/ 62 w 70"/>
                  <a:gd name="T7" fmla="*/ 36 h 42"/>
                  <a:gd name="T8" fmla="*/ 44 w 70"/>
                  <a:gd name="T9" fmla="*/ 38 h 42"/>
                  <a:gd name="T10" fmla="*/ 20 w 70"/>
                  <a:gd name="T11" fmla="*/ 32 h 42"/>
                  <a:gd name="T12" fmla="*/ 4 w 70"/>
                  <a:gd name="T13" fmla="*/ 26 h 42"/>
                  <a:gd name="T14" fmla="*/ 20 w 70"/>
                  <a:gd name="T15" fmla="*/ 14 h 42"/>
                  <a:gd name="T16" fmla="*/ 22 w 70"/>
                  <a:gd name="T17" fmla="*/ 0 h 42"/>
                  <a:gd name="T18" fmla="*/ 20 w 70"/>
                  <a:gd name="T19" fmla="*/ 0 h 42"/>
                  <a:gd name="T20" fmla="*/ 18 w 70"/>
                  <a:gd name="T21" fmla="*/ 4 h 42"/>
                  <a:gd name="T22" fmla="*/ 10 w 70"/>
                  <a:gd name="T23" fmla="*/ 16 h 42"/>
                  <a:gd name="T24" fmla="*/ 2 w 70"/>
                  <a:gd name="T25" fmla="*/ 24 h 42"/>
                  <a:gd name="T26" fmla="*/ 0 w 70"/>
                  <a:gd name="T27" fmla="*/ 28 h 42"/>
                  <a:gd name="T28" fmla="*/ 8 w 70"/>
                  <a:gd name="T29" fmla="*/ 32 h 42"/>
                  <a:gd name="T30" fmla="*/ 28 w 70"/>
                  <a:gd name="T31" fmla="*/ 40 h 42"/>
                  <a:gd name="T32" fmla="*/ 28 w 70"/>
                  <a:gd name="T33" fmla="*/ 40 h 42"/>
                  <a:gd name="T34" fmla="*/ 44 w 70"/>
                  <a:gd name="T35" fmla="*/ 42 h 42"/>
                  <a:gd name="T36" fmla="*/ 54 w 70"/>
                  <a:gd name="T37" fmla="*/ 42 h 42"/>
                  <a:gd name="T38" fmla="*/ 56 w 70"/>
                  <a:gd name="T39" fmla="*/ 42 h 42"/>
                  <a:gd name="T40" fmla="*/ 62 w 70"/>
                  <a:gd name="T41" fmla="*/ 40 h 42"/>
                  <a:gd name="T42" fmla="*/ 68 w 70"/>
                  <a:gd name="T43" fmla="*/ 38 h 42"/>
                  <a:gd name="T44" fmla="*/ 70 w 70"/>
                  <a:gd name="T45" fmla="*/ 36 h 42"/>
                  <a:gd name="T46" fmla="*/ 68 w 70"/>
                  <a:gd name="T47" fmla="*/ 26 h 42"/>
                  <a:gd name="T48" fmla="*/ 66 w 70"/>
                  <a:gd name="T49" fmla="*/ 24 h 42"/>
                  <a:gd name="T50" fmla="*/ 62 w 70"/>
                  <a:gd name="T51" fmla="*/ 18 h 42"/>
                  <a:gd name="T52" fmla="*/ 50 w 70"/>
                  <a:gd name="T53" fmla="*/ 14 h 42"/>
                  <a:gd name="T54" fmla="*/ 40 w 70"/>
                  <a:gd name="T55" fmla="*/ 6 h 42"/>
                  <a:gd name="T56" fmla="*/ 30 w 70"/>
                  <a:gd name="T57" fmla="*/ 2 h 42"/>
                  <a:gd name="T58" fmla="*/ 30 w 70"/>
                  <a:gd name="T59" fmla="*/ 2 h 42"/>
                  <a:gd name="T60" fmla="*/ 24 w 70"/>
                  <a:gd name="T61" fmla="*/ 0 h 42"/>
                  <a:gd name="T62" fmla="*/ 22 w 70"/>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42">
                    <a:moveTo>
                      <a:pt x="22" y="4"/>
                    </a:moveTo>
                    <a:lnTo>
                      <a:pt x="30" y="6"/>
                    </a:lnTo>
                    <a:lnTo>
                      <a:pt x="38" y="10"/>
                    </a:lnTo>
                    <a:lnTo>
                      <a:pt x="48" y="18"/>
                    </a:lnTo>
                    <a:lnTo>
                      <a:pt x="58" y="20"/>
                    </a:lnTo>
                    <a:lnTo>
                      <a:pt x="64" y="26"/>
                    </a:lnTo>
                    <a:lnTo>
                      <a:pt x="66" y="34"/>
                    </a:lnTo>
                    <a:lnTo>
                      <a:pt x="62" y="36"/>
                    </a:lnTo>
                    <a:lnTo>
                      <a:pt x="54" y="38"/>
                    </a:lnTo>
                    <a:lnTo>
                      <a:pt x="44" y="38"/>
                    </a:lnTo>
                    <a:lnTo>
                      <a:pt x="30" y="36"/>
                    </a:lnTo>
                    <a:lnTo>
                      <a:pt x="20" y="32"/>
                    </a:lnTo>
                    <a:lnTo>
                      <a:pt x="10" y="28"/>
                    </a:lnTo>
                    <a:lnTo>
                      <a:pt x="4" y="26"/>
                    </a:lnTo>
                    <a:lnTo>
                      <a:pt x="12" y="20"/>
                    </a:lnTo>
                    <a:lnTo>
                      <a:pt x="20" y="14"/>
                    </a:lnTo>
                    <a:lnTo>
                      <a:pt x="22" y="4"/>
                    </a:lnTo>
                    <a:close/>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1" name="Freeform 120"/>
              <p:cNvSpPr>
                <a:spLocks/>
              </p:cNvSpPr>
              <p:nvPr/>
            </p:nvSpPr>
            <p:spPr bwMode="auto">
              <a:xfrm>
                <a:off x="1461" y="1321"/>
                <a:ext cx="62" cy="34"/>
              </a:xfrm>
              <a:custGeom>
                <a:avLst/>
                <a:gdLst>
                  <a:gd name="T0" fmla="*/ 18 w 62"/>
                  <a:gd name="T1" fmla="*/ 0 h 34"/>
                  <a:gd name="T2" fmla="*/ 26 w 62"/>
                  <a:gd name="T3" fmla="*/ 2 h 34"/>
                  <a:gd name="T4" fmla="*/ 34 w 62"/>
                  <a:gd name="T5" fmla="*/ 6 h 34"/>
                  <a:gd name="T6" fmla="*/ 44 w 62"/>
                  <a:gd name="T7" fmla="*/ 14 h 34"/>
                  <a:gd name="T8" fmla="*/ 54 w 62"/>
                  <a:gd name="T9" fmla="*/ 16 h 34"/>
                  <a:gd name="T10" fmla="*/ 60 w 62"/>
                  <a:gd name="T11" fmla="*/ 22 h 34"/>
                  <a:gd name="T12" fmla="*/ 62 w 62"/>
                  <a:gd name="T13" fmla="*/ 30 h 34"/>
                  <a:gd name="T14" fmla="*/ 58 w 62"/>
                  <a:gd name="T15" fmla="*/ 32 h 34"/>
                  <a:gd name="T16" fmla="*/ 50 w 62"/>
                  <a:gd name="T17" fmla="*/ 34 h 34"/>
                  <a:gd name="T18" fmla="*/ 40 w 62"/>
                  <a:gd name="T19" fmla="*/ 34 h 34"/>
                  <a:gd name="T20" fmla="*/ 26 w 62"/>
                  <a:gd name="T21" fmla="*/ 32 h 34"/>
                  <a:gd name="T22" fmla="*/ 16 w 62"/>
                  <a:gd name="T23" fmla="*/ 28 h 34"/>
                  <a:gd name="T24" fmla="*/ 6 w 62"/>
                  <a:gd name="T25" fmla="*/ 24 h 34"/>
                  <a:gd name="T26" fmla="*/ 0 w 62"/>
                  <a:gd name="T27" fmla="*/ 22 h 34"/>
                  <a:gd name="T28" fmla="*/ 8 w 62"/>
                  <a:gd name="T29" fmla="*/ 16 h 34"/>
                  <a:gd name="T30" fmla="*/ 16 w 62"/>
                  <a:gd name="T31" fmla="*/ 10 h 34"/>
                  <a:gd name="T32" fmla="*/ 18 w 62"/>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34">
                    <a:moveTo>
                      <a:pt x="18" y="0"/>
                    </a:moveTo>
                    <a:lnTo>
                      <a:pt x="26" y="2"/>
                    </a:lnTo>
                    <a:lnTo>
                      <a:pt x="34" y="6"/>
                    </a:lnTo>
                    <a:lnTo>
                      <a:pt x="44" y="14"/>
                    </a:lnTo>
                    <a:lnTo>
                      <a:pt x="54" y="16"/>
                    </a:lnTo>
                    <a:lnTo>
                      <a:pt x="60" y="22"/>
                    </a:lnTo>
                    <a:lnTo>
                      <a:pt x="62" y="30"/>
                    </a:lnTo>
                    <a:lnTo>
                      <a:pt x="58" y="32"/>
                    </a:lnTo>
                    <a:lnTo>
                      <a:pt x="50" y="34"/>
                    </a:lnTo>
                    <a:lnTo>
                      <a:pt x="40" y="34"/>
                    </a:lnTo>
                    <a:lnTo>
                      <a:pt x="26" y="32"/>
                    </a:lnTo>
                    <a:lnTo>
                      <a:pt x="16" y="28"/>
                    </a:lnTo>
                    <a:lnTo>
                      <a:pt x="6" y="24"/>
                    </a:lnTo>
                    <a:lnTo>
                      <a:pt x="0" y="22"/>
                    </a:lnTo>
                    <a:lnTo>
                      <a:pt x="8" y="16"/>
                    </a:lnTo>
                    <a:lnTo>
                      <a:pt x="16" y="1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2" name="Freeform 121"/>
              <p:cNvSpPr>
                <a:spLocks/>
              </p:cNvSpPr>
              <p:nvPr/>
            </p:nvSpPr>
            <p:spPr bwMode="auto">
              <a:xfrm>
                <a:off x="1457" y="1317"/>
                <a:ext cx="70" cy="42"/>
              </a:xfrm>
              <a:custGeom>
                <a:avLst/>
                <a:gdLst>
                  <a:gd name="T0" fmla="*/ 22 w 70"/>
                  <a:gd name="T1" fmla="*/ 0 h 42"/>
                  <a:gd name="T2" fmla="*/ 22 w 70"/>
                  <a:gd name="T3" fmla="*/ 0 h 42"/>
                  <a:gd name="T4" fmla="*/ 20 w 70"/>
                  <a:gd name="T5" fmla="*/ 0 h 42"/>
                  <a:gd name="T6" fmla="*/ 20 w 70"/>
                  <a:gd name="T7" fmla="*/ 0 h 42"/>
                  <a:gd name="T8" fmla="*/ 18 w 70"/>
                  <a:gd name="T9" fmla="*/ 4 h 42"/>
                  <a:gd name="T10" fmla="*/ 16 w 70"/>
                  <a:gd name="T11" fmla="*/ 12 h 42"/>
                  <a:gd name="T12" fmla="*/ 10 w 70"/>
                  <a:gd name="T13" fmla="*/ 16 h 42"/>
                  <a:gd name="T14" fmla="*/ 2 w 70"/>
                  <a:gd name="T15" fmla="*/ 24 h 42"/>
                  <a:gd name="T16" fmla="*/ 2 w 70"/>
                  <a:gd name="T17" fmla="*/ 24 h 42"/>
                  <a:gd name="T18" fmla="*/ 0 w 70"/>
                  <a:gd name="T19" fmla="*/ 28 h 42"/>
                  <a:gd name="T20" fmla="*/ 0 w 70"/>
                  <a:gd name="T21" fmla="*/ 28 h 42"/>
                  <a:gd name="T22" fmla="*/ 2 w 70"/>
                  <a:gd name="T23" fmla="*/ 30 h 42"/>
                  <a:gd name="T24" fmla="*/ 8 w 70"/>
                  <a:gd name="T25" fmla="*/ 32 h 42"/>
                  <a:gd name="T26" fmla="*/ 18 w 70"/>
                  <a:gd name="T27" fmla="*/ 36 h 42"/>
                  <a:gd name="T28" fmla="*/ 28 w 70"/>
                  <a:gd name="T29" fmla="*/ 40 h 42"/>
                  <a:gd name="T30" fmla="*/ 28 w 70"/>
                  <a:gd name="T31" fmla="*/ 40 h 42"/>
                  <a:gd name="T32" fmla="*/ 28 w 70"/>
                  <a:gd name="T33" fmla="*/ 40 h 42"/>
                  <a:gd name="T34" fmla="*/ 44 w 70"/>
                  <a:gd name="T35" fmla="*/ 42 h 42"/>
                  <a:gd name="T36" fmla="*/ 44 w 70"/>
                  <a:gd name="T37" fmla="*/ 42 h 42"/>
                  <a:gd name="T38" fmla="*/ 44 w 70"/>
                  <a:gd name="T39" fmla="*/ 42 h 42"/>
                  <a:gd name="T40" fmla="*/ 54 w 70"/>
                  <a:gd name="T41" fmla="*/ 42 h 42"/>
                  <a:gd name="T42" fmla="*/ 54 w 70"/>
                  <a:gd name="T43" fmla="*/ 42 h 42"/>
                  <a:gd name="T44" fmla="*/ 56 w 70"/>
                  <a:gd name="T45" fmla="*/ 42 h 42"/>
                  <a:gd name="T46" fmla="*/ 62 w 70"/>
                  <a:gd name="T47" fmla="*/ 40 h 42"/>
                  <a:gd name="T48" fmla="*/ 62 w 70"/>
                  <a:gd name="T49" fmla="*/ 40 h 42"/>
                  <a:gd name="T50" fmla="*/ 64 w 70"/>
                  <a:gd name="T51" fmla="*/ 40 h 42"/>
                  <a:gd name="T52" fmla="*/ 68 w 70"/>
                  <a:gd name="T53" fmla="*/ 38 h 42"/>
                  <a:gd name="T54" fmla="*/ 68 w 70"/>
                  <a:gd name="T55" fmla="*/ 38 h 42"/>
                  <a:gd name="T56" fmla="*/ 70 w 70"/>
                  <a:gd name="T57" fmla="*/ 36 h 42"/>
                  <a:gd name="T58" fmla="*/ 70 w 70"/>
                  <a:gd name="T59" fmla="*/ 34 h 42"/>
                  <a:gd name="T60" fmla="*/ 68 w 70"/>
                  <a:gd name="T61" fmla="*/ 26 h 42"/>
                  <a:gd name="T62" fmla="*/ 68 w 70"/>
                  <a:gd name="T63" fmla="*/ 26 h 42"/>
                  <a:gd name="T64" fmla="*/ 66 w 70"/>
                  <a:gd name="T65" fmla="*/ 24 h 42"/>
                  <a:gd name="T66" fmla="*/ 62 w 70"/>
                  <a:gd name="T67" fmla="*/ 18 h 42"/>
                  <a:gd name="T68" fmla="*/ 62 w 70"/>
                  <a:gd name="T69" fmla="*/ 18 h 42"/>
                  <a:gd name="T70" fmla="*/ 60 w 70"/>
                  <a:gd name="T71" fmla="*/ 18 h 42"/>
                  <a:gd name="T72" fmla="*/ 50 w 70"/>
                  <a:gd name="T73" fmla="*/ 14 h 42"/>
                  <a:gd name="T74" fmla="*/ 40 w 70"/>
                  <a:gd name="T75" fmla="*/ 6 h 42"/>
                  <a:gd name="T76" fmla="*/ 40 w 70"/>
                  <a:gd name="T77" fmla="*/ 6 h 42"/>
                  <a:gd name="T78" fmla="*/ 40 w 70"/>
                  <a:gd name="T79" fmla="*/ 6 h 42"/>
                  <a:gd name="T80" fmla="*/ 30 w 70"/>
                  <a:gd name="T81" fmla="*/ 2 h 42"/>
                  <a:gd name="T82" fmla="*/ 30 w 70"/>
                  <a:gd name="T83" fmla="*/ 2 h 42"/>
                  <a:gd name="T84" fmla="*/ 30 w 70"/>
                  <a:gd name="T85" fmla="*/ 2 h 42"/>
                  <a:gd name="T86" fmla="*/ 24 w 70"/>
                  <a:gd name="T87" fmla="*/ 0 h 42"/>
                  <a:gd name="T88" fmla="*/ 24 w 70"/>
                  <a:gd name="T89" fmla="*/ 0 h 42"/>
                  <a:gd name="T90" fmla="*/ 22 w 70"/>
                  <a:gd name="T91" fmla="*/ 0 h 42"/>
                  <a:gd name="T92" fmla="*/ 22 w 70"/>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42">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3" name="Freeform 122"/>
              <p:cNvSpPr>
                <a:spLocks/>
              </p:cNvSpPr>
              <p:nvPr/>
            </p:nvSpPr>
            <p:spPr bwMode="auto">
              <a:xfrm>
                <a:off x="1593" y="1219"/>
                <a:ext cx="412" cy="294"/>
              </a:xfrm>
              <a:custGeom>
                <a:avLst/>
                <a:gdLst>
                  <a:gd name="T0" fmla="*/ 280 w 412"/>
                  <a:gd name="T1" fmla="*/ 280 h 294"/>
                  <a:gd name="T2" fmla="*/ 258 w 412"/>
                  <a:gd name="T3" fmla="*/ 260 h 294"/>
                  <a:gd name="T4" fmla="*/ 250 w 412"/>
                  <a:gd name="T5" fmla="*/ 254 h 294"/>
                  <a:gd name="T6" fmla="*/ 216 w 412"/>
                  <a:gd name="T7" fmla="*/ 232 h 294"/>
                  <a:gd name="T8" fmla="*/ 188 w 412"/>
                  <a:gd name="T9" fmla="*/ 244 h 294"/>
                  <a:gd name="T10" fmla="*/ 166 w 412"/>
                  <a:gd name="T11" fmla="*/ 232 h 294"/>
                  <a:gd name="T12" fmla="*/ 180 w 412"/>
                  <a:gd name="T13" fmla="*/ 210 h 294"/>
                  <a:gd name="T14" fmla="*/ 212 w 412"/>
                  <a:gd name="T15" fmla="*/ 214 h 294"/>
                  <a:gd name="T16" fmla="*/ 226 w 412"/>
                  <a:gd name="T17" fmla="*/ 186 h 294"/>
                  <a:gd name="T18" fmla="*/ 230 w 412"/>
                  <a:gd name="T19" fmla="*/ 146 h 294"/>
                  <a:gd name="T20" fmla="*/ 220 w 412"/>
                  <a:gd name="T21" fmla="*/ 142 h 294"/>
                  <a:gd name="T22" fmla="*/ 196 w 412"/>
                  <a:gd name="T23" fmla="*/ 136 h 294"/>
                  <a:gd name="T24" fmla="*/ 186 w 412"/>
                  <a:gd name="T25" fmla="*/ 128 h 294"/>
                  <a:gd name="T26" fmla="*/ 178 w 412"/>
                  <a:gd name="T27" fmla="*/ 110 h 294"/>
                  <a:gd name="T28" fmla="*/ 170 w 412"/>
                  <a:gd name="T29" fmla="*/ 102 h 294"/>
                  <a:gd name="T30" fmla="*/ 162 w 412"/>
                  <a:gd name="T31" fmla="*/ 102 h 294"/>
                  <a:gd name="T32" fmla="*/ 120 w 412"/>
                  <a:gd name="T33" fmla="*/ 106 h 294"/>
                  <a:gd name="T34" fmla="*/ 50 w 412"/>
                  <a:gd name="T35" fmla="*/ 100 h 294"/>
                  <a:gd name="T36" fmla="*/ 30 w 412"/>
                  <a:gd name="T37" fmla="*/ 98 h 294"/>
                  <a:gd name="T38" fmla="*/ 10 w 412"/>
                  <a:gd name="T39" fmla="*/ 74 h 294"/>
                  <a:gd name="T40" fmla="*/ 16 w 412"/>
                  <a:gd name="T41" fmla="*/ 72 h 294"/>
                  <a:gd name="T42" fmla="*/ 18 w 412"/>
                  <a:gd name="T43" fmla="*/ 12 h 294"/>
                  <a:gd name="T44" fmla="*/ 76 w 412"/>
                  <a:gd name="T45" fmla="*/ 2 h 294"/>
                  <a:gd name="T46" fmla="*/ 52 w 412"/>
                  <a:gd name="T47" fmla="*/ 26 h 294"/>
                  <a:gd name="T48" fmla="*/ 58 w 412"/>
                  <a:gd name="T49" fmla="*/ 44 h 294"/>
                  <a:gd name="T50" fmla="*/ 64 w 412"/>
                  <a:gd name="T51" fmla="*/ 24 h 294"/>
                  <a:gd name="T52" fmla="*/ 110 w 412"/>
                  <a:gd name="T53" fmla="*/ 0 h 294"/>
                  <a:gd name="T54" fmla="*/ 136 w 412"/>
                  <a:gd name="T55" fmla="*/ 34 h 294"/>
                  <a:gd name="T56" fmla="*/ 140 w 412"/>
                  <a:gd name="T57" fmla="*/ 38 h 294"/>
                  <a:gd name="T58" fmla="*/ 164 w 412"/>
                  <a:gd name="T59" fmla="*/ 32 h 294"/>
                  <a:gd name="T60" fmla="*/ 216 w 412"/>
                  <a:gd name="T61" fmla="*/ 40 h 294"/>
                  <a:gd name="T62" fmla="*/ 216 w 412"/>
                  <a:gd name="T63" fmla="*/ 46 h 294"/>
                  <a:gd name="T64" fmla="*/ 226 w 412"/>
                  <a:gd name="T65" fmla="*/ 50 h 294"/>
                  <a:gd name="T66" fmla="*/ 232 w 412"/>
                  <a:gd name="T67" fmla="*/ 50 h 294"/>
                  <a:gd name="T68" fmla="*/ 232 w 412"/>
                  <a:gd name="T69" fmla="*/ 64 h 294"/>
                  <a:gd name="T70" fmla="*/ 260 w 412"/>
                  <a:gd name="T71" fmla="*/ 62 h 294"/>
                  <a:gd name="T72" fmla="*/ 258 w 412"/>
                  <a:gd name="T73" fmla="*/ 78 h 294"/>
                  <a:gd name="T74" fmla="*/ 276 w 412"/>
                  <a:gd name="T75" fmla="*/ 74 h 294"/>
                  <a:gd name="T76" fmla="*/ 272 w 412"/>
                  <a:gd name="T77" fmla="*/ 86 h 294"/>
                  <a:gd name="T78" fmla="*/ 308 w 412"/>
                  <a:gd name="T79" fmla="*/ 90 h 294"/>
                  <a:gd name="T80" fmla="*/ 312 w 412"/>
                  <a:gd name="T81" fmla="*/ 96 h 294"/>
                  <a:gd name="T82" fmla="*/ 326 w 412"/>
                  <a:gd name="T83" fmla="*/ 108 h 294"/>
                  <a:gd name="T84" fmla="*/ 324 w 412"/>
                  <a:gd name="T85" fmla="*/ 112 h 294"/>
                  <a:gd name="T86" fmla="*/ 332 w 412"/>
                  <a:gd name="T87" fmla="*/ 124 h 294"/>
                  <a:gd name="T88" fmla="*/ 318 w 412"/>
                  <a:gd name="T89" fmla="*/ 138 h 294"/>
                  <a:gd name="T90" fmla="*/ 342 w 412"/>
                  <a:gd name="T91" fmla="*/ 142 h 294"/>
                  <a:gd name="T92" fmla="*/ 362 w 412"/>
                  <a:gd name="T93" fmla="*/ 154 h 294"/>
                  <a:gd name="T94" fmla="*/ 388 w 412"/>
                  <a:gd name="T95" fmla="*/ 168 h 294"/>
                  <a:gd name="T96" fmla="*/ 412 w 412"/>
                  <a:gd name="T97" fmla="*/ 182 h 294"/>
                  <a:gd name="T98" fmla="*/ 396 w 412"/>
                  <a:gd name="T99" fmla="*/ 196 h 294"/>
                  <a:gd name="T100" fmla="*/ 384 w 412"/>
                  <a:gd name="T101" fmla="*/ 210 h 294"/>
                  <a:gd name="T102" fmla="*/ 370 w 412"/>
                  <a:gd name="T103" fmla="*/ 224 h 294"/>
                  <a:gd name="T104" fmla="*/ 344 w 412"/>
                  <a:gd name="T105" fmla="*/ 200 h 294"/>
                  <a:gd name="T106" fmla="*/ 328 w 412"/>
                  <a:gd name="T107" fmla="*/ 218 h 294"/>
                  <a:gd name="T108" fmla="*/ 364 w 412"/>
                  <a:gd name="T109" fmla="*/ 260 h 294"/>
                  <a:gd name="T110" fmla="*/ 354 w 412"/>
                  <a:gd name="T111" fmla="*/ 260 h 294"/>
                  <a:gd name="T112" fmla="*/ 352 w 412"/>
                  <a:gd name="T113" fmla="*/ 278 h 294"/>
                  <a:gd name="T114" fmla="*/ 312 w 412"/>
                  <a:gd name="T115" fmla="*/ 260 h 294"/>
                  <a:gd name="T116" fmla="*/ 338 w 412"/>
                  <a:gd name="T11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294">
                    <a:moveTo>
                      <a:pt x="338" y="294"/>
                    </a:moveTo>
                    <a:lnTo>
                      <a:pt x="316" y="290"/>
                    </a:lnTo>
                    <a:lnTo>
                      <a:pt x="298" y="282"/>
                    </a:lnTo>
                    <a:lnTo>
                      <a:pt x="286" y="274"/>
                    </a:lnTo>
                    <a:lnTo>
                      <a:pt x="280" y="274"/>
                    </a:lnTo>
                    <a:lnTo>
                      <a:pt x="280" y="280"/>
                    </a:lnTo>
                    <a:lnTo>
                      <a:pt x="280" y="280"/>
                    </a:lnTo>
                    <a:lnTo>
                      <a:pt x="278" y="282"/>
                    </a:lnTo>
                    <a:lnTo>
                      <a:pt x="278" y="282"/>
                    </a:lnTo>
                    <a:lnTo>
                      <a:pt x="278" y="282"/>
                    </a:lnTo>
                    <a:lnTo>
                      <a:pt x="278" y="282"/>
                    </a:lnTo>
                    <a:lnTo>
                      <a:pt x="276" y="282"/>
                    </a:lnTo>
                    <a:lnTo>
                      <a:pt x="264" y="268"/>
                    </a:lnTo>
                    <a:lnTo>
                      <a:pt x="258" y="260"/>
                    </a:lnTo>
                    <a:lnTo>
                      <a:pt x="258" y="260"/>
                    </a:lnTo>
                    <a:lnTo>
                      <a:pt x="258" y="258"/>
                    </a:lnTo>
                    <a:lnTo>
                      <a:pt x="260" y="256"/>
                    </a:lnTo>
                    <a:lnTo>
                      <a:pt x="258" y="252"/>
                    </a:lnTo>
                    <a:lnTo>
                      <a:pt x="252" y="254"/>
                    </a:lnTo>
                    <a:lnTo>
                      <a:pt x="252" y="254"/>
                    </a:lnTo>
                    <a:lnTo>
                      <a:pt x="250" y="254"/>
                    </a:lnTo>
                    <a:lnTo>
                      <a:pt x="250" y="254"/>
                    </a:lnTo>
                    <a:lnTo>
                      <a:pt x="250" y="254"/>
                    </a:lnTo>
                    <a:lnTo>
                      <a:pt x="228" y="232"/>
                    </a:lnTo>
                    <a:lnTo>
                      <a:pt x="218" y="228"/>
                    </a:lnTo>
                    <a:lnTo>
                      <a:pt x="216" y="228"/>
                    </a:lnTo>
                    <a:lnTo>
                      <a:pt x="216" y="232"/>
                    </a:lnTo>
                    <a:lnTo>
                      <a:pt x="216" y="232"/>
                    </a:lnTo>
                    <a:lnTo>
                      <a:pt x="214" y="234"/>
                    </a:lnTo>
                    <a:lnTo>
                      <a:pt x="214" y="236"/>
                    </a:lnTo>
                    <a:lnTo>
                      <a:pt x="214" y="236"/>
                    </a:lnTo>
                    <a:lnTo>
                      <a:pt x="212" y="236"/>
                    </a:lnTo>
                    <a:lnTo>
                      <a:pt x="202" y="236"/>
                    </a:lnTo>
                    <a:lnTo>
                      <a:pt x="196" y="240"/>
                    </a:lnTo>
                    <a:lnTo>
                      <a:pt x="188" y="244"/>
                    </a:lnTo>
                    <a:lnTo>
                      <a:pt x="188" y="244"/>
                    </a:lnTo>
                    <a:lnTo>
                      <a:pt x="186" y="244"/>
                    </a:lnTo>
                    <a:lnTo>
                      <a:pt x="186" y="244"/>
                    </a:lnTo>
                    <a:lnTo>
                      <a:pt x="174" y="242"/>
                    </a:lnTo>
                    <a:lnTo>
                      <a:pt x="174" y="242"/>
                    </a:lnTo>
                    <a:lnTo>
                      <a:pt x="172" y="240"/>
                    </a:lnTo>
                    <a:lnTo>
                      <a:pt x="166" y="232"/>
                    </a:lnTo>
                    <a:lnTo>
                      <a:pt x="166" y="232"/>
                    </a:lnTo>
                    <a:lnTo>
                      <a:pt x="166" y="230"/>
                    </a:lnTo>
                    <a:lnTo>
                      <a:pt x="168" y="220"/>
                    </a:lnTo>
                    <a:lnTo>
                      <a:pt x="168" y="220"/>
                    </a:lnTo>
                    <a:lnTo>
                      <a:pt x="168" y="218"/>
                    </a:lnTo>
                    <a:lnTo>
                      <a:pt x="180" y="210"/>
                    </a:lnTo>
                    <a:lnTo>
                      <a:pt x="180" y="210"/>
                    </a:lnTo>
                    <a:lnTo>
                      <a:pt x="182" y="208"/>
                    </a:lnTo>
                    <a:lnTo>
                      <a:pt x="182" y="208"/>
                    </a:lnTo>
                    <a:lnTo>
                      <a:pt x="182" y="210"/>
                    </a:lnTo>
                    <a:lnTo>
                      <a:pt x="192" y="210"/>
                    </a:lnTo>
                    <a:lnTo>
                      <a:pt x="204" y="214"/>
                    </a:lnTo>
                    <a:lnTo>
                      <a:pt x="208" y="218"/>
                    </a:lnTo>
                    <a:lnTo>
                      <a:pt x="212" y="214"/>
                    </a:lnTo>
                    <a:lnTo>
                      <a:pt x="220" y="210"/>
                    </a:lnTo>
                    <a:lnTo>
                      <a:pt x="228" y="206"/>
                    </a:lnTo>
                    <a:lnTo>
                      <a:pt x="226" y="206"/>
                    </a:lnTo>
                    <a:lnTo>
                      <a:pt x="220" y="200"/>
                    </a:lnTo>
                    <a:lnTo>
                      <a:pt x="220" y="200"/>
                    </a:lnTo>
                    <a:lnTo>
                      <a:pt x="218" y="198"/>
                    </a:lnTo>
                    <a:lnTo>
                      <a:pt x="226" y="186"/>
                    </a:lnTo>
                    <a:lnTo>
                      <a:pt x="226" y="186"/>
                    </a:lnTo>
                    <a:lnTo>
                      <a:pt x="226" y="186"/>
                    </a:lnTo>
                    <a:lnTo>
                      <a:pt x="240" y="180"/>
                    </a:lnTo>
                    <a:lnTo>
                      <a:pt x="248" y="170"/>
                    </a:lnTo>
                    <a:lnTo>
                      <a:pt x="242" y="154"/>
                    </a:lnTo>
                    <a:lnTo>
                      <a:pt x="236" y="146"/>
                    </a:lnTo>
                    <a:lnTo>
                      <a:pt x="230" y="146"/>
                    </a:lnTo>
                    <a:lnTo>
                      <a:pt x="230" y="146"/>
                    </a:lnTo>
                    <a:lnTo>
                      <a:pt x="228" y="144"/>
                    </a:lnTo>
                    <a:lnTo>
                      <a:pt x="226" y="140"/>
                    </a:lnTo>
                    <a:lnTo>
                      <a:pt x="222" y="142"/>
                    </a:lnTo>
                    <a:lnTo>
                      <a:pt x="222" y="142"/>
                    </a:lnTo>
                    <a:lnTo>
                      <a:pt x="220" y="142"/>
                    </a:lnTo>
                    <a:lnTo>
                      <a:pt x="220" y="142"/>
                    </a:lnTo>
                    <a:lnTo>
                      <a:pt x="220" y="142"/>
                    </a:lnTo>
                    <a:lnTo>
                      <a:pt x="214" y="134"/>
                    </a:lnTo>
                    <a:lnTo>
                      <a:pt x="214" y="134"/>
                    </a:lnTo>
                    <a:lnTo>
                      <a:pt x="214" y="132"/>
                    </a:lnTo>
                    <a:lnTo>
                      <a:pt x="214" y="130"/>
                    </a:lnTo>
                    <a:lnTo>
                      <a:pt x="206" y="130"/>
                    </a:lnTo>
                    <a:lnTo>
                      <a:pt x="196" y="136"/>
                    </a:lnTo>
                    <a:lnTo>
                      <a:pt x="196" y="136"/>
                    </a:lnTo>
                    <a:lnTo>
                      <a:pt x="196" y="136"/>
                    </a:lnTo>
                    <a:lnTo>
                      <a:pt x="196" y="136"/>
                    </a:lnTo>
                    <a:lnTo>
                      <a:pt x="194" y="136"/>
                    </a:lnTo>
                    <a:lnTo>
                      <a:pt x="188" y="128"/>
                    </a:lnTo>
                    <a:lnTo>
                      <a:pt x="188" y="128"/>
                    </a:lnTo>
                    <a:lnTo>
                      <a:pt x="186" y="128"/>
                    </a:lnTo>
                    <a:lnTo>
                      <a:pt x="186" y="128"/>
                    </a:lnTo>
                    <a:lnTo>
                      <a:pt x="188" y="126"/>
                    </a:lnTo>
                    <a:lnTo>
                      <a:pt x="196" y="120"/>
                    </a:lnTo>
                    <a:lnTo>
                      <a:pt x="194" y="116"/>
                    </a:lnTo>
                    <a:lnTo>
                      <a:pt x="190" y="114"/>
                    </a:lnTo>
                    <a:lnTo>
                      <a:pt x="182" y="106"/>
                    </a:lnTo>
                    <a:lnTo>
                      <a:pt x="178" y="110"/>
                    </a:lnTo>
                    <a:lnTo>
                      <a:pt x="178" y="110"/>
                    </a:lnTo>
                    <a:lnTo>
                      <a:pt x="176" y="110"/>
                    </a:lnTo>
                    <a:lnTo>
                      <a:pt x="176" y="110"/>
                    </a:lnTo>
                    <a:lnTo>
                      <a:pt x="176" y="110"/>
                    </a:lnTo>
                    <a:lnTo>
                      <a:pt x="176" y="110"/>
                    </a:lnTo>
                    <a:lnTo>
                      <a:pt x="174" y="110"/>
                    </a:lnTo>
                    <a:lnTo>
                      <a:pt x="170" y="102"/>
                    </a:lnTo>
                    <a:lnTo>
                      <a:pt x="166" y="96"/>
                    </a:lnTo>
                    <a:lnTo>
                      <a:pt x="160" y="90"/>
                    </a:lnTo>
                    <a:lnTo>
                      <a:pt x="158" y="92"/>
                    </a:lnTo>
                    <a:lnTo>
                      <a:pt x="160" y="94"/>
                    </a:lnTo>
                    <a:lnTo>
                      <a:pt x="162" y="100"/>
                    </a:lnTo>
                    <a:lnTo>
                      <a:pt x="162" y="100"/>
                    </a:lnTo>
                    <a:lnTo>
                      <a:pt x="162" y="102"/>
                    </a:lnTo>
                    <a:lnTo>
                      <a:pt x="156" y="106"/>
                    </a:lnTo>
                    <a:lnTo>
                      <a:pt x="156" y="106"/>
                    </a:lnTo>
                    <a:lnTo>
                      <a:pt x="154" y="106"/>
                    </a:lnTo>
                    <a:lnTo>
                      <a:pt x="142" y="106"/>
                    </a:lnTo>
                    <a:lnTo>
                      <a:pt x="124" y="102"/>
                    </a:lnTo>
                    <a:lnTo>
                      <a:pt x="120" y="106"/>
                    </a:lnTo>
                    <a:lnTo>
                      <a:pt x="120" y="106"/>
                    </a:lnTo>
                    <a:lnTo>
                      <a:pt x="118" y="106"/>
                    </a:lnTo>
                    <a:lnTo>
                      <a:pt x="108" y="108"/>
                    </a:lnTo>
                    <a:lnTo>
                      <a:pt x="82" y="104"/>
                    </a:lnTo>
                    <a:lnTo>
                      <a:pt x="68" y="100"/>
                    </a:lnTo>
                    <a:lnTo>
                      <a:pt x="52" y="100"/>
                    </a:lnTo>
                    <a:lnTo>
                      <a:pt x="52" y="100"/>
                    </a:lnTo>
                    <a:lnTo>
                      <a:pt x="50" y="100"/>
                    </a:lnTo>
                    <a:lnTo>
                      <a:pt x="44" y="96"/>
                    </a:lnTo>
                    <a:lnTo>
                      <a:pt x="38" y="92"/>
                    </a:lnTo>
                    <a:lnTo>
                      <a:pt x="32" y="96"/>
                    </a:lnTo>
                    <a:lnTo>
                      <a:pt x="32" y="96"/>
                    </a:lnTo>
                    <a:lnTo>
                      <a:pt x="30" y="98"/>
                    </a:lnTo>
                    <a:lnTo>
                      <a:pt x="30" y="98"/>
                    </a:lnTo>
                    <a:lnTo>
                      <a:pt x="30" y="98"/>
                    </a:lnTo>
                    <a:lnTo>
                      <a:pt x="20" y="94"/>
                    </a:lnTo>
                    <a:lnTo>
                      <a:pt x="8" y="86"/>
                    </a:lnTo>
                    <a:lnTo>
                      <a:pt x="8" y="86"/>
                    </a:lnTo>
                    <a:lnTo>
                      <a:pt x="8" y="84"/>
                    </a:lnTo>
                    <a:lnTo>
                      <a:pt x="8" y="76"/>
                    </a:lnTo>
                    <a:lnTo>
                      <a:pt x="8" y="76"/>
                    </a:lnTo>
                    <a:lnTo>
                      <a:pt x="10" y="74"/>
                    </a:lnTo>
                    <a:lnTo>
                      <a:pt x="16" y="74"/>
                    </a:lnTo>
                    <a:lnTo>
                      <a:pt x="30" y="76"/>
                    </a:lnTo>
                    <a:lnTo>
                      <a:pt x="32" y="74"/>
                    </a:lnTo>
                    <a:lnTo>
                      <a:pt x="30" y="70"/>
                    </a:lnTo>
                    <a:lnTo>
                      <a:pt x="30" y="70"/>
                    </a:lnTo>
                    <a:lnTo>
                      <a:pt x="16" y="72"/>
                    </a:lnTo>
                    <a:lnTo>
                      <a:pt x="16" y="72"/>
                    </a:lnTo>
                    <a:lnTo>
                      <a:pt x="16" y="72"/>
                    </a:lnTo>
                    <a:lnTo>
                      <a:pt x="2" y="66"/>
                    </a:lnTo>
                    <a:lnTo>
                      <a:pt x="2" y="66"/>
                    </a:lnTo>
                    <a:lnTo>
                      <a:pt x="0" y="66"/>
                    </a:lnTo>
                    <a:lnTo>
                      <a:pt x="0" y="46"/>
                    </a:lnTo>
                    <a:lnTo>
                      <a:pt x="8" y="28"/>
                    </a:lnTo>
                    <a:lnTo>
                      <a:pt x="18" y="12"/>
                    </a:lnTo>
                    <a:lnTo>
                      <a:pt x="34" y="2"/>
                    </a:lnTo>
                    <a:lnTo>
                      <a:pt x="34" y="2"/>
                    </a:lnTo>
                    <a:lnTo>
                      <a:pt x="36" y="0"/>
                    </a:lnTo>
                    <a:lnTo>
                      <a:pt x="48" y="0"/>
                    </a:lnTo>
                    <a:lnTo>
                      <a:pt x="76" y="0"/>
                    </a:lnTo>
                    <a:lnTo>
                      <a:pt x="76" y="0"/>
                    </a:lnTo>
                    <a:lnTo>
                      <a:pt x="76" y="2"/>
                    </a:lnTo>
                    <a:lnTo>
                      <a:pt x="76" y="2"/>
                    </a:lnTo>
                    <a:lnTo>
                      <a:pt x="76" y="4"/>
                    </a:lnTo>
                    <a:lnTo>
                      <a:pt x="72" y="10"/>
                    </a:lnTo>
                    <a:lnTo>
                      <a:pt x="72" y="10"/>
                    </a:lnTo>
                    <a:lnTo>
                      <a:pt x="70" y="10"/>
                    </a:lnTo>
                    <a:lnTo>
                      <a:pt x="60" y="14"/>
                    </a:lnTo>
                    <a:lnTo>
                      <a:pt x="52" y="26"/>
                    </a:lnTo>
                    <a:lnTo>
                      <a:pt x="52" y="46"/>
                    </a:lnTo>
                    <a:lnTo>
                      <a:pt x="64" y="66"/>
                    </a:lnTo>
                    <a:lnTo>
                      <a:pt x="72" y="64"/>
                    </a:lnTo>
                    <a:lnTo>
                      <a:pt x="68" y="60"/>
                    </a:lnTo>
                    <a:lnTo>
                      <a:pt x="60" y="46"/>
                    </a:lnTo>
                    <a:lnTo>
                      <a:pt x="60" y="46"/>
                    </a:lnTo>
                    <a:lnTo>
                      <a:pt x="58" y="44"/>
                    </a:lnTo>
                    <a:lnTo>
                      <a:pt x="58" y="44"/>
                    </a:lnTo>
                    <a:lnTo>
                      <a:pt x="60" y="44"/>
                    </a:lnTo>
                    <a:lnTo>
                      <a:pt x="68" y="42"/>
                    </a:lnTo>
                    <a:lnTo>
                      <a:pt x="62" y="36"/>
                    </a:lnTo>
                    <a:lnTo>
                      <a:pt x="62" y="36"/>
                    </a:lnTo>
                    <a:lnTo>
                      <a:pt x="62" y="34"/>
                    </a:lnTo>
                    <a:lnTo>
                      <a:pt x="64" y="24"/>
                    </a:lnTo>
                    <a:lnTo>
                      <a:pt x="64" y="24"/>
                    </a:lnTo>
                    <a:lnTo>
                      <a:pt x="64" y="22"/>
                    </a:lnTo>
                    <a:lnTo>
                      <a:pt x="76" y="14"/>
                    </a:lnTo>
                    <a:lnTo>
                      <a:pt x="98" y="2"/>
                    </a:lnTo>
                    <a:lnTo>
                      <a:pt x="98" y="2"/>
                    </a:lnTo>
                    <a:lnTo>
                      <a:pt x="110" y="0"/>
                    </a:lnTo>
                    <a:lnTo>
                      <a:pt x="110" y="0"/>
                    </a:lnTo>
                    <a:lnTo>
                      <a:pt x="112" y="0"/>
                    </a:lnTo>
                    <a:lnTo>
                      <a:pt x="122" y="4"/>
                    </a:lnTo>
                    <a:lnTo>
                      <a:pt x="122" y="4"/>
                    </a:lnTo>
                    <a:lnTo>
                      <a:pt x="122" y="6"/>
                    </a:lnTo>
                    <a:lnTo>
                      <a:pt x="134" y="20"/>
                    </a:lnTo>
                    <a:lnTo>
                      <a:pt x="136" y="28"/>
                    </a:lnTo>
                    <a:lnTo>
                      <a:pt x="136" y="34"/>
                    </a:lnTo>
                    <a:lnTo>
                      <a:pt x="136" y="34"/>
                    </a:lnTo>
                    <a:lnTo>
                      <a:pt x="136" y="36"/>
                    </a:lnTo>
                    <a:lnTo>
                      <a:pt x="132" y="40"/>
                    </a:lnTo>
                    <a:lnTo>
                      <a:pt x="132" y="46"/>
                    </a:lnTo>
                    <a:lnTo>
                      <a:pt x="138" y="46"/>
                    </a:lnTo>
                    <a:lnTo>
                      <a:pt x="140" y="38"/>
                    </a:lnTo>
                    <a:lnTo>
                      <a:pt x="140" y="38"/>
                    </a:lnTo>
                    <a:lnTo>
                      <a:pt x="142" y="36"/>
                    </a:lnTo>
                    <a:lnTo>
                      <a:pt x="152" y="36"/>
                    </a:lnTo>
                    <a:lnTo>
                      <a:pt x="152" y="36"/>
                    </a:lnTo>
                    <a:lnTo>
                      <a:pt x="152" y="36"/>
                    </a:lnTo>
                    <a:lnTo>
                      <a:pt x="160" y="42"/>
                    </a:lnTo>
                    <a:lnTo>
                      <a:pt x="164" y="32"/>
                    </a:lnTo>
                    <a:lnTo>
                      <a:pt x="164" y="32"/>
                    </a:lnTo>
                    <a:lnTo>
                      <a:pt x="166" y="32"/>
                    </a:lnTo>
                    <a:lnTo>
                      <a:pt x="178" y="30"/>
                    </a:lnTo>
                    <a:lnTo>
                      <a:pt x="192" y="30"/>
                    </a:lnTo>
                    <a:lnTo>
                      <a:pt x="208" y="34"/>
                    </a:lnTo>
                    <a:lnTo>
                      <a:pt x="214" y="38"/>
                    </a:lnTo>
                    <a:lnTo>
                      <a:pt x="214" y="38"/>
                    </a:lnTo>
                    <a:lnTo>
                      <a:pt x="216" y="40"/>
                    </a:lnTo>
                    <a:lnTo>
                      <a:pt x="216" y="40"/>
                    </a:lnTo>
                    <a:lnTo>
                      <a:pt x="214" y="42"/>
                    </a:lnTo>
                    <a:lnTo>
                      <a:pt x="206" y="46"/>
                    </a:lnTo>
                    <a:lnTo>
                      <a:pt x="206" y="50"/>
                    </a:lnTo>
                    <a:lnTo>
                      <a:pt x="214" y="46"/>
                    </a:lnTo>
                    <a:lnTo>
                      <a:pt x="214" y="46"/>
                    </a:lnTo>
                    <a:lnTo>
                      <a:pt x="216" y="46"/>
                    </a:lnTo>
                    <a:lnTo>
                      <a:pt x="216" y="46"/>
                    </a:lnTo>
                    <a:lnTo>
                      <a:pt x="216" y="46"/>
                    </a:lnTo>
                    <a:lnTo>
                      <a:pt x="224" y="48"/>
                    </a:lnTo>
                    <a:lnTo>
                      <a:pt x="224" y="48"/>
                    </a:lnTo>
                    <a:lnTo>
                      <a:pt x="226" y="48"/>
                    </a:lnTo>
                    <a:lnTo>
                      <a:pt x="226" y="48"/>
                    </a:lnTo>
                    <a:lnTo>
                      <a:pt x="226" y="50"/>
                    </a:lnTo>
                    <a:lnTo>
                      <a:pt x="220" y="56"/>
                    </a:lnTo>
                    <a:lnTo>
                      <a:pt x="218" y="58"/>
                    </a:lnTo>
                    <a:lnTo>
                      <a:pt x="220" y="58"/>
                    </a:lnTo>
                    <a:lnTo>
                      <a:pt x="230" y="50"/>
                    </a:lnTo>
                    <a:lnTo>
                      <a:pt x="230" y="50"/>
                    </a:lnTo>
                    <a:lnTo>
                      <a:pt x="232" y="50"/>
                    </a:lnTo>
                    <a:lnTo>
                      <a:pt x="232" y="50"/>
                    </a:lnTo>
                    <a:lnTo>
                      <a:pt x="232" y="50"/>
                    </a:lnTo>
                    <a:lnTo>
                      <a:pt x="232" y="50"/>
                    </a:lnTo>
                    <a:lnTo>
                      <a:pt x="234" y="52"/>
                    </a:lnTo>
                    <a:lnTo>
                      <a:pt x="234" y="60"/>
                    </a:lnTo>
                    <a:lnTo>
                      <a:pt x="234" y="60"/>
                    </a:lnTo>
                    <a:lnTo>
                      <a:pt x="234" y="60"/>
                    </a:lnTo>
                    <a:lnTo>
                      <a:pt x="232" y="64"/>
                    </a:lnTo>
                    <a:lnTo>
                      <a:pt x="236" y="64"/>
                    </a:lnTo>
                    <a:lnTo>
                      <a:pt x="250" y="60"/>
                    </a:lnTo>
                    <a:lnTo>
                      <a:pt x="250" y="60"/>
                    </a:lnTo>
                    <a:lnTo>
                      <a:pt x="250" y="60"/>
                    </a:lnTo>
                    <a:lnTo>
                      <a:pt x="250" y="60"/>
                    </a:lnTo>
                    <a:lnTo>
                      <a:pt x="252" y="60"/>
                    </a:lnTo>
                    <a:lnTo>
                      <a:pt x="260" y="62"/>
                    </a:lnTo>
                    <a:lnTo>
                      <a:pt x="260" y="62"/>
                    </a:lnTo>
                    <a:lnTo>
                      <a:pt x="262" y="62"/>
                    </a:lnTo>
                    <a:lnTo>
                      <a:pt x="266" y="68"/>
                    </a:lnTo>
                    <a:lnTo>
                      <a:pt x="266" y="68"/>
                    </a:lnTo>
                    <a:lnTo>
                      <a:pt x="266" y="70"/>
                    </a:lnTo>
                    <a:lnTo>
                      <a:pt x="262" y="74"/>
                    </a:lnTo>
                    <a:lnTo>
                      <a:pt x="258" y="78"/>
                    </a:lnTo>
                    <a:lnTo>
                      <a:pt x="260" y="78"/>
                    </a:lnTo>
                    <a:lnTo>
                      <a:pt x="268" y="76"/>
                    </a:lnTo>
                    <a:lnTo>
                      <a:pt x="274" y="74"/>
                    </a:lnTo>
                    <a:lnTo>
                      <a:pt x="274" y="74"/>
                    </a:lnTo>
                    <a:lnTo>
                      <a:pt x="274" y="74"/>
                    </a:lnTo>
                    <a:lnTo>
                      <a:pt x="274" y="74"/>
                    </a:lnTo>
                    <a:lnTo>
                      <a:pt x="276" y="74"/>
                    </a:lnTo>
                    <a:lnTo>
                      <a:pt x="276" y="74"/>
                    </a:lnTo>
                    <a:lnTo>
                      <a:pt x="276" y="76"/>
                    </a:lnTo>
                    <a:lnTo>
                      <a:pt x="276" y="82"/>
                    </a:lnTo>
                    <a:lnTo>
                      <a:pt x="276" y="82"/>
                    </a:lnTo>
                    <a:lnTo>
                      <a:pt x="276" y="82"/>
                    </a:lnTo>
                    <a:lnTo>
                      <a:pt x="272" y="86"/>
                    </a:lnTo>
                    <a:lnTo>
                      <a:pt x="272" y="86"/>
                    </a:lnTo>
                    <a:lnTo>
                      <a:pt x="286" y="82"/>
                    </a:lnTo>
                    <a:lnTo>
                      <a:pt x="296" y="80"/>
                    </a:lnTo>
                    <a:lnTo>
                      <a:pt x="306" y="84"/>
                    </a:lnTo>
                    <a:lnTo>
                      <a:pt x="306" y="84"/>
                    </a:lnTo>
                    <a:lnTo>
                      <a:pt x="308" y="86"/>
                    </a:lnTo>
                    <a:lnTo>
                      <a:pt x="308" y="90"/>
                    </a:lnTo>
                    <a:lnTo>
                      <a:pt x="308" y="90"/>
                    </a:lnTo>
                    <a:lnTo>
                      <a:pt x="306" y="92"/>
                    </a:lnTo>
                    <a:lnTo>
                      <a:pt x="300" y="96"/>
                    </a:lnTo>
                    <a:lnTo>
                      <a:pt x="294" y="98"/>
                    </a:lnTo>
                    <a:lnTo>
                      <a:pt x="298" y="98"/>
                    </a:lnTo>
                    <a:lnTo>
                      <a:pt x="312" y="96"/>
                    </a:lnTo>
                    <a:lnTo>
                      <a:pt x="312" y="96"/>
                    </a:lnTo>
                    <a:lnTo>
                      <a:pt x="312" y="96"/>
                    </a:lnTo>
                    <a:lnTo>
                      <a:pt x="312" y="96"/>
                    </a:lnTo>
                    <a:lnTo>
                      <a:pt x="314" y="96"/>
                    </a:lnTo>
                    <a:lnTo>
                      <a:pt x="318" y="98"/>
                    </a:lnTo>
                    <a:lnTo>
                      <a:pt x="318" y="98"/>
                    </a:lnTo>
                    <a:lnTo>
                      <a:pt x="320" y="98"/>
                    </a:lnTo>
                    <a:lnTo>
                      <a:pt x="324" y="104"/>
                    </a:lnTo>
                    <a:lnTo>
                      <a:pt x="326" y="108"/>
                    </a:lnTo>
                    <a:lnTo>
                      <a:pt x="326" y="108"/>
                    </a:lnTo>
                    <a:lnTo>
                      <a:pt x="326" y="110"/>
                    </a:lnTo>
                    <a:lnTo>
                      <a:pt x="326" y="110"/>
                    </a:lnTo>
                    <a:lnTo>
                      <a:pt x="324" y="112"/>
                    </a:lnTo>
                    <a:lnTo>
                      <a:pt x="308" y="112"/>
                    </a:lnTo>
                    <a:lnTo>
                      <a:pt x="308" y="112"/>
                    </a:lnTo>
                    <a:lnTo>
                      <a:pt x="324" y="112"/>
                    </a:lnTo>
                    <a:lnTo>
                      <a:pt x="324" y="112"/>
                    </a:lnTo>
                    <a:lnTo>
                      <a:pt x="326" y="114"/>
                    </a:lnTo>
                    <a:lnTo>
                      <a:pt x="330" y="118"/>
                    </a:lnTo>
                    <a:lnTo>
                      <a:pt x="332" y="122"/>
                    </a:lnTo>
                    <a:lnTo>
                      <a:pt x="332" y="122"/>
                    </a:lnTo>
                    <a:lnTo>
                      <a:pt x="332" y="124"/>
                    </a:lnTo>
                    <a:lnTo>
                      <a:pt x="332" y="124"/>
                    </a:lnTo>
                    <a:lnTo>
                      <a:pt x="330" y="126"/>
                    </a:lnTo>
                    <a:lnTo>
                      <a:pt x="324" y="126"/>
                    </a:lnTo>
                    <a:lnTo>
                      <a:pt x="310" y="124"/>
                    </a:lnTo>
                    <a:lnTo>
                      <a:pt x="308" y="126"/>
                    </a:lnTo>
                    <a:lnTo>
                      <a:pt x="308" y="128"/>
                    </a:lnTo>
                    <a:lnTo>
                      <a:pt x="312" y="134"/>
                    </a:lnTo>
                    <a:lnTo>
                      <a:pt x="318" y="138"/>
                    </a:lnTo>
                    <a:lnTo>
                      <a:pt x="324" y="138"/>
                    </a:lnTo>
                    <a:lnTo>
                      <a:pt x="330" y="136"/>
                    </a:lnTo>
                    <a:lnTo>
                      <a:pt x="330" y="136"/>
                    </a:lnTo>
                    <a:lnTo>
                      <a:pt x="330" y="136"/>
                    </a:lnTo>
                    <a:lnTo>
                      <a:pt x="330" y="136"/>
                    </a:lnTo>
                    <a:lnTo>
                      <a:pt x="332" y="136"/>
                    </a:lnTo>
                    <a:lnTo>
                      <a:pt x="342" y="142"/>
                    </a:lnTo>
                    <a:lnTo>
                      <a:pt x="342" y="142"/>
                    </a:lnTo>
                    <a:lnTo>
                      <a:pt x="344" y="144"/>
                    </a:lnTo>
                    <a:lnTo>
                      <a:pt x="344" y="148"/>
                    </a:lnTo>
                    <a:lnTo>
                      <a:pt x="348" y="148"/>
                    </a:lnTo>
                    <a:lnTo>
                      <a:pt x="356" y="150"/>
                    </a:lnTo>
                    <a:lnTo>
                      <a:pt x="362" y="154"/>
                    </a:lnTo>
                    <a:lnTo>
                      <a:pt x="362" y="154"/>
                    </a:lnTo>
                    <a:lnTo>
                      <a:pt x="362" y="156"/>
                    </a:lnTo>
                    <a:lnTo>
                      <a:pt x="364" y="160"/>
                    </a:lnTo>
                    <a:lnTo>
                      <a:pt x="372" y="160"/>
                    </a:lnTo>
                    <a:lnTo>
                      <a:pt x="380" y="162"/>
                    </a:lnTo>
                    <a:lnTo>
                      <a:pt x="380" y="162"/>
                    </a:lnTo>
                    <a:lnTo>
                      <a:pt x="380" y="162"/>
                    </a:lnTo>
                    <a:lnTo>
                      <a:pt x="388" y="168"/>
                    </a:lnTo>
                    <a:lnTo>
                      <a:pt x="392" y="172"/>
                    </a:lnTo>
                    <a:lnTo>
                      <a:pt x="402" y="174"/>
                    </a:lnTo>
                    <a:lnTo>
                      <a:pt x="402" y="174"/>
                    </a:lnTo>
                    <a:lnTo>
                      <a:pt x="402" y="174"/>
                    </a:lnTo>
                    <a:lnTo>
                      <a:pt x="412" y="180"/>
                    </a:lnTo>
                    <a:lnTo>
                      <a:pt x="412" y="180"/>
                    </a:lnTo>
                    <a:lnTo>
                      <a:pt x="412" y="182"/>
                    </a:lnTo>
                    <a:lnTo>
                      <a:pt x="412" y="190"/>
                    </a:lnTo>
                    <a:lnTo>
                      <a:pt x="412" y="190"/>
                    </a:lnTo>
                    <a:lnTo>
                      <a:pt x="412" y="192"/>
                    </a:lnTo>
                    <a:lnTo>
                      <a:pt x="410" y="192"/>
                    </a:lnTo>
                    <a:lnTo>
                      <a:pt x="410" y="192"/>
                    </a:lnTo>
                    <a:lnTo>
                      <a:pt x="410" y="194"/>
                    </a:lnTo>
                    <a:lnTo>
                      <a:pt x="396" y="196"/>
                    </a:lnTo>
                    <a:lnTo>
                      <a:pt x="390" y="196"/>
                    </a:lnTo>
                    <a:lnTo>
                      <a:pt x="392" y="202"/>
                    </a:lnTo>
                    <a:lnTo>
                      <a:pt x="392" y="202"/>
                    </a:lnTo>
                    <a:lnTo>
                      <a:pt x="390" y="204"/>
                    </a:lnTo>
                    <a:lnTo>
                      <a:pt x="386" y="208"/>
                    </a:lnTo>
                    <a:lnTo>
                      <a:pt x="386" y="208"/>
                    </a:lnTo>
                    <a:lnTo>
                      <a:pt x="384" y="210"/>
                    </a:lnTo>
                    <a:lnTo>
                      <a:pt x="378" y="210"/>
                    </a:lnTo>
                    <a:lnTo>
                      <a:pt x="378" y="214"/>
                    </a:lnTo>
                    <a:lnTo>
                      <a:pt x="378" y="214"/>
                    </a:lnTo>
                    <a:lnTo>
                      <a:pt x="376" y="216"/>
                    </a:lnTo>
                    <a:lnTo>
                      <a:pt x="372" y="222"/>
                    </a:lnTo>
                    <a:lnTo>
                      <a:pt x="372" y="222"/>
                    </a:lnTo>
                    <a:lnTo>
                      <a:pt x="370" y="224"/>
                    </a:lnTo>
                    <a:lnTo>
                      <a:pt x="370" y="224"/>
                    </a:lnTo>
                    <a:lnTo>
                      <a:pt x="368" y="224"/>
                    </a:lnTo>
                    <a:lnTo>
                      <a:pt x="354" y="216"/>
                    </a:lnTo>
                    <a:lnTo>
                      <a:pt x="354" y="216"/>
                    </a:lnTo>
                    <a:lnTo>
                      <a:pt x="354" y="216"/>
                    </a:lnTo>
                    <a:lnTo>
                      <a:pt x="346" y="206"/>
                    </a:lnTo>
                    <a:lnTo>
                      <a:pt x="344" y="200"/>
                    </a:lnTo>
                    <a:lnTo>
                      <a:pt x="326" y="188"/>
                    </a:lnTo>
                    <a:lnTo>
                      <a:pt x="320" y="190"/>
                    </a:lnTo>
                    <a:lnTo>
                      <a:pt x="324" y="198"/>
                    </a:lnTo>
                    <a:lnTo>
                      <a:pt x="324" y="198"/>
                    </a:lnTo>
                    <a:lnTo>
                      <a:pt x="324" y="200"/>
                    </a:lnTo>
                    <a:lnTo>
                      <a:pt x="322" y="206"/>
                    </a:lnTo>
                    <a:lnTo>
                      <a:pt x="328" y="218"/>
                    </a:lnTo>
                    <a:lnTo>
                      <a:pt x="338" y="228"/>
                    </a:lnTo>
                    <a:lnTo>
                      <a:pt x="354" y="240"/>
                    </a:lnTo>
                    <a:lnTo>
                      <a:pt x="366" y="252"/>
                    </a:lnTo>
                    <a:lnTo>
                      <a:pt x="366" y="252"/>
                    </a:lnTo>
                    <a:lnTo>
                      <a:pt x="366" y="254"/>
                    </a:lnTo>
                    <a:lnTo>
                      <a:pt x="364" y="260"/>
                    </a:lnTo>
                    <a:lnTo>
                      <a:pt x="364" y="260"/>
                    </a:lnTo>
                    <a:lnTo>
                      <a:pt x="364" y="260"/>
                    </a:lnTo>
                    <a:lnTo>
                      <a:pt x="364" y="260"/>
                    </a:lnTo>
                    <a:lnTo>
                      <a:pt x="362" y="262"/>
                    </a:lnTo>
                    <a:lnTo>
                      <a:pt x="362" y="262"/>
                    </a:lnTo>
                    <a:lnTo>
                      <a:pt x="362" y="260"/>
                    </a:lnTo>
                    <a:lnTo>
                      <a:pt x="356" y="260"/>
                    </a:lnTo>
                    <a:lnTo>
                      <a:pt x="354" y="260"/>
                    </a:lnTo>
                    <a:lnTo>
                      <a:pt x="354" y="260"/>
                    </a:lnTo>
                    <a:lnTo>
                      <a:pt x="360" y="270"/>
                    </a:lnTo>
                    <a:lnTo>
                      <a:pt x="360" y="270"/>
                    </a:lnTo>
                    <a:lnTo>
                      <a:pt x="358" y="272"/>
                    </a:lnTo>
                    <a:lnTo>
                      <a:pt x="354" y="278"/>
                    </a:lnTo>
                    <a:lnTo>
                      <a:pt x="354" y="278"/>
                    </a:lnTo>
                    <a:lnTo>
                      <a:pt x="352" y="278"/>
                    </a:lnTo>
                    <a:lnTo>
                      <a:pt x="352" y="278"/>
                    </a:lnTo>
                    <a:lnTo>
                      <a:pt x="352" y="278"/>
                    </a:lnTo>
                    <a:lnTo>
                      <a:pt x="336" y="272"/>
                    </a:lnTo>
                    <a:lnTo>
                      <a:pt x="318" y="260"/>
                    </a:lnTo>
                    <a:lnTo>
                      <a:pt x="308" y="250"/>
                    </a:lnTo>
                    <a:lnTo>
                      <a:pt x="306" y="252"/>
                    </a:lnTo>
                    <a:lnTo>
                      <a:pt x="312" y="260"/>
                    </a:lnTo>
                    <a:lnTo>
                      <a:pt x="328" y="272"/>
                    </a:lnTo>
                    <a:lnTo>
                      <a:pt x="332" y="278"/>
                    </a:lnTo>
                    <a:lnTo>
                      <a:pt x="340" y="292"/>
                    </a:lnTo>
                    <a:lnTo>
                      <a:pt x="340" y="292"/>
                    </a:lnTo>
                    <a:lnTo>
                      <a:pt x="340" y="294"/>
                    </a:lnTo>
                    <a:lnTo>
                      <a:pt x="340" y="294"/>
                    </a:lnTo>
                    <a:lnTo>
                      <a:pt x="338" y="294"/>
                    </a:lnTo>
                    <a:lnTo>
                      <a:pt x="338" y="294"/>
                    </a:lnTo>
                    <a:lnTo>
                      <a:pt x="338" y="294"/>
                    </a:lnTo>
                    <a:lnTo>
                      <a:pt x="338" y="2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4" name="Freeform 123"/>
              <p:cNvSpPr>
                <a:spLocks noEditPoints="1"/>
              </p:cNvSpPr>
              <p:nvPr/>
            </p:nvSpPr>
            <p:spPr bwMode="auto">
              <a:xfrm>
                <a:off x="1591" y="1217"/>
                <a:ext cx="416" cy="298"/>
              </a:xfrm>
              <a:custGeom>
                <a:avLst/>
                <a:gdLst>
                  <a:gd name="T0" fmla="*/ 62 w 416"/>
                  <a:gd name="T1" fmla="*/ 48 h 298"/>
                  <a:gd name="T2" fmla="*/ 136 w 416"/>
                  <a:gd name="T3" fmla="*/ 36 h 298"/>
                  <a:gd name="T4" fmla="*/ 216 w 416"/>
                  <a:gd name="T5" fmla="*/ 42 h 298"/>
                  <a:gd name="T6" fmla="*/ 238 w 416"/>
                  <a:gd name="T7" fmla="*/ 68 h 298"/>
                  <a:gd name="T8" fmla="*/ 274 w 416"/>
                  <a:gd name="T9" fmla="*/ 90 h 298"/>
                  <a:gd name="T10" fmla="*/ 326 w 416"/>
                  <a:gd name="T11" fmla="*/ 112 h 298"/>
                  <a:gd name="T12" fmla="*/ 312 w 416"/>
                  <a:gd name="T13" fmla="*/ 124 h 298"/>
                  <a:gd name="T14" fmla="*/ 358 w 416"/>
                  <a:gd name="T15" fmla="*/ 154 h 298"/>
                  <a:gd name="T16" fmla="*/ 410 w 416"/>
                  <a:gd name="T17" fmla="*/ 194 h 298"/>
                  <a:gd name="T18" fmla="*/ 328 w 416"/>
                  <a:gd name="T19" fmla="*/ 188 h 298"/>
                  <a:gd name="T20" fmla="*/ 354 w 416"/>
                  <a:gd name="T21" fmla="*/ 262 h 298"/>
                  <a:gd name="T22" fmla="*/ 340 w 416"/>
                  <a:gd name="T23" fmla="*/ 294 h 298"/>
                  <a:gd name="T24" fmla="*/ 246 w 416"/>
                  <a:gd name="T25" fmla="*/ 246 h 298"/>
                  <a:gd name="T26" fmla="*/ 176 w 416"/>
                  <a:gd name="T27" fmla="*/ 242 h 298"/>
                  <a:gd name="T28" fmla="*/ 222 w 416"/>
                  <a:gd name="T29" fmla="*/ 200 h 298"/>
                  <a:gd name="T30" fmla="*/ 206 w 416"/>
                  <a:gd name="T31" fmla="*/ 130 h 298"/>
                  <a:gd name="T32" fmla="*/ 156 w 416"/>
                  <a:gd name="T33" fmla="*/ 92 h 298"/>
                  <a:gd name="T34" fmla="*/ 46 w 416"/>
                  <a:gd name="T35" fmla="*/ 96 h 298"/>
                  <a:gd name="T36" fmla="*/ 4 w 416"/>
                  <a:gd name="T37" fmla="*/ 68 h 298"/>
                  <a:gd name="T38" fmla="*/ 36 w 416"/>
                  <a:gd name="T39" fmla="*/ 2 h 298"/>
                  <a:gd name="T40" fmla="*/ 0 w 416"/>
                  <a:gd name="T41" fmla="*/ 68 h 298"/>
                  <a:gd name="T42" fmla="*/ 20 w 416"/>
                  <a:gd name="T43" fmla="*/ 98 h 298"/>
                  <a:gd name="T44" fmla="*/ 54 w 416"/>
                  <a:gd name="T45" fmla="*/ 104 h 298"/>
                  <a:gd name="T46" fmla="*/ 120 w 416"/>
                  <a:gd name="T47" fmla="*/ 110 h 298"/>
                  <a:gd name="T48" fmla="*/ 166 w 416"/>
                  <a:gd name="T49" fmla="*/ 104 h 298"/>
                  <a:gd name="T50" fmla="*/ 182 w 416"/>
                  <a:gd name="T51" fmla="*/ 112 h 298"/>
                  <a:gd name="T52" fmla="*/ 188 w 416"/>
                  <a:gd name="T53" fmla="*/ 132 h 298"/>
                  <a:gd name="T54" fmla="*/ 220 w 416"/>
                  <a:gd name="T55" fmla="*/ 144 h 298"/>
                  <a:gd name="T56" fmla="*/ 242 w 416"/>
                  <a:gd name="T57" fmla="*/ 158 h 298"/>
                  <a:gd name="T58" fmla="*/ 222 w 416"/>
                  <a:gd name="T59" fmla="*/ 210 h 298"/>
                  <a:gd name="T60" fmla="*/ 196 w 416"/>
                  <a:gd name="T61" fmla="*/ 210 h 298"/>
                  <a:gd name="T62" fmla="*/ 166 w 416"/>
                  <a:gd name="T63" fmla="*/ 232 h 298"/>
                  <a:gd name="T64" fmla="*/ 200 w 416"/>
                  <a:gd name="T65" fmla="*/ 244 h 298"/>
                  <a:gd name="T66" fmla="*/ 220 w 416"/>
                  <a:gd name="T67" fmla="*/ 232 h 298"/>
                  <a:gd name="T68" fmla="*/ 258 w 416"/>
                  <a:gd name="T69" fmla="*/ 258 h 298"/>
                  <a:gd name="T70" fmla="*/ 282 w 416"/>
                  <a:gd name="T71" fmla="*/ 286 h 298"/>
                  <a:gd name="T72" fmla="*/ 338 w 416"/>
                  <a:gd name="T73" fmla="*/ 298 h 298"/>
                  <a:gd name="T74" fmla="*/ 332 w 416"/>
                  <a:gd name="T75" fmla="*/ 274 h 298"/>
                  <a:gd name="T76" fmla="*/ 362 w 416"/>
                  <a:gd name="T77" fmla="*/ 276 h 298"/>
                  <a:gd name="T78" fmla="*/ 370 w 416"/>
                  <a:gd name="T79" fmla="*/ 256 h 298"/>
                  <a:gd name="T80" fmla="*/ 328 w 416"/>
                  <a:gd name="T81" fmla="*/ 200 h 298"/>
                  <a:gd name="T82" fmla="*/ 370 w 416"/>
                  <a:gd name="T83" fmla="*/ 228 h 298"/>
                  <a:gd name="T84" fmla="*/ 394 w 416"/>
                  <a:gd name="T85" fmla="*/ 206 h 298"/>
                  <a:gd name="T86" fmla="*/ 416 w 416"/>
                  <a:gd name="T87" fmla="*/ 194 h 298"/>
                  <a:gd name="T88" fmla="*/ 392 w 416"/>
                  <a:gd name="T89" fmla="*/ 170 h 298"/>
                  <a:gd name="T90" fmla="*/ 366 w 416"/>
                  <a:gd name="T91" fmla="*/ 154 h 298"/>
                  <a:gd name="T92" fmla="*/ 332 w 416"/>
                  <a:gd name="T93" fmla="*/ 136 h 298"/>
                  <a:gd name="T94" fmla="*/ 326 w 416"/>
                  <a:gd name="T95" fmla="*/ 130 h 298"/>
                  <a:gd name="T96" fmla="*/ 328 w 416"/>
                  <a:gd name="T97" fmla="*/ 114 h 298"/>
                  <a:gd name="T98" fmla="*/ 316 w 416"/>
                  <a:gd name="T99" fmla="*/ 96 h 298"/>
                  <a:gd name="T100" fmla="*/ 312 w 416"/>
                  <a:gd name="T101" fmla="*/ 86 h 298"/>
                  <a:gd name="T102" fmla="*/ 280 w 416"/>
                  <a:gd name="T103" fmla="*/ 78 h 298"/>
                  <a:gd name="T104" fmla="*/ 270 w 416"/>
                  <a:gd name="T105" fmla="*/ 70 h 298"/>
                  <a:gd name="T106" fmla="*/ 238 w 416"/>
                  <a:gd name="T107" fmla="*/ 64 h 298"/>
                  <a:gd name="T108" fmla="*/ 230 w 416"/>
                  <a:gd name="T109" fmla="*/ 52 h 298"/>
                  <a:gd name="T110" fmla="*/ 218 w 416"/>
                  <a:gd name="T111" fmla="*/ 38 h 298"/>
                  <a:gd name="T112" fmla="*/ 166 w 416"/>
                  <a:gd name="T113" fmla="*/ 32 h 298"/>
                  <a:gd name="T114" fmla="*/ 138 w 416"/>
                  <a:gd name="T115" fmla="*/ 46 h 298"/>
                  <a:gd name="T116" fmla="*/ 138 w 416"/>
                  <a:gd name="T117" fmla="*/ 20 h 298"/>
                  <a:gd name="T118" fmla="*/ 100 w 416"/>
                  <a:gd name="T119" fmla="*/ 2 h 298"/>
                  <a:gd name="T120" fmla="*/ 66 w 416"/>
                  <a:gd name="T121" fmla="*/ 42 h 298"/>
                  <a:gd name="T122" fmla="*/ 56 w 416"/>
                  <a:gd name="T123" fmla="*/ 30 h 298"/>
                  <a:gd name="T124" fmla="*/ 78 w 416"/>
                  <a:gd name="T12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 h="298">
                    <a:moveTo>
                      <a:pt x="50" y="4"/>
                    </a:moveTo>
                    <a:lnTo>
                      <a:pt x="78" y="4"/>
                    </a:lnTo>
                    <a:lnTo>
                      <a:pt x="72" y="10"/>
                    </a:lnTo>
                    <a:lnTo>
                      <a:pt x="62" y="14"/>
                    </a:lnTo>
                    <a:lnTo>
                      <a:pt x="52" y="28"/>
                    </a:lnTo>
                    <a:lnTo>
                      <a:pt x="52" y="38"/>
                    </a:lnTo>
                    <a:lnTo>
                      <a:pt x="52" y="48"/>
                    </a:lnTo>
                    <a:lnTo>
                      <a:pt x="64" y="70"/>
                    </a:lnTo>
                    <a:lnTo>
                      <a:pt x="78" y="68"/>
                    </a:lnTo>
                    <a:lnTo>
                      <a:pt x="72" y="60"/>
                    </a:lnTo>
                    <a:lnTo>
                      <a:pt x="62" y="48"/>
                    </a:lnTo>
                    <a:lnTo>
                      <a:pt x="74" y="44"/>
                    </a:lnTo>
                    <a:lnTo>
                      <a:pt x="66" y="36"/>
                    </a:lnTo>
                    <a:lnTo>
                      <a:pt x="68" y="26"/>
                    </a:lnTo>
                    <a:lnTo>
                      <a:pt x="78" y="18"/>
                    </a:lnTo>
                    <a:lnTo>
                      <a:pt x="100" y="6"/>
                    </a:lnTo>
                    <a:lnTo>
                      <a:pt x="112" y="4"/>
                    </a:lnTo>
                    <a:lnTo>
                      <a:pt x="124" y="8"/>
                    </a:lnTo>
                    <a:lnTo>
                      <a:pt x="128" y="16"/>
                    </a:lnTo>
                    <a:lnTo>
                      <a:pt x="134" y="22"/>
                    </a:lnTo>
                    <a:lnTo>
                      <a:pt x="136" y="30"/>
                    </a:lnTo>
                    <a:lnTo>
                      <a:pt x="136" y="36"/>
                    </a:lnTo>
                    <a:lnTo>
                      <a:pt x="132" y="40"/>
                    </a:lnTo>
                    <a:lnTo>
                      <a:pt x="132" y="50"/>
                    </a:lnTo>
                    <a:lnTo>
                      <a:pt x="140" y="50"/>
                    </a:lnTo>
                    <a:lnTo>
                      <a:pt x="144" y="40"/>
                    </a:lnTo>
                    <a:lnTo>
                      <a:pt x="154" y="40"/>
                    </a:lnTo>
                    <a:lnTo>
                      <a:pt x="164" y="48"/>
                    </a:lnTo>
                    <a:lnTo>
                      <a:pt x="168" y="36"/>
                    </a:lnTo>
                    <a:lnTo>
                      <a:pt x="180" y="34"/>
                    </a:lnTo>
                    <a:lnTo>
                      <a:pt x="194" y="34"/>
                    </a:lnTo>
                    <a:lnTo>
                      <a:pt x="208" y="38"/>
                    </a:lnTo>
                    <a:lnTo>
                      <a:pt x="216" y="42"/>
                    </a:lnTo>
                    <a:lnTo>
                      <a:pt x="206" y="48"/>
                    </a:lnTo>
                    <a:lnTo>
                      <a:pt x="204" y="54"/>
                    </a:lnTo>
                    <a:lnTo>
                      <a:pt x="218" y="50"/>
                    </a:lnTo>
                    <a:lnTo>
                      <a:pt x="226" y="52"/>
                    </a:lnTo>
                    <a:lnTo>
                      <a:pt x="220" y="56"/>
                    </a:lnTo>
                    <a:lnTo>
                      <a:pt x="216" y="64"/>
                    </a:lnTo>
                    <a:lnTo>
                      <a:pt x="222" y="62"/>
                    </a:lnTo>
                    <a:lnTo>
                      <a:pt x="234" y="54"/>
                    </a:lnTo>
                    <a:lnTo>
                      <a:pt x="236" y="62"/>
                    </a:lnTo>
                    <a:lnTo>
                      <a:pt x="230" y="68"/>
                    </a:lnTo>
                    <a:lnTo>
                      <a:pt x="238" y="68"/>
                    </a:lnTo>
                    <a:lnTo>
                      <a:pt x="252" y="64"/>
                    </a:lnTo>
                    <a:lnTo>
                      <a:pt x="262" y="66"/>
                    </a:lnTo>
                    <a:lnTo>
                      <a:pt x="266" y="70"/>
                    </a:lnTo>
                    <a:lnTo>
                      <a:pt x="264" y="74"/>
                    </a:lnTo>
                    <a:lnTo>
                      <a:pt x="256" y="80"/>
                    </a:lnTo>
                    <a:lnTo>
                      <a:pt x="262" y="84"/>
                    </a:lnTo>
                    <a:lnTo>
                      <a:pt x="270" y="80"/>
                    </a:lnTo>
                    <a:lnTo>
                      <a:pt x="276" y="78"/>
                    </a:lnTo>
                    <a:lnTo>
                      <a:pt x="276" y="84"/>
                    </a:lnTo>
                    <a:lnTo>
                      <a:pt x="268" y="90"/>
                    </a:lnTo>
                    <a:lnTo>
                      <a:pt x="274" y="90"/>
                    </a:lnTo>
                    <a:lnTo>
                      <a:pt x="288" y="84"/>
                    </a:lnTo>
                    <a:lnTo>
                      <a:pt x="298" y="84"/>
                    </a:lnTo>
                    <a:lnTo>
                      <a:pt x="308" y="88"/>
                    </a:lnTo>
                    <a:lnTo>
                      <a:pt x="308" y="92"/>
                    </a:lnTo>
                    <a:lnTo>
                      <a:pt x="300" y="96"/>
                    </a:lnTo>
                    <a:lnTo>
                      <a:pt x="292" y="100"/>
                    </a:lnTo>
                    <a:lnTo>
                      <a:pt x="298" y="102"/>
                    </a:lnTo>
                    <a:lnTo>
                      <a:pt x="314" y="100"/>
                    </a:lnTo>
                    <a:lnTo>
                      <a:pt x="320" y="100"/>
                    </a:lnTo>
                    <a:lnTo>
                      <a:pt x="324" y="106"/>
                    </a:lnTo>
                    <a:lnTo>
                      <a:pt x="326" y="112"/>
                    </a:lnTo>
                    <a:lnTo>
                      <a:pt x="318" y="112"/>
                    </a:lnTo>
                    <a:lnTo>
                      <a:pt x="314" y="112"/>
                    </a:lnTo>
                    <a:lnTo>
                      <a:pt x="308" y="112"/>
                    </a:lnTo>
                    <a:lnTo>
                      <a:pt x="308" y="116"/>
                    </a:lnTo>
                    <a:lnTo>
                      <a:pt x="316" y="116"/>
                    </a:lnTo>
                    <a:lnTo>
                      <a:pt x="326" y="116"/>
                    </a:lnTo>
                    <a:lnTo>
                      <a:pt x="330" y="122"/>
                    </a:lnTo>
                    <a:lnTo>
                      <a:pt x="332" y="126"/>
                    </a:lnTo>
                    <a:lnTo>
                      <a:pt x="330" y="126"/>
                    </a:lnTo>
                    <a:lnTo>
                      <a:pt x="326" y="126"/>
                    </a:lnTo>
                    <a:lnTo>
                      <a:pt x="312" y="124"/>
                    </a:lnTo>
                    <a:lnTo>
                      <a:pt x="310" y="126"/>
                    </a:lnTo>
                    <a:lnTo>
                      <a:pt x="308" y="128"/>
                    </a:lnTo>
                    <a:lnTo>
                      <a:pt x="308" y="132"/>
                    </a:lnTo>
                    <a:lnTo>
                      <a:pt x="312" y="136"/>
                    </a:lnTo>
                    <a:lnTo>
                      <a:pt x="318" y="142"/>
                    </a:lnTo>
                    <a:lnTo>
                      <a:pt x="326" y="142"/>
                    </a:lnTo>
                    <a:lnTo>
                      <a:pt x="332" y="140"/>
                    </a:lnTo>
                    <a:lnTo>
                      <a:pt x="344" y="146"/>
                    </a:lnTo>
                    <a:lnTo>
                      <a:pt x="344" y="150"/>
                    </a:lnTo>
                    <a:lnTo>
                      <a:pt x="348" y="152"/>
                    </a:lnTo>
                    <a:lnTo>
                      <a:pt x="358" y="154"/>
                    </a:lnTo>
                    <a:lnTo>
                      <a:pt x="362" y="158"/>
                    </a:lnTo>
                    <a:lnTo>
                      <a:pt x="364" y="164"/>
                    </a:lnTo>
                    <a:lnTo>
                      <a:pt x="374" y="164"/>
                    </a:lnTo>
                    <a:lnTo>
                      <a:pt x="380" y="164"/>
                    </a:lnTo>
                    <a:lnTo>
                      <a:pt x="390" y="172"/>
                    </a:lnTo>
                    <a:lnTo>
                      <a:pt x="394" y="176"/>
                    </a:lnTo>
                    <a:lnTo>
                      <a:pt x="404" y="178"/>
                    </a:lnTo>
                    <a:lnTo>
                      <a:pt x="412" y="184"/>
                    </a:lnTo>
                    <a:lnTo>
                      <a:pt x="412" y="188"/>
                    </a:lnTo>
                    <a:lnTo>
                      <a:pt x="412" y="192"/>
                    </a:lnTo>
                    <a:lnTo>
                      <a:pt x="410" y="194"/>
                    </a:lnTo>
                    <a:lnTo>
                      <a:pt x="398" y="196"/>
                    </a:lnTo>
                    <a:lnTo>
                      <a:pt x="390" y="196"/>
                    </a:lnTo>
                    <a:lnTo>
                      <a:pt x="392" y="204"/>
                    </a:lnTo>
                    <a:lnTo>
                      <a:pt x="386" y="210"/>
                    </a:lnTo>
                    <a:lnTo>
                      <a:pt x="378" y="210"/>
                    </a:lnTo>
                    <a:lnTo>
                      <a:pt x="378" y="216"/>
                    </a:lnTo>
                    <a:lnTo>
                      <a:pt x="372" y="224"/>
                    </a:lnTo>
                    <a:lnTo>
                      <a:pt x="358" y="216"/>
                    </a:lnTo>
                    <a:lnTo>
                      <a:pt x="350" y="208"/>
                    </a:lnTo>
                    <a:lnTo>
                      <a:pt x="346" y="200"/>
                    </a:lnTo>
                    <a:lnTo>
                      <a:pt x="328" y="188"/>
                    </a:lnTo>
                    <a:lnTo>
                      <a:pt x="320" y="192"/>
                    </a:lnTo>
                    <a:lnTo>
                      <a:pt x="324" y="200"/>
                    </a:lnTo>
                    <a:lnTo>
                      <a:pt x="322" y="208"/>
                    </a:lnTo>
                    <a:lnTo>
                      <a:pt x="328" y="220"/>
                    </a:lnTo>
                    <a:lnTo>
                      <a:pt x="338" y="230"/>
                    </a:lnTo>
                    <a:lnTo>
                      <a:pt x="354" y="244"/>
                    </a:lnTo>
                    <a:lnTo>
                      <a:pt x="366" y="256"/>
                    </a:lnTo>
                    <a:lnTo>
                      <a:pt x="364" y="262"/>
                    </a:lnTo>
                    <a:lnTo>
                      <a:pt x="360" y="260"/>
                    </a:lnTo>
                    <a:lnTo>
                      <a:pt x="356" y="260"/>
                    </a:lnTo>
                    <a:lnTo>
                      <a:pt x="354" y="262"/>
                    </a:lnTo>
                    <a:lnTo>
                      <a:pt x="360" y="274"/>
                    </a:lnTo>
                    <a:lnTo>
                      <a:pt x="354" y="278"/>
                    </a:lnTo>
                    <a:lnTo>
                      <a:pt x="340" y="272"/>
                    </a:lnTo>
                    <a:lnTo>
                      <a:pt x="320" y="262"/>
                    </a:lnTo>
                    <a:lnTo>
                      <a:pt x="310" y="250"/>
                    </a:lnTo>
                    <a:lnTo>
                      <a:pt x="304" y="254"/>
                    </a:lnTo>
                    <a:lnTo>
                      <a:pt x="314" y="262"/>
                    </a:lnTo>
                    <a:lnTo>
                      <a:pt x="330" y="276"/>
                    </a:lnTo>
                    <a:lnTo>
                      <a:pt x="332" y="280"/>
                    </a:lnTo>
                    <a:lnTo>
                      <a:pt x="336" y="288"/>
                    </a:lnTo>
                    <a:lnTo>
                      <a:pt x="340" y="294"/>
                    </a:lnTo>
                    <a:lnTo>
                      <a:pt x="318" y="290"/>
                    </a:lnTo>
                    <a:lnTo>
                      <a:pt x="300" y="282"/>
                    </a:lnTo>
                    <a:lnTo>
                      <a:pt x="288" y="274"/>
                    </a:lnTo>
                    <a:lnTo>
                      <a:pt x="282" y="274"/>
                    </a:lnTo>
                    <a:lnTo>
                      <a:pt x="280" y="282"/>
                    </a:lnTo>
                    <a:lnTo>
                      <a:pt x="266" y="268"/>
                    </a:lnTo>
                    <a:lnTo>
                      <a:pt x="262" y="262"/>
                    </a:lnTo>
                    <a:lnTo>
                      <a:pt x="266" y="258"/>
                    </a:lnTo>
                    <a:lnTo>
                      <a:pt x="260" y="252"/>
                    </a:lnTo>
                    <a:lnTo>
                      <a:pt x="252" y="254"/>
                    </a:lnTo>
                    <a:lnTo>
                      <a:pt x="246" y="246"/>
                    </a:lnTo>
                    <a:lnTo>
                      <a:pt x="236" y="238"/>
                    </a:lnTo>
                    <a:lnTo>
                      <a:pt x="232" y="232"/>
                    </a:lnTo>
                    <a:lnTo>
                      <a:pt x="220" y="228"/>
                    </a:lnTo>
                    <a:lnTo>
                      <a:pt x="216" y="226"/>
                    </a:lnTo>
                    <a:lnTo>
                      <a:pt x="216" y="232"/>
                    </a:lnTo>
                    <a:lnTo>
                      <a:pt x="216" y="234"/>
                    </a:lnTo>
                    <a:lnTo>
                      <a:pt x="214" y="236"/>
                    </a:lnTo>
                    <a:lnTo>
                      <a:pt x="204" y="236"/>
                    </a:lnTo>
                    <a:lnTo>
                      <a:pt x="198" y="240"/>
                    </a:lnTo>
                    <a:lnTo>
                      <a:pt x="188" y="244"/>
                    </a:lnTo>
                    <a:lnTo>
                      <a:pt x="176" y="242"/>
                    </a:lnTo>
                    <a:lnTo>
                      <a:pt x="170" y="232"/>
                    </a:lnTo>
                    <a:lnTo>
                      <a:pt x="172" y="222"/>
                    </a:lnTo>
                    <a:lnTo>
                      <a:pt x="184" y="212"/>
                    </a:lnTo>
                    <a:lnTo>
                      <a:pt x="194" y="214"/>
                    </a:lnTo>
                    <a:lnTo>
                      <a:pt x="204" y="218"/>
                    </a:lnTo>
                    <a:lnTo>
                      <a:pt x="210" y="222"/>
                    </a:lnTo>
                    <a:lnTo>
                      <a:pt x="216" y="216"/>
                    </a:lnTo>
                    <a:lnTo>
                      <a:pt x="222" y="212"/>
                    </a:lnTo>
                    <a:lnTo>
                      <a:pt x="234" y="210"/>
                    </a:lnTo>
                    <a:lnTo>
                      <a:pt x="230" y="206"/>
                    </a:lnTo>
                    <a:lnTo>
                      <a:pt x="222" y="200"/>
                    </a:lnTo>
                    <a:lnTo>
                      <a:pt x="230" y="190"/>
                    </a:lnTo>
                    <a:lnTo>
                      <a:pt x="242" y="182"/>
                    </a:lnTo>
                    <a:lnTo>
                      <a:pt x="252" y="172"/>
                    </a:lnTo>
                    <a:lnTo>
                      <a:pt x="246" y="156"/>
                    </a:lnTo>
                    <a:lnTo>
                      <a:pt x="238" y="146"/>
                    </a:lnTo>
                    <a:lnTo>
                      <a:pt x="232" y="146"/>
                    </a:lnTo>
                    <a:lnTo>
                      <a:pt x="230" y="138"/>
                    </a:lnTo>
                    <a:lnTo>
                      <a:pt x="222" y="142"/>
                    </a:lnTo>
                    <a:lnTo>
                      <a:pt x="218" y="134"/>
                    </a:lnTo>
                    <a:lnTo>
                      <a:pt x="218" y="130"/>
                    </a:lnTo>
                    <a:lnTo>
                      <a:pt x="206" y="130"/>
                    </a:lnTo>
                    <a:lnTo>
                      <a:pt x="198" y="136"/>
                    </a:lnTo>
                    <a:lnTo>
                      <a:pt x="190" y="130"/>
                    </a:lnTo>
                    <a:lnTo>
                      <a:pt x="202" y="122"/>
                    </a:lnTo>
                    <a:lnTo>
                      <a:pt x="198" y="116"/>
                    </a:lnTo>
                    <a:lnTo>
                      <a:pt x="192" y="114"/>
                    </a:lnTo>
                    <a:lnTo>
                      <a:pt x="184" y="104"/>
                    </a:lnTo>
                    <a:lnTo>
                      <a:pt x="178" y="110"/>
                    </a:lnTo>
                    <a:lnTo>
                      <a:pt x="172" y="102"/>
                    </a:lnTo>
                    <a:lnTo>
                      <a:pt x="170" y="98"/>
                    </a:lnTo>
                    <a:lnTo>
                      <a:pt x="162" y="90"/>
                    </a:lnTo>
                    <a:lnTo>
                      <a:pt x="156" y="92"/>
                    </a:lnTo>
                    <a:lnTo>
                      <a:pt x="160" y="98"/>
                    </a:lnTo>
                    <a:lnTo>
                      <a:pt x="162" y="102"/>
                    </a:lnTo>
                    <a:lnTo>
                      <a:pt x="156" y="106"/>
                    </a:lnTo>
                    <a:lnTo>
                      <a:pt x="144" y="106"/>
                    </a:lnTo>
                    <a:lnTo>
                      <a:pt x="124" y="100"/>
                    </a:lnTo>
                    <a:lnTo>
                      <a:pt x="120" y="106"/>
                    </a:lnTo>
                    <a:lnTo>
                      <a:pt x="108" y="108"/>
                    </a:lnTo>
                    <a:lnTo>
                      <a:pt x="84" y="104"/>
                    </a:lnTo>
                    <a:lnTo>
                      <a:pt x="70" y="100"/>
                    </a:lnTo>
                    <a:lnTo>
                      <a:pt x="54" y="100"/>
                    </a:lnTo>
                    <a:lnTo>
                      <a:pt x="46" y="96"/>
                    </a:lnTo>
                    <a:lnTo>
                      <a:pt x="40" y="92"/>
                    </a:lnTo>
                    <a:lnTo>
                      <a:pt x="32" y="98"/>
                    </a:lnTo>
                    <a:lnTo>
                      <a:pt x="22" y="94"/>
                    </a:lnTo>
                    <a:lnTo>
                      <a:pt x="12" y="86"/>
                    </a:lnTo>
                    <a:lnTo>
                      <a:pt x="12" y="78"/>
                    </a:lnTo>
                    <a:lnTo>
                      <a:pt x="18" y="78"/>
                    </a:lnTo>
                    <a:lnTo>
                      <a:pt x="32" y="80"/>
                    </a:lnTo>
                    <a:lnTo>
                      <a:pt x="38" y="76"/>
                    </a:lnTo>
                    <a:lnTo>
                      <a:pt x="32" y="70"/>
                    </a:lnTo>
                    <a:lnTo>
                      <a:pt x="18" y="72"/>
                    </a:lnTo>
                    <a:lnTo>
                      <a:pt x="4" y="68"/>
                    </a:lnTo>
                    <a:lnTo>
                      <a:pt x="4" y="48"/>
                    </a:lnTo>
                    <a:lnTo>
                      <a:pt x="12" y="30"/>
                    </a:lnTo>
                    <a:lnTo>
                      <a:pt x="22" y="16"/>
                    </a:lnTo>
                    <a:lnTo>
                      <a:pt x="38" y="4"/>
                    </a:lnTo>
                    <a:lnTo>
                      <a:pt x="50" y="4"/>
                    </a:lnTo>
                    <a:close/>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5" name="Freeform 124"/>
              <p:cNvSpPr>
                <a:spLocks/>
              </p:cNvSpPr>
              <p:nvPr/>
            </p:nvSpPr>
            <p:spPr bwMode="auto">
              <a:xfrm>
                <a:off x="1595" y="1221"/>
                <a:ext cx="408" cy="290"/>
              </a:xfrm>
              <a:custGeom>
                <a:avLst/>
                <a:gdLst>
                  <a:gd name="T0" fmla="*/ 58 w 408"/>
                  <a:gd name="T1" fmla="*/ 10 h 290"/>
                  <a:gd name="T2" fmla="*/ 60 w 408"/>
                  <a:gd name="T3" fmla="*/ 66 h 290"/>
                  <a:gd name="T4" fmla="*/ 70 w 408"/>
                  <a:gd name="T5" fmla="*/ 40 h 290"/>
                  <a:gd name="T6" fmla="*/ 96 w 408"/>
                  <a:gd name="T7" fmla="*/ 2 h 290"/>
                  <a:gd name="T8" fmla="*/ 130 w 408"/>
                  <a:gd name="T9" fmla="*/ 18 h 290"/>
                  <a:gd name="T10" fmla="*/ 128 w 408"/>
                  <a:gd name="T11" fmla="*/ 46 h 290"/>
                  <a:gd name="T12" fmla="*/ 160 w 408"/>
                  <a:gd name="T13" fmla="*/ 44 h 290"/>
                  <a:gd name="T14" fmla="*/ 204 w 408"/>
                  <a:gd name="T15" fmla="*/ 34 h 290"/>
                  <a:gd name="T16" fmla="*/ 214 w 408"/>
                  <a:gd name="T17" fmla="*/ 46 h 290"/>
                  <a:gd name="T18" fmla="*/ 218 w 408"/>
                  <a:gd name="T19" fmla="*/ 58 h 290"/>
                  <a:gd name="T20" fmla="*/ 234 w 408"/>
                  <a:gd name="T21" fmla="*/ 64 h 290"/>
                  <a:gd name="T22" fmla="*/ 260 w 408"/>
                  <a:gd name="T23" fmla="*/ 70 h 290"/>
                  <a:gd name="T24" fmla="*/ 272 w 408"/>
                  <a:gd name="T25" fmla="*/ 74 h 290"/>
                  <a:gd name="T26" fmla="*/ 284 w 408"/>
                  <a:gd name="T27" fmla="*/ 80 h 290"/>
                  <a:gd name="T28" fmla="*/ 296 w 408"/>
                  <a:gd name="T29" fmla="*/ 92 h 290"/>
                  <a:gd name="T30" fmla="*/ 316 w 408"/>
                  <a:gd name="T31" fmla="*/ 96 h 290"/>
                  <a:gd name="T32" fmla="*/ 310 w 408"/>
                  <a:gd name="T33" fmla="*/ 108 h 290"/>
                  <a:gd name="T34" fmla="*/ 322 w 408"/>
                  <a:gd name="T35" fmla="*/ 112 h 290"/>
                  <a:gd name="T36" fmla="*/ 322 w 408"/>
                  <a:gd name="T37" fmla="*/ 122 h 290"/>
                  <a:gd name="T38" fmla="*/ 304 w 408"/>
                  <a:gd name="T39" fmla="*/ 128 h 290"/>
                  <a:gd name="T40" fmla="*/ 328 w 408"/>
                  <a:gd name="T41" fmla="*/ 136 h 290"/>
                  <a:gd name="T42" fmla="*/ 354 w 408"/>
                  <a:gd name="T43" fmla="*/ 150 h 290"/>
                  <a:gd name="T44" fmla="*/ 376 w 408"/>
                  <a:gd name="T45" fmla="*/ 160 h 290"/>
                  <a:gd name="T46" fmla="*/ 408 w 408"/>
                  <a:gd name="T47" fmla="*/ 180 h 290"/>
                  <a:gd name="T48" fmla="*/ 394 w 408"/>
                  <a:gd name="T49" fmla="*/ 192 h 290"/>
                  <a:gd name="T50" fmla="*/ 374 w 408"/>
                  <a:gd name="T51" fmla="*/ 206 h 290"/>
                  <a:gd name="T52" fmla="*/ 346 w 408"/>
                  <a:gd name="T53" fmla="*/ 204 h 290"/>
                  <a:gd name="T54" fmla="*/ 320 w 408"/>
                  <a:gd name="T55" fmla="*/ 196 h 290"/>
                  <a:gd name="T56" fmla="*/ 350 w 408"/>
                  <a:gd name="T57" fmla="*/ 240 h 290"/>
                  <a:gd name="T58" fmla="*/ 352 w 408"/>
                  <a:gd name="T59" fmla="*/ 256 h 290"/>
                  <a:gd name="T60" fmla="*/ 336 w 408"/>
                  <a:gd name="T61" fmla="*/ 268 h 290"/>
                  <a:gd name="T62" fmla="*/ 310 w 408"/>
                  <a:gd name="T63" fmla="*/ 258 h 290"/>
                  <a:gd name="T64" fmla="*/ 336 w 408"/>
                  <a:gd name="T65" fmla="*/ 290 h 290"/>
                  <a:gd name="T66" fmla="*/ 278 w 408"/>
                  <a:gd name="T67" fmla="*/ 270 h 290"/>
                  <a:gd name="T68" fmla="*/ 262 w 408"/>
                  <a:gd name="T69" fmla="*/ 254 h 290"/>
                  <a:gd name="T70" fmla="*/ 232 w 408"/>
                  <a:gd name="T71" fmla="*/ 234 h 290"/>
                  <a:gd name="T72" fmla="*/ 212 w 408"/>
                  <a:gd name="T73" fmla="*/ 228 h 290"/>
                  <a:gd name="T74" fmla="*/ 194 w 408"/>
                  <a:gd name="T75" fmla="*/ 236 h 290"/>
                  <a:gd name="T76" fmla="*/ 168 w 408"/>
                  <a:gd name="T77" fmla="*/ 218 h 290"/>
                  <a:gd name="T78" fmla="*/ 206 w 408"/>
                  <a:gd name="T79" fmla="*/ 218 h 290"/>
                  <a:gd name="T80" fmla="*/ 226 w 408"/>
                  <a:gd name="T81" fmla="*/ 202 h 290"/>
                  <a:gd name="T82" fmla="*/ 248 w 408"/>
                  <a:gd name="T83" fmla="*/ 168 h 290"/>
                  <a:gd name="T84" fmla="*/ 226 w 408"/>
                  <a:gd name="T85" fmla="*/ 134 h 290"/>
                  <a:gd name="T86" fmla="*/ 202 w 408"/>
                  <a:gd name="T87" fmla="*/ 126 h 290"/>
                  <a:gd name="T88" fmla="*/ 194 w 408"/>
                  <a:gd name="T89" fmla="*/ 112 h 290"/>
                  <a:gd name="T90" fmla="*/ 168 w 408"/>
                  <a:gd name="T91" fmla="*/ 98 h 290"/>
                  <a:gd name="T92" fmla="*/ 156 w 408"/>
                  <a:gd name="T93" fmla="*/ 94 h 290"/>
                  <a:gd name="T94" fmla="*/ 120 w 408"/>
                  <a:gd name="T95" fmla="*/ 96 h 290"/>
                  <a:gd name="T96" fmla="*/ 66 w 408"/>
                  <a:gd name="T97" fmla="*/ 96 h 290"/>
                  <a:gd name="T98" fmla="*/ 28 w 408"/>
                  <a:gd name="T99" fmla="*/ 94 h 290"/>
                  <a:gd name="T100" fmla="*/ 14 w 408"/>
                  <a:gd name="T101" fmla="*/ 74 h 290"/>
                  <a:gd name="T102" fmla="*/ 14 w 408"/>
                  <a:gd name="T103" fmla="*/ 68 h 290"/>
                  <a:gd name="T104" fmla="*/ 18 w 408"/>
                  <a:gd name="T105" fmla="*/ 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8" h="290">
                    <a:moveTo>
                      <a:pt x="46" y="0"/>
                    </a:moveTo>
                    <a:lnTo>
                      <a:pt x="74" y="0"/>
                    </a:lnTo>
                    <a:lnTo>
                      <a:pt x="68" y="6"/>
                    </a:lnTo>
                    <a:lnTo>
                      <a:pt x="58" y="10"/>
                    </a:lnTo>
                    <a:lnTo>
                      <a:pt x="48" y="24"/>
                    </a:lnTo>
                    <a:lnTo>
                      <a:pt x="48" y="34"/>
                    </a:lnTo>
                    <a:lnTo>
                      <a:pt x="48" y="44"/>
                    </a:lnTo>
                    <a:lnTo>
                      <a:pt x="60" y="66"/>
                    </a:lnTo>
                    <a:lnTo>
                      <a:pt x="74" y="64"/>
                    </a:lnTo>
                    <a:lnTo>
                      <a:pt x="68" y="56"/>
                    </a:lnTo>
                    <a:lnTo>
                      <a:pt x="58" y="44"/>
                    </a:lnTo>
                    <a:lnTo>
                      <a:pt x="70" y="40"/>
                    </a:lnTo>
                    <a:lnTo>
                      <a:pt x="62" y="32"/>
                    </a:lnTo>
                    <a:lnTo>
                      <a:pt x="64" y="22"/>
                    </a:lnTo>
                    <a:lnTo>
                      <a:pt x="74" y="14"/>
                    </a:lnTo>
                    <a:lnTo>
                      <a:pt x="96" y="2"/>
                    </a:lnTo>
                    <a:lnTo>
                      <a:pt x="108" y="0"/>
                    </a:lnTo>
                    <a:lnTo>
                      <a:pt x="120" y="4"/>
                    </a:lnTo>
                    <a:lnTo>
                      <a:pt x="124" y="12"/>
                    </a:lnTo>
                    <a:lnTo>
                      <a:pt x="130" y="18"/>
                    </a:lnTo>
                    <a:lnTo>
                      <a:pt x="132" y="26"/>
                    </a:lnTo>
                    <a:lnTo>
                      <a:pt x="132" y="32"/>
                    </a:lnTo>
                    <a:lnTo>
                      <a:pt x="128" y="36"/>
                    </a:lnTo>
                    <a:lnTo>
                      <a:pt x="128" y="46"/>
                    </a:lnTo>
                    <a:lnTo>
                      <a:pt x="136" y="46"/>
                    </a:lnTo>
                    <a:lnTo>
                      <a:pt x="140" y="36"/>
                    </a:lnTo>
                    <a:lnTo>
                      <a:pt x="150" y="36"/>
                    </a:lnTo>
                    <a:lnTo>
                      <a:pt x="160" y="44"/>
                    </a:lnTo>
                    <a:lnTo>
                      <a:pt x="164" y="32"/>
                    </a:lnTo>
                    <a:lnTo>
                      <a:pt x="176" y="30"/>
                    </a:lnTo>
                    <a:lnTo>
                      <a:pt x="190" y="30"/>
                    </a:lnTo>
                    <a:lnTo>
                      <a:pt x="204" y="34"/>
                    </a:lnTo>
                    <a:lnTo>
                      <a:pt x="212" y="38"/>
                    </a:lnTo>
                    <a:lnTo>
                      <a:pt x="202" y="44"/>
                    </a:lnTo>
                    <a:lnTo>
                      <a:pt x="200" y="50"/>
                    </a:lnTo>
                    <a:lnTo>
                      <a:pt x="214" y="46"/>
                    </a:lnTo>
                    <a:lnTo>
                      <a:pt x="222" y="48"/>
                    </a:lnTo>
                    <a:lnTo>
                      <a:pt x="216" y="52"/>
                    </a:lnTo>
                    <a:lnTo>
                      <a:pt x="212" y="60"/>
                    </a:lnTo>
                    <a:lnTo>
                      <a:pt x="218" y="58"/>
                    </a:lnTo>
                    <a:lnTo>
                      <a:pt x="230" y="50"/>
                    </a:lnTo>
                    <a:lnTo>
                      <a:pt x="232" y="58"/>
                    </a:lnTo>
                    <a:lnTo>
                      <a:pt x="226" y="64"/>
                    </a:lnTo>
                    <a:lnTo>
                      <a:pt x="234" y="64"/>
                    </a:lnTo>
                    <a:lnTo>
                      <a:pt x="248" y="60"/>
                    </a:lnTo>
                    <a:lnTo>
                      <a:pt x="258" y="62"/>
                    </a:lnTo>
                    <a:lnTo>
                      <a:pt x="262" y="66"/>
                    </a:lnTo>
                    <a:lnTo>
                      <a:pt x="260" y="70"/>
                    </a:lnTo>
                    <a:lnTo>
                      <a:pt x="252" y="76"/>
                    </a:lnTo>
                    <a:lnTo>
                      <a:pt x="258" y="80"/>
                    </a:lnTo>
                    <a:lnTo>
                      <a:pt x="266" y="76"/>
                    </a:lnTo>
                    <a:lnTo>
                      <a:pt x="272" y="74"/>
                    </a:lnTo>
                    <a:lnTo>
                      <a:pt x="272" y="80"/>
                    </a:lnTo>
                    <a:lnTo>
                      <a:pt x="264" y="86"/>
                    </a:lnTo>
                    <a:lnTo>
                      <a:pt x="270" y="86"/>
                    </a:lnTo>
                    <a:lnTo>
                      <a:pt x="284" y="80"/>
                    </a:lnTo>
                    <a:lnTo>
                      <a:pt x="294" y="80"/>
                    </a:lnTo>
                    <a:lnTo>
                      <a:pt x="304" y="84"/>
                    </a:lnTo>
                    <a:lnTo>
                      <a:pt x="304" y="88"/>
                    </a:lnTo>
                    <a:lnTo>
                      <a:pt x="296" y="92"/>
                    </a:lnTo>
                    <a:lnTo>
                      <a:pt x="288" y="96"/>
                    </a:lnTo>
                    <a:lnTo>
                      <a:pt x="294" y="98"/>
                    </a:lnTo>
                    <a:lnTo>
                      <a:pt x="310" y="96"/>
                    </a:lnTo>
                    <a:lnTo>
                      <a:pt x="316" y="96"/>
                    </a:lnTo>
                    <a:lnTo>
                      <a:pt x="320" y="102"/>
                    </a:lnTo>
                    <a:lnTo>
                      <a:pt x="322" y="108"/>
                    </a:lnTo>
                    <a:lnTo>
                      <a:pt x="314" y="108"/>
                    </a:lnTo>
                    <a:lnTo>
                      <a:pt x="310" y="108"/>
                    </a:lnTo>
                    <a:lnTo>
                      <a:pt x="304" y="108"/>
                    </a:lnTo>
                    <a:lnTo>
                      <a:pt x="304" y="112"/>
                    </a:lnTo>
                    <a:lnTo>
                      <a:pt x="312" y="112"/>
                    </a:lnTo>
                    <a:lnTo>
                      <a:pt x="322" y="112"/>
                    </a:lnTo>
                    <a:lnTo>
                      <a:pt x="326" y="118"/>
                    </a:lnTo>
                    <a:lnTo>
                      <a:pt x="328" y="122"/>
                    </a:lnTo>
                    <a:lnTo>
                      <a:pt x="326" y="122"/>
                    </a:lnTo>
                    <a:lnTo>
                      <a:pt x="322" y="122"/>
                    </a:lnTo>
                    <a:lnTo>
                      <a:pt x="308" y="120"/>
                    </a:lnTo>
                    <a:lnTo>
                      <a:pt x="306" y="122"/>
                    </a:lnTo>
                    <a:lnTo>
                      <a:pt x="304" y="124"/>
                    </a:lnTo>
                    <a:lnTo>
                      <a:pt x="304" y="128"/>
                    </a:lnTo>
                    <a:lnTo>
                      <a:pt x="308" y="132"/>
                    </a:lnTo>
                    <a:lnTo>
                      <a:pt x="314" y="138"/>
                    </a:lnTo>
                    <a:lnTo>
                      <a:pt x="322" y="138"/>
                    </a:lnTo>
                    <a:lnTo>
                      <a:pt x="328" y="136"/>
                    </a:lnTo>
                    <a:lnTo>
                      <a:pt x="340" y="142"/>
                    </a:lnTo>
                    <a:lnTo>
                      <a:pt x="340" y="146"/>
                    </a:lnTo>
                    <a:lnTo>
                      <a:pt x="344" y="148"/>
                    </a:lnTo>
                    <a:lnTo>
                      <a:pt x="354" y="150"/>
                    </a:lnTo>
                    <a:lnTo>
                      <a:pt x="358" y="154"/>
                    </a:lnTo>
                    <a:lnTo>
                      <a:pt x="360" y="160"/>
                    </a:lnTo>
                    <a:lnTo>
                      <a:pt x="370" y="160"/>
                    </a:lnTo>
                    <a:lnTo>
                      <a:pt x="376" y="160"/>
                    </a:lnTo>
                    <a:lnTo>
                      <a:pt x="386" y="168"/>
                    </a:lnTo>
                    <a:lnTo>
                      <a:pt x="390" y="172"/>
                    </a:lnTo>
                    <a:lnTo>
                      <a:pt x="400" y="174"/>
                    </a:lnTo>
                    <a:lnTo>
                      <a:pt x="408" y="180"/>
                    </a:lnTo>
                    <a:lnTo>
                      <a:pt x="408" y="184"/>
                    </a:lnTo>
                    <a:lnTo>
                      <a:pt x="408" y="188"/>
                    </a:lnTo>
                    <a:lnTo>
                      <a:pt x="406" y="190"/>
                    </a:lnTo>
                    <a:lnTo>
                      <a:pt x="394" y="192"/>
                    </a:lnTo>
                    <a:lnTo>
                      <a:pt x="386" y="192"/>
                    </a:lnTo>
                    <a:lnTo>
                      <a:pt x="388" y="200"/>
                    </a:lnTo>
                    <a:lnTo>
                      <a:pt x="382" y="206"/>
                    </a:lnTo>
                    <a:lnTo>
                      <a:pt x="374" y="206"/>
                    </a:lnTo>
                    <a:lnTo>
                      <a:pt x="374" y="212"/>
                    </a:lnTo>
                    <a:lnTo>
                      <a:pt x="368" y="220"/>
                    </a:lnTo>
                    <a:lnTo>
                      <a:pt x="354" y="212"/>
                    </a:lnTo>
                    <a:lnTo>
                      <a:pt x="346" y="204"/>
                    </a:lnTo>
                    <a:lnTo>
                      <a:pt x="342" y="196"/>
                    </a:lnTo>
                    <a:lnTo>
                      <a:pt x="324" y="184"/>
                    </a:lnTo>
                    <a:lnTo>
                      <a:pt x="316" y="188"/>
                    </a:lnTo>
                    <a:lnTo>
                      <a:pt x="320" y="196"/>
                    </a:lnTo>
                    <a:lnTo>
                      <a:pt x="318" y="204"/>
                    </a:lnTo>
                    <a:lnTo>
                      <a:pt x="324" y="216"/>
                    </a:lnTo>
                    <a:lnTo>
                      <a:pt x="334" y="226"/>
                    </a:lnTo>
                    <a:lnTo>
                      <a:pt x="350" y="240"/>
                    </a:lnTo>
                    <a:lnTo>
                      <a:pt x="362" y="252"/>
                    </a:lnTo>
                    <a:lnTo>
                      <a:pt x="360" y="258"/>
                    </a:lnTo>
                    <a:lnTo>
                      <a:pt x="356" y="256"/>
                    </a:lnTo>
                    <a:lnTo>
                      <a:pt x="352" y="256"/>
                    </a:lnTo>
                    <a:lnTo>
                      <a:pt x="350" y="258"/>
                    </a:lnTo>
                    <a:lnTo>
                      <a:pt x="356" y="270"/>
                    </a:lnTo>
                    <a:lnTo>
                      <a:pt x="350" y="274"/>
                    </a:lnTo>
                    <a:lnTo>
                      <a:pt x="336" y="268"/>
                    </a:lnTo>
                    <a:lnTo>
                      <a:pt x="316" y="258"/>
                    </a:lnTo>
                    <a:lnTo>
                      <a:pt x="306" y="246"/>
                    </a:lnTo>
                    <a:lnTo>
                      <a:pt x="300" y="250"/>
                    </a:lnTo>
                    <a:lnTo>
                      <a:pt x="310" y="258"/>
                    </a:lnTo>
                    <a:lnTo>
                      <a:pt x="326" y="272"/>
                    </a:lnTo>
                    <a:lnTo>
                      <a:pt x="328" y="276"/>
                    </a:lnTo>
                    <a:lnTo>
                      <a:pt x="332" y="284"/>
                    </a:lnTo>
                    <a:lnTo>
                      <a:pt x="336" y="290"/>
                    </a:lnTo>
                    <a:lnTo>
                      <a:pt x="314" y="286"/>
                    </a:lnTo>
                    <a:lnTo>
                      <a:pt x="296" y="278"/>
                    </a:lnTo>
                    <a:lnTo>
                      <a:pt x="284" y="270"/>
                    </a:lnTo>
                    <a:lnTo>
                      <a:pt x="278" y="270"/>
                    </a:lnTo>
                    <a:lnTo>
                      <a:pt x="276" y="278"/>
                    </a:lnTo>
                    <a:lnTo>
                      <a:pt x="262" y="264"/>
                    </a:lnTo>
                    <a:lnTo>
                      <a:pt x="258" y="258"/>
                    </a:lnTo>
                    <a:lnTo>
                      <a:pt x="262" y="254"/>
                    </a:lnTo>
                    <a:lnTo>
                      <a:pt x="256" y="248"/>
                    </a:lnTo>
                    <a:lnTo>
                      <a:pt x="248" y="250"/>
                    </a:lnTo>
                    <a:lnTo>
                      <a:pt x="242" y="242"/>
                    </a:lnTo>
                    <a:lnTo>
                      <a:pt x="232" y="234"/>
                    </a:lnTo>
                    <a:lnTo>
                      <a:pt x="228" y="228"/>
                    </a:lnTo>
                    <a:lnTo>
                      <a:pt x="216" y="224"/>
                    </a:lnTo>
                    <a:lnTo>
                      <a:pt x="212" y="222"/>
                    </a:lnTo>
                    <a:lnTo>
                      <a:pt x="212" y="228"/>
                    </a:lnTo>
                    <a:lnTo>
                      <a:pt x="212" y="230"/>
                    </a:lnTo>
                    <a:lnTo>
                      <a:pt x="210" y="232"/>
                    </a:lnTo>
                    <a:lnTo>
                      <a:pt x="200" y="232"/>
                    </a:lnTo>
                    <a:lnTo>
                      <a:pt x="194" y="236"/>
                    </a:lnTo>
                    <a:lnTo>
                      <a:pt x="184" y="240"/>
                    </a:lnTo>
                    <a:lnTo>
                      <a:pt x="172" y="238"/>
                    </a:lnTo>
                    <a:lnTo>
                      <a:pt x="166" y="228"/>
                    </a:lnTo>
                    <a:lnTo>
                      <a:pt x="168" y="218"/>
                    </a:lnTo>
                    <a:lnTo>
                      <a:pt x="180" y="208"/>
                    </a:lnTo>
                    <a:lnTo>
                      <a:pt x="190" y="210"/>
                    </a:lnTo>
                    <a:lnTo>
                      <a:pt x="200" y="214"/>
                    </a:lnTo>
                    <a:lnTo>
                      <a:pt x="206" y="218"/>
                    </a:lnTo>
                    <a:lnTo>
                      <a:pt x="212" y="212"/>
                    </a:lnTo>
                    <a:lnTo>
                      <a:pt x="218" y="208"/>
                    </a:lnTo>
                    <a:lnTo>
                      <a:pt x="230" y="206"/>
                    </a:lnTo>
                    <a:lnTo>
                      <a:pt x="226" y="202"/>
                    </a:lnTo>
                    <a:lnTo>
                      <a:pt x="218" y="196"/>
                    </a:lnTo>
                    <a:lnTo>
                      <a:pt x="226" y="186"/>
                    </a:lnTo>
                    <a:lnTo>
                      <a:pt x="238" y="178"/>
                    </a:lnTo>
                    <a:lnTo>
                      <a:pt x="248" y="168"/>
                    </a:lnTo>
                    <a:lnTo>
                      <a:pt x="242" y="152"/>
                    </a:lnTo>
                    <a:lnTo>
                      <a:pt x="234" y="142"/>
                    </a:lnTo>
                    <a:lnTo>
                      <a:pt x="228" y="142"/>
                    </a:lnTo>
                    <a:lnTo>
                      <a:pt x="226" y="134"/>
                    </a:lnTo>
                    <a:lnTo>
                      <a:pt x="218" y="138"/>
                    </a:lnTo>
                    <a:lnTo>
                      <a:pt x="214" y="130"/>
                    </a:lnTo>
                    <a:lnTo>
                      <a:pt x="214" y="126"/>
                    </a:lnTo>
                    <a:lnTo>
                      <a:pt x="202" y="126"/>
                    </a:lnTo>
                    <a:lnTo>
                      <a:pt x="194" y="132"/>
                    </a:lnTo>
                    <a:lnTo>
                      <a:pt x="186" y="126"/>
                    </a:lnTo>
                    <a:lnTo>
                      <a:pt x="198" y="118"/>
                    </a:lnTo>
                    <a:lnTo>
                      <a:pt x="194" y="112"/>
                    </a:lnTo>
                    <a:lnTo>
                      <a:pt x="188" y="110"/>
                    </a:lnTo>
                    <a:lnTo>
                      <a:pt x="180" y="100"/>
                    </a:lnTo>
                    <a:lnTo>
                      <a:pt x="174" y="106"/>
                    </a:lnTo>
                    <a:lnTo>
                      <a:pt x="168" y="98"/>
                    </a:lnTo>
                    <a:lnTo>
                      <a:pt x="166" y="94"/>
                    </a:lnTo>
                    <a:lnTo>
                      <a:pt x="158" y="86"/>
                    </a:lnTo>
                    <a:lnTo>
                      <a:pt x="152" y="88"/>
                    </a:lnTo>
                    <a:lnTo>
                      <a:pt x="156" y="94"/>
                    </a:lnTo>
                    <a:lnTo>
                      <a:pt x="158" y="98"/>
                    </a:lnTo>
                    <a:lnTo>
                      <a:pt x="152" y="102"/>
                    </a:lnTo>
                    <a:lnTo>
                      <a:pt x="140" y="102"/>
                    </a:lnTo>
                    <a:lnTo>
                      <a:pt x="120" y="96"/>
                    </a:lnTo>
                    <a:lnTo>
                      <a:pt x="116" y="102"/>
                    </a:lnTo>
                    <a:lnTo>
                      <a:pt x="104" y="104"/>
                    </a:lnTo>
                    <a:lnTo>
                      <a:pt x="80" y="100"/>
                    </a:lnTo>
                    <a:lnTo>
                      <a:pt x="66" y="96"/>
                    </a:lnTo>
                    <a:lnTo>
                      <a:pt x="50" y="96"/>
                    </a:lnTo>
                    <a:lnTo>
                      <a:pt x="42" y="92"/>
                    </a:lnTo>
                    <a:lnTo>
                      <a:pt x="36" y="88"/>
                    </a:lnTo>
                    <a:lnTo>
                      <a:pt x="28" y="94"/>
                    </a:lnTo>
                    <a:lnTo>
                      <a:pt x="18" y="90"/>
                    </a:lnTo>
                    <a:lnTo>
                      <a:pt x="8" y="82"/>
                    </a:lnTo>
                    <a:lnTo>
                      <a:pt x="8" y="74"/>
                    </a:lnTo>
                    <a:lnTo>
                      <a:pt x="14" y="74"/>
                    </a:lnTo>
                    <a:lnTo>
                      <a:pt x="28" y="76"/>
                    </a:lnTo>
                    <a:lnTo>
                      <a:pt x="34" y="72"/>
                    </a:lnTo>
                    <a:lnTo>
                      <a:pt x="28" y="66"/>
                    </a:lnTo>
                    <a:lnTo>
                      <a:pt x="14" y="68"/>
                    </a:lnTo>
                    <a:lnTo>
                      <a:pt x="0" y="64"/>
                    </a:lnTo>
                    <a:lnTo>
                      <a:pt x="0" y="44"/>
                    </a:lnTo>
                    <a:lnTo>
                      <a:pt x="8" y="26"/>
                    </a:lnTo>
                    <a:lnTo>
                      <a:pt x="18" y="12"/>
                    </a:lnTo>
                    <a:lnTo>
                      <a:pt x="34"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6" name="Freeform 125"/>
              <p:cNvSpPr>
                <a:spLocks/>
              </p:cNvSpPr>
              <p:nvPr/>
            </p:nvSpPr>
            <p:spPr bwMode="auto">
              <a:xfrm>
                <a:off x="1591" y="1217"/>
                <a:ext cx="416" cy="298"/>
              </a:xfrm>
              <a:custGeom>
                <a:avLst/>
                <a:gdLst>
                  <a:gd name="T0" fmla="*/ 20 w 416"/>
                  <a:gd name="T1" fmla="*/ 12 h 298"/>
                  <a:gd name="T2" fmla="*/ 0 w 416"/>
                  <a:gd name="T3" fmla="*/ 68 h 298"/>
                  <a:gd name="T4" fmla="*/ 8 w 416"/>
                  <a:gd name="T5" fmla="*/ 86 h 298"/>
                  <a:gd name="T6" fmla="*/ 32 w 416"/>
                  <a:gd name="T7" fmla="*/ 102 h 298"/>
                  <a:gd name="T8" fmla="*/ 70 w 416"/>
                  <a:gd name="T9" fmla="*/ 104 h 298"/>
                  <a:gd name="T10" fmla="*/ 110 w 416"/>
                  <a:gd name="T11" fmla="*/ 112 h 298"/>
                  <a:gd name="T12" fmla="*/ 156 w 416"/>
                  <a:gd name="T13" fmla="*/ 110 h 298"/>
                  <a:gd name="T14" fmla="*/ 166 w 416"/>
                  <a:gd name="T15" fmla="*/ 100 h 298"/>
                  <a:gd name="T16" fmla="*/ 182 w 416"/>
                  <a:gd name="T17" fmla="*/ 112 h 298"/>
                  <a:gd name="T18" fmla="*/ 188 w 416"/>
                  <a:gd name="T19" fmla="*/ 126 h 298"/>
                  <a:gd name="T20" fmla="*/ 200 w 416"/>
                  <a:gd name="T21" fmla="*/ 140 h 298"/>
                  <a:gd name="T22" fmla="*/ 222 w 416"/>
                  <a:gd name="T23" fmla="*/ 146 h 298"/>
                  <a:gd name="T24" fmla="*/ 236 w 416"/>
                  <a:gd name="T25" fmla="*/ 150 h 298"/>
                  <a:gd name="T26" fmla="*/ 220 w 416"/>
                  <a:gd name="T27" fmla="*/ 198 h 298"/>
                  <a:gd name="T28" fmla="*/ 214 w 416"/>
                  <a:gd name="T29" fmla="*/ 212 h 298"/>
                  <a:gd name="T30" fmla="*/ 194 w 416"/>
                  <a:gd name="T31" fmla="*/ 210 h 298"/>
                  <a:gd name="T32" fmla="*/ 168 w 416"/>
                  <a:gd name="T33" fmla="*/ 222 h 298"/>
                  <a:gd name="T34" fmla="*/ 188 w 416"/>
                  <a:gd name="T35" fmla="*/ 248 h 298"/>
                  <a:gd name="T36" fmla="*/ 214 w 416"/>
                  <a:gd name="T37" fmla="*/ 240 h 298"/>
                  <a:gd name="T38" fmla="*/ 220 w 416"/>
                  <a:gd name="T39" fmla="*/ 232 h 298"/>
                  <a:gd name="T40" fmla="*/ 254 w 416"/>
                  <a:gd name="T41" fmla="*/ 258 h 298"/>
                  <a:gd name="T42" fmla="*/ 276 w 416"/>
                  <a:gd name="T43" fmla="*/ 284 h 298"/>
                  <a:gd name="T44" fmla="*/ 284 w 416"/>
                  <a:gd name="T45" fmla="*/ 278 h 298"/>
                  <a:gd name="T46" fmla="*/ 338 w 416"/>
                  <a:gd name="T47" fmla="*/ 298 h 298"/>
                  <a:gd name="T48" fmla="*/ 340 w 416"/>
                  <a:gd name="T49" fmla="*/ 286 h 298"/>
                  <a:gd name="T50" fmla="*/ 338 w 416"/>
                  <a:gd name="T51" fmla="*/ 276 h 298"/>
                  <a:gd name="T52" fmla="*/ 364 w 416"/>
                  <a:gd name="T53" fmla="*/ 274 h 298"/>
                  <a:gd name="T54" fmla="*/ 366 w 416"/>
                  <a:gd name="T55" fmla="*/ 264 h 298"/>
                  <a:gd name="T56" fmla="*/ 340 w 416"/>
                  <a:gd name="T57" fmla="*/ 228 h 298"/>
                  <a:gd name="T58" fmla="*/ 344 w 416"/>
                  <a:gd name="T59" fmla="*/ 204 h 298"/>
                  <a:gd name="T60" fmla="*/ 370 w 416"/>
                  <a:gd name="T61" fmla="*/ 228 h 298"/>
                  <a:gd name="T62" fmla="*/ 386 w 416"/>
                  <a:gd name="T63" fmla="*/ 214 h 298"/>
                  <a:gd name="T64" fmla="*/ 398 w 416"/>
                  <a:gd name="T65" fmla="*/ 200 h 298"/>
                  <a:gd name="T66" fmla="*/ 416 w 416"/>
                  <a:gd name="T67" fmla="*/ 188 h 298"/>
                  <a:gd name="T68" fmla="*/ 392 w 416"/>
                  <a:gd name="T69" fmla="*/ 170 h 298"/>
                  <a:gd name="T70" fmla="*/ 374 w 416"/>
                  <a:gd name="T71" fmla="*/ 160 h 298"/>
                  <a:gd name="T72" fmla="*/ 350 w 416"/>
                  <a:gd name="T73" fmla="*/ 148 h 298"/>
                  <a:gd name="T74" fmla="*/ 332 w 416"/>
                  <a:gd name="T75" fmla="*/ 136 h 298"/>
                  <a:gd name="T76" fmla="*/ 312 w 416"/>
                  <a:gd name="T77" fmla="*/ 128 h 298"/>
                  <a:gd name="T78" fmla="*/ 336 w 416"/>
                  <a:gd name="T79" fmla="*/ 128 h 298"/>
                  <a:gd name="T80" fmla="*/ 328 w 416"/>
                  <a:gd name="T81" fmla="*/ 114 h 298"/>
                  <a:gd name="T82" fmla="*/ 316 w 416"/>
                  <a:gd name="T83" fmla="*/ 96 h 298"/>
                  <a:gd name="T84" fmla="*/ 312 w 416"/>
                  <a:gd name="T85" fmla="*/ 92 h 298"/>
                  <a:gd name="T86" fmla="*/ 288 w 416"/>
                  <a:gd name="T87" fmla="*/ 80 h 298"/>
                  <a:gd name="T88" fmla="*/ 278 w 416"/>
                  <a:gd name="T89" fmla="*/ 74 h 298"/>
                  <a:gd name="T90" fmla="*/ 270 w 416"/>
                  <a:gd name="T91" fmla="*/ 74 h 298"/>
                  <a:gd name="T92" fmla="*/ 252 w 416"/>
                  <a:gd name="T93" fmla="*/ 60 h 298"/>
                  <a:gd name="T94" fmla="*/ 238 w 416"/>
                  <a:gd name="T95" fmla="*/ 54 h 298"/>
                  <a:gd name="T96" fmla="*/ 230 w 416"/>
                  <a:gd name="T97" fmla="*/ 52 h 298"/>
                  <a:gd name="T98" fmla="*/ 220 w 416"/>
                  <a:gd name="T99" fmla="*/ 42 h 298"/>
                  <a:gd name="T100" fmla="*/ 194 w 416"/>
                  <a:gd name="T101" fmla="*/ 30 h 298"/>
                  <a:gd name="T102" fmla="*/ 162 w 416"/>
                  <a:gd name="T103" fmla="*/ 42 h 298"/>
                  <a:gd name="T104" fmla="*/ 138 w 416"/>
                  <a:gd name="T105" fmla="*/ 46 h 298"/>
                  <a:gd name="T106" fmla="*/ 140 w 416"/>
                  <a:gd name="T107" fmla="*/ 28 h 298"/>
                  <a:gd name="T108" fmla="*/ 114 w 416"/>
                  <a:gd name="T109" fmla="*/ 2 h 298"/>
                  <a:gd name="T110" fmla="*/ 76 w 416"/>
                  <a:gd name="T111" fmla="*/ 14 h 298"/>
                  <a:gd name="T112" fmla="*/ 64 w 416"/>
                  <a:gd name="T113" fmla="*/ 40 h 298"/>
                  <a:gd name="T114" fmla="*/ 70 w 416"/>
                  <a:gd name="T115" fmla="*/ 64 h 298"/>
                  <a:gd name="T116" fmla="*/ 74 w 416"/>
                  <a:gd name="T117" fmla="*/ 14 h 298"/>
                  <a:gd name="T118" fmla="*/ 50 w 416"/>
                  <a:gd name="T11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6" h="298">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7" name="Freeform 126"/>
              <p:cNvSpPr>
                <a:spLocks/>
              </p:cNvSpPr>
              <p:nvPr/>
            </p:nvSpPr>
            <p:spPr bwMode="auto">
              <a:xfrm>
                <a:off x="1671" y="1481"/>
                <a:ext cx="38" cy="28"/>
              </a:xfrm>
              <a:custGeom>
                <a:avLst/>
                <a:gdLst>
                  <a:gd name="T0" fmla="*/ 12 w 38"/>
                  <a:gd name="T1" fmla="*/ 28 h 28"/>
                  <a:gd name="T2" fmla="*/ 12 w 38"/>
                  <a:gd name="T3" fmla="*/ 28 h 28"/>
                  <a:gd name="T4" fmla="*/ 10 w 38"/>
                  <a:gd name="T5" fmla="*/ 26 h 28"/>
                  <a:gd name="T6" fmla="*/ 6 w 38"/>
                  <a:gd name="T7" fmla="*/ 22 h 28"/>
                  <a:gd name="T8" fmla="*/ 2 w 38"/>
                  <a:gd name="T9" fmla="*/ 18 h 28"/>
                  <a:gd name="T10" fmla="*/ 2 w 38"/>
                  <a:gd name="T11" fmla="*/ 18 h 28"/>
                  <a:gd name="T12" fmla="*/ 0 w 38"/>
                  <a:gd name="T13" fmla="*/ 18 h 28"/>
                  <a:gd name="T14" fmla="*/ 0 w 38"/>
                  <a:gd name="T15" fmla="*/ 18 h 28"/>
                  <a:gd name="T16" fmla="*/ 2 w 38"/>
                  <a:gd name="T17" fmla="*/ 16 h 28"/>
                  <a:gd name="T18" fmla="*/ 8 w 38"/>
                  <a:gd name="T19" fmla="*/ 8 h 28"/>
                  <a:gd name="T20" fmla="*/ 22 w 38"/>
                  <a:gd name="T21" fmla="*/ 0 h 28"/>
                  <a:gd name="T22" fmla="*/ 22 w 38"/>
                  <a:gd name="T23" fmla="*/ 0 h 28"/>
                  <a:gd name="T24" fmla="*/ 24 w 38"/>
                  <a:gd name="T25" fmla="*/ 0 h 28"/>
                  <a:gd name="T26" fmla="*/ 34 w 38"/>
                  <a:gd name="T27" fmla="*/ 0 h 28"/>
                  <a:gd name="T28" fmla="*/ 34 w 38"/>
                  <a:gd name="T29" fmla="*/ 0 h 28"/>
                  <a:gd name="T30" fmla="*/ 36 w 38"/>
                  <a:gd name="T31" fmla="*/ 2 h 28"/>
                  <a:gd name="T32" fmla="*/ 38 w 38"/>
                  <a:gd name="T33" fmla="*/ 6 h 28"/>
                  <a:gd name="T34" fmla="*/ 38 w 38"/>
                  <a:gd name="T35" fmla="*/ 6 h 28"/>
                  <a:gd name="T36" fmla="*/ 38 w 38"/>
                  <a:gd name="T37" fmla="*/ 8 h 28"/>
                  <a:gd name="T38" fmla="*/ 32 w 38"/>
                  <a:gd name="T39" fmla="*/ 16 h 28"/>
                  <a:gd name="T40" fmla="*/ 24 w 38"/>
                  <a:gd name="T41" fmla="*/ 22 h 28"/>
                  <a:gd name="T42" fmla="*/ 12 w 38"/>
                  <a:gd name="T43" fmla="*/ 28 h 28"/>
                  <a:gd name="T44" fmla="*/ 12 w 38"/>
                  <a:gd name="T45" fmla="*/ 28 h 28"/>
                  <a:gd name="T46" fmla="*/ 12 w 38"/>
                  <a:gd name="T47" fmla="*/ 28 h 28"/>
                  <a:gd name="T48" fmla="*/ 12 w 38"/>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8">
                    <a:moveTo>
                      <a:pt x="12" y="28"/>
                    </a:moveTo>
                    <a:lnTo>
                      <a:pt x="12" y="28"/>
                    </a:lnTo>
                    <a:lnTo>
                      <a:pt x="10" y="26"/>
                    </a:lnTo>
                    <a:lnTo>
                      <a:pt x="6" y="22"/>
                    </a:lnTo>
                    <a:lnTo>
                      <a:pt x="2" y="18"/>
                    </a:lnTo>
                    <a:lnTo>
                      <a:pt x="2" y="18"/>
                    </a:lnTo>
                    <a:lnTo>
                      <a:pt x="0" y="18"/>
                    </a:lnTo>
                    <a:lnTo>
                      <a:pt x="0" y="18"/>
                    </a:lnTo>
                    <a:lnTo>
                      <a:pt x="2" y="16"/>
                    </a:lnTo>
                    <a:lnTo>
                      <a:pt x="8" y="8"/>
                    </a:lnTo>
                    <a:lnTo>
                      <a:pt x="22" y="0"/>
                    </a:lnTo>
                    <a:lnTo>
                      <a:pt x="22" y="0"/>
                    </a:lnTo>
                    <a:lnTo>
                      <a:pt x="24" y="0"/>
                    </a:lnTo>
                    <a:lnTo>
                      <a:pt x="34" y="0"/>
                    </a:lnTo>
                    <a:lnTo>
                      <a:pt x="34" y="0"/>
                    </a:lnTo>
                    <a:lnTo>
                      <a:pt x="36" y="2"/>
                    </a:lnTo>
                    <a:lnTo>
                      <a:pt x="38" y="6"/>
                    </a:lnTo>
                    <a:lnTo>
                      <a:pt x="38" y="6"/>
                    </a:lnTo>
                    <a:lnTo>
                      <a:pt x="38" y="8"/>
                    </a:lnTo>
                    <a:lnTo>
                      <a:pt x="32" y="16"/>
                    </a:lnTo>
                    <a:lnTo>
                      <a:pt x="24" y="22"/>
                    </a:lnTo>
                    <a:lnTo>
                      <a:pt x="12" y="28"/>
                    </a:lnTo>
                    <a:lnTo>
                      <a:pt x="12" y="28"/>
                    </a:lnTo>
                    <a:lnTo>
                      <a:pt x="12" y="28"/>
                    </a:lnTo>
                    <a:lnTo>
                      <a:pt x="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8" name="Freeform 127"/>
              <p:cNvSpPr>
                <a:spLocks noEditPoints="1"/>
              </p:cNvSpPr>
              <p:nvPr/>
            </p:nvSpPr>
            <p:spPr bwMode="auto">
              <a:xfrm>
                <a:off x="1669" y="1479"/>
                <a:ext cx="42" cy="32"/>
              </a:xfrm>
              <a:custGeom>
                <a:avLst/>
                <a:gdLst>
                  <a:gd name="T0" fmla="*/ 36 w 42"/>
                  <a:gd name="T1" fmla="*/ 4 h 32"/>
                  <a:gd name="T2" fmla="*/ 38 w 42"/>
                  <a:gd name="T3" fmla="*/ 8 h 32"/>
                  <a:gd name="T4" fmla="*/ 32 w 42"/>
                  <a:gd name="T5" fmla="*/ 18 h 32"/>
                  <a:gd name="T6" fmla="*/ 26 w 42"/>
                  <a:gd name="T7" fmla="*/ 24 h 32"/>
                  <a:gd name="T8" fmla="*/ 14 w 42"/>
                  <a:gd name="T9" fmla="*/ 28 h 32"/>
                  <a:gd name="T10" fmla="*/ 10 w 42"/>
                  <a:gd name="T11" fmla="*/ 24 h 32"/>
                  <a:gd name="T12" fmla="*/ 4 w 42"/>
                  <a:gd name="T13" fmla="*/ 20 h 32"/>
                  <a:gd name="T14" fmla="*/ 6 w 42"/>
                  <a:gd name="T15" fmla="*/ 18 h 32"/>
                  <a:gd name="T16" fmla="*/ 8 w 42"/>
                  <a:gd name="T17" fmla="*/ 14 h 32"/>
                  <a:gd name="T18" fmla="*/ 12 w 42"/>
                  <a:gd name="T19" fmla="*/ 10 h 32"/>
                  <a:gd name="T20" fmla="*/ 26 w 42"/>
                  <a:gd name="T21" fmla="*/ 4 h 32"/>
                  <a:gd name="T22" fmla="*/ 36 w 42"/>
                  <a:gd name="T23" fmla="*/ 4 h 32"/>
                  <a:gd name="T24" fmla="*/ 36 w 42"/>
                  <a:gd name="T25" fmla="*/ 0 h 32"/>
                  <a:gd name="T26" fmla="*/ 26 w 42"/>
                  <a:gd name="T27" fmla="*/ 0 h 32"/>
                  <a:gd name="T28" fmla="*/ 26 w 42"/>
                  <a:gd name="T29" fmla="*/ 0 h 32"/>
                  <a:gd name="T30" fmla="*/ 24 w 42"/>
                  <a:gd name="T31" fmla="*/ 2 h 32"/>
                  <a:gd name="T32" fmla="*/ 10 w 42"/>
                  <a:gd name="T33" fmla="*/ 8 h 32"/>
                  <a:gd name="T34" fmla="*/ 10 w 42"/>
                  <a:gd name="T35" fmla="*/ 8 h 32"/>
                  <a:gd name="T36" fmla="*/ 10 w 42"/>
                  <a:gd name="T37" fmla="*/ 8 h 32"/>
                  <a:gd name="T38" fmla="*/ 6 w 42"/>
                  <a:gd name="T39" fmla="*/ 12 h 32"/>
                  <a:gd name="T40" fmla="*/ 4 w 42"/>
                  <a:gd name="T41" fmla="*/ 14 h 32"/>
                  <a:gd name="T42" fmla="*/ 2 w 42"/>
                  <a:gd name="T43" fmla="*/ 16 h 32"/>
                  <a:gd name="T44" fmla="*/ 2 w 42"/>
                  <a:gd name="T45" fmla="*/ 16 h 32"/>
                  <a:gd name="T46" fmla="*/ 0 w 42"/>
                  <a:gd name="T47" fmla="*/ 20 h 32"/>
                  <a:gd name="T48" fmla="*/ 0 w 42"/>
                  <a:gd name="T49" fmla="*/ 20 h 32"/>
                  <a:gd name="T50" fmla="*/ 2 w 42"/>
                  <a:gd name="T51" fmla="*/ 22 h 32"/>
                  <a:gd name="T52" fmla="*/ 8 w 42"/>
                  <a:gd name="T53" fmla="*/ 26 h 32"/>
                  <a:gd name="T54" fmla="*/ 10 w 42"/>
                  <a:gd name="T55" fmla="*/ 30 h 32"/>
                  <a:gd name="T56" fmla="*/ 10 w 42"/>
                  <a:gd name="T57" fmla="*/ 30 h 32"/>
                  <a:gd name="T58" fmla="*/ 14 w 42"/>
                  <a:gd name="T59" fmla="*/ 32 h 32"/>
                  <a:gd name="T60" fmla="*/ 14 w 42"/>
                  <a:gd name="T61" fmla="*/ 32 h 32"/>
                  <a:gd name="T62" fmla="*/ 16 w 42"/>
                  <a:gd name="T63" fmla="*/ 30 h 32"/>
                  <a:gd name="T64" fmla="*/ 26 w 42"/>
                  <a:gd name="T65" fmla="*/ 26 h 32"/>
                  <a:gd name="T66" fmla="*/ 26 w 42"/>
                  <a:gd name="T67" fmla="*/ 26 h 32"/>
                  <a:gd name="T68" fmla="*/ 28 w 42"/>
                  <a:gd name="T69" fmla="*/ 26 h 32"/>
                  <a:gd name="T70" fmla="*/ 36 w 42"/>
                  <a:gd name="T71" fmla="*/ 20 h 32"/>
                  <a:gd name="T72" fmla="*/ 36 w 42"/>
                  <a:gd name="T73" fmla="*/ 20 h 32"/>
                  <a:gd name="T74" fmla="*/ 36 w 42"/>
                  <a:gd name="T75" fmla="*/ 20 h 32"/>
                  <a:gd name="T76" fmla="*/ 42 w 42"/>
                  <a:gd name="T77" fmla="*/ 12 h 32"/>
                  <a:gd name="T78" fmla="*/ 42 w 42"/>
                  <a:gd name="T79" fmla="*/ 12 h 32"/>
                  <a:gd name="T80" fmla="*/ 42 w 42"/>
                  <a:gd name="T81" fmla="*/ 8 h 32"/>
                  <a:gd name="T82" fmla="*/ 40 w 42"/>
                  <a:gd name="T83" fmla="*/ 4 h 32"/>
                  <a:gd name="T84" fmla="*/ 40 w 42"/>
                  <a:gd name="T85" fmla="*/ 4 h 32"/>
                  <a:gd name="T86" fmla="*/ 38 w 42"/>
                  <a:gd name="T87" fmla="*/ 2 h 32"/>
                  <a:gd name="T88" fmla="*/ 36 w 42"/>
                  <a:gd name="T89" fmla="*/ 0 h 32"/>
                  <a:gd name="T90" fmla="*/ 36 w 42"/>
                  <a:gd name="T9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 h="32">
                    <a:moveTo>
                      <a:pt x="36" y="4"/>
                    </a:moveTo>
                    <a:lnTo>
                      <a:pt x="38" y="8"/>
                    </a:lnTo>
                    <a:lnTo>
                      <a:pt x="32" y="18"/>
                    </a:lnTo>
                    <a:lnTo>
                      <a:pt x="26" y="24"/>
                    </a:lnTo>
                    <a:lnTo>
                      <a:pt x="14" y="28"/>
                    </a:lnTo>
                    <a:lnTo>
                      <a:pt x="10" y="24"/>
                    </a:lnTo>
                    <a:lnTo>
                      <a:pt x="4" y="20"/>
                    </a:lnTo>
                    <a:lnTo>
                      <a:pt x="6" y="18"/>
                    </a:lnTo>
                    <a:lnTo>
                      <a:pt x="8" y="14"/>
                    </a:lnTo>
                    <a:lnTo>
                      <a:pt x="12" y="10"/>
                    </a:lnTo>
                    <a:lnTo>
                      <a:pt x="26" y="4"/>
                    </a:lnTo>
                    <a:lnTo>
                      <a:pt x="36" y="4"/>
                    </a:lnTo>
                    <a:close/>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9" name="Freeform 128"/>
              <p:cNvSpPr>
                <a:spLocks/>
              </p:cNvSpPr>
              <p:nvPr/>
            </p:nvSpPr>
            <p:spPr bwMode="auto">
              <a:xfrm>
                <a:off x="1673" y="1483"/>
                <a:ext cx="34" cy="24"/>
              </a:xfrm>
              <a:custGeom>
                <a:avLst/>
                <a:gdLst>
                  <a:gd name="T0" fmla="*/ 32 w 34"/>
                  <a:gd name="T1" fmla="*/ 0 h 24"/>
                  <a:gd name="T2" fmla="*/ 34 w 34"/>
                  <a:gd name="T3" fmla="*/ 4 h 24"/>
                  <a:gd name="T4" fmla="*/ 28 w 34"/>
                  <a:gd name="T5" fmla="*/ 14 h 24"/>
                  <a:gd name="T6" fmla="*/ 22 w 34"/>
                  <a:gd name="T7" fmla="*/ 20 h 24"/>
                  <a:gd name="T8" fmla="*/ 10 w 34"/>
                  <a:gd name="T9" fmla="*/ 24 h 24"/>
                  <a:gd name="T10" fmla="*/ 6 w 34"/>
                  <a:gd name="T11" fmla="*/ 20 h 24"/>
                  <a:gd name="T12" fmla="*/ 0 w 34"/>
                  <a:gd name="T13" fmla="*/ 16 h 24"/>
                  <a:gd name="T14" fmla="*/ 2 w 34"/>
                  <a:gd name="T15" fmla="*/ 14 h 24"/>
                  <a:gd name="T16" fmla="*/ 4 w 34"/>
                  <a:gd name="T17" fmla="*/ 10 h 24"/>
                  <a:gd name="T18" fmla="*/ 8 w 34"/>
                  <a:gd name="T19" fmla="*/ 6 h 24"/>
                  <a:gd name="T20" fmla="*/ 22 w 34"/>
                  <a:gd name="T21" fmla="*/ 0 h 24"/>
                  <a:gd name="T22" fmla="*/ 32 w 34"/>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4">
                    <a:moveTo>
                      <a:pt x="32" y="0"/>
                    </a:moveTo>
                    <a:lnTo>
                      <a:pt x="34" y="4"/>
                    </a:lnTo>
                    <a:lnTo>
                      <a:pt x="28" y="14"/>
                    </a:lnTo>
                    <a:lnTo>
                      <a:pt x="22" y="20"/>
                    </a:lnTo>
                    <a:lnTo>
                      <a:pt x="10" y="24"/>
                    </a:lnTo>
                    <a:lnTo>
                      <a:pt x="6" y="20"/>
                    </a:lnTo>
                    <a:lnTo>
                      <a:pt x="0" y="16"/>
                    </a:lnTo>
                    <a:lnTo>
                      <a:pt x="2" y="14"/>
                    </a:lnTo>
                    <a:lnTo>
                      <a:pt x="4" y="10"/>
                    </a:lnTo>
                    <a:lnTo>
                      <a:pt x="8" y="6"/>
                    </a:lnTo>
                    <a:lnTo>
                      <a:pt x="2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0" name="Freeform 129"/>
              <p:cNvSpPr>
                <a:spLocks/>
              </p:cNvSpPr>
              <p:nvPr/>
            </p:nvSpPr>
            <p:spPr bwMode="auto">
              <a:xfrm>
                <a:off x="1669" y="1479"/>
                <a:ext cx="42" cy="32"/>
              </a:xfrm>
              <a:custGeom>
                <a:avLst/>
                <a:gdLst>
                  <a:gd name="T0" fmla="*/ 36 w 42"/>
                  <a:gd name="T1" fmla="*/ 0 h 32"/>
                  <a:gd name="T2" fmla="*/ 26 w 42"/>
                  <a:gd name="T3" fmla="*/ 0 h 32"/>
                  <a:gd name="T4" fmla="*/ 26 w 42"/>
                  <a:gd name="T5" fmla="*/ 0 h 32"/>
                  <a:gd name="T6" fmla="*/ 24 w 42"/>
                  <a:gd name="T7" fmla="*/ 2 h 32"/>
                  <a:gd name="T8" fmla="*/ 10 w 42"/>
                  <a:gd name="T9" fmla="*/ 8 h 32"/>
                  <a:gd name="T10" fmla="*/ 10 w 42"/>
                  <a:gd name="T11" fmla="*/ 8 h 32"/>
                  <a:gd name="T12" fmla="*/ 10 w 42"/>
                  <a:gd name="T13" fmla="*/ 8 h 32"/>
                  <a:gd name="T14" fmla="*/ 6 w 42"/>
                  <a:gd name="T15" fmla="*/ 12 h 32"/>
                  <a:gd name="T16" fmla="*/ 4 w 42"/>
                  <a:gd name="T17" fmla="*/ 14 h 32"/>
                  <a:gd name="T18" fmla="*/ 2 w 42"/>
                  <a:gd name="T19" fmla="*/ 16 h 32"/>
                  <a:gd name="T20" fmla="*/ 2 w 42"/>
                  <a:gd name="T21" fmla="*/ 16 h 32"/>
                  <a:gd name="T22" fmla="*/ 0 w 42"/>
                  <a:gd name="T23" fmla="*/ 20 h 32"/>
                  <a:gd name="T24" fmla="*/ 0 w 42"/>
                  <a:gd name="T25" fmla="*/ 20 h 32"/>
                  <a:gd name="T26" fmla="*/ 2 w 42"/>
                  <a:gd name="T27" fmla="*/ 22 h 32"/>
                  <a:gd name="T28" fmla="*/ 8 w 42"/>
                  <a:gd name="T29" fmla="*/ 26 h 32"/>
                  <a:gd name="T30" fmla="*/ 10 w 42"/>
                  <a:gd name="T31" fmla="*/ 30 h 32"/>
                  <a:gd name="T32" fmla="*/ 10 w 42"/>
                  <a:gd name="T33" fmla="*/ 30 h 32"/>
                  <a:gd name="T34" fmla="*/ 14 w 42"/>
                  <a:gd name="T35" fmla="*/ 32 h 32"/>
                  <a:gd name="T36" fmla="*/ 14 w 42"/>
                  <a:gd name="T37" fmla="*/ 32 h 32"/>
                  <a:gd name="T38" fmla="*/ 16 w 42"/>
                  <a:gd name="T39" fmla="*/ 30 h 32"/>
                  <a:gd name="T40" fmla="*/ 26 w 42"/>
                  <a:gd name="T41" fmla="*/ 26 h 32"/>
                  <a:gd name="T42" fmla="*/ 26 w 42"/>
                  <a:gd name="T43" fmla="*/ 26 h 32"/>
                  <a:gd name="T44" fmla="*/ 28 w 42"/>
                  <a:gd name="T45" fmla="*/ 26 h 32"/>
                  <a:gd name="T46" fmla="*/ 36 w 42"/>
                  <a:gd name="T47" fmla="*/ 20 h 32"/>
                  <a:gd name="T48" fmla="*/ 36 w 42"/>
                  <a:gd name="T49" fmla="*/ 20 h 32"/>
                  <a:gd name="T50" fmla="*/ 36 w 42"/>
                  <a:gd name="T51" fmla="*/ 20 h 32"/>
                  <a:gd name="T52" fmla="*/ 42 w 42"/>
                  <a:gd name="T53" fmla="*/ 12 h 32"/>
                  <a:gd name="T54" fmla="*/ 42 w 42"/>
                  <a:gd name="T55" fmla="*/ 12 h 32"/>
                  <a:gd name="T56" fmla="*/ 42 w 42"/>
                  <a:gd name="T57" fmla="*/ 8 h 32"/>
                  <a:gd name="T58" fmla="*/ 40 w 42"/>
                  <a:gd name="T59" fmla="*/ 4 h 32"/>
                  <a:gd name="T60" fmla="*/ 40 w 42"/>
                  <a:gd name="T61" fmla="*/ 4 h 32"/>
                  <a:gd name="T62" fmla="*/ 38 w 42"/>
                  <a:gd name="T63" fmla="*/ 2 h 32"/>
                  <a:gd name="T64" fmla="*/ 36 w 42"/>
                  <a:gd name="T65" fmla="*/ 0 h 32"/>
                  <a:gd name="T66" fmla="*/ 36 w 42"/>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32">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1" name="Freeform 130"/>
              <p:cNvSpPr>
                <a:spLocks/>
              </p:cNvSpPr>
              <p:nvPr/>
            </p:nvSpPr>
            <p:spPr bwMode="auto">
              <a:xfrm>
                <a:off x="1727" y="1499"/>
                <a:ext cx="22" cy="20"/>
              </a:xfrm>
              <a:custGeom>
                <a:avLst/>
                <a:gdLst>
                  <a:gd name="T0" fmla="*/ 10 w 22"/>
                  <a:gd name="T1" fmla="*/ 20 h 20"/>
                  <a:gd name="T2" fmla="*/ 10 w 22"/>
                  <a:gd name="T3" fmla="*/ 20 h 20"/>
                  <a:gd name="T4" fmla="*/ 8 w 22"/>
                  <a:gd name="T5" fmla="*/ 20 h 20"/>
                  <a:gd name="T6" fmla="*/ 2 w 22"/>
                  <a:gd name="T7" fmla="*/ 14 h 20"/>
                  <a:gd name="T8" fmla="*/ 2 w 22"/>
                  <a:gd name="T9" fmla="*/ 14 h 20"/>
                  <a:gd name="T10" fmla="*/ 0 w 22"/>
                  <a:gd name="T11" fmla="*/ 12 h 20"/>
                  <a:gd name="T12" fmla="*/ 2 w 22"/>
                  <a:gd name="T13" fmla="*/ 6 h 20"/>
                  <a:gd name="T14" fmla="*/ 2 w 22"/>
                  <a:gd name="T15" fmla="*/ 6 h 20"/>
                  <a:gd name="T16" fmla="*/ 4 w 22"/>
                  <a:gd name="T17" fmla="*/ 4 h 20"/>
                  <a:gd name="T18" fmla="*/ 8 w 22"/>
                  <a:gd name="T19" fmla="*/ 0 h 20"/>
                  <a:gd name="T20" fmla="*/ 8 w 22"/>
                  <a:gd name="T21" fmla="*/ 0 h 20"/>
                  <a:gd name="T22" fmla="*/ 10 w 22"/>
                  <a:gd name="T23" fmla="*/ 0 h 20"/>
                  <a:gd name="T24" fmla="*/ 10 w 22"/>
                  <a:gd name="T25" fmla="*/ 0 h 20"/>
                  <a:gd name="T26" fmla="*/ 10 w 22"/>
                  <a:gd name="T27" fmla="*/ 0 h 20"/>
                  <a:gd name="T28" fmla="*/ 18 w 22"/>
                  <a:gd name="T29" fmla="*/ 2 h 20"/>
                  <a:gd name="T30" fmla="*/ 18 w 22"/>
                  <a:gd name="T31" fmla="*/ 2 h 20"/>
                  <a:gd name="T32" fmla="*/ 20 w 22"/>
                  <a:gd name="T33" fmla="*/ 2 h 20"/>
                  <a:gd name="T34" fmla="*/ 22 w 22"/>
                  <a:gd name="T35" fmla="*/ 8 h 20"/>
                  <a:gd name="T36" fmla="*/ 22 w 22"/>
                  <a:gd name="T37" fmla="*/ 8 h 20"/>
                  <a:gd name="T38" fmla="*/ 20 w 22"/>
                  <a:gd name="T39" fmla="*/ 10 h 20"/>
                  <a:gd name="T40" fmla="*/ 12 w 22"/>
                  <a:gd name="T41" fmla="*/ 20 h 20"/>
                  <a:gd name="T42" fmla="*/ 12 w 22"/>
                  <a:gd name="T43" fmla="*/ 20 h 20"/>
                  <a:gd name="T44" fmla="*/ 10 w 22"/>
                  <a:gd name="T45" fmla="*/ 20 h 20"/>
                  <a:gd name="T46" fmla="*/ 10 w 2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0">
                    <a:moveTo>
                      <a:pt x="10" y="20"/>
                    </a:moveTo>
                    <a:lnTo>
                      <a:pt x="10" y="20"/>
                    </a:lnTo>
                    <a:lnTo>
                      <a:pt x="8" y="20"/>
                    </a:lnTo>
                    <a:lnTo>
                      <a:pt x="2" y="14"/>
                    </a:lnTo>
                    <a:lnTo>
                      <a:pt x="2" y="14"/>
                    </a:lnTo>
                    <a:lnTo>
                      <a:pt x="0" y="12"/>
                    </a:lnTo>
                    <a:lnTo>
                      <a:pt x="2" y="6"/>
                    </a:lnTo>
                    <a:lnTo>
                      <a:pt x="2" y="6"/>
                    </a:lnTo>
                    <a:lnTo>
                      <a:pt x="4" y="4"/>
                    </a:lnTo>
                    <a:lnTo>
                      <a:pt x="8" y="0"/>
                    </a:lnTo>
                    <a:lnTo>
                      <a:pt x="8" y="0"/>
                    </a:lnTo>
                    <a:lnTo>
                      <a:pt x="10" y="0"/>
                    </a:lnTo>
                    <a:lnTo>
                      <a:pt x="10" y="0"/>
                    </a:lnTo>
                    <a:lnTo>
                      <a:pt x="10" y="0"/>
                    </a:lnTo>
                    <a:lnTo>
                      <a:pt x="18" y="2"/>
                    </a:lnTo>
                    <a:lnTo>
                      <a:pt x="18" y="2"/>
                    </a:lnTo>
                    <a:lnTo>
                      <a:pt x="20" y="2"/>
                    </a:lnTo>
                    <a:lnTo>
                      <a:pt x="22" y="8"/>
                    </a:lnTo>
                    <a:lnTo>
                      <a:pt x="22" y="8"/>
                    </a:lnTo>
                    <a:lnTo>
                      <a:pt x="20" y="10"/>
                    </a:lnTo>
                    <a:lnTo>
                      <a:pt x="12" y="20"/>
                    </a:lnTo>
                    <a:lnTo>
                      <a:pt x="12" y="20"/>
                    </a:lnTo>
                    <a:lnTo>
                      <a:pt x="10" y="20"/>
                    </a:lnTo>
                    <a:lnTo>
                      <a:pt x="10"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2" name="Freeform 131"/>
              <p:cNvSpPr>
                <a:spLocks noEditPoints="1"/>
              </p:cNvSpPr>
              <p:nvPr/>
            </p:nvSpPr>
            <p:spPr bwMode="auto">
              <a:xfrm>
                <a:off x="1725" y="1497"/>
                <a:ext cx="26" cy="24"/>
              </a:xfrm>
              <a:custGeom>
                <a:avLst/>
                <a:gdLst>
                  <a:gd name="T0" fmla="*/ 12 w 26"/>
                  <a:gd name="T1" fmla="*/ 4 h 24"/>
                  <a:gd name="T2" fmla="*/ 20 w 26"/>
                  <a:gd name="T3" fmla="*/ 6 h 24"/>
                  <a:gd name="T4" fmla="*/ 22 w 26"/>
                  <a:gd name="T5" fmla="*/ 12 h 24"/>
                  <a:gd name="T6" fmla="*/ 12 w 26"/>
                  <a:gd name="T7" fmla="*/ 20 h 24"/>
                  <a:gd name="T8" fmla="*/ 4 w 26"/>
                  <a:gd name="T9" fmla="*/ 14 h 24"/>
                  <a:gd name="T10" fmla="*/ 6 w 26"/>
                  <a:gd name="T11" fmla="*/ 8 h 24"/>
                  <a:gd name="T12" fmla="*/ 12 w 26"/>
                  <a:gd name="T13" fmla="*/ 4 h 24"/>
                  <a:gd name="T14" fmla="*/ 12 w 26"/>
                  <a:gd name="T15" fmla="*/ 0 h 24"/>
                  <a:gd name="T16" fmla="*/ 12 w 26"/>
                  <a:gd name="T17" fmla="*/ 0 h 24"/>
                  <a:gd name="T18" fmla="*/ 10 w 26"/>
                  <a:gd name="T19" fmla="*/ 0 h 24"/>
                  <a:gd name="T20" fmla="*/ 4 w 26"/>
                  <a:gd name="T21" fmla="*/ 6 h 24"/>
                  <a:gd name="T22" fmla="*/ 4 w 26"/>
                  <a:gd name="T23" fmla="*/ 6 h 24"/>
                  <a:gd name="T24" fmla="*/ 2 w 26"/>
                  <a:gd name="T25" fmla="*/ 8 h 24"/>
                  <a:gd name="T26" fmla="*/ 0 w 26"/>
                  <a:gd name="T27" fmla="*/ 14 h 24"/>
                  <a:gd name="T28" fmla="*/ 0 w 26"/>
                  <a:gd name="T29" fmla="*/ 14 h 24"/>
                  <a:gd name="T30" fmla="*/ 0 w 26"/>
                  <a:gd name="T31" fmla="*/ 16 h 24"/>
                  <a:gd name="T32" fmla="*/ 2 w 26"/>
                  <a:gd name="T33" fmla="*/ 18 h 24"/>
                  <a:gd name="T34" fmla="*/ 10 w 26"/>
                  <a:gd name="T35" fmla="*/ 24 h 24"/>
                  <a:gd name="T36" fmla="*/ 10 w 26"/>
                  <a:gd name="T37" fmla="*/ 24 h 24"/>
                  <a:gd name="T38" fmla="*/ 12 w 26"/>
                  <a:gd name="T39" fmla="*/ 24 h 24"/>
                  <a:gd name="T40" fmla="*/ 12 w 26"/>
                  <a:gd name="T41" fmla="*/ 24 h 24"/>
                  <a:gd name="T42" fmla="*/ 14 w 26"/>
                  <a:gd name="T43" fmla="*/ 24 h 24"/>
                  <a:gd name="T44" fmla="*/ 24 w 26"/>
                  <a:gd name="T45" fmla="*/ 14 h 24"/>
                  <a:gd name="T46" fmla="*/ 24 w 26"/>
                  <a:gd name="T47" fmla="*/ 14 h 24"/>
                  <a:gd name="T48" fmla="*/ 26 w 26"/>
                  <a:gd name="T49" fmla="*/ 10 h 24"/>
                  <a:gd name="T50" fmla="*/ 24 w 26"/>
                  <a:gd name="T51" fmla="*/ 4 h 24"/>
                  <a:gd name="T52" fmla="*/ 24 w 26"/>
                  <a:gd name="T53" fmla="*/ 4 h 24"/>
                  <a:gd name="T54" fmla="*/ 20 w 26"/>
                  <a:gd name="T55" fmla="*/ 2 h 24"/>
                  <a:gd name="T56" fmla="*/ 12 w 26"/>
                  <a:gd name="T57" fmla="*/ 0 h 24"/>
                  <a:gd name="T58" fmla="*/ 12 w 26"/>
                  <a:gd name="T59" fmla="*/ 0 h 24"/>
                  <a:gd name="T60" fmla="*/ 12 w 26"/>
                  <a:gd name="T61" fmla="*/ 0 h 24"/>
                  <a:gd name="T62" fmla="*/ 12 w 2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4">
                    <a:moveTo>
                      <a:pt x="12" y="4"/>
                    </a:moveTo>
                    <a:lnTo>
                      <a:pt x="20" y="6"/>
                    </a:lnTo>
                    <a:lnTo>
                      <a:pt x="22" y="12"/>
                    </a:lnTo>
                    <a:lnTo>
                      <a:pt x="12" y="20"/>
                    </a:lnTo>
                    <a:lnTo>
                      <a:pt x="4" y="14"/>
                    </a:lnTo>
                    <a:lnTo>
                      <a:pt x="6" y="8"/>
                    </a:lnTo>
                    <a:lnTo>
                      <a:pt x="12" y="4"/>
                    </a:lnTo>
                    <a:close/>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3" name="Freeform 132"/>
              <p:cNvSpPr>
                <a:spLocks/>
              </p:cNvSpPr>
              <p:nvPr/>
            </p:nvSpPr>
            <p:spPr bwMode="auto">
              <a:xfrm>
                <a:off x="1729" y="1501"/>
                <a:ext cx="18" cy="16"/>
              </a:xfrm>
              <a:custGeom>
                <a:avLst/>
                <a:gdLst>
                  <a:gd name="T0" fmla="*/ 8 w 18"/>
                  <a:gd name="T1" fmla="*/ 0 h 16"/>
                  <a:gd name="T2" fmla="*/ 16 w 18"/>
                  <a:gd name="T3" fmla="*/ 2 h 16"/>
                  <a:gd name="T4" fmla="*/ 18 w 18"/>
                  <a:gd name="T5" fmla="*/ 8 h 16"/>
                  <a:gd name="T6" fmla="*/ 8 w 18"/>
                  <a:gd name="T7" fmla="*/ 16 h 16"/>
                  <a:gd name="T8" fmla="*/ 0 w 18"/>
                  <a:gd name="T9" fmla="*/ 10 h 16"/>
                  <a:gd name="T10" fmla="*/ 2 w 18"/>
                  <a:gd name="T11" fmla="*/ 4 h 16"/>
                  <a:gd name="T12" fmla="*/ 8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8" y="0"/>
                    </a:moveTo>
                    <a:lnTo>
                      <a:pt x="16" y="2"/>
                    </a:lnTo>
                    <a:lnTo>
                      <a:pt x="18" y="8"/>
                    </a:lnTo>
                    <a:lnTo>
                      <a:pt x="8" y="16"/>
                    </a:lnTo>
                    <a:lnTo>
                      <a:pt x="0" y="10"/>
                    </a:lnTo>
                    <a:lnTo>
                      <a:pt x="2"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4" name="Freeform 133"/>
              <p:cNvSpPr>
                <a:spLocks/>
              </p:cNvSpPr>
              <p:nvPr/>
            </p:nvSpPr>
            <p:spPr bwMode="auto">
              <a:xfrm>
                <a:off x="1725" y="1497"/>
                <a:ext cx="26" cy="24"/>
              </a:xfrm>
              <a:custGeom>
                <a:avLst/>
                <a:gdLst>
                  <a:gd name="T0" fmla="*/ 12 w 26"/>
                  <a:gd name="T1" fmla="*/ 0 h 24"/>
                  <a:gd name="T2" fmla="*/ 12 w 26"/>
                  <a:gd name="T3" fmla="*/ 0 h 24"/>
                  <a:gd name="T4" fmla="*/ 10 w 26"/>
                  <a:gd name="T5" fmla="*/ 0 h 24"/>
                  <a:gd name="T6" fmla="*/ 4 w 26"/>
                  <a:gd name="T7" fmla="*/ 6 h 24"/>
                  <a:gd name="T8" fmla="*/ 4 w 26"/>
                  <a:gd name="T9" fmla="*/ 6 h 24"/>
                  <a:gd name="T10" fmla="*/ 2 w 26"/>
                  <a:gd name="T11" fmla="*/ 8 h 24"/>
                  <a:gd name="T12" fmla="*/ 0 w 26"/>
                  <a:gd name="T13" fmla="*/ 14 h 24"/>
                  <a:gd name="T14" fmla="*/ 0 w 26"/>
                  <a:gd name="T15" fmla="*/ 14 h 24"/>
                  <a:gd name="T16" fmla="*/ 0 w 26"/>
                  <a:gd name="T17" fmla="*/ 16 h 24"/>
                  <a:gd name="T18" fmla="*/ 2 w 26"/>
                  <a:gd name="T19" fmla="*/ 18 h 24"/>
                  <a:gd name="T20" fmla="*/ 10 w 26"/>
                  <a:gd name="T21" fmla="*/ 24 h 24"/>
                  <a:gd name="T22" fmla="*/ 10 w 26"/>
                  <a:gd name="T23" fmla="*/ 24 h 24"/>
                  <a:gd name="T24" fmla="*/ 12 w 26"/>
                  <a:gd name="T25" fmla="*/ 24 h 24"/>
                  <a:gd name="T26" fmla="*/ 12 w 26"/>
                  <a:gd name="T27" fmla="*/ 24 h 24"/>
                  <a:gd name="T28" fmla="*/ 14 w 26"/>
                  <a:gd name="T29" fmla="*/ 24 h 24"/>
                  <a:gd name="T30" fmla="*/ 24 w 26"/>
                  <a:gd name="T31" fmla="*/ 14 h 24"/>
                  <a:gd name="T32" fmla="*/ 24 w 26"/>
                  <a:gd name="T33" fmla="*/ 14 h 24"/>
                  <a:gd name="T34" fmla="*/ 26 w 26"/>
                  <a:gd name="T35" fmla="*/ 10 h 24"/>
                  <a:gd name="T36" fmla="*/ 24 w 26"/>
                  <a:gd name="T37" fmla="*/ 4 h 24"/>
                  <a:gd name="T38" fmla="*/ 24 w 26"/>
                  <a:gd name="T39" fmla="*/ 4 h 24"/>
                  <a:gd name="T40" fmla="*/ 20 w 26"/>
                  <a:gd name="T41" fmla="*/ 2 h 24"/>
                  <a:gd name="T42" fmla="*/ 12 w 26"/>
                  <a:gd name="T43" fmla="*/ 0 h 24"/>
                  <a:gd name="T44" fmla="*/ 12 w 26"/>
                  <a:gd name="T45" fmla="*/ 0 h 24"/>
                  <a:gd name="T46" fmla="*/ 12 w 26"/>
                  <a:gd name="T47" fmla="*/ 0 h 24"/>
                  <a:gd name="T48" fmla="*/ 12 w 26"/>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4">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5" name="Freeform 134"/>
              <p:cNvSpPr>
                <a:spLocks/>
              </p:cNvSpPr>
              <p:nvPr/>
            </p:nvSpPr>
            <p:spPr bwMode="auto">
              <a:xfrm>
                <a:off x="1235" y="1095"/>
                <a:ext cx="26" cy="14"/>
              </a:xfrm>
              <a:custGeom>
                <a:avLst/>
                <a:gdLst>
                  <a:gd name="T0" fmla="*/ 12 w 26"/>
                  <a:gd name="T1" fmla="*/ 14 h 14"/>
                  <a:gd name="T2" fmla="*/ 12 w 26"/>
                  <a:gd name="T3" fmla="*/ 14 h 14"/>
                  <a:gd name="T4" fmla="*/ 12 w 26"/>
                  <a:gd name="T5" fmla="*/ 14 h 14"/>
                  <a:gd name="T6" fmla="*/ 4 w 26"/>
                  <a:gd name="T7" fmla="*/ 10 h 14"/>
                  <a:gd name="T8" fmla="*/ 4 w 26"/>
                  <a:gd name="T9" fmla="*/ 10 h 14"/>
                  <a:gd name="T10" fmla="*/ 2 w 26"/>
                  <a:gd name="T11" fmla="*/ 8 h 14"/>
                  <a:gd name="T12" fmla="*/ 0 w 26"/>
                  <a:gd name="T13" fmla="*/ 4 h 14"/>
                  <a:gd name="T14" fmla="*/ 0 w 26"/>
                  <a:gd name="T15" fmla="*/ 4 h 14"/>
                  <a:gd name="T16" fmla="*/ 0 w 26"/>
                  <a:gd name="T17" fmla="*/ 2 h 14"/>
                  <a:gd name="T18" fmla="*/ 0 w 26"/>
                  <a:gd name="T19" fmla="*/ 2 h 14"/>
                  <a:gd name="T20" fmla="*/ 2 w 26"/>
                  <a:gd name="T21" fmla="*/ 2 h 14"/>
                  <a:gd name="T22" fmla="*/ 10 w 26"/>
                  <a:gd name="T23" fmla="*/ 0 h 14"/>
                  <a:gd name="T24" fmla="*/ 18 w 26"/>
                  <a:gd name="T25" fmla="*/ 2 h 14"/>
                  <a:gd name="T26" fmla="*/ 18 w 26"/>
                  <a:gd name="T27" fmla="*/ 2 h 14"/>
                  <a:gd name="T28" fmla="*/ 20 w 26"/>
                  <a:gd name="T29" fmla="*/ 2 h 14"/>
                  <a:gd name="T30" fmla="*/ 26 w 26"/>
                  <a:gd name="T31" fmla="*/ 6 h 14"/>
                  <a:gd name="T32" fmla="*/ 26 w 26"/>
                  <a:gd name="T33" fmla="*/ 6 h 14"/>
                  <a:gd name="T34" fmla="*/ 26 w 26"/>
                  <a:gd name="T35" fmla="*/ 10 h 14"/>
                  <a:gd name="T36" fmla="*/ 24 w 26"/>
                  <a:gd name="T37" fmla="*/ 12 h 14"/>
                  <a:gd name="T38" fmla="*/ 24 w 26"/>
                  <a:gd name="T39" fmla="*/ 12 h 14"/>
                  <a:gd name="T40" fmla="*/ 22 w 26"/>
                  <a:gd name="T41" fmla="*/ 14 h 14"/>
                  <a:gd name="T42" fmla="*/ 22 w 26"/>
                  <a:gd name="T43" fmla="*/ 14 h 14"/>
                  <a:gd name="T44" fmla="*/ 12 w 26"/>
                  <a:gd name="T45" fmla="*/ 14 h 14"/>
                  <a:gd name="T46" fmla="*/ 12 w 26"/>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4">
                    <a:moveTo>
                      <a:pt x="12" y="14"/>
                    </a:moveTo>
                    <a:lnTo>
                      <a:pt x="12" y="14"/>
                    </a:lnTo>
                    <a:lnTo>
                      <a:pt x="12" y="14"/>
                    </a:lnTo>
                    <a:lnTo>
                      <a:pt x="4" y="10"/>
                    </a:lnTo>
                    <a:lnTo>
                      <a:pt x="4" y="10"/>
                    </a:lnTo>
                    <a:lnTo>
                      <a:pt x="2" y="8"/>
                    </a:lnTo>
                    <a:lnTo>
                      <a:pt x="0" y="4"/>
                    </a:lnTo>
                    <a:lnTo>
                      <a:pt x="0" y="4"/>
                    </a:lnTo>
                    <a:lnTo>
                      <a:pt x="0" y="2"/>
                    </a:lnTo>
                    <a:lnTo>
                      <a:pt x="0" y="2"/>
                    </a:lnTo>
                    <a:lnTo>
                      <a:pt x="2" y="2"/>
                    </a:lnTo>
                    <a:lnTo>
                      <a:pt x="10" y="0"/>
                    </a:lnTo>
                    <a:lnTo>
                      <a:pt x="18" y="2"/>
                    </a:lnTo>
                    <a:lnTo>
                      <a:pt x="18" y="2"/>
                    </a:lnTo>
                    <a:lnTo>
                      <a:pt x="20" y="2"/>
                    </a:lnTo>
                    <a:lnTo>
                      <a:pt x="26" y="6"/>
                    </a:lnTo>
                    <a:lnTo>
                      <a:pt x="26" y="6"/>
                    </a:lnTo>
                    <a:lnTo>
                      <a:pt x="26" y="10"/>
                    </a:lnTo>
                    <a:lnTo>
                      <a:pt x="24" y="12"/>
                    </a:lnTo>
                    <a:lnTo>
                      <a:pt x="24" y="12"/>
                    </a:lnTo>
                    <a:lnTo>
                      <a:pt x="22" y="14"/>
                    </a:lnTo>
                    <a:lnTo>
                      <a:pt x="22" y="14"/>
                    </a:lnTo>
                    <a:lnTo>
                      <a:pt x="12" y="14"/>
                    </a:lnTo>
                    <a:lnTo>
                      <a:pt x="1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6" name="Freeform 135"/>
              <p:cNvSpPr>
                <a:spLocks noEditPoints="1"/>
              </p:cNvSpPr>
              <p:nvPr/>
            </p:nvSpPr>
            <p:spPr bwMode="auto">
              <a:xfrm>
                <a:off x="1233" y="1093"/>
                <a:ext cx="30" cy="18"/>
              </a:xfrm>
              <a:custGeom>
                <a:avLst/>
                <a:gdLst>
                  <a:gd name="T0" fmla="*/ 12 w 30"/>
                  <a:gd name="T1" fmla="*/ 4 h 18"/>
                  <a:gd name="T2" fmla="*/ 20 w 30"/>
                  <a:gd name="T3" fmla="*/ 6 h 18"/>
                  <a:gd name="T4" fmla="*/ 26 w 30"/>
                  <a:gd name="T5" fmla="*/ 10 h 18"/>
                  <a:gd name="T6" fmla="*/ 24 w 30"/>
                  <a:gd name="T7" fmla="*/ 14 h 18"/>
                  <a:gd name="T8" fmla="*/ 14 w 30"/>
                  <a:gd name="T9" fmla="*/ 14 h 18"/>
                  <a:gd name="T10" fmla="*/ 6 w 30"/>
                  <a:gd name="T11" fmla="*/ 10 h 18"/>
                  <a:gd name="T12" fmla="*/ 4 w 30"/>
                  <a:gd name="T13" fmla="*/ 6 h 18"/>
                  <a:gd name="T14" fmla="*/ 12 w 30"/>
                  <a:gd name="T15" fmla="*/ 4 h 18"/>
                  <a:gd name="T16" fmla="*/ 12 w 30"/>
                  <a:gd name="T17" fmla="*/ 0 h 18"/>
                  <a:gd name="T18" fmla="*/ 12 w 30"/>
                  <a:gd name="T19" fmla="*/ 0 h 18"/>
                  <a:gd name="T20" fmla="*/ 12 w 30"/>
                  <a:gd name="T21" fmla="*/ 0 h 18"/>
                  <a:gd name="T22" fmla="*/ 4 w 30"/>
                  <a:gd name="T23" fmla="*/ 2 h 18"/>
                  <a:gd name="T24" fmla="*/ 4 w 30"/>
                  <a:gd name="T25" fmla="*/ 2 h 18"/>
                  <a:gd name="T26" fmla="*/ 0 w 30"/>
                  <a:gd name="T27" fmla="*/ 4 h 18"/>
                  <a:gd name="T28" fmla="*/ 0 w 30"/>
                  <a:gd name="T29" fmla="*/ 4 h 18"/>
                  <a:gd name="T30" fmla="*/ 0 w 30"/>
                  <a:gd name="T31" fmla="*/ 6 h 18"/>
                  <a:gd name="T32" fmla="*/ 2 w 30"/>
                  <a:gd name="T33" fmla="*/ 12 h 18"/>
                  <a:gd name="T34" fmla="*/ 2 w 30"/>
                  <a:gd name="T35" fmla="*/ 12 h 18"/>
                  <a:gd name="T36" fmla="*/ 4 w 30"/>
                  <a:gd name="T37" fmla="*/ 14 h 18"/>
                  <a:gd name="T38" fmla="*/ 12 w 30"/>
                  <a:gd name="T39" fmla="*/ 18 h 18"/>
                  <a:gd name="T40" fmla="*/ 12 w 30"/>
                  <a:gd name="T41" fmla="*/ 18 h 18"/>
                  <a:gd name="T42" fmla="*/ 14 w 30"/>
                  <a:gd name="T43" fmla="*/ 18 h 18"/>
                  <a:gd name="T44" fmla="*/ 14 w 30"/>
                  <a:gd name="T45" fmla="*/ 18 h 18"/>
                  <a:gd name="T46" fmla="*/ 14 w 30"/>
                  <a:gd name="T47" fmla="*/ 18 h 18"/>
                  <a:gd name="T48" fmla="*/ 26 w 30"/>
                  <a:gd name="T49" fmla="*/ 18 h 18"/>
                  <a:gd name="T50" fmla="*/ 26 w 30"/>
                  <a:gd name="T51" fmla="*/ 18 h 18"/>
                  <a:gd name="T52" fmla="*/ 28 w 30"/>
                  <a:gd name="T53" fmla="*/ 16 h 18"/>
                  <a:gd name="T54" fmla="*/ 30 w 30"/>
                  <a:gd name="T55" fmla="*/ 12 h 18"/>
                  <a:gd name="T56" fmla="*/ 30 w 30"/>
                  <a:gd name="T57" fmla="*/ 12 h 18"/>
                  <a:gd name="T58" fmla="*/ 30 w 30"/>
                  <a:gd name="T59" fmla="*/ 10 h 18"/>
                  <a:gd name="T60" fmla="*/ 30 w 30"/>
                  <a:gd name="T61" fmla="*/ 6 h 18"/>
                  <a:gd name="T62" fmla="*/ 22 w 30"/>
                  <a:gd name="T63" fmla="*/ 2 h 18"/>
                  <a:gd name="T64" fmla="*/ 22 w 30"/>
                  <a:gd name="T65" fmla="*/ 2 h 18"/>
                  <a:gd name="T66" fmla="*/ 22 w 30"/>
                  <a:gd name="T67" fmla="*/ 2 h 18"/>
                  <a:gd name="T68" fmla="*/ 14 w 30"/>
                  <a:gd name="T69" fmla="*/ 0 h 18"/>
                  <a:gd name="T70" fmla="*/ 14 w 30"/>
                  <a:gd name="T71" fmla="*/ 0 h 18"/>
                  <a:gd name="T72" fmla="*/ 12 w 30"/>
                  <a:gd name="T73" fmla="*/ 0 h 18"/>
                  <a:gd name="T74" fmla="*/ 12 w 30"/>
                  <a:gd name="T7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18">
                    <a:moveTo>
                      <a:pt x="12" y="4"/>
                    </a:moveTo>
                    <a:lnTo>
                      <a:pt x="20" y="6"/>
                    </a:lnTo>
                    <a:lnTo>
                      <a:pt x="26" y="10"/>
                    </a:lnTo>
                    <a:lnTo>
                      <a:pt x="24" y="14"/>
                    </a:lnTo>
                    <a:lnTo>
                      <a:pt x="14" y="14"/>
                    </a:lnTo>
                    <a:lnTo>
                      <a:pt x="6" y="10"/>
                    </a:lnTo>
                    <a:lnTo>
                      <a:pt x="4" y="6"/>
                    </a:lnTo>
                    <a:lnTo>
                      <a:pt x="12" y="4"/>
                    </a:lnTo>
                    <a:close/>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7" name="Freeform 136"/>
              <p:cNvSpPr>
                <a:spLocks/>
              </p:cNvSpPr>
              <p:nvPr/>
            </p:nvSpPr>
            <p:spPr bwMode="auto">
              <a:xfrm>
                <a:off x="1237" y="1097"/>
                <a:ext cx="22" cy="10"/>
              </a:xfrm>
              <a:custGeom>
                <a:avLst/>
                <a:gdLst>
                  <a:gd name="T0" fmla="*/ 8 w 22"/>
                  <a:gd name="T1" fmla="*/ 0 h 10"/>
                  <a:gd name="T2" fmla="*/ 16 w 22"/>
                  <a:gd name="T3" fmla="*/ 2 h 10"/>
                  <a:gd name="T4" fmla="*/ 22 w 22"/>
                  <a:gd name="T5" fmla="*/ 6 h 10"/>
                  <a:gd name="T6" fmla="*/ 20 w 22"/>
                  <a:gd name="T7" fmla="*/ 10 h 10"/>
                  <a:gd name="T8" fmla="*/ 10 w 22"/>
                  <a:gd name="T9" fmla="*/ 10 h 10"/>
                  <a:gd name="T10" fmla="*/ 2 w 22"/>
                  <a:gd name="T11" fmla="*/ 6 h 10"/>
                  <a:gd name="T12" fmla="*/ 0 w 22"/>
                  <a:gd name="T13" fmla="*/ 2 h 10"/>
                  <a:gd name="T14" fmla="*/ 8 w 2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
                    <a:moveTo>
                      <a:pt x="8" y="0"/>
                    </a:moveTo>
                    <a:lnTo>
                      <a:pt x="16" y="2"/>
                    </a:lnTo>
                    <a:lnTo>
                      <a:pt x="22" y="6"/>
                    </a:lnTo>
                    <a:lnTo>
                      <a:pt x="20" y="10"/>
                    </a:lnTo>
                    <a:lnTo>
                      <a:pt x="10" y="10"/>
                    </a:lnTo>
                    <a:lnTo>
                      <a:pt x="2" y="6"/>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8" name="Freeform 137"/>
              <p:cNvSpPr>
                <a:spLocks/>
              </p:cNvSpPr>
              <p:nvPr/>
            </p:nvSpPr>
            <p:spPr bwMode="auto">
              <a:xfrm>
                <a:off x="1233" y="1093"/>
                <a:ext cx="30" cy="18"/>
              </a:xfrm>
              <a:custGeom>
                <a:avLst/>
                <a:gdLst>
                  <a:gd name="T0" fmla="*/ 12 w 30"/>
                  <a:gd name="T1" fmla="*/ 0 h 18"/>
                  <a:gd name="T2" fmla="*/ 12 w 30"/>
                  <a:gd name="T3" fmla="*/ 0 h 18"/>
                  <a:gd name="T4" fmla="*/ 12 w 30"/>
                  <a:gd name="T5" fmla="*/ 0 h 18"/>
                  <a:gd name="T6" fmla="*/ 4 w 30"/>
                  <a:gd name="T7" fmla="*/ 2 h 18"/>
                  <a:gd name="T8" fmla="*/ 4 w 30"/>
                  <a:gd name="T9" fmla="*/ 2 h 18"/>
                  <a:gd name="T10" fmla="*/ 0 w 30"/>
                  <a:gd name="T11" fmla="*/ 4 h 18"/>
                  <a:gd name="T12" fmla="*/ 0 w 30"/>
                  <a:gd name="T13" fmla="*/ 4 h 18"/>
                  <a:gd name="T14" fmla="*/ 0 w 30"/>
                  <a:gd name="T15" fmla="*/ 6 h 18"/>
                  <a:gd name="T16" fmla="*/ 2 w 30"/>
                  <a:gd name="T17" fmla="*/ 12 h 18"/>
                  <a:gd name="T18" fmla="*/ 2 w 30"/>
                  <a:gd name="T19" fmla="*/ 12 h 18"/>
                  <a:gd name="T20" fmla="*/ 4 w 30"/>
                  <a:gd name="T21" fmla="*/ 14 h 18"/>
                  <a:gd name="T22" fmla="*/ 12 w 30"/>
                  <a:gd name="T23" fmla="*/ 18 h 18"/>
                  <a:gd name="T24" fmla="*/ 12 w 30"/>
                  <a:gd name="T25" fmla="*/ 18 h 18"/>
                  <a:gd name="T26" fmla="*/ 14 w 30"/>
                  <a:gd name="T27" fmla="*/ 18 h 18"/>
                  <a:gd name="T28" fmla="*/ 14 w 30"/>
                  <a:gd name="T29" fmla="*/ 18 h 18"/>
                  <a:gd name="T30" fmla="*/ 14 w 30"/>
                  <a:gd name="T31" fmla="*/ 18 h 18"/>
                  <a:gd name="T32" fmla="*/ 26 w 30"/>
                  <a:gd name="T33" fmla="*/ 18 h 18"/>
                  <a:gd name="T34" fmla="*/ 26 w 30"/>
                  <a:gd name="T35" fmla="*/ 18 h 18"/>
                  <a:gd name="T36" fmla="*/ 28 w 30"/>
                  <a:gd name="T37" fmla="*/ 16 h 18"/>
                  <a:gd name="T38" fmla="*/ 30 w 30"/>
                  <a:gd name="T39" fmla="*/ 12 h 18"/>
                  <a:gd name="T40" fmla="*/ 30 w 30"/>
                  <a:gd name="T41" fmla="*/ 12 h 18"/>
                  <a:gd name="T42" fmla="*/ 30 w 30"/>
                  <a:gd name="T43" fmla="*/ 10 h 18"/>
                  <a:gd name="T44" fmla="*/ 30 w 30"/>
                  <a:gd name="T45" fmla="*/ 6 h 18"/>
                  <a:gd name="T46" fmla="*/ 22 w 30"/>
                  <a:gd name="T47" fmla="*/ 2 h 18"/>
                  <a:gd name="T48" fmla="*/ 22 w 30"/>
                  <a:gd name="T49" fmla="*/ 2 h 18"/>
                  <a:gd name="T50" fmla="*/ 22 w 30"/>
                  <a:gd name="T51" fmla="*/ 2 h 18"/>
                  <a:gd name="T52" fmla="*/ 14 w 30"/>
                  <a:gd name="T53" fmla="*/ 0 h 18"/>
                  <a:gd name="T54" fmla="*/ 14 w 30"/>
                  <a:gd name="T55" fmla="*/ 0 h 18"/>
                  <a:gd name="T56" fmla="*/ 12 w 30"/>
                  <a:gd name="T57" fmla="*/ 0 h 18"/>
                  <a:gd name="T58" fmla="*/ 12 w 30"/>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18">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9" name="Freeform 138"/>
              <p:cNvSpPr>
                <a:spLocks/>
              </p:cNvSpPr>
              <p:nvPr/>
            </p:nvSpPr>
            <p:spPr bwMode="auto">
              <a:xfrm>
                <a:off x="1811" y="1359"/>
                <a:ext cx="20" cy="20"/>
              </a:xfrm>
              <a:custGeom>
                <a:avLst/>
                <a:gdLst>
                  <a:gd name="T0" fmla="*/ 16 w 20"/>
                  <a:gd name="T1" fmla="*/ 20 h 20"/>
                  <a:gd name="T2" fmla="*/ 6 w 20"/>
                  <a:gd name="T3" fmla="*/ 18 h 20"/>
                  <a:gd name="T4" fmla="*/ 6 w 20"/>
                  <a:gd name="T5" fmla="*/ 18 h 20"/>
                  <a:gd name="T6" fmla="*/ 6 w 20"/>
                  <a:gd name="T7" fmla="*/ 18 h 20"/>
                  <a:gd name="T8" fmla="*/ 2 w 20"/>
                  <a:gd name="T9" fmla="*/ 14 h 20"/>
                  <a:gd name="T10" fmla="*/ 2 w 20"/>
                  <a:gd name="T11" fmla="*/ 14 h 20"/>
                  <a:gd name="T12" fmla="*/ 0 w 20"/>
                  <a:gd name="T13" fmla="*/ 12 h 20"/>
                  <a:gd name="T14" fmla="*/ 0 w 20"/>
                  <a:gd name="T15" fmla="*/ 4 h 20"/>
                  <a:gd name="T16" fmla="*/ 0 w 20"/>
                  <a:gd name="T17" fmla="*/ 4 h 20"/>
                  <a:gd name="T18" fmla="*/ 2 w 20"/>
                  <a:gd name="T19" fmla="*/ 2 h 20"/>
                  <a:gd name="T20" fmla="*/ 8 w 20"/>
                  <a:gd name="T21" fmla="*/ 0 h 20"/>
                  <a:gd name="T22" fmla="*/ 8 w 20"/>
                  <a:gd name="T23" fmla="*/ 0 h 20"/>
                  <a:gd name="T24" fmla="*/ 10 w 20"/>
                  <a:gd name="T25" fmla="*/ 0 h 20"/>
                  <a:gd name="T26" fmla="*/ 10 w 20"/>
                  <a:gd name="T27" fmla="*/ 0 h 20"/>
                  <a:gd name="T28" fmla="*/ 10 w 20"/>
                  <a:gd name="T29" fmla="*/ 0 h 20"/>
                  <a:gd name="T30" fmla="*/ 18 w 20"/>
                  <a:gd name="T31" fmla="*/ 6 h 20"/>
                  <a:gd name="T32" fmla="*/ 20 w 20"/>
                  <a:gd name="T33" fmla="*/ 14 h 20"/>
                  <a:gd name="T34" fmla="*/ 20 w 20"/>
                  <a:gd name="T35" fmla="*/ 14 h 20"/>
                  <a:gd name="T36" fmla="*/ 20 w 20"/>
                  <a:gd name="T37" fmla="*/ 16 h 20"/>
                  <a:gd name="T38" fmla="*/ 18 w 20"/>
                  <a:gd name="T39" fmla="*/ 20 h 20"/>
                  <a:gd name="T40" fmla="*/ 18 w 20"/>
                  <a:gd name="T41" fmla="*/ 20 h 20"/>
                  <a:gd name="T42" fmla="*/ 16 w 20"/>
                  <a:gd name="T43" fmla="*/ 20 h 20"/>
                  <a:gd name="T44" fmla="*/ 16 w 20"/>
                  <a:gd name="T45" fmla="*/ 20 h 20"/>
                  <a:gd name="T46" fmla="*/ 16 w 20"/>
                  <a:gd name="T47" fmla="*/ 20 h 20"/>
                  <a:gd name="T48" fmla="*/ 16 w 2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20">
                    <a:moveTo>
                      <a:pt x="16" y="20"/>
                    </a:moveTo>
                    <a:lnTo>
                      <a:pt x="6" y="18"/>
                    </a:lnTo>
                    <a:lnTo>
                      <a:pt x="6" y="18"/>
                    </a:lnTo>
                    <a:lnTo>
                      <a:pt x="6" y="18"/>
                    </a:lnTo>
                    <a:lnTo>
                      <a:pt x="2" y="14"/>
                    </a:lnTo>
                    <a:lnTo>
                      <a:pt x="2" y="14"/>
                    </a:lnTo>
                    <a:lnTo>
                      <a:pt x="0" y="12"/>
                    </a:lnTo>
                    <a:lnTo>
                      <a:pt x="0" y="4"/>
                    </a:lnTo>
                    <a:lnTo>
                      <a:pt x="0" y="4"/>
                    </a:lnTo>
                    <a:lnTo>
                      <a:pt x="2" y="2"/>
                    </a:lnTo>
                    <a:lnTo>
                      <a:pt x="8" y="0"/>
                    </a:lnTo>
                    <a:lnTo>
                      <a:pt x="8" y="0"/>
                    </a:lnTo>
                    <a:lnTo>
                      <a:pt x="10" y="0"/>
                    </a:lnTo>
                    <a:lnTo>
                      <a:pt x="10" y="0"/>
                    </a:lnTo>
                    <a:lnTo>
                      <a:pt x="10" y="0"/>
                    </a:lnTo>
                    <a:lnTo>
                      <a:pt x="18" y="6"/>
                    </a:lnTo>
                    <a:lnTo>
                      <a:pt x="20" y="14"/>
                    </a:lnTo>
                    <a:lnTo>
                      <a:pt x="20" y="14"/>
                    </a:lnTo>
                    <a:lnTo>
                      <a:pt x="20" y="16"/>
                    </a:lnTo>
                    <a:lnTo>
                      <a:pt x="18" y="20"/>
                    </a:lnTo>
                    <a:lnTo>
                      <a:pt x="18"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0" name="Freeform 139"/>
              <p:cNvSpPr>
                <a:spLocks noEditPoints="1"/>
              </p:cNvSpPr>
              <p:nvPr/>
            </p:nvSpPr>
            <p:spPr bwMode="auto">
              <a:xfrm>
                <a:off x="1809" y="1357"/>
                <a:ext cx="26" cy="24"/>
              </a:xfrm>
              <a:custGeom>
                <a:avLst/>
                <a:gdLst>
                  <a:gd name="T0" fmla="*/ 12 w 26"/>
                  <a:gd name="T1" fmla="*/ 4 h 24"/>
                  <a:gd name="T2" fmla="*/ 18 w 26"/>
                  <a:gd name="T3" fmla="*/ 10 h 24"/>
                  <a:gd name="T4" fmla="*/ 22 w 26"/>
                  <a:gd name="T5" fmla="*/ 16 h 24"/>
                  <a:gd name="T6" fmla="*/ 18 w 26"/>
                  <a:gd name="T7" fmla="*/ 20 h 24"/>
                  <a:gd name="T8" fmla="*/ 10 w 26"/>
                  <a:gd name="T9" fmla="*/ 18 h 24"/>
                  <a:gd name="T10" fmla="*/ 4 w 26"/>
                  <a:gd name="T11" fmla="*/ 14 h 24"/>
                  <a:gd name="T12" fmla="*/ 4 w 26"/>
                  <a:gd name="T13" fmla="*/ 6 h 24"/>
                  <a:gd name="T14" fmla="*/ 12 w 26"/>
                  <a:gd name="T15" fmla="*/ 4 h 24"/>
                  <a:gd name="T16" fmla="*/ 12 w 26"/>
                  <a:gd name="T17" fmla="*/ 0 h 24"/>
                  <a:gd name="T18" fmla="*/ 12 w 26"/>
                  <a:gd name="T19" fmla="*/ 0 h 24"/>
                  <a:gd name="T20" fmla="*/ 10 w 26"/>
                  <a:gd name="T21" fmla="*/ 0 h 24"/>
                  <a:gd name="T22" fmla="*/ 4 w 26"/>
                  <a:gd name="T23" fmla="*/ 2 h 24"/>
                  <a:gd name="T24" fmla="*/ 4 w 26"/>
                  <a:gd name="T25" fmla="*/ 2 h 24"/>
                  <a:gd name="T26" fmla="*/ 2 w 26"/>
                  <a:gd name="T27" fmla="*/ 4 h 24"/>
                  <a:gd name="T28" fmla="*/ 0 w 26"/>
                  <a:gd name="T29" fmla="*/ 6 h 24"/>
                  <a:gd name="T30" fmla="*/ 0 w 26"/>
                  <a:gd name="T31" fmla="*/ 14 h 24"/>
                  <a:gd name="T32" fmla="*/ 0 w 26"/>
                  <a:gd name="T33" fmla="*/ 14 h 24"/>
                  <a:gd name="T34" fmla="*/ 2 w 26"/>
                  <a:gd name="T35" fmla="*/ 16 h 24"/>
                  <a:gd name="T36" fmla="*/ 6 w 26"/>
                  <a:gd name="T37" fmla="*/ 22 h 24"/>
                  <a:gd name="T38" fmla="*/ 6 w 26"/>
                  <a:gd name="T39" fmla="*/ 22 h 24"/>
                  <a:gd name="T40" fmla="*/ 8 w 26"/>
                  <a:gd name="T41" fmla="*/ 22 h 24"/>
                  <a:gd name="T42" fmla="*/ 16 w 26"/>
                  <a:gd name="T43" fmla="*/ 24 h 24"/>
                  <a:gd name="T44" fmla="*/ 16 w 26"/>
                  <a:gd name="T45" fmla="*/ 24 h 24"/>
                  <a:gd name="T46" fmla="*/ 18 w 26"/>
                  <a:gd name="T47" fmla="*/ 24 h 24"/>
                  <a:gd name="T48" fmla="*/ 18 w 26"/>
                  <a:gd name="T49" fmla="*/ 24 h 24"/>
                  <a:gd name="T50" fmla="*/ 20 w 26"/>
                  <a:gd name="T51" fmla="*/ 22 h 24"/>
                  <a:gd name="T52" fmla="*/ 24 w 26"/>
                  <a:gd name="T53" fmla="*/ 18 h 24"/>
                  <a:gd name="T54" fmla="*/ 24 w 26"/>
                  <a:gd name="T55" fmla="*/ 18 h 24"/>
                  <a:gd name="T56" fmla="*/ 26 w 26"/>
                  <a:gd name="T57" fmla="*/ 16 h 24"/>
                  <a:gd name="T58" fmla="*/ 24 w 26"/>
                  <a:gd name="T59" fmla="*/ 14 h 24"/>
                  <a:gd name="T60" fmla="*/ 22 w 26"/>
                  <a:gd name="T61" fmla="*/ 8 h 24"/>
                  <a:gd name="T62" fmla="*/ 22 w 26"/>
                  <a:gd name="T63" fmla="*/ 8 h 24"/>
                  <a:gd name="T64" fmla="*/ 20 w 26"/>
                  <a:gd name="T65" fmla="*/ 6 h 24"/>
                  <a:gd name="T66" fmla="*/ 14 w 26"/>
                  <a:gd name="T67" fmla="*/ 0 h 24"/>
                  <a:gd name="T68" fmla="*/ 14 w 26"/>
                  <a:gd name="T69" fmla="*/ 0 h 24"/>
                  <a:gd name="T70" fmla="*/ 12 w 26"/>
                  <a:gd name="T71" fmla="*/ 0 h 24"/>
                  <a:gd name="T72" fmla="*/ 12 w 26"/>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24">
                    <a:moveTo>
                      <a:pt x="12" y="4"/>
                    </a:moveTo>
                    <a:lnTo>
                      <a:pt x="18" y="10"/>
                    </a:lnTo>
                    <a:lnTo>
                      <a:pt x="22" y="16"/>
                    </a:lnTo>
                    <a:lnTo>
                      <a:pt x="18" y="20"/>
                    </a:lnTo>
                    <a:lnTo>
                      <a:pt x="10" y="18"/>
                    </a:lnTo>
                    <a:lnTo>
                      <a:pt x="4" y="14"/>
                    </a:lnTo>
                    <a:lnTo>
                      <a:pt x="4" y="6"/>
                    </a:lnTo>
                    <a:lnTo>
                      <a:pt x="12" y="4"/>
                    </a:lnTo>
                    <a:close/>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1" name="Freeform 140"/>
              <p:cNvSpPr>
                <a:spLocks/>
              </p:cNvSpPr>
              <p:nvPr/>
            </p:nvSpPr>
            <p:spPr bwMode="auto">
              <a:xfrm>
                <a:off x="1813" y="1361"/>
                <a:ext cx="18" cy="16"/>
              </a:xfrm>
              <a:custGeom>
                <a:avLst/>
                <a:gdLst>
                  <a:gd name="T0" fmla="*/ 8 w 18"/>
                  <a:gd name="T1" fmla="*/ 0 h 16"/>
                  <a:gd name="T2" fmla="*/ 14 w 18"/>
                  <a:gd name="T3" fmla="*/ 6 h 16"/>
                  <a:gd name="T4" fmla="*/ 18 w 18"/>
                  <a:gd name="T5" fmla="*/ 12 h 16"/>
                  <a:gd name="T6" fmla="*/ 14 w 18"/>
                  <a:gd name="T7" fmla="*/ 16 h 16"/>
                  <a:gd name="T8" fmla="*/ 6 w 18"/>
                  <a:gd name="T9" fmla="*/ 14 h 16"/>
                  <a:gd name="T10" fmla="*/ 0 w 18"/>
                  <a:gd name="T11" fmla="*/ 10 h 16"/>
                  <a:gd name="T12" fmla="*/ 0 w 18"/>
                  <a:gd name="T13" fmla="*/ 2 h 16"/>
                  <a:gd name="T14" fmla="*/ 8 w 18"/>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6">
                    <a:moveTo>
                      <a:pt x="8" y="0"/>
                    </a:moveTo>
                    <a:lnTo>
                      <a:pt x="14" y="6"/>
                    </a:lnTo>
                    <a:lnTo>
                      <a:pt x="18" y="12"/>
                    </a:lnTo>
                    <a:lnTo>
                      <a:pt x="14" y="16"/>
                    </a:lnTo>
                    <a:lnTo>
                      <a:pt x="6" y="14"/>
                    </a:lnTo>
                    <a:lnTo>
                      <a:pt x="0" y="10"/>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2" name="Freeform 141"/>
              <p:cNvSpPr>
                <a:spLocks/>
              </p:cNvSpPr>
              <p:nvPr/>
            </p:nvSpPr>
            <p:spPr bwMode="auto">
              <a:xfrm>
                <a:off x="1809" y="1357"/>
                <a:ext cx="26" cy="24"/>
              </a:xfrm>
              <a:custGeom>
                <a:avLst/>
                <a:gdLst>
                  <a:gd name="T0" fmla="*/ 12 w 26"/>
                  <a:gd name="T1" fmla="*/ 0 h 24"/>
                  <a:gd name="T2" fmla="*/ 12 w 26"/>
                  <a:gd name="T3" fmla="*/ 0 h 24"/>
                  <a:gd name="T4" fmla="*/ 10 w 26"/>
                  <a:gd name="T5" fmla="*/ 0 h 24"/>
                  <a:gd name="T6" fmla="*/ 4 w 26"/>
                  <a:gd name="T7" fmla="*/ 2 h 24"/>
                  <a:gd name="T8" fmla="*/ 4 w 26"/>
                  <a:gd name="T9" fmla="*/ 2 h 24"/>
                  <a:gd name="T10" fmla="*/ 2 w 26"/>
                  <a:gd name="T11" fmla="*/ 4 h 24"/>
                  <a:gd name="T12" fmla="*/ 0 w 26"/>
                  <a:gd name="T13" fmla="*/ 6 h 24"/>
                  <a:gd name="T14" fmla="*/ 0 w 26"/>
                  <a:gd name="T15" fmla="*/ 14 h 24"/>
                  <a:gd name="T16" fmla="*/ 0 w 26"/>
                  <a:gd name="T17" fmla="*/ 14 h 24"/>
                  <a:gd name="T18" fmla="*/ 2 w 26"/>
                  <a:gd name="T19" fmla="*/ 16 h 24"/>
                  <a:gd name="T20" fmla="*/ 6 w 26"/>
                  <a:gd name="T21" fmla="*/ 22 h 24"/>
                  <a:gd name="T22" fmla="*/ 6 w 26"/>
                  <a:gd name="T23" fmla="*/ 22 h 24"/>
                  <a:gd name="T24" fmla="*/ 8 w 26"/>
                  <a:gd name="T25" fmla="*/ 22 h 24"/>
                  <a:gd name="T26" fmla="*/ 16 w 26"/>
                  <a:gd name="T27" fmla="*/ 24 h 24"/>
                  <a:gd name="T28" fmla="*/ 16 w 26"/>
                  <a:gd name="T29" fmla="*/ 24 h 24"/>
                  <a:gd name="T30" fmla="*/ 18 w 26"/>
                  <a:gd name="T31" fmla="*/ 24 h 24"/>
                  <a:gd name="T32" fmla="*/ 18 w 26"/>
                  <a:gd name="T33" fmla="*/ 24 h 24"/>
                  <a:gd name="T34" fmla="*/ 20 w 26"/>
                  <a:gd name="T35" fmla="*/ 22 h 24"/>
                  <a:gd name="T36" fmla="*/ 24 w 26"/>
                  <a:gd name="T37" fmla="*/ 18 h 24"/>
                  <a:gd name="T38" fmla="*/ 24 w 26"/>
                  <a:gd name="T39" fmla="*/ 18 h 24"/>
                  <a:gd name="T40" fmla="*/ 26 w 26"/>
                  <a:gd name="T41" fmla="*/ 16 h 24"/>
                  <a:gd name="T42" fmla="*/ 24 w 26"/>
                  <a:gd name="T43" fmla="*/ 14 h 24"/>
                  <a:gd name="T44" fmla="*/ 22 w 26"/>
                  <a:gd name="T45" fmla="*/ 8 h 24"/>
                  <a:gd name="T46" fmla="*/ 22 w 26"/>
                  <a:gd name="T47" fmla="*/ 8 h 24"/>
                  <a:gd name="T48" fmla="*/ 20 w 26"/>
                  <a:gd name="T49" fmla="*/ 6 h 24"/>
                  <a:gd name="T50" fmla="*/ 14 w 26"/>
                  <a:gd name="T51" fmla="*/ 0 h 24"/>
                  <a:gd name="T52" fmla="*/ 14 w 26"/>
                  <a:gd name="T53" fmla="*/ 0 h 24"/>
                  <a:gd name="T54" fmla="*/ 12 w 26"/>
                  <a:gd name="T55" fmla="*/ 0 h 24"/>
                  <a:gd name="T56" fmla="*/ 12 w 2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4">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3" name="Freeform 142"/>
              <p:cNvSpPr>
                <a:spLocks/>
              </p:cNvSpPr>
              <p:nvPr/>
            </p:nvSpPr>
            <p:spPr bwMode="auto">
              <a:xfrm>
                <a:off x="1957" y="1751"/>
                <a:ext cx="38" cy="20"/>
              </a:xfrm>
              <a:custGeom>
                <a:avLst/>
                <a:gdLst>
                  <a:gd name="T0" fmla="*/ 32 w 38"/>
                  <a:gd name="T1" fmla="*/ 20 h 20"/>
                  <a:gd name="T2" fmla="*/ 18 w 38"/>
                  <a:gd name="T3" fmla="*/ 18 h 20"/>
                  <a:gd name="T4" fmla="*/ 8 w 38"/>
                  <a:gd name="T5" fmla="*/ 12 h 20"/>
                  <a:gd name="T6" fmla="*/ 0 w 38"/>
                  <a:gd name="T7" fmla="*/ 6 h 20"/>
                  <a:gd name="T8" fmla="*/ 0 w 38"/>
                  <a:gd name="T9" fmla="*/ 6 h 20"/>
                  <a:gd name="T10" fmla="*/ 0 w 38"/>
                  <a:gd name="T11" fmla="*/ 4 h 20"/>
                  <a:gd name="T12" fmla="*/ 0 w 38"/>
                  <a:gd name="T13" fmla="*/ 4 h 20"/>
                  <a:gd name="T14" fmla="*/ 2 w 38"/>
                  <a:gd name="T15" fmla="*/ 2 h 20"/>
                  <a:gd name="T16" fmla="*/ 8 w 38"/>
                  <a:gd name="T17" fmla="*/ 0 h 20"/>
                  <a:gd name="T18" fmla="*/ 14 w 38"/>
                  <a:gd name="T19" fmla="*/ 0 h 20"/>
                  <a:gd name="T20" fmla="*/ 22 w 38"/>
                  <a:gd name="T21" fmla="*/ 2 h 20"/>
                  <a:gd name="T22" fmla="*/ 30 w 38"/>
                  <a:gd name="T23" fmla="*/ 6 h 20"/>
                  <a:gd name="T24" fmla="*/ 36 w 38"/>
                  <a:gd name="T25" fmla="*/ 12 h 20"/>
                  <a:gd name="T26" fmla="*/ 36 w 38"/>
                  <a:gd name="T27" fmla="*/ 12 h 20"/>
                  <a:gd name="T28" fmla="*/ 38 w 38"/>
                  <a:gd name="T29" fmla="*/ 14 h 20"/>
                  <a:gd name="T30" fmla="*/ 34 w 38"/>
                  <a:gd name="T31" fmla="*/ 20 h 20"/>
                  <a:gd name="T32" fmla="*/ 34 w 38"/>
                  <a:gd name="T33" fmla="*/ 20 h 20"/>
                  <a:gd name="T34" fmla="*/ 32 w 38"/>
                  <a:gd name="T35" fmla="*/ 20 h 20"/>
                  <a:gd name="T36" fmla="*/ 32 w 38"/>
                  <a:gd name="T37" fmla="*/ 20 h 20"/>
                  <a:gd name="T38" fmla="*/ 32 w 38"/>
                  <a:gd name="T39" fmla="*/ 20 h 20"/>
                  <a:gd name="T40" fmla="*/ 32 w 38"/>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0">
                    <a:moveTo>
                      <a:pt x="32" y="20"/>
                    </a:moveTo>
                    <a:lnTo>
                      <a:pt x="18" y="18"/>
                    </a:lnTo>
                    <a:lnTo>
                      <a:pt x="8" y="12"/>
                    </a:lnTo>
                    <a:lnTo>
                      <a:pt x="0" y="6"/>
                    </a:lnTo>
                    <a:lnTo>
                      <a:pt x="0" y="6"/>
                    </a:lnTo>
                    <a:lnTo>
                      <a:pt x="0" y="4"/>
                    </a:lnTo>
                    <a:lnTo>
                      <a:pt x="0" y="4"/>
                    </a:lnTo>
                    <a:lnTo>
                      <a:pt x="2" y="2"/>
                    </a:lnTo>
                    <a:lnTo>
                      <a:pt x="8" y="0"/>
                    </a:lnTo>
                    <a:lnTo>
                      <a:pt x="14" y="0"/>
                    </a:lnTo>
                    <a:lnTo>
                      <a:pt x="22" y="2"/>
                    </a:lnTo>
                    <a:lnTo>
                      <a:pt x="30" y="6"/>
                    </a:lnTo>
                    <a:lnTo>
                      <a:pt x="36" y="12"/>
                    </a:lnTo>
                    <a:lnTo>
                      <a:pt x="36" y="12"/>
                    </a:lnTo>
                    <a:lnTo>
                      <a:pt x="38" y="14"/>
                    </a:lnTo>
                    <a:lnTo>
                      <a:pt x="34" y="20"/>
                    </a:lnTo>
                    <a:lnTo>
                      <a:pt x="34" y="20"/>
                    </a:lnTo>
                    <a:lnTo>
                      <a:pt x="32" y="20"/>
                    </a:lnTo>
                    <a:lnTo>
                      <a:pt x="32" y="20"/>
                    </a:lnTo>
                    <a:lnTo>
                      <a:pt x="32" y="20"/>
                    </a:lnTo>
                    <a:lnTo>
                      <a:pt x="3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4" name="Freeform 143"/>
              <p:cNvSpPr>
                <a:spLocks noEditPoints="1"/>
              </p:cNvSpPr>
              <p:nvPr/>
            </p:nvSpPr>
            <p:spPr bwMode="auto">
              <a:xfrm>
                <a:off x="1955" y="1749"/>
                <a:ext cx="42" cy="24"/>
              </a:xfrm>
              <a:custGeom>
                <a:avLst/>
                <a:gdLst>
                  <a:gd name="T0" fmla="*/ 16 w 42"/>
                  <a:gd name="T1" fmla="*/ 4 h 24"/>
                  <a:gd name="T2" fmla="*/ 24 w 42"/>
                  <a:gd name="T3" fmla="*/ 6 h 24"/>
                  <a:gd name="T4" fmla="*/ 30 w 42"/>
                  <a:gd name="T5" fmla="*/ 10 h 24"/>
                  <a:gd name="T6" fmla="*/ 38 w 42"/>
                  <a:gd name="T7" fmla="*/ 16 h 24"/>
                  <a:gd name="T8" fmla="*/ 34 w 42"/>
                  <a:gd name="T9" fmla="*/ 20 h 24"/>
                  <a:gd name="T10" fmla="*/ 20 w 42"/>
                  <a:gd name="T11" fmla="*/ 18 h 24"/>
                  <a:gd name="T12" fmla="*/ 10 w 42"/>
                  <a:gd name="T13" fmla="*/ 12 h 24"/>
                  <a:gd name="T14" fmla="*/ 4 w 42"/>
                  <a:gd name="T15" fmla="*/ 6 h 24"/>
                  <a:gd name="T16" fmla="*/ 10 w 42"/>
                  <a:gd name="T17" fmla="*/ 4 h 24"/>
                  <a:gd name="T18" fmla="*/ 16 w 42"/>
                  <a:gd name="T19" fmla="*/ 4 h 24"/>
                  <a:gd name="T20" fmla="*/ 16 w 42"/>
                  <a:gd name="T21" fmla="*/ 0 h 24"/>
                  <a:gd name="T22" fmla="*/ 10 w 42"/>
                  <a:gd name="T23" fmla="*/ 0 h 24"/>
                  <a:gd name="T24" fmla="*/ 10 w 42"/>
                  <a:gd name="T25" fmla="*/ 0 h 24"/>
                  <a:gd name="T26" fmla="*/ 10 w 42"/>
                  <a:gd name="T27" fmla="*/ 0 h 24"/>
                  <a:gd name="T28" fmla="*/ 2 w 42"/>
                  <a:gd name="T29" fmla="*/ 2 h 24"/>
                  <a:gd name="T30" fmla="*/ 2 w 42"/>
                  <a:gd name="T31" fmla="*/ 2 h 24"/>
                  <a:gd name="T32" fmla="*/ 0 w 42"/>
                  <a:gd name="T33" fmla="*/ 6 h 24"/>
                  <a:gd name="T34" fmla="*/ 0 w 42"/>
                  <a:gd name="T35" fmla="*/ 6 h 24"/>
                  <a:gd name="T36" fmla="*/ 2 w 42"/>
                  <a:gd name="T37" fmla="*/ 10 h 24"/>
                  <a:gd name="T38" fmla="*/ 8 w 42"/>
                  <a:gd name="T39" fmla="*/ 14 h 24"/>
                  <a:gd name="T40" fmla="*/ 8 w 42"/>
                  <a:gd name="T41" fmla="*/ 14 h 24"/>
                  <a:gd name="T42" fmla="*/ 8 w 42"/>
                  <a:gd name="T43" fmla="*/ 14 h 24"/>
                  <a:gd name="T44" fmla="*/ 18 w 42"/>
                  <a:gd name="T45" fmla="*/ 20 h 24"/>
                  <a:gd name="T46" fmla="*/ 18 w 42"/>
                  <a:gd name="T47" fmla="*/ 20 h 24"/>
                  <a:gd name="T48" fmla="*/ 18 w 42"/>
                  <a:gd name="T49" fmla="*/ 22 h 24"/>
                  <a:gd name="T50" fmla="*/ 32 w 42"/>
                  <a:gd name="T51" fmla="*/ 24 h 24"/>
                  <a:gd name="T52" fmla="*/ 32 w 42"/>
                  <a:gd name="T53" fmla="*/ 24 h 24"/>
                  <a:gd name="T54" fmla="*/ 34 w 42"/>
                  <a:gd name="T55" fmla="*/ 24 h 24"/>
                  <a:gd name="T56" fmla="*/ 34 w 42"/>
                  <a:gd name="T57" fmla="*/ 24 h 24"/>
                  <a:gd name="T58" fmla="*/ 38 w 42"/>
                  <a:gd name="T59" fmla="*/ 24 h 24"/>
                  <a:gd name="T60" fmla="*/ 40 w 42"/>
                  <a:gd name="T61" fmla="*/ 18 h 24"/>
                  <a:gd name="T62" fmla="*/ 40 w 42"/>
                  <a:gd name="T63" fmla="*/ 18 h 24"/>
                  <a:gd name="T64" fmla="*/ 42 w 42"/>
                  <a:gd name="T65" fmla="*/ 14 h 24"/>
                  <a:gd name="T66" fmla="*/ 40 w 42"/>
                  <a:gd name="T67" fmla="*/ 12 h 24"/>
                  <a:gd name="T68" fmla="*/ 32 w 42"/>
                  <a:gd name="T69" fmla="*/ 6 h 24"/>
                  <a:gd name="T70" fmla="*/ 32 w 42"/>
                  <a:gd name="T71" fmla="*/ 6 h 24"/>
                  <a:gd name="T72" fmla="*/ 32 w 42"/>
                  <a:gd name="T73" fmla="*/ 6 h 24"/>
                  <a:gd name="T74" fmla="*/ 26 w 42"/>
                  <a:gd name="T75" fmla="*/ 2 h 24"/>
                  <a:gd name="T76" fmla="*/ 26 w 42"/>
                  <a:gd name="T77" fmla="*/ 2 h 24"/>
                  <a:gd name="T78" fmla="*/ 24 w 42"/>
                  <a:gd name="T79" fmla="*/ 2 h 24"/>
                  <a:gd name="T80" fmla="*/ 18 w 42"/>
                  <a:gd name="T81" fmla="*/ 0 h 24"/>
                  <a:gd name="T82" fmla="*/ 18 w 42"/>
                  <a:gd name="T83" fmla="*/ 0 h 24"/>
                  <a:gd name="T84" fmla="*/ 16 w 42"/>
                  <a:gd name="T85" fmla="*/ 0 h 24"/>
                  <a:gd name="T86" fmla="*/ 16 w 42"/>
                  <a:gd name="T8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24">
                    <a:moveTo>
                      <a:pt x="16" y="4"/>
                    </a:moveTo>
                    <a:lnTo>
                      <a:pt x="24" y="6"/>
                    </a:lnTo>
                    <a:lnTo>
                      <a:pt x="30" y="10"/>
                    </a:lnTo>
                    <a:lnTo>
                      <a:pt x="38" y="16"/>
                    </a:lnTo>
                    <a:lnTo>
                      <a:pt x="34" y="20"/>
                    </a:lnTo>
                    <a:lnTo>
                      <a:pt x="20" y="18"/>
                    </a:lnTo>
                    <a:lnTo>
                      <a:pt x="10" y="12"/>
                    </a:lnTo>
                    <a:lnTo>
                      <a:pt x="4" y="6"/>
                    </a:lnTo>
                    <a:lnTo>
                      <a:pt x="10" y="4"/>
                    </a:lnTo>
                    <a:lnTo>
                      <a:pt x="16" y="4"/>
                    </a:lnTo>
                    <a:close/>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5" name="Freeform 144"/>
              <p:cNvSpPr>
                <a:spLocks/>
              </p:cNvSpPr>
              <p:nvPr/>
            </p:nvSpPr>
            <p:spPr bwMode="auto">
              <a:xfrm>
                <a:off x="1959" y="1753"/>
                <a:ext cx="34" cy="16"/>
              </a:xfrm>
              <a:custGeom>
                <a:avLst/>
                <a:gdLst>
                  <a:gd name="T0" fmla="*/ 12 w 34"/>
                  <a:gd name="T1" fmla="*/ 0 h 16"/>
                  <a:gd name="T2" fmla="*/ 20 w 34"/>
                  <a:gd name="T3" fmla="*/ 2 h 16"/>
                  <a:gd name="T4" fmla="*/ 26 w 34"/>
                  <a:gd name="T5" fmla="*/ 6 h 16"/>
                  <a:gd name="T6" fmla="*/ 34 w 34"/>
                  <a:gd name="T7" fmla="*/ 12 h 16"/>
                  <a:gd name="T8" fmla="*/ 30 w 34"/>
                  <a:gd name="T9" fmla="*/ 16 h 16"/>
                  <a:gd name="T10" fmla="*/ 16 w 34"/>
                  <a:gd name="T11" fmla="*/ 14 h 16"/>
                  <a:gd name="T12" fmla="*/ 6 w 34"/>
                  <a:gd name="T13" fmla="*/ 8 h 16"/>
                  <a:gd name="T14" fmla="*/ 0 w 34"/>
                  <a:gd name="T15" fmla="*/ 2 h 16"/>
                  <a:gd name="T16" fmla="*/ 6 w 34"/>
                  <a:gd name="T17" fmla="*/ 0 h 16"/>
                  <a:gd name="T18" fmla="*/ 12 w 34"/>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6">
                    <a:moveTo>
                      <a:pt x="12" y="0"/>
                    </a:moveTo>
                    <a:lnTo>
                      <a:pt x="20" y="2"/>
                    </a:lnTo>
                    <a:lnTo>
                      <a:pt x="26" y="6"/>
                    </a:lnTo>
                    <a:lnTo>
                      <a:pt x="34" y="12"/>
                    </a:lnTo>
                    <a:lnTo>
                      <a:pt x="30" y="16"/>
                    </a:lnTo>
                    <a:lnTo>
                      <a:pt x="16" y="14"/>
                    </a:lnTo>
                    <a:lnTo>
                      <a:pt x="6" y="8"/>
                    </a:lnTo>
                    <a:lnTo>
                      <a:pt x="0" y="2"/>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6" name="Freeform 145"/>
              <p:cNvSpPr>
                <a:spLocks/>
              </p:cNvSpPr>
              <p:nvPr/>
            </p:nvSpPr>
            <p:spPr bwMode="auto">
              <a:xfrm>
                <a:off x="1955" y="1749"/>
                <a:ext cx="42" cy="24"/>
              </a:xfrm>
              <a:custGeom>
                <a:avLst/>
                <a:gdLst>
                  <a:gd name="T0" fmla="*/ 16 w 42"/>
                  <a:gd name="T1" fmla="*/ 0 h 24"/>
                  <a:gd name="T2" fmla="*/ 10 w 42"/>
                  <a:gd name="T3" fmla="*/ 0 h 24"/>
                  <a:gd name="T4" fmla="*/ 10 w 42"/>
                  <a:gd name="T5" fmla="*/ 0 h 24"/>
                  <a:gd name="T6" fmla="*/ 10 w 42"/>
                  <a:gd name="T7" fmla="*/ 0 h 24"/>
                  <a:gd name="T8" fmla="*/ 2 w 42"/>
                  <a:gd name="T9" fmla="*/ 2 h 24"/>
                  <a:gd name="T10" fmla="*/ 2 w 42"/>
                  <a:gd name="T11" fmla="*/ 2 h 24"/>
                  <a:gd name="T12" fmla="*/ 0 w 42"/>
                  <a:gd name="T13" fmla="*/ 6 h 24"/>
                  <a:gd name="T14" fmla="*/ 0 w 42"/>
                  <a:gd name="T15" fmla="*/ 6 h 24"/>
                  <a:gd name="T16" fmla="*/ 2 w 42"/>
                  <a:gd name="T17" fmla="*/ 10 h 24"/>
                  <a:gd name="T18" fmla="*/ 8 w 42"/>
                  <a:gd name="T19" fmla="*/ 14 h 24"/>
                  <a:gd name="T20" fmla="*/ 8 w 42"/>
                  <a:gd name="T21" fmla="*/ 14 h 24"/>
                  <a:gd name="T22" fmla="*/ 8 w 42"/>
                  <a:gd name="T23" fmla="*/ 14 h 24"/>
                  <a:gd name="T24" fmla="*/ 18 w 42"/>
                  <a:gd name="T25" fmla="*/ 20 h 24"/>
                  <a:gd name="T26" fmla="*/ 18 w 42"/>
                  <a:gd name="T27" fmla="*/ 20 h 24"/>
                  <a:gd name="T28" fmla="*/ 18 w 42"/>
                  <a:gd name="T29" fmla="*/ 22 h 24"/>
                  <a:gd name="T30" fmla="*/ 32 w 42"/>
                  <a:gd name="T31" fmla="*/ 24 h 24"/>
                  <a:gd name="T32" fmla="*/ 32 w 42"/>
                  <a:gd name="T33" fmla="*/ 24 h 24"/>
                  <a:gd name="T34" fmla="*/ 34 w 42"/>
                  <a:gd name="T35" fmla="*/ 24 h 24"/>
                  <a:gd name="T36" fmla="*/ 34 w 42"/>
                  <a:gd name="T37" fmla="*/ 24 h 24"/>
                  <a:gd name="T38" fmla="*/ 38 w 42"/>
                  <a:gd name="T39" fmla="*/ 24 h 24"/>
                  <a:gd name="T40" fmla="*/ 40 w 42"/>
                  <a:gd name="T41" fmla="*/ 18 h 24"/>
                  <a:gd name="T42" fmla="*/ 40 w 42"/>
                  <a:gd name="T43" fmla="*/ 18 h 24"/>
                  <a:gd name="T44" fmla="*/ 42 w 42"/>
                  <a:gd name="T45" fmla="*/ 14 h 24"/>
                  <a:gd name="T46" fmla="*/ 40 w 42"/>
                  <a:gd name="T47" fmla="*/ 12 h 24"/>
                  <a:gd name="T48" fmla="*/ 32 w 42"/>
                  <a:gd name="T49" fmla="*/ 6 h 24"/>
                  <a:gd name="T50" fmla="*/ 32 w 42"/>
                  <a:gd name="T51" fmla="*/ 6 h 24"/>
                  <a:gd name="T52" fmla="*/ 32 w 42"/>
                  <a:gd name="T53" fmla="*/ 6 h 24"/>
                  <a:gd name="T54" fmla="*/ 26 w 42"/>
                  <a:gd name="T55" fmla="*/ 2 h 24"/>
                  <a:gd name="T56" fmla="*/ 26 w 42"/>
                  <a:gd name="T57" fmla="*/ 2 h 24"/>
                  <a:gd name="T58" fmla="*/ 24 w 42"/>
                  <a:gd name="T59" fmla="*/ 2 h 24"/>
                  <a:gd name="T60" fmla="*/ 18 w 42"/>
                  <a:gd name="T61" fmla="*/ 0 h 24"/>
                  <a:gd name="T62" fmla="*/ 18 w 42"/>
                  <a:gd name="T63" fmla="*/ 0 h 24"/>
                  <a:gd name="T64" fmla="*/ 16 w 42"/>
                  <a:gd name="T65" fmla="*/ 0 h 24"/>
                  <a:gd name="T66" fmla="*/ 16 w 42"/>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24">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7" name="Freeform 146"/>
              <p:cNvSpPr>
                <a:spLocks/>
              </p:cNvSpPr>
              <p:nvPr/>
            </p:nvSpPr>
            <p:spPr bwMode="auto">
              <a:xfrm>
                <a:off x="1051" y="1735"/>
                <a:ext cx="64" cy="48"/>
              </a:xfrm>
              <a:custGeom>
                <a:avLst/>
                <a:gdLst>
                  <a:gd name="T0" fmla="*/ 50 w 64"/>
                  <a:gd name="T1" fmla="*/ 48 h 48"/>
                  <a:gd name="T2" fmla="*/ 50 w 64"/>
                  <a:gd name="T3" fmla="*/ 48 h 48"/>
                  <a:gd name="T4" fmla="*/ 48 w 64"/>
                  <a:gd name="T5" fmla="*/ 48 h 48"/>
                  <a:gd name="T6" fmla="*/ 40 w 64"/>
                  <a:gd name="T7" fmla="*/ 44 h 48"/>
                  <a:gd name="T8" fmla="*/ 40 w 64"/>
                  <a:gd name="T9" fmla="*/ 44 h 48"/>
                  <a:gd name="T10" fmla="*/ 38 w 64"/>
                  <a:gd name="T11" fmla="*/ 42 h 48"/>
                  <a:gd name="T12" fmla="*/ 38 w 64"/>
                  <a:gd name="T13" fmla="*/ 38 h 48"/>
                  <a:gd name="T14" fmla="*/ 36 w 64"/>
                  <a:gd name="T15" fmla="*/ 38 h 48"/>
                  <a:gd name="T16" fmla="*/ 36 w 64"/>
                  <a:gd name="T17" fmla="*/ 38 h 48"/>
                  <a:gd name="T18" fmla="*/ 34 w 64"/>
                  <a:gd name="T19" fmla="*/ 36 h 48"/>
                  <a:gd name="T20" fmla="*/ 30 w 64"/>
                  <a:gd name="T21" fmla="*/ 32 h 48"/>
                  <a:gd name="T22" fmla="*/ 24 w 64"/>
                  <a:gd name="T23" fmla="*/ 24 h 48"/>
                  <a:gd name="T24" fmla="*/ 20 w 64"/>
                  <a:gd name="T25" fmla="*/ 24 h 48"/>
                  <a:gd name="T26" fmla="*/ 20 w 64"/>
                  <a:gd name="T27" fmla="*/ 24 h 48"/>
                  <a:gd name="T28" fmla="*/ 18 w 64"/>
                  <a:gd name="T29" fmla="*/ 24 h 48"/>
                  <a:gd name="T30" fmla="*/ 18 w 64"/>
                  <a:gd name="T31" fmla="*/ 20 h 48"/>
                  <a:gd name="T32" fmla="*/ 14 w 64"/>
                  <a:gd name="T33" fmla="*/ 20 h 48"/>
                  <a:gd name="T34" fmla="*/ 14 w 64"/>
                  <a:gd name="T35" fmla="*/ 20 h 48"/>
                  <a:gd name="T36" fmla="*/ 12 w 64"/>
                  <a:gd name="T37" fmla="*/ 20 h 48"/>
                  <a:gd name="T38" fmla="*/ 6 w 64"/>
                  <a:gd name="T39" fmla="*/ 16 h 48"/>
                  <a:gd name="T40" fmla="*/ 0 w 64"/>
                  <a:gd name="T41" fmla="*/ 12 h 48"/>
                  <a:gd name="T42" fmla="*/ 0 w 64"/>
                  <a:gd name="T43" fmla="*/ 12 h 48"/>
                  <a:gd name="T44" fmla="*/ 0 w 64"/>
                  <a:gd name="T45" fmla="*/ 10 h 48"/>
                  <a:gd name="T46" fmla="*/ 0 w 64"/>
                  <a:gd name="T47" fmla="*/ 2 h 48"/>
                  <a:gd name="T48" fmla="*/ 0 w 64"/>
                  <a:gd name="T49" fmla="*/ 2 h 48"/>
                  <a:gd name="T50" fmla="*/ 0 w 64"/>
                  <a:gd name="T51" fmla="*/ 0 h 48"/>
                  <a:gd name="T52" fmla="*/ 0 w 64"/>
                  <a:gd name="T53" fmla="*/ 0 h 48"/>
                  <a:gd name="T54" fmla="*/ 2 w 64"/>
                  <a:gd name="T55" fmla="*/ 0 h 48"/>
                  <a:gd name="T56" fmla="*/ 2 w 64"/>
                  <a:gd name="T57" fmla="*/ 0 h 48"/>
                  <a:gd name="T58" fmla="*/ 2 w 64"/>
                  <a:gd name="T59" fmla="*/ 0 h 48"/>
                  <a:gd name="T60" fmla="*/ 12 w 64"/>
                  <a:gd name="T61" fmla="*/ 2 h 48"/>
                  <a:gd name="T62" fmla="*/ 22 w 64"/>
                  <a:gd name="T63" fmla="*/ 4 h 48"/>
                  <a:gd name="T64" fmla="*/ 30 w 64"/>
                  <a:gd name="T65" fmla="*/ 8 h 48"/>
                  <a:gd name="T66" fmla="*/ 38 w 64"/>
                  <a:gd name="T67" fmla="*/ 14 h 48"/>
                  <a:gd name="T68" fmla="*/ 46 w 64"/>
                  <a:gd name="T69" fmla="*/ 24 h 48"/>
                  <a:gd name="T70" fmla="*/ 50 w 64"/>
                  <a:gd name="T71" fmla="*/ 26 h 48"/>
                  <a:gd name="T72" fmla="*/ 60 w 64"/>
                  <a:gd name="T73" fmla="*/ 32 h 48"/>
                  <a:gd name="T74" fmla="*/ 60 w 64"/>
                  <a:gd name="T75" fmla="*/ 32 h 48"/>
                  <a:gd name="T76" fmla="*/ 60 w 64"/>
                  <a:gd name="T77" fmla="*/ 32 h 48"/>
                  <a:gd name="T78" fmla="*/ 64 w 64"/>
                  <a:gd name="T79" fmla="*/ 38 h 48"/>
                  <a:gd name="T80" fmla="*/ 64 w 64"/>
                  <a:gd name="T81" fmla="*/ 42 h 48"/>
                  <a:gd name="T82" fmla="*/ 64 w 64"/>
                  <a:gd name="T83" fmla="*/ 42 h 48"/>
                  <a:gd name="T84" fmla="*/ 64 w 64"/>
                  <a:gd name="T85" fmla="*/ 44 h 48"/>
                  <a:gd name="T86" fmla="*/ 64 w 64"/>
                  <a:gd name="T87" fmla="*/ 44 h 48"/>
                  <a:gd name="T88" fmla="*/ 64 w 64"/>
                  <a:gd name="T89" fmla="*/ 44 h 48"/>
                  <a:gd name="T90" fmla="*/ 58 w 64"/>
                  <a:gd name="T91" fmla="*/ 46 h 48"/>
                  <a:gd name="T92" fmla="*/ 50 w 64"/>
                  <a:gd name="T93" fmla="*/ 48 h 48"/>
                  <a:gd name="T94" fmla="*/ 50 w 64"/>
                  <a:gd name="T95" fmla="*/ 48 h 48"/>
                  <a:gd name="T96" fmla="*/ 50 w 64"/>
                  <a:gd name="T97" fmla="*/ 48 h 48"/>
                  <a:gd name="T98" fmla="*/ 50 w 64"/>
                  <a:gd name="T9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48">
                    <a:moveTo>
                      <a:pt x="50" y="48"/>
                    </a:moveTo>
                    <a:lnTo>
                      <a:pt x="50" y="48"/>
                    </a:lnTo>
                    <a:lnTo>
                      <a:pt x="48" y="48"/>
                    </a:lnTo>
                    <a:lnTo>
                      <a:pt x="40" y="44"/>
                    </a:lnTo>
                    <a:lnTo>
                      <a:pt x="40" y="44"/>
                    </a:lnTo>
                    <a:lnTo>
                      <a:pt x="38" y="42"/>
                    </a:lnTo>
                    <a:lnTo>
                      <a:pt x="38" y="38"/>
                    </a:lnTo>
                    <a:lnTo>
                      <a:pt x="36" y="38"/>
                    </a:lnTo>
                    <a:lnTo>
                      <a:pt x="36" y="38"/>
                    </a:lnTo>
                    <a:lnTo>
                      <a:pt x="34" y="36"/>
                    </a:lnTo>
                    <a:lnTo>
                      <a:pt x="30" y="32"/>
                    </a:lnTo>
                    <a:lnTo>
                      <a:pt x="24" y="24"/>
                    </a:lnTo>
                    <a:lnTo>
                      <a:pt x="20" y="24"/>
                    </a:lnTo>
                    <a:lnTo>
                      <a:pt x="20" y="24"/>
                    </a:lnTo>
                    <a:lnTo>
                      <a:pt x="18" y="24"/>
                    </a:lnTo>
                    <a:lnTo>
                      <a:pt x="18" y="20"/>
                    </a:lnTo>
                    <a:lnTo>
                      <a:pt x="14" y="20"/>
                    </a:lnTo>
                    <a:lnTo>
                      <a:pt x="14" y="20"/>
                    </a:lnTo>
                    <a:lnTo>
                      <a:pt x="12" y="20"/>
                    </a:lnTo>
                    <a:lnTo>
                      <a:pt x="6" y="16"/>
                    </a:lnTo>
                    <a:lnTo>
                      <a:pt x="0" y="12"/>
                    </a:lnTo>
                    <a:lnTo>
                      <a:pt x="0" y="12"/>
                    </a:lnTo>
                    <a:lnTo>
                      <a:pt x="0" y="10"/>
                    </a:lnTo>
                    <a:lnTo>
                      <a:pt x="0" y="2"/>
                    </a:lnTo>
                    <a:lnTo>
                      <a:pt x="0" y="2"/>
                    </a:lnTo>
                    <a:lnTo>
                      <a:pt x="0" y="0"/>
                    </a:lnTo>
                    <a:lnTo>
                      <a:pt x="0" y="0"/>
                    </a:lnTo>
                    <a:lnTo>
                      <a:pt x="2" y="0"/>
                    </a:lnTo>
                    <a:lnTo>
                      <a:pt x="2" y="0"/>
                    </a:lnTo>
                    <a:lnTo>
                      <a:pt x="2" y="0"/>
                    </a:lnTo>
                    <a:lnTo>
                      <a:pt x="12" y="2"/>
                    </a:lnTo>
                    <a:lnTo>
                      <a:pt x="22" y="4"/>
                    </a:lnTo>
                    <a:lnTo>
                      <a:pt x="30" y="8"/>
                    </a:lnTo>
                    <a:lnTo>
                      <a:pt x="38" y="14"/>
                    </a:lnTo>
                    <a:lnTo>
                      <a:pt x="46" y="24"/>
                    </a:lnTo>
                    <a:lnTo>
                      <a:pt x="50" y="26"/>
                    </a:lnTo>
                    <a:lnTo>
                      <a:pt x="60" y="32"/>
                    </a:lnTo>
                    <a:lnTo>
                      <a:pt x="60" y="32"/>
                    </a:lnTo>
                    <a:lnTo>
                      <a:pt x="60" y="32"/>
                    </a:lnTo>
                    <a:lnTo>
                      <a:pt x="64" y="38"/>
                    </a:lnTo>
                    <a:lnTo>
                      <a:pt x="64" y="42"/>
                    </a:lnTo>
                    <a:lnTo>
                      <a:pt x="64" y="42"/>
                    </a:lnTo>
                    <a:lnTo>
                      <a:pt x="64" y="44"/>
                    </a:lnTo>
                    <a:lnTo>
                      <a:pt x="64" y="44"/>
                    </a:lnTo>
                    <a:lnTo>
                      <a:pt x="64" y="44"/>
                    </a:lnTo>
                    <a:lnTo>
                      <a:pt x="58" y="46"/>
                    </a:lnTo>
                    <a:lnTo>
                      <a:pt x="50" y="48"/>
                    </a:lnTo>
                    <a:lnTo>
                      <a:pt x="50" y="48"/>
                    </a:lnTo>
                    <a:lnTo>
                      <a:pt x="50" y="48"/>
                    </a:lnTo>
                    <a:lnTo>
                      <a:pt x="50"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8" name="Freeform 147"/>
              <p:cNvSpPr>
                <a:spLocks noEditPoints="1"/>
              </p:cNvSpPr>
              <p:nvPr/>
            </p:nvSpPr>
            <p:spPr bwMode="auto">
              <a:xfrm>
                <a:off x="1049" y="1733"/>
                <a:ext cx="68" cy="52"/>
              </a:xfrm>
              <a:custGeom>
                <a:avLst/>
                <a:gdLst>
                  <a:gd name="T0" fmla="*/ 14 w 68"/>
                  <a:gd name="T1" fmla="*/ 6 h 52"/>
                  <a:gd name="T2" fmla="*/ 30 w 68"/>
                  <a:gd name="T3" fmla="*/ 12 h 52"/>
                  <a:gd name="T4" fmla="*/ 46 w 68"/>
                  <a:gd name="T5" fmla="*/ 26 h 52"/>
                  <a:gd name="T6" fmla="*/ 60 w 68"/>
                  <a:gd name="T7" fmla="*/ 36 h 52"/>
                  <a:gd name="T8" fmla="*/ 66 w 68"/>
                  <a:gd name="T9" fmla="*/ 44 h 52"/>
                  <a:gd name="T10" fmla="*/ 52 w 68"/>
                  <a:gd name="T11" fmla="*/ 48 h 52"/>
                  <a:gd name="T12" fmla="*/ 42 w 68"/>
                  <a:gd name="T13" fmla="*/ 38 h 52"/>
                  <a:gd name="T14" fmla="*/ 32 w 68"/>
                  <a:gd name="T15" fmla="*/ 32 h 52"/>
                  <a:gd name="T16" fmla="*/ 22 w 68"/>
                  <a:gd name="T17" fmla="*/ 24 h 52"/>
                  <a:gd name="T18" fmla="*/ 16 w 68"/>
                  <a:gd name="T19" fmla="*/ 20 h 52"/>
                  <a:gd name="T20" fmla="*/ 4 w 68"/>
                  <a:gd name="T21" fmla="*/ 12 h 52"/>
                  <a:gd name="T22" fmla="*/ 4 w 68"/>
                  <a:gd name="T23" fmla="*/ 0 h 52"/>
                  <a:gd name="T24" fmla="*/ 0 w 68"/>
                  <a:gd name="T25" fmla="*/ 0 h 52"/>
                  <a:gd name="T26" fmla="*/ 0 w 68"/>
                  <a:gd name="T27" fmla="*/ 4 h 52"/>
                  <a:gd name="T28" fmla="*/ 0 w 68"/>
                  <a:gd name="T29" fmla="*/ 12 h 52"/>
                  <a:gd name="T30" fmla="*/ 6 w 68"/>
                  <a:gd name="T31" fmla="*/ 20 h 52"/>
                  <a:gd name="T32" fmla="*/ 6 w 68"/>
                  <a:gd name="T33" fmla="*/ 20 h 52"/>
                  <a:gd name="T34" fmla="*/ 14 w 68"/>
                  <a:gd name="T35" fmla="*/ 22 h 52"/>
                  <a:gd name="T36" fmla="*/ 18 w 68"/>
                  <a:gd name="T37" fmla="*/ 24 h 52"/>
                  <a:gd name="T38" fmla="*/ 18 w 68"/>
                  <a:gd name="T39" fmla="*/ 26 h 52"/>
                  <a:gd name="T40" fmla="*/ 22 w 68"/>
                  <a:gd name="T41" fmla="*/ 28 h 52"/>
                  <a:gd name="T42" fmla="*/ 30 w 68"/>
                  <a:gd name="T43" fmla="*/ 34 h 52"/>
                  <a:gd name="T44" fmla="*/ 30 w 68"/>
                  <a:gd name="T45" fmla="*/ 34 h 52"/>
                  <a:gd name="T46" fmla="*/ 34 w 68"/>
                  <a:gd name="T47" fmla="*/ 40 h 52"/>
                  <a:gd name="T48" fmla="*/ 38 w 68"/>
                  <a:gd name="T49" fmla="*/ 42 h 52"/>
                  <a:gd name="T50" fmla="*/ 38 w 68"/>
                  <a:gd name="T51" fmla="*/ 44 h 52"/>
                  <a:gd name="T52" fmla="*/ 42 w 68"/>
                  <a:gd name="T53" fmla="*/ 48 h 52"/>
                  <a:gd name="T54" fmla="*/ 50 w 68"/>
                  <a:gd name="T55" fmla="*/ 52 h 52"/>
                  <a:gd name="T56" fmla="*/ 52 w 68"/>
                  <a:gd name="T57" fmla="*/ 52 h 52"/>
                  <a:gd name="T58" fmla="*/ 60 w 68"/>
                  <a:gd name="T59" fmla="*/ 50 h 52"/>
                  <a:gd name="T60" fmla="*/ 62 w 68"/>
                  <a:gd name="T61" fmla="*/ 50 h 52"/>
                  <a:gd name="T62" fmla="*/ 66 w 68"/>
                  <a:gd name="T63" fmla="*/ 48 h 52"/>
                  <a:gd name="T64" fmla="*/ 68 w 68"/>
                  <a:gd name="T65" fmla="*/ 46 h 52"/>
                  <a:gd name="T66" fmla="*/ 66 w 68"/>
                  <a:gd name="T67" fmla="*/ 40 h 52"/>
                  <a:gd name="T68" fmla="*/ 66 w 68"/>
                  <a:gd name="T69" fmla="*/ 38 h 52"/>
                  <a:gd name="T70" fmla="*/ 64 w 68"/>
                  <a:gd name="T71" fmla="*/ 34 h 52"/>
                  <a:gd name="T72" fmla="*/ 54 w 68"/>
                  <a:gd name="T73" fmla="*/ 26 h 52"/>
                  <a:gd name="T74" fmla="*/ 42 w 68"/>
                  <a:gd name="T75" fmla="*/ 16 h 52"/>
                  <a:gd name="T76" fmla="*/ 42 w 68"/>
                  <a:gd name="T77" fmla="*/ 14 h 52"/>
                  <a:gd name="T78" fmla="*/ 26 w 68"/>
                  <a:gd name="T79" fmla="*/ 6 h 52"/>
                  <a:gd name="T80" fmla="*/ 26 w 68"/>
                  <a:gd name="T81" fmla="*/ 4 h 52"/>
                  <a:gd name="T82" fmla="*/ 16 w 68"/>
                  <a:gd name="T83" fmla="*/ 2 h 52"/>
                  <a:gd name="T84" fmla="*/ 4 w 68"/>
                  <a:gd name="T85" fmla="*/ 0 h 52"/>
                  <a:gd name="T86" fmla="*/ 4 w 68"/>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2">
                    <a:moveTo>
                      <a:pt x="4" y="4"/>
                    </a:moveTo>
                    <a:lnTo>
                      <a:pt x="14" y="6"/>
                    </a:lnTo>
                    <a:lnTo>
                      <a:pt x="24" y="8"/>
                    </a:lnTo>
                    <a:lnTo>
                      <a:pt x="30" y="12"/>
                    </a:lnTo>
                    <a:lnTo>
                      <a:pt x="40" y="18"/>
                    </a:lnTo>
                    <a:lnTo>
                      <a:pt x="46" y="26"/>
                    </a:lnTo>
                    <a:lnTo>
                      <a:pt x="52" y="30"/>
                    </a:lnTo>
                    <a:lnTo>
                      <a:pt x="60" y="36"/>
                    </a:lnTo>
                    <a:lnTo>
                      <a:pt x="64" y="40"/>
                    </a:lnTo>
                    <a:lnTo>
                      <a:pt x="66" y="44"/>
                    </a:lnTo>
                    <a:lnTo>
                      <a:pt x="60" y="46"/>
                    </a:lnTo>
                    <a:lnTo>
                      <a:pt x="52" y="48"/>
                    </a:lnTo>
                    <a:lnTo>
                      <a:pt x="42" y="44"/>
                    </a:lnTo>
                    <a:lnTo>
                      <a:pt x="42" y="38"/>
                    </a:lnTo>
                    <a:lnTo>
                      <a:pt x="38" y="38"/>
                    </a:lnTo>
                    <a:lnTo>
                      <a:pt x="32" y="32"/>
                    </a:lnTo>
                    <a:lnTo>
                      <a:pt x="28" y="24"/>
                    </a:lnTo>
                    <a:lnTo>
                      <a:pt x="22" y="24"/>
                    </a:lnTo>
                    <a:lnTo>
                      <a:pt x="20" y="20"/>
                    </a:lnTo>
                    <a:lnTo>
                      <a:pt x="16" y="20"/>
                    </a:lnTo>
                    <a:lnTo>
                      <a:pt x="8" y="16"/>
                    </a:lnTo>
                    <a:lnTo>
                      <a:pt x="4" y="12"/>
                    </a:lnTo>
                    <a:lnTo>
                      <a:pt x="4" y="4"/>
                    </a:lnTo>
                    <a:close/>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9" name="Freeform 148"/>
              <p:cNvSpPr>
                <a:spLocks/>
              </p:cNvSpPr>
              <p:nvPr/>
            </p:nvSpPr>
            <p:spPr bwMode="auto">
              <a:xfrm>
                <a:off x="1053" y="1737"/>
                <a:ext cx="62" cy="44"/>
              </a:xfrm>
              <a:custGeom>
                <a:avLst/>
                <a:gdLst>
                  <a:gd name="T0" fmla="*/ 0 w 62"/>
                  <a:gd name="T1" fmla="*/ 0 h 44"/>
                  <a:gd name="T2" fmla="*/ 10 w 62"/>
                  <a:gd name="T3" fmla="*/ 2 h 44"/>
                  <a:gd name="T4" fmla="*/ 20 w 62"/>
                  <a:gd name="T5" fmla="*/ 4 h 44"/>
                  <a:gd name="T6" fmla="*/ 26 w 62"/>
                  <a:gd name="T7" fmla="*/ 8 h 44"/>
                  <a:gd name="T8" fmla="*/ 36 w 62"/>
                  <a:gd name="T9" fmla="*/ 14 h 44"/>
                  <a:gd name="T10" fmla="*/ 42 w 62"/>
                  <a:gd name="T11" fmla="*/ 22 h 44"/>
                  <a:gd name="T12" fmla="*/ 48 w 62"/>
                  <a:gd name="T13" fmla="*/ 26 h 44"/>
                  <a:gd name="T14" fmla="*/ 56 w 62"/>
                  <a:gd name="T15" fmla="*/ 32 h 44"/>
                  <a:gd name="T16" fmla="*/ 60 w 62"/>
                  <a:gd name="T17" fmla="*/ 36 h 44"/>
                  <a:gd name="T18" fmla="*/ 62 w 62"/>
                  <a:gd name="T19" fmla="*/ 40 h 44"/>
                  <a:gd name="T20" fmla="*/ 56 w 62"/>
                  <a:gd name="T21" fmla="*/ 42 h 44"/>
                  <a:gd name="T22" fmla="*/ 48 w 62"/>
                  <a:gd name="T23" fmla="*/ 44 h 44"/>
                  <a:gd name="T24" fmla="*/ 38 w 62"/>
                  <a:gd name="T25" fmla="*/ 40 h 44"/>
                  <a:gd name="T26" fmla="*/ 38 w 62"/>
                  <a:gd name="T27" fmla="*/ 34 h 44"/>
                  <a:gd name="T28" fmla="*/ 34 w 62"/>
                  <a:gd name="T29" fmla="*/ 34 h 44"/>
                  <a:gd name="T30" fmla="*/ 28 w 62"/>
                  <a:gd name="T31" fmla="*/ 28 h 44"/>
                  <a:gd name="T32" fmla="*/ 24 w 62"/>
                  <a:gd name="T33" fmla="*/ 20 h 44"/>
                  <a:gd name="T34" fmla="*/ 18 w 62"/>
                  <a:gd name="T35" fmla="*/ 20 h 44"/>
                  <a:gd name="T36" fmla="*/ 16 w 62"/>
                  <a:gd name="T37" fmla="*/ 16 h 44"/>
                  <a:gd name="T38" fmla="*/ 12 w 62"/>
                  <a:gd name="T39" fmla="*/ 16 h 44"/>
                  <a:gd name="T40" fmla="*/ 4 w 62"/>
                  <a:gd name="T41" fmla="*/ 12 h 44"/>
                  <a:gd name="T42" fmla="*/ 0 w 62"/>
                  <a:gd name="T43" fmla="*/ 8 h 44"/>
                  <a:gd name="T44" fmla="*/ 0 w 62"/>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44">
                    <a:moveTo>
                      <a:pt x="0" y="0"/>
                    </a:moveTo>
                    <a:lnTo>
                      <a:pt x="10" y="2"/>
                    </a:lnTo>
                    <a:lnTo>
                      <a:pt x="20" y="4"/>
                    </a:lnTo>
                    <a:lnTo>
                      <a:pt x="26" y="8"/>
                    </a:lnTo>
                    <a:lnTo>
                      <a:pt x="36" y="14"/>
                    </a:lnTo>
                    <a:lnTo>
                      <a:pt x="42" y="22"/>
                    </a:lnTo>
                    <a:lnTo>
                      <a:pt x="48" y="26"/>
                    </a:lnTo>
                    <a:lnTo>
                      <a:pt x="56" y="32"/>
                    </a:lnTo>
                    <a:lnTo>
                      <a:pt x="60" y="36"/>
                    </a:lnTo>
                    <a:lnTo>
                      <a:pt x="62" y="40"/>
                    </a:lnTo>
                    <a:lnTo>
                      <a:pt x="56" y="42"/>
                    </a:lnTo>
                    <a:lnTo>
                      <a:pt x="48" y="44"/>
                    </a:lnTo>
                    <a:lnTo>
                      <a:pt x="38" y="40"/>
                    </a:lnTo>
                    <a:lnTo>
                      <a:pt x="38" y="34"/>
                    </a:lnTo>
                    <a:lnTo>
                      <a:pt x="34" y="34"/>
                    </a:lnTo>
                    <a:lnTo>
                      <a:pt x="28" y="28"/>
                    </a:lnTo>
                    <a:lnTo>
                      <a:pt x="24" y="20"/>
                    </a:lnTo>
                    <a:lnTo>
                      <a:pt x="18" y="20"/>
                    </a:lnTo>
                    <a:lnTo>
                      <a:pt x="16" y="16"/>
                    </a:lnTo>
                    <a:lnTo>
                      <a:pt x="12" y="16"/>
                    </a:lnTo>
                    <a:lnTo>
                      <a:pt x="4" y="1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0" name="Freeform 149"/>
              <p:cNvSpPr>
                <a:spLocks/>
              </p:cNvSpPr>
              <p:nvPr/>
            </p:nvSpPr>
            <p:spPr bwMode="auto">
              <a:xfrm>
                <a:off x="1049" y="1733"/>
                <a:ext cx="68" cy="52"/>
              </a:xfrm>
              <a:custGeom>
                <a:avLst/>
                <a:gdLst>
                  <a:gd name="T0" fmla="*/ 4 w 68"/>
                  <a:gd name="T1" fmla="*/ 0 h 52"/>
                  <a:gd name="T2" fmla="*/ 0 w 68"/>
                  <a:gd name="T3" fmla="*/ 0 h 52"/>
                  <a:gd name="T4" fmla="*/ 0 w 68"/>
                  <a:gd name="T5" fmla="*/ 12 h 52"/>
                  <a:gd name="T6" fmla="*/ 2 w 68"/>
                  <a:gd name="T7" fmla="*/ 16 h 52"/>
                  <a:gd name="T8" fmla="*/ 6 w 68"/>
                  <a:gd name="T9" fmla="*/ 20 h 52"/>
                  <a:gd name="T10" fmla="*/ 14 w 68"/>
                  <a:gd name="T11" fmla="*/ 22 h 52"/>
                  <a:gd name="T12" fmla="*/ 16 w 68"/>
                  <a:gd name="T13" fmla="*/ 24 h 52"/>
                  <a:gd name="T14" fmla="*/ 18 w 68"/>
                  <a:gd name="T15" fmla="*/ 26 h 52"/>
                  <a:gd name="T16" fmla="*/ 20 w 68"/>
                  <a:gd name="T17" fmla="*/ 28 h 52"/>
                  <a:gd name="T18" fmla="*/ 26 w 68"/>
                  <a:gd name="T19" fmla="*/ 28 h 52"/>
                  <a:gd name="T20" fmla="*/ 30 w 68"/>
                  <a:gd name="T21" fmla="*/ 34 h 52"/>
                  <a:gd name="T22" fmla="*/ 34 w 68"/>
                  <a:gd name="T23" fmla="*/ 40 h 52"/>
                  <a:gd name="T24" fmla="*/ 38 w 68"/>
                  <a:gd name="T25" fmla="*/ 42 h 52"/>
                  <a:gd name="T26" fmla="*/ 38 w 68"/>
                  <a:gd name="T27" fmla="*/ 44 h 52"/>
                  <a:gd name="T28" fmla="*/ 40 w 68"/>
                  <a:gd name="T29" fmla="*/ 46 h 52"/>
                  <a:gd name="T30" fmla="*/ 50 w 68"/>
                  <a:gd name="T31" fmla="*/ 52 h 52"/>
                  <a:gd name="T32" fmla="*/ 52 w 68"/>
                  <a:gd name="T33" fmla="*/ 52 h 52"/>
                  <a:gd name="T34" fmla="*/ 52 w 68"/>
                  <a:gd name="T35" fmla="*/ 52 h 52"/>
                  <a:gd name="T36" fmla="*/ 60 w 68"/>
                  <a:gd name="T37" fmla="*/ 50 h 52"/>
                  <a:gd name="T38" fmla="*/ 66 w 68"/>
                  <a:gd name="T39" fmla="*/ 48 h 52"/>
                  <a:gd name="T40" fmla="*/ 68 w 68"/>
                  <a:gd name="T41" fmla="*/ 46 h 52"/>
                  <a:gd name="T42" fmla="*/ 68 w 68"/>
                  <a:gd name="T43" fmla="*/ 42 h 52"/>
                  <a:gd name="T44" fmla="*/ 66 w 68"/>
                  <a:gd name="T45" fmla="*/ 40 h 52"/>
                  <a:gd name="T46" fmla="*/ 64 w 68"/>
                  <a:gd name="T47" fmla="*/ 34 h 52"/>
                  <a:gd name="T48" fmla="*/ 62 w 68"/>
                  <a:gd name="T49" fmla="*/ 32 h 52"/>
                  <a:gd name="T50" fmla="*/ 50 w 68"/>
                  <a:gd name="T51" fmla="*/ 24 h 52"/>
                  <a:gd name="T52" fmla="*/ 42 w 68"/>
                  <a:gd name="T53" fmla="*/ 16 h 52"/>
                  <a:gd name="T54" fmla="*/ 34 w 68"/>
                  <a:gd name="T55" fmla="*/ 8 h 52"/>
                  <a:gd name="T56" fmla="*/ 26 w 68"/>
                  <a:gd name="T57" fmla="*/ 6 h 52"/>
                  <a:gd name="T58" fmla="*/ 16 w 68"/>
                  <a:gd name="T59" fmla="*/ 2 h 52"/>
                  <a:gd name="T60" fmla="*/ 14 w 68"/>
                  <a:gd name="T61" fmla="*/ 2 h 52"/>
                  <a:gd name="T62" fmla="*/ 4 w 68"/>
                  <a:gd name="T63" fmla="*/ 0 h 52"/>
                  <a:gd name="T64" fmla="*/ 4 w 68"/>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2">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1" name="Freeform 150"/>
              <p:cNvSpPr>
                <a:spLocks/>
              </p:cNvSpPr>
              <p:nvPr/>
            </p:nvSpPr>
            <p:spPr bwMode="auto">
              <a:xfrm>
                <a:off x="497" y="1285"/>
                <a:ext cx="530" cy="374"/>
              </a:xfrm>
              <a:custGeom>
                <a:avLst/>
                <a:gdLst>
                  <a:gd name="T0" fmla="*/ 514 w 530"/>
                  <a:gd name="T1" fmla="*/ 356 h 374"/>
                  <a:gd name="T2" fmla="*/ 480 w 530"/>
                  <a:gd name="T3" fmla="*/ 328 h 374"/>
                  <a:gd name="T4" fmla="*/ 452 w 530"/>
                  <a:gd name="T5" fmla="*/ 290 h 374"/>
                  <a:gd name="T6" fmla="*/ 450 w 530"/>
                  <a:gd name="T7" fmla="*/ 306 h 374"/>
                  <a:gd name="T8" fmla="*/ 438 w 530"/>
                  <a:gd name="T9" fmla="*/ 304 h 374"/>
                  <a:gd name="T10" fmla="*/ 388 w 530"/>
                  <a:gd name="T11" fmla="*/ 274 h 374"/>
                  <a:gd name="T12" fmla="*/ 356 w 530"/>
                  <a:gd name="T13" fmla="*/ 270 h 374"/>
                  <a:gd name="T14" fmla="*/ 308 w 530"/>
                  <a:gd name="T15" fmla="*/ 260 h 374"/>
                  <a:gd name="T16" fmla="*/ 282 w 530"/>
                  <a:gd name="T17" fmla="*/ 264 h 374"/>
                  <a:gd name="T18" fmla="*/ 256 w 530"/>
                  <a:gd name="T19" fmla="*/ 270 h 374"/>
                  <a:gd name="T20" fmla="*/ 226 w 530"/>
                  <a:gd name="T21" fmla="*/ 286 h 374"/>
                  <a:gd name="T22" fmla="*/ 228 w 530"/>
                  <a:gd name="T23" fmla="*/ 252 h 374"/>
                  <a:gd name="T24" fmla="*/ 250 w 530"/>
                  <a:gd name="T25" fmla="*/ 240 h 374"/>
                  <a:gd name="T26" fmla="*/ 212 w 530"/>
                  <a:gd name="T27" fmla="*/ 270 h 374"/>
                  <a:gd name="T28" fmla="*/ 202 w 530"/>
                  <a:gd name="T29" fmla="*/ 294 h 374"/>
                  <a:gd name="T30" fmla="*/ 138 w 530"/>
                  <a:gd name="T31" fmla="*/ 336 h 374"/>
                  <a:gd name="T32" fmla="*/ 118 w 530"/>
                  <a:gd name="T33" fmla="*/ 356 h 374"/>
                  <a:gd name="T34" fmla="*/ 94 w 530"/>
                  <a:gd name="T35" fmla="*/ 364 h 374"/>
                  <a:gd name="T36" fmla="*/ 78 w 530"/>
                  <a:gd name="T37" fmla="*/ 372 h 374"/>
                  <a:gd name="T38" fmla="*/ 68 w 530"/>
                  <a:gd name="T39" fmla="*/ 368 h 374"/>
                  <a:gd name="T40" fmla="*/ 100 w 530"/>
                  <a:gd name="T41" fmla="*/ 342 h 374"/>
                  <a:gd name="T42" fmla="*/ 138 w 530"/>
                  <a:gd name="T43" fmla="*/ 318 h 374"/>
                  <a:gd name="T44" fmla="*/ 144 w 530"/>
                  <a:gd name="T45" fmla="*/ 292 h 374"/>
                  <a:gd name="T46" fmla="*/ 126 w 530"/>
                  <a:gd name="T47" fmla="*/ 296 h 374"/>
                  <a:gd name="T48" fmla="*/ 118 w 530"/>
                  <a:gd name="T49" fmla="*/ 298 h 374"/>
                  <a:gd name="T50" fmla="*/ 82 w 530"/>
                  <a:gd name="T51" fmla="*/ 300 h 374"/>
                  <a:gd name="T52" fmla="*/ 76 w 530"/>
                  <a:gd name="T53" fmla="*/ 268 h 374"/>
                  <a:gd name="T54" fmla="*/ 68 w 530"/>
                  <a:gd name="T55" fmla="*/ 272 h 374"/>
                  <a:gd name="T56" fmla="*/ 36 w 530"/>
                  <a:gd name="T57" fmla="*/ 254 h 374"/>
                  <a:gd name="T58" fmla="*/ 36 w 530"/>
                  <a:gd name="T59" fmla="*/ 244 h 374"/>
                  <a:gd name="T60" fmla="*/ 22 w 530"/>
                  <a:gd name="T61" fmla="*/ 234 h 374"/>
                  <a:gd name="T62" fmla="*/ 40 w 530"/>
                  <a:gd name="T63" fmla="*/ 204 h 374"/>
                  <a:gd name="T64" fmla="*/ 72 w 530"/>
                  <a:gd name="T65" fmla="*/ 192 h 374"/>
                  <a:gd name="T66" fmla="*/ 94 w 530"/>
                  <a:gd name="T67" fmla="*/ 162 h 374"/>
                  <a:gd name="T68" fmla="*/ 68 w 530"/>
                  <a:gd name="T69" fmla="*/ 170 h 374"/>
                  <a:gd name="T70" fmla="*/ 18 w 530"/>
                  <a:gd name="T71" fmla="*/ 152 h 374"/>
                  <a:gd name="T72" fmla="*/ 0 w 530"/>
                  <a:gd name="T73" fmla="*/ 140 h 374"/>
                  <a:gd name="T74" fmla="*/ 46 w 530"/>
                  <a:gd name="T75" fmla="*/ 116 h 374"/>
                  <a:gd name="T76" fmla="*/ 58 w 530"/>
                  <a:gd name="T77" fmla="*/ 126 h 374"/>
                  <a:gd name="T78" fmla="*/ 94 w 530"/>
                  <a:gd name="T79" fmla="*/ 122 h 374"/>
                  <a:gd name="T80" fmla="*/ 78 w 530"/>
                  <a:gd name="T81" fmla="*/ 112 h 374"/>
                  <a:gd name="T82" fmla="*/ 60 w 530"/>
                  <a:gd name="T83" fmla="*/ 112 h 374"/>
                  <a:gd name="T84" fmla="*/ 24 w 530"/>
                  <a:gd name="T85" fmla="*/ 84 h 374"/>
                  <a:gd name="T86" fmla="*/ 20 w 530"/>
                  <a:gd name="T87" fmla="*/ 62 h 374"/>
                  <a:gd name="T88" fmla="*/ 78 w 530"/>
                  <a:gd name="T89" fmla="*/ 26 h 374"/>
                  <a:gd name="T90" fmla="*/ 114 w 530"/>
                  <a:gd name="T91" fmla="*/ 18 h 374"/>
                  <a:gd name="T92" fmla="*/ 158 w 530"/>
                  <a:gd name="T93" fmla="*/ 0 h 374"/>
                  <a:gd name="T94" fmla="*/ 168 w 530"/>
                  <a:gd name="T95" fmla="*/ 10 h 374"/>
                  <a:gd name="T96" fmla="*/ 190 w 530"/>
                  <a:gd name="T97" fmla="*/ 12 h 374"/>
                  <a:gd name="T98" fmla="*/ 284 w 530"/>
                  <a:gd name="T99" fmla="*/ 28 h 374"/>
                  <a:gd name="T100" fmla="*/ 356 w 530"/>
                  <a:gd name="T101" fmla="*/ 36 h 374"/>
                  <a:gd name="T102" fmla="*/ 396 w 530"/>
                  <a:gd name="T103" fmla="*/ 256 h 374"/>
                  <a:gd name="T104" fmla="*/ 426 w 530"/>
                  <a:gd name="T105" fmla="*/ 282 h 374"/>
                  <a:gd name="T106" fmla="*/ 450 w 530"/>
                  <a:gd name="T107" fmla="*/ 268 h 374"/>
                  <a:gd name="T108" fmla="*/ 514 w 530"/>
                  <a:gd name="T109" fmla="*/ 338 h 374"/>
                  <a:gd name="T110" fmla="*/ 526 w 530"/>
                  <a:gd name="T111" fmla="*/ 3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30" h="374">
                    <a:moveTo>
                      <a:pt x="512" y="374"/>
                    </a:moveTo>
                    <a:lnTo>
                      <a:pt x="512" y="374"/>
                    </a:lnTo>
                    <a:lnTo>
                      <a:pt x="510" y="374"/>
                    </a:lnTo>
                    <a:lnTo>
                      <a:pt x="510" y="374"/>
                    </a:lnTo>
                    <a:lnTo>
                      <a:pt x="510" y="372"/>
                    </a:lnTo>
                    <a:lnTo>
                      <a:pt x="514" y="362"/>
                    </a:lnTo>
                    <a:lnTo>
                      <a:pt x="514" y="356"/>
                    </a:lnTo>
                    <a:lnTo>
                      <a:pt x="510" y="354"/>
                    </a:lnTo>
                    <a:lnTo>
                      <a:pt x="510" y="354"/>
                    </a:lnTo>
                    <a:lnTo>
                      <a:pt x="510" y="354"/>
                    </a:lnTo>
                    <a:lnTo>
                      <a:pt x="504" y="348"/>
                    </a:lnTo>
                    <a:lnTo>
                      <a:pt x="490" y="334"/>
                    </a:lnTo>
                    <a:lnTo>
                      <a:pt x="480" y="328"/>
                    </a:lnTo>
                    <a:lnTo>
                      <a:pt x="480" y="328"/>
                    </a:lnTo>
                    <a:lnTo>
                      <a:pt x="480" y="326"/>
                    </a:lnTo>
                    <a:lnTo>
                      <a:pt x="478" y="320"/>
                    </a:lnTo>
                    <a:lnTo>
                      <a:pt x="470" y="310"/>
                    </a:lnTo>
                    <a:lnTo>
                      <a:pt x="462" y="304"/>
                    </a:lnTo>
                    <a:lnTo>
                      <a:pt x="458" y="298"/>
                    </a:lnTo>
                    <a:lnTo>
                      <a:pt x="452" y="290"/>
                    </a:lnTo>
                    <a:lnTo>
                      <a:pt x="452" y="290"/>
                    </a:lnTo>
                    <a:lnTo>
                      <a:pt x="456" y="300"/>
                    </a:lnTo>
                    <a:lnTo>
                      <a:pt x="456" y="300"/>
                    </a:lnTo>
                    <a:lnTo>
                      <a:pt x="454" y="302"/>
                    </a:lnTo>
                    <a:lnTo>
                      <a:pt x="452" y="306"/>
                    </a:lnTo>
                    <a:lnTo>
                      <a:pt x="452" y="306"/>
                    </a:lnTo>
                    <a:lnTo>
                      <a:pt x="450" y="306"/>
                    </a:lnTo>
                    <a:lnTo>
                      <a:pt x="450" y="306"/>
                    </a:lnTo>
                    <a:lnTo>
                      <a:pt x="450" y="306"/>
                    </a:lnTo>
                    <a:lnTo>
                      <a:pt x="448" y="306"/>
                    </a:lnTo>
                    <a:lnTo>
                      <a:pt x="442" y="300"/>
                    </a:lnTo>
                    <a:lnTo>
                      <a:pt x="440" y="304"/>
                    </a:lnTo>
                    <a:lnTo>
                      <a:pt x="440" y="304"/>
                    </a:lnTo>
                    <a:lnTo>
                      <a:pt x="438" y="304"/>
                    </a:lnTo>
                    <a:lnTo>
                      <a:pt x="438" y="304"/>
                    </a:lnTo>
                    <a:lnTo>
                      <a:pt x="436" y="304"/>
                    </a:lnTo>
                    <a:lnTo>
                      <a:pt x="426" y="302"/>
                    </a:lnTo>
                    <a:lnTo>
                      <a:pt x="412" y="294"/>
                    </a:lnTo>
                    <a:lnTo>
                      <a:pt x="390" y="282"/>
                    </a:lnTo>
                    <a:lnTo>
                      <a:pt x="390" y="282"/>
                    </a:lnTo>
                    <a:lnTo>
                      <a:pt x="390" y="280"/>
                    </a:lnTo>
                    <a:lnTo>
                      <a:pt x="388" y="274"/>
                    </a:lnTo>
                    <a:lnTo>
                      <a:pt x="380" y="276"/>
                    </a:lnTo>
                    <a:lnTo>
                      <a:pt x="380" y="276"/>
                    </a:lnTo>
                    <a:lnTo>
                      <a:pt x="378" y="276"/>
                    </a:lnTo>
                    <a:lnTo>
                      <a:pt x="378" y="276"/>
                    </a:lnTo>
                    <a:lnTo>
                      <a:pt x="378" y="276"/>
                    </a:lnTo>
                    <a:lnTo>
                      <a:pt x="368" y="270"/>
                    </a:lnTo>
                    <a:lnTo>
                      <a:pt x="356" y="270"/>
                    </a:lnTo>
                    <a:lnTo>
                      <a:pt x="328" y="270"/>
                    </a:lnTo>
                    <a:lnTo>
                      <a:pt x="328" y="270"/>
                    </a:lnTo>
                    <a:lnTo>
                      <a:pt x="326" y="268"/>
                    </a:lnTo>
                    <a:lnTo>
                      <a:pt x="322" y="262"/>
                    </a:lnTo>
                    <a:lnTo>
                      <a:pt x="310" y="260"/>
                    </a:lnTo>
                    <a:lnTo>
                      <a:pt x="310" y="260"/>
                    </a:lnTo>
                    <a:lnTo>
                      <a:pt x="308" y="260"/>
                    </a:lnTo>
                    <a:lnTo>
                      <a:pt x="304" y="254"/>
                    </a:lnTo>
                    <a:lnTo>
                      <a:pt x="294" y="250"/>
                    </a:lnTo>
                    <a:lnTo>
                      <a:pt x="282" y="248"/>
                    </a:lnTo>
                    <a:lnTo>
                      <a:pt x="274" y="248"/>
                    </a:lnTo>
                    <a:lnTo>
                      <a:pt x="274" y="252"/>
                    </a:lnTo>
                    <a:lnTo>
                      <a:pt x="278" y="258"/>
                    </a:lnTo>
                    <a:lnTo>
                      <a:pt x="282" y="264"/>
                    </a:lnTo>
                    <a:lnTo>
                      <a:pt x="282" y="264"/>
                    </a:lnTo>
                    <a:lnTo>
                      <a:pt x="280" y="268"/>
                    </a:lnTo>
                    <a:lnTo>
                      <a:pt x="278" y="268"/>
                    </a:lnTo>
                    <a:lnTo>
                      <a:pt x="278" y="268"/>
                    </a:lnTo>
                    <a:lnTo>
                      <a:pt x="276" y="270"/>
                    </a:lnTo>
                    <a:lnTo>
                      <a:pt x="262" y="270"/>
                    </a:lnTo>
                    <a:lnTo>
                      <a:pt x="256" y="270"/>
                    </a:lnTo>
                    <a:lnTo>
                      <a:pt x="250" y="276"/>
                    </a:lnTo>
                    <a:lnTo>
                      <a:pt x="240" y="284"/>
                    </a:lnTo>
                    <a:lnTo>
                      <a:pt x="228" y="286"/>
                    </a:lnTo>
                    <a:lnTo>
                      <a:pt x="228" y="286"/>
                    </a:lnTo>
                    <a:lnTo>
                      <a:pt x="228" y="288"/>
                    </a:lnTo>
                    <a:lnTo>
                      <a:pt x="228" y="288"/>
                    </a:lnTo>
                    <a:lnTo>
                      <a:pt x="226" y="286"/>
                    </a:lnTo>
                    <a:lnTo>
                      <a:pt x="222" y="280"/>
                    </a:lnTo>
                    <a:lnTo>
                      <a:pt x="222" y="280"/>
                    </a:lnTo>
                    <a:lnTo>
                      <a:pt x="222" y="278"/>
                    </a:lnTo>
                    <a:lnTo>
                      <a:pt x="222" y="268"/>
                    </a:lnTo>
                    <a:lnTo>
                      <a:pt x="226" y="260"/>
                    </a:lnTo>
                    <a:lnTo>
                      <a:pt x="228" y="252"/>
                    </a:lnTo>
                    <a:lnTo>
                      <a:pt x="228" y="252"/>
                    </a:lnTo>
                    <a:lnTo>
                      <a:pt x="228" y="252"/>
                    </a:lnTo>
                    <a:lnTo>
                      <a:pt x="232" y="248"/>
                    </a:lnTo>
                    <a:lnTo>
                      <a:pt x="232" y="248"/>
                    </a:lnTo>
                    <a:lnTo>
                      <a:pt x="234" y="248"/>
                    </a:lnTo>
                    <a:lnTo>
                      <a:pt x="240" y="246"/>
                    </a:lnTo>
                    <a:lnTo>
                      <a:pt x="248" y="244"/>
                    </a:lnTo>
                    <a:lnTo>
                      <a:pt x="250" y="240"/>
                    </a:lnTo>
                    <a:lnTo>
                      <a:pt x="246" y="242"/>
                    </a:lnTo>
                    <a:lnTo>
                      <a:pt x="236" y="244"/>
                    </a:lnTo>
                    <a:lnTo>
                      <a:pt x="218" y="256"/>
                    </a:lnTo>
                    <a:lnTo>
                      <a:pt x="212" y="262"/>
                    </a:lnTo>
                    <a:lnTo>
                      <a:pt x="212" y="268"/>
                    </a:lnTo>
                    <a:lnTo>
                      <a:pt x="212" y="268"/>
                    </a:lnTo>
                    <a:lnTo>
                      <a:pt x="212" y="270"/>
                    </a:lnTo>
                    <a:lnTo>
                      <a:pt x="206" y="276"/>
                    </a:lnTo>
                    <a:lnTo>
                      <a:pt x="206" y="276"/>
                    </a:lnTo>
                    <a:lnTo>
                      <a:pt x="206" y="276"/>
                    </a:lnTo>
                    <a:lnTo>
                      <a:pt x="198" y="278"/>
                    </a:lnTo>
                    <a:lnTo>
                      <a:pt x="196" y="284"/>
                    </a:lnTo>
                    <a:lnTo>
                      <a:pt x="200" y="290"/>
                    </a:lnTo>
                    <a:lnTo>
                      <a:pt x="202" y="294"/>
                    </a:lnTo>
                    <a:lnTo>
                      <a:pt x="202" y="294"/>
                    </a:lnTo>
                    <a:lnTo>
                      <a:pt x="202" y="296"/>
                    </a:lnTo>
                    <a:lnTo>
                      <a:pt x="196" y="300"/>
                    </a:lnTo>
                    <a:lnTo>
                      <a:pt x="188" y="308"/>
                    </a:lnTo>
                    <a:lnTo>
                      <a:pt x="176" y="316"/>
                    </a:lnTo>
                    <a:lnTo>
                      <a:pt x="158" y="326"/>
                    </a:lnTo>
                    <a:lnTo>
                      <a:pt x="138" y="336"/>
                    </a:lnTo>
                    <a:lnTo>
                      <a:pt x="134" y="342"/>
                    </a:lnTo>
                    <a:lnTo>
                      <a:pt x="132" y="346"/>
                    </a:lnTo>
                    <a:lnTo>
                      <a:pt x="132" y="346"/>
                    </a:lnTo>
                    <a:lnTo>
                      <a:pt x="132" y="348"/>
                    </a:lnTo>
                    <a:lnTo>
                      <a:pt x="122" y="352"/>
                    </a:lnTo>
                    <a:lnTo>
                      <a:pt x="118" y="356"/>
                    </a:lnTo>
                    <a:lnTo>
                      <a:pt x="118" y="356"/>
                    </a:lnTo>
                    <a:lnTo>
                      <a:pt x="116" y="356"/>
                    </a:lnTo>
                    <a:lnTo>
                      <a:pt x="106" y="356"/>
                    </a:lnTo>
                    <a:lnTo>
                      <a:pt x="102" y="360"/>
                    </a:lnTo>
                    <a:lnTo>
                      <a:pt x="94" y="364"/>
                    </a:lnTo>
                    <a:lnTo>
                      <a:pt x="94" y="364"/>
                    </a:lnTo>
                    <a:lnTo>
                      <a:pt x="94" y="364"/>
                    </a:lnTo>
                    <a:lnTo>
                      <a:pt x="94" y="364"/>
                    </a:lnTo>
                    <a:lnTo>
                      <a:pt x="92" y="364"/>
                    </a:lnTo>
                    <a:lnTo>
                      <a:pt x="88" y="360"/>
                    </a:lnTo>
                    <a:lnTo>
                      <a:pt x="86" y="362"/>
                    </a:lnTo>
                    <a:lnTo>
                      <a:pt x="84" y="368"/>
                    </a:lnTo>
                    <a:lnTo>
                      <a:pt x="84" y="368"/>
                    </a:lnTo>
                    <a:lnTo>
                      <a:pt x="82" y="368"/>
                    </a:lnTo>
                    <a:lnTo>
                      <a:pt x="78" y="372"/>
                    </a:lnTo>
                    <a:lnTo>
                      <a:pt x="78" y="372"/>
                    </a:lnTo>
                    <a:lnTo>
                      <a:pt x="76" y="372"/>
                    </a:lnTo>
                    <a:lnTo>
                      <a:pt x="76" y="372"/>
                    </a:lnTo>
                    <a:lnTo>
                      <a:pt x="76" y="372"/>
                    </a:lnTo>
                    <a:lnTo>
                      <a:pt x="68" y="372"/>
                    </a:lnTo>
                    <a:lnTo>
                      <a:pt x="68" y="372"/>
                    </a:lnTo>
                    <a:lnTo>
                      <a:pt x="68" y="368"/>
                    </a:lnTo>
                    <a:lnTo>
                      <a:pt x="68" y="362"/>
                    </a:lnTo>
                    <a:lnTo>
                      <a:pt x="74" y="354"/>
                    </a:lnTo>
                    <a:lnTo>
                      <a:pt x="80" y="350"/>
                    </a:lnTo>
                    <a:lnTo>
                      <a:pt x="90" y="348"/>
                    </a:lnTo>
                    <a:lnTo>
                      <a:pt x="98" y="348"/>
                    </a:lnTo>
                    <a:lnTo>
                      <a:pt x="100" y="342"/>
                    </a:lnTo>
                    <a:lnTo>
                      <a:pt x="100" y="342"/>
                    </a:lnTo>
                    <a:lnTo>
                      <a:pt x="102" y="342"/>
                    </a:lnTo>
                    <a:lnTo>
                      <a:pt x="110" y="338"/>
                    </a:lnTo>
                    <a:lnTo>
                      <a:pt x="124" y="328"/>
                    </a:lnTo>
                    <a:lnTo>
                      <a:pt x="134" y="320"/>
                    </a:lnTo>
                    <a:lnTo>
                      <a:pt x="134" y="320"/>
                    </a:lnTo>
                    <a:lnTo>
                      <a:pt x="134" y="318"/>
                    </a:lnTo>
                    <a:lnTo>
                      <a:pt x="138" y="318"/>
                    </a:lnTo>
                    <a:lnTo>
                      <a:pt x="142" y="308"/>
                    </a:lnTo>
                    <a:lnTo>
                      <a:pt x="142" y="300"/>
                    </a:lnTo>
                    <a:lnTo>
                      <a:pt x="142" y="300"/>
                    </a:lnTo>
                    <a:lnTo>
                      <a:pt x="142" y="298"/>
                    </a:lnTo>
                    <a:lnTo>
                      <a:pt x="148" y="294"/>
                    </a:lnTo>
                    <a:lnTo>
                      <a:pt x="150" y="292"/>
                    </a:lnTo>
                    <a:lnTo>
                      <a:pt x="144" y="292"/>
                    </a:lnTo>
                    <a:lnTo>
                      <a:pt x="134" y="298"/>
                    </a:lnTo>
                    <a:lnTo>
                      <a:pt x="134" y="298"/>
                    </a:lnTo>
                    <a:lnTo>
                      <a:pt x="132" y="298"/>
                    </a:lnTo>
                    <a:lnTo>
                      <a:pt x="132" y="298"/>
                    </a:lnTo>
                    <a:lnTo>
                      <a:pt x="132" y="298"/>
                    </a:lnTo>
                    <a:lnTo>
                      <a:pt x="128" y="294"/>
                    </a:lnTo>
                    <a:lnTo>
                      <a:pt x="126" y="296"/>
                    </a:lnTo>
                    <a:lnTo>
                      <a:pt x="126" y="296"/>
                    </a:lnTo>
                    <a:lnTo>
                      <a:pt x="124" y="298"/>
                    </a:lnTo>
                    <a:lnTo>
                      <a:pt x="122" y="300"/>
                    </a:lnTo>
                    <a:lnTo>
                      <a:pt x="122" y="300"/>
                    </a:lnTo>
                    <a:lnTo>
                      <a:pt x="120" y="300"/>
                    </a:lnTo>
                    <a:lnTo>
                      <a:pt x="120" y="300"/>
                    </a:lnTo>
                    <a:lnTo>
                      <a:pt x="118" y="298"/>
                    </a:lnTo>
                    <a:lnTo>
                      <a:pt x="112" y="292"/>
                    </a:lnTo>
                    <a:lnTo>
                      <a:pt x="100" y="290"/>
                    </a:lnTo>
                    <a:lnTo>
                      <a:pt x="92" y="298"/>
                    </a:lnTo>
                    <a:lnTo>
                      <a:pt x="92" y="298"/>
                    </a:lnTo>
                    <a:lnTo>
                      <a:pt x="90" y="298"/>
                    </a:lnTo>
                    <a:lnTo>
                      <a:pt x="82" y="300"/>
                    </a:lnTo>
                    <a:lnTo>
                      <a:pt x="82" y="300"/>
                    </a:lnTo>
                    <a:lnTo>
                      <a:pt x="82" y="300"/>
                    </a:lnTo>
                    <a:lnTo>
                      <a:pt x="82" y="300"/>
                    </a:lnTo>
                    <a:lnTo>
                      <a:pt x="80" y="300"/>
                    </a:lnTo>
                    <a:lnTo>
                      <a:pt x="80" y="300"/>
                    </a:lnTo>
                    <a:lnTo>
                      <a:pt x="80" y="298"/>
                    </a:lnTo>
                    <a:lnTo>
                      <a:pt x="78" y="274"/>
                    </a:lnTo>
                    <a:lnTo>
                      <a:pt x="76" y="268"/>
                    </a:lnTo>
                    <a:lnTo>
                      <a:pt x="76" y="260"/>
                    </a:lnTo>
                    <a:lnTo>
                      <a:pt x="74" y="260"/>
                    </a:lnTo>
                    <a:lnTo>
                      <a:pt x="72" y="268"/>
                    </a:lnTo>
                    <a:lnTo>
                      <a:pt x="72" y="268"/>
                    </a:lnTo>
                    <a:lnTo>
                      <a:pt x="72" y="268"/>
                    </a:lnTo>
                    <a:lnTo>
                      <a:pt x="68" y="272"/>
                    </a:lnTo>
                    <a:lnTo>
                      <a:pt x="68" y="272"/>
                    </a:lnTo>
                    <a:lnTo>
                      <a:pt x="68" y="272"/>
                    </a:lnTo>
                    <a:lnTo>
                      <a:pt x="52" y="272"/>
                    </a:lnTo>
                    <a:lnTo>
                      <a:pt x="52" y="272"/>
                    </a:lnTo>
                    <a:lnTo>
                      <a:pt x="50" y="272"/>
                    </a:lnTo>
                    <a:lnTo>
                      <a:pt x="42" y="264"/>
                    </a:lnTo>
                    <a:lnTo>
                      <a:pt x="36" y="254"/>
                    </a:lnTo>
                    <a:lnTo>
                      <a:pt x="36" y="254"/>
                    </a:lnTo>
                    <a:lnTo>
                      <a:pt x="36" y="252"/>
                    </a:lnTo>
                    <a:lnTo>
                      <a:pt x="36" y="246"/>
                    </a:lnTo>
                    <a:lnTo>
                      <a:pt x="36" y="246"/>
                    </a:lnTo>
                    <a:lnTo>
                      <a:pt x="38" y="246"/>
                    </a:lnTo>
                    <a:lnTo>
                      <a:pt x="36" y="244"/>
                    </a:lnTo>
                    <a:lnTo>
                      <a:pt x="36" y="244"/>
                    </a:lnTo>
                    <a:lnTo>
                      <a:pt x="36" y="244"/>
                    </a:lnTo>
                    <a:lnTo>
                      <a:pt x="36" y="244"/>
                    </a:lnTo>
                    <a:lnTo>
                      <a:pt x="34" y="244"/>
                    </a:lnTo>
                    <a:lnTo>
                      <a:pt x="34" y="244"/>
                    </a:lnTo>
                    <a:lnTo>
                      <a:pt x="34" y="244"/>
                    </a:lnTo>
                    <a:lnTo>
                      <a:pt x="34" y="244"/>
                    </a:lnTo>
                    <a:lnTo>
                      <a:pt x="32" y="244"/>
                    </a:lnTo>
                    <a:lnTo>
                      <a:pt x="22" y="234"/>
                    </a:lnTo>
                    <a:lnTo>
                      <a:pt x="22" y="234"/>
                    </a:lnTo>
                    <a:lnTo>
                      <a:pt x="22" y="232"/>
                    </a:lnTo>
                    <a:lnTo>
                      <a:pt x="26" y="222"/>
                    </a:lnTo>
                    <a:lnTo>
                      <a:pt x="30" y="218"/>
                    </a:lnTo>
                    <a:lnTo>
                      <a:pt x="40" y="210"/>
                    </a:lnTo>
                    <a:lnTo>
                      <a:pt x="40" y="204"/>
                    </a:lnTo>
                    <a:lnTo>
                      <a:pt x="40" y="204"/>
                    </a:lnTo>
                    <a:lnTo>
                      <a:pt x="40" y="204"/>
                    </a:lnTo>
                    <a:lnTo>
                      <a:pt x="44" y="198"/>
                    </a:lnTo>
                    <a:lnTo>
                      <a:pt x="44" y="198"/>
                    </a:lnTo>
                    <a:lnTo>
                      <a:pt x="46" y="198"/>
                    </a:lnTo>
                    <a:lnTo>
                      <a:pt x="54" y="198"/>
                    </a:lnTo>
                    <a:lnTo>
                      <a:pt x="64" y="198"/>
                    </a:lnTo>
                    <a:lnTo>
                      <a:pt x="72" y="192"/>
                    </a:lnTo>
                    <a:lnTo>
                      <a:pt x="78" y="188"/>
                    </a:lnTo>
                    <a:lnTo>
                      <a:pt x="96" y="186"/>
                    </a:lnTo>
                    <a:lnTo>
                      <a:pt x="96" y="176"/>
                    </a:lnTo>
                    <a:lnTo>
                      <a:pt x="90" y="168"/>
                    </a:lnTo>
                    <a:lnTo>
                      <a:pt x="90" y="168"/>
                    </a:lnTo>
                    <a:lnTo>
                      <a:pt x="90" y="166"/>
                    </a:lnTo>
                    <a:lnTo>
                      <a:pt x="94" y="162"/>
                    </a:lnTo>
                    <a:lnTo>
                      <a:pt x="92" y="160"/>
                    </a:lnTo>
                    <a:lnTo>
                      <a:pt x="86" y="160"/>
                    </a:lnTo>
                    <a:lnTo>
                      <a:pt x="80" y="164"/>
                    </a:lnTo>
                    <a:lnTo>
                      <a:pt x="70" y="170"/>
                    </a:lnTo>
                    <a:lnTo>
                      <a:pt x="70" y="170"/>
                    </a:lnTo>
                    <a:lnTo>
                      <a:pt x="68" y="170"/>
                    </a:lnTo>
                    <a:lnTo>
                      <a:pt x="68" y="170"/>
                    </a:lnTo>
                    <a:lnTo>
                      <a:pt x="22" y="168"/>
                    </a:lnTo>
                    <a:lnTo>
                      <a:pt x="22" y="168"/>
                    </a:lnTo>
                    <a:lnTo>
                      <a:pt x="20" y="168"/>
                    </a:lnTo>
                    <a:lnTo>
                      <a:pt x="12" y="162"/>
                    </a:lnTo>
                    <a:lnTo>
                      <a:pt x="12" y="162"/>
                    </a:lnTo>
                    <a:lnTo>
                      <a:pt x="12" y="158"/>
                    </a:lnTo>
                    <a:lnTo>
                      <a:pt x="18" y="152"/>
                    </a:lnTo>
                    <a:lnTo>
                      <a:pt x="18" y="152"/>
                    </a:lnTo>
                    <a:lnTo>
                      <a:pt x="6" y="152"/>
                    </a:lnTo>
                    <a:lnTo>
                      <a:pt x="6" y="152"/>
                    </a:lnTo>
                    <a:lnTo>
                      <a:pt x="4" y="150"/>
                    </a:lnTo>
                    <a:lnTo>
                      <a:pt x="0" y="142"/>
                    </a:lnTo>
                    <a:lnTo>
                      <a:pt x="0" y="142"/>
                    </a:lnTo>
                    <a:lnTo>
                      <a:pt x="0" y="140"/>
                    </a:lnTo>
                    <a:lnTo>
                      <a:pt x="10" y="134"/>
                    </a:lnTo>
                    <a:lnTo>
                      <a:pt x="20" y="126"/>
                    </a:lnTo>
                    <a:lnTo>
                      <a:pt x="20" y="126"/>
                    </a:lnTo>
                    <a:lnTo>
                      <a:pt x="20" y="126"/>
                    </a:lnTo>
                    <a:lnTo>
                      <a:pt x="32" y="122"/>
                    </a:lnTo>
                    <a:lnTo>
                      <a:pt x="46" y="116"/>
                    </a:lnTo>
                    <a:lnTo>
                      <a:pt x="46" y="116"/>
                    </a:lnTo>
                    <a:lnTo>
                      <a:pt x="48" y="116"/>
                    </a:lnTo>
                    <a:lnTo>
                      <a:pt x="48" y="116"/>
                    </a:lnTo>
                    <a:lnTo>
                      <a:pt x="48" y="116"/>
                    </a:lnTo>
                    <a:lnTo>
                      <a:pt x="56" y="118"/>
                    </a:lnTo>
                    <a:lnTo>
                      <a:pt x="56" y="118"/>
                    </a:lnTo>
                    <a:lnTo>
                      <a:pt x="56" y="120"/>
                    </a:lnTo>
                    <a:lnTo>
                      <a:pt x="58" y="126"/>
                    </a:lnTo>
                    <a:lnTo>
                      <a:pt x="66" y="130"/>
                    </a:lnTo>
                    <a:lnTo>
                      <a:pt x="80" y="130"/>
                    </a:lnTo>
                    <a:lnTo>
                      <a:pt x="90" y="128"/>
                    </a:lnTo>
                    <a:lnTo>
                      <a:pt x="102" y="122"/>
                    </a:lnTo>
                    <a:lnTo>
                      <a:pt x="102" y="120"/>
                    </a:lnTo>
                    <a:lnTo>
                      <a:pt x="98" y="120"/>
                    </a:lnTo>
                    <a:lnTo>
                      <a:pt x="94" y="122"/>
                    </a:lnTo>
                    <a:lnTo>
                      <a:pt x="94" y="122"/>
                    </a:lnTo>
                    <a:lnTo>
                      <a:pt x="92" y="122"/>
                    </a:lnTo>
                    <a:lnTo>
                      <a:pt x="92" y="122"/>
                    </a:lnTo>
                    <a:lnTo>
                      <a:pt x="80" y="120"/>
                    </a:lnTo>
                    <a:lnTo>
                      <a:pt x="80" y="120"/>
                    </a:lnTo>
                    <a:lnTo>
                      <a:pt x="78" y="118"/>
                    </a:lnTo>
                    <a:lnTo>
                      <a:pt x="78" y="112"/>
                    </a:lnTo>
                    <a:lnTo>
                      <a:pt x="78" y="112"/>
                    </a:lnTo>
                    <a:lnTo>
                      <a:pt x="78" y="110"/>
                    </a:lnTo>
                    <a:lnTo>
                      <a:pt x="80" y="110"/>
                    </a:lnTo>
                    <a:lnTo>
                      <a:pt x="76" y="108"/>
                    </a:lnTo>
                    <a:lnTo>
                      <a:pt x="60" y="112"/>
                    </a:lnTo>
                    <a:lnTo>
                      <a:pt x="60" y="112"/>
                    </a:lnTo>
                    <a:lnTo>
                      <a:pt x="60" y="112"/>
                    </a:lnTo>
                    <a:lnTo>
                      <a:pt x="60" y="112"/>
                    </a:lnTo>
                    <a:lnTo>
                      <a:pt x="58" y="110"/>
                    </a:lnTo>
                    <a:lnTo>
                      <a:pt x="54" y="100"/>
                    </a:lnTo>
                    <a:lnTo>
                      <a:pt x="44" y="94"/>
                    </a:lnTo>
                    <a:lnTo>
                      <a:pt x="40" y="88"/>
                    </a:lnTo>
                    <a:lnTo>
                      <a:pt x="34" y="84"/>
                    </a:lnTo>
                    <a:lnTo>
                      <a:pt x="24" y="84"/>
                    </a:lnTo>
                    <a:lnTo>
                      <a:pt x="24" y="84"/>
                    </a:lnTo>
                    <a:lnTo>
                      <a:pt x="24" y="84"/>
                    </a:lnTo>
                    <a:lnTo>
                      <a:pt x="18" y="76"/>
                    </a:lnTo>
                    <a:lnTo>
                      <a:pt x="18" y="76"/>
                    </a:lnTo>
                    <a:lnTo>
                      <a:pt x="18" y="76"/>
                    </a:lnTo>
                    <a:lnTo>
                      <a:pt x="20" y="62"/>
                    </a:lnTo>
                    <a:lnTo>
                      <a:pt x="20" y="62"/>
                    </a:lnTo>
                    <a:lnTo>
                      <a:pt x="20" y="62"/>
                    </a:lnTo>
                    <a:lnTo>
                      <a:pt x="52" y="58"/>
                    </a:lnTo>
                    <a:lnTo>
                      <a:pt x="62" y="50"/>
                    </a:lnTo>
                    <a:lnTo>
                      <a:pt x="66" y="40"/>
                    </a:lnTo>
                    <a:lnTo>
                      <a:pt x="66" y="40"/>
                    </a:lnTo>
                    <a:lnTo>
                      <a:pt x="66" y="38"/>
                    </a:lnTo>
                    <a:lnTo>
                      <a:pt x="78" y="26"/>
                    </a:lnTo>
                    <a:lnTo>
                      <a:pt x="78" y="26"/>
                    </a:lnTo>
                    <a:lnTo>
                      <a:pt x="80" y="26"/>
                    </a:lnTo>
                    <a:lnTo>
                      <a:pt x="94" y="26"/>
                    </a:lnTo>
                    <a:lnTo>
                      <a:pt x="108" y="18"/>
                    </a:lnTo>
                    <a:lnTo>
                      <a:pt x="108" y="18"/>
                    </a:lnTo>
                    <a:lnTo>
                      <a:pt x="108" y="18"/>
                    </a:lnTo>
                    <a:lnTo>
                      <a:pt x="114" y="18"/>
                    </a:lnTo>
                    <a:lnTo>
                      <a:pt x="116" y="12"/>
                    </a:lnTo>
                    <a:lnTo>
                      <a:pt x="116" y="12"/>
                    </a:lnTo>
                    <a:lnTo>
                      <a:pt x="118" y="12"/>
                    </a:lnTo>
                    <a:lnTo>
                      <a:pt x="140" y="10"/>
                    </a:lnTo>
                    <a:lnTo>
                      <a:pt x="156" y="0"/>
                    </a:lnTo>
                    <a:lnTo>
                      <a:pt x="156" y="0"/>
                    </a:lnTo>
                    <a:lnTo>
                      <a:pt x="158" y="0"/>
                    </a:lnTo>
                    <a:lnTo>
                      <a:pt x="158" y="0"/>
                    </a:lnTo>
                    <a:lnTo>
                      <a:pt x="170" y="2"/>
                    </a:lnTo>
                    <a:lnTo>
                      <a:pt x="170" y="2"/>
                    </a:lnTo>
                    <a:lnTo>
                      <a:pt x="172" y="4"/>
                    </a:lnTo>
                    <a:lnTo>
                      <a:pt x="172" y="4"/>
                    </a:lnTo>
                    <a:lnTo>
                      <a:pt x="172" y="6"/>
                    </a:lnTo>
                    <a:lnTo>
                      <a:pt x="168" y="10"/>
                    </a:lnTo>
                    <a:lnTo>
                      <a:pt x="170" y="12"/>
                    </a:lnTo>
                    <a:lnTo>
                      <a:pt x="182" y="8"/>
                    </a:lnTo>
                    <a:lnTo>
                      <a:pt x="182" y="8"/>
                    </a:lnTo>
                    <a:lnTo>
                      <a:pt x="182" y="8"/>
                    </a:lnTo>
                    <a:lnTo>
                      <a:pt x="182" y="8"/>
                    </a:lnTo>
                    <a:lnTo>
                      <a:pt x="184" y="8"/>
                    </a:lnTo>
                    <a:lnTo>
                      <a:pt x="190" y="12"/>
                    </a:lnTo>
                    <a:lnTo>
                      <a:pt x="218" y="14"/>
                    </a:lnTo>
                    <a:lnTo>
                      <a:pt x="218" y="14"/>
                    </a:lnTo>
                    <a:lnTo>
                      <a:pt x="220" y="16"/>
                    </a:lnTo>
                    <a:lnTo>
                      <a:pt x="220" y="20"/>
                    </a:lnTo>
                    <a:lnTo>
                      <a:pt x="240" y="22"/>
                    </a:lnTo>
                    <a:lnTo>
                      <a:pt x="264" y="22"/>
                    </a:lnTo>
                    <a:lnTo>
                      <a:pt x="284" y="28"/>
                    </a:lnTo>
                    <a:lnTo>
                      <a:pt x="306" y="32"/>
                    </a:lnTo>
                    <a:lnTo>
                      <a:pt x="324" y="36"/>
                    </a:lnTo>
                    <a:lnTo>
                      <a:pt x="324" y="36"/>
                    </a:lnTo>
                    <a:lnTo>
                      <a:pt x="350" y="32"/>
                    </a:lnTo>
                    <a:lnTo>
                      <a:pt x="350" y="32"/>
                    </a:lnTo>
                    <a:lnTo>
                      <a:pt x="352" y="32"/>
                    </a:lnTo>
                    <a:lnTo>
                      <a:pt x="356" y="36"/>
                    </a:lnTo>
                    <a:lnTo>
                      <a:pt x="374" y="44"/>
                    </a:lnTo>
                    <a:lnTo>
                      <a:pt x="374" y="44"/>
                    </a:lnTo>
                    <a:lnTo>
                      <a:pt x="376" y="46"/>
                    </a:lnTo>
                    <a:lnTo>
                      <a:pt x="376" y="258"/>
                    </a:lnTo>
                    <a:lnTo>
                      <a:pt x="382" y="262"/>
                    </a:lnTo>
                    <a:lnTo>
                      <a:pt x="388" y="258"/>
                    </a:lnTo>
                    <a:lnTo>
                      <a:pt x="396" y="256"/>
                    </a:lnTo>
                    <a:lnTo>
                      <a:pt x="396" y="256"/>
                    </a:lnTo>
                    <a:lnTo>
                      <a:pt x="396" y="256"/>
                    </a:lnTo>
                    <a:lnTo>
                      <a:pt x="396" y="256"/>
                    </a:lnTo>
                    <a:lnTo>
                      <a:pt x="398" y="256"/>
                    </a:lnTo>
                    <a:lnTo>
                      <a:pt x="406" y="266"/>
                    </a:lnTo>
                    <a:lnTo>
                      <a:pt x="418" y="276"/>
                    </a:lnTo>
                    <a:lnTo>
                      <a:pt x="426" y="282"/>
                    </a:lnTo>
                    <a:lnTo>
                      <a:pt x="432" y="282"/>
                    </a:lnTo>
                    <a:lnTo>
                      <a:pt x="434" y="278"/>
                    </a:lnTo>
                    <a:lnTo>
                      <a:pt x="434" y="278"/>
                    </a:lnTo>
                    <a:lnTo>
                      <a:pt x="434" y="276"/>
                    </a:lnTo>
                    <a:lnTo>
                      <a:pt x="442" y="272"/>
                    </a:lnTo>
                    <a:lnTo>
                      <a:pt x="450" y="268"/>
                    </a:lnTo>
                    <a:lnTo>
                      <a:pt x="450" y="268"/>
                    </a:lnTo>
                    <a:lnTo>
                      <a:pt x="452" y="268"/>
                    </a:lnTo>
                    <a:lnTo>
                      <a:pt x="452" y="268"/>
                    </a:lnTo>
                    <a:lnTo>
                      <a:pt x="452" y="270"/>
                    </a:lnTo>
                    <a:lnTo>
                      <a:pt x="486" y="304"/>
                    </a:lnTo>
                    <a:lnTo>
                      <a:pt x="496" y="322"/>
                    </a:lnTo>
                    <a:lnTo>
                      <a:pt x="504" y="332"/>
                    </a:lnTo>
                    <a:lnTo>
                      <a:pt x="514" y="338"/>
                    </a:lnTo>
                    <a:lnTo>
                      <a:pt x="526" y="346"/>
                    </a:lnTo>
                    <a:lnTo>
                      <a:pt x="526" y="346"/>
                    </a:lnTo>
                    <a:lnTo>
                      <a:pt x="528" y="348"/>
                    </a:lnTo>
                    <a:lnTo>
                      <a:pt x="530" y="354"/>
                    </a:lnTo>
                    <a:lnTo>
                      <a:pt x="530" y="354"/>
                    </a:lnTo>
                    <a:lnTo>
                      <a:pt x="530" y="356"/>
                    </a:lnTo>
                    <a:lnTo>
                      <a:pt x="526" y="370"/>
                    </a:lnTo>
                    <a:lnTo>
                      <a:pt x="526" y="370"/>
                    </a:lnTo>
                    <a:lnTo>
                      <a:pt x="524" y="372"/>
                    </a:lnTo>
                    <a:lnTo>
                      <a:pt x="512" y="374"/>
                    </a:lnTo>
                    <a:lnTo>
                      <a:pt x="512" y="374"/>
                    </a:lnTo>
                    <a:lnTo>
                      <a:pt x="512" y="374"/>
                    </a:lnTo>
                    <a:lnTo>
                      <a:pt x="512" y="3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2" name="Freeform 151"/>
              <p:cNvSpPr>
                <a:spLocks noEditPoints="1"/>
              </p:cNvSpPr>
              <p:nvPr/>
            </p:nvSpPr>
            <p:spPr bwMode="auto">
              <a:xfrm>
                <a:off x="495" y="1283"/>
                <a:ext cx="534" cy="378"/>
              </a:xfrm>
              <a:custGeom>
                <a:avLst/>
                <a:gdLst>
                  <a:gd name="T0" fmla="*/ 286 w 534"/>
                  <a:gd name="T1" fmla="*/ 32 h 378"/>
                  <a:gd name="T2" fmla="*/ 420 w 534"/>
                  <a:gd name="T3" fmla="*/ 280 h 378"/>
                  <a:gd name="T4" fmla="*/ 516 w 534"/>
                  <a:gd name="T5" fmla="*/ 342 h 378"/>
                  <a:gd name="T6" fmla="*/ 484 w 534"/>
                  <a:gd name="T7" fmla="*/ 328 h 378"/>
                  <a:gd name="T8" fmla="*/ 440 w 534"/>
                  <a:gd name="T9" fmla="*/ 304 h 378"/>
                  <a:gd name="T10" fmla="*/ 312 w 534"/>
                  <a:gd name="T11" fmla="*/ 260 h 378"/>
                  <a:gd name="T12" fmla="*/ 250 w 534"/>
                  <a:gd name="T13" fmla="*/ 276 h 378"/>
                  <a:gd name="T14" fmla="*/ 256 w 534"/>
                  <a:gd name="T15" fmla="*/ 236 h 378"/>
                  <a:gd name="T16" fmla="*/ 196 w 534"/>
                  <a:gd name="T17" fmla="*/ 302 h 378"/>
                  <a:gd name="T18" fmla="*/ 96 w 534"/>
                  <a:gd name="T19" fmla="*/ 364 h 378"/>
                  <a:gd name="T20" fmla="*/ 104 w 534"/>
                  <a:gd name="T21" fmla="*/ 346 h 378"/>
                  <a:gd name="T22" fmla="*/ 130 w 534"/>
                  <a:gd name="T23" fmla="*/ 292 h 378"/>
                  <a:gd name="T24" fmla="*/ 72 w 534"/>
                  <a:gd name="T25" fmla="*/ 270 h 378"/>
                  <a:gd name="T26" fmla="*/ 30 w 534"/>
                  <a:gd name="T27" fmla="*/ 224 h 378"/>
                  <a:gd name="T28" fmla="*/ 94 w 534"/>
                  <a:gd name="T29" fmla="*/ 168 h 378"/>
                  <a:gd name="T30" fmla="*/ 4 w 534"/>
                  <a:gd name="T31" fmla="*/ 144 h 378"/>
                  <a:gd name="T32" fmla="*/ 108 w 534"/>
                  <a:gd name="T33" fmla="*/ 120 h 378"/>
                  <a:gd name="T34" fmla="*/ 38 w 534"/>
                  <a:gd name="T35" fmla="*/ 84 h 378"/>
                  <a:gd name="T36" fmla="*/ 120 w 534"/>
                  <a:gd name="T37" fmla="*/ 16 h 378"/>
                  <a:gd name="T38" fmla="*/ 110 w 534"/>
                  <a:gd name="T39" fmla="*/ 18 h 378"/>
                  <a:gd name="T40" fmla="*/ 54 w 534"/>
                  <a:gd name="T41" fmla="*/ 58 h 378"/>
                  <a:gd name="T42" fmla="*/ 36 w 534"/>
                  <a:gd name="T43" fmla="*/ 88 h 378"/>
                  <a:gd name="T44" fmla="*/ 62 w 534"/>
                  <a:gd name="T45" fmla="*/ 116 h 378"/>
                  <a:gd name="T46" fmla="*/ 92 w 534"/>
                  <a:gd name="T47" fmla="*/ 128 h 378"/>
                  <a:gd name="T48" fmla="*/ 48 w 534"/>
                  <a:gd name="T49" fmla="*/ 116 h 378"/>
                  <a:gd name="T50" fmla="*/ 4 w 534"/>
                  <a:gd name="T51" fmla="*/ 152 h 378"/>
                  <a:gd name="T52" fmla="*/ 70 w 534"/>
                  <a:gd name="T53" fmla="*/ 174 h 378"/>
                  <a:gd name="T54" fmla="*/ 92 w 534"/>
                  <a:gd name="T55" fmla="*/ 166 h 378"/>
                  <a:gd name="T56" fmla="*/ 66 w 534"/>
                  <a:gd name="T57" fmla="*/ 198 h 378"/>
                  <a:gd name="T58" fmla="*/ 32 w 534"/>
                  <a:gd name="T59" fmla="*/ 218 h 378"/>
                  <a:gd name="T60" fmla="*/ 32 w 534"/>
                  <a:gd name="T61" fmla="*/ 248 h 378"/>
                  <a:gd name="T62" fmla="*/ 36 w 534"/>
                  <a:gd name="T63" fmla="*/ 258 h 378"/>
                  <a:gd name="T64" fmla="*/ 76 w 534"/>
                  <a:gd name="T65" fmla="*/ 272 h 378"/>
                  <a:gd name="T66" fmla="*/ 92 w 534"/>
                  <a:gd name="T67" fmla="*/ 302 h 378"/>
                  <a:gd name="T68" fmla="*/ 130 w 534"/>
                  <a:gd name="T69" fmla="*/ 300 h 378"/>
                  <a:gd name="T70" fmla="*/ 138 w 534"/>
                  <a:gd name="T71" fmla="*/ 318 h 378"/>
                  <a:gd name="T72" fmla="*/ 92 w 534"/>
                  <a:gd name="T73" fmla="*/ 348 h 378"/>
                  <a:gd name="T74" fmla="*/ 68 w 534"/>
                  <a:gd name="T75" fmla="*/ 370 h 378"/>
                  <a:gd name="T76" fmla="*/ 86 w 534"/>
                  <a:gd name="T77" fmla="*/ 372 h 378"/>
                  <a:gd name="T78" fmla="*/ 108 w 534"/>
                  <a:gd name="T79" fmla="*/ 360 h 378"/>
                  <a:gd name="T80" fmla="*/ 180 w 534"/>
                  <a:gd name="T81" fmla="*/ 320 h 378"/>
                  <a:gd name="T82" fmla="*/ 204 w 534"/>
                  <a:gd name="T83" fmla="*/ 290 h 378"/>
                  <a:gd name="T84" fmla="*/ 228 w 534"/>
                  <a:gd name="T85" fmla="*/ 256 h 378"/>
                  <a:gd name="T86" fmla="*/ 230 w 534"/>
                  <a:gd name="T87" fmla="*/ 292 h 378"/>
                  <a:gd name="T88" fmla="*/ 284 w 534"/>
                  <a:gd name="T89" fmla="*/ 270 h 378"/>
                  <a:gd name="T90" fmla="*/ 306 w 534"/>
                  <a:gd name="T91" fmla="*/ 258 h 378"/>
                  <a:gd name="T92" fmla="*/ 380 w 534"/>
                  <a:gd name="T93" fmla="*/ 280 h 378"/>
                  <a:gd name="T94" fmla="*/ 426 w 534"/>
                  <a:gd name="T95" fmla="*/ 304 h 378"/>
                  <a:gd name="T96" fmla="*/ 452 w 534"/>
                  <a:gd name="T97" fmla="*/ 310 h 378"/>
                  <a:gd name="T98" fmla="*/ 478 w 534"/>
                  <a:gd name="T99" fmla="*/ 322 h 378"/>
                  <a:gd name="T100" fmla="*/ 514 w 534"/>
                  <a:gd name="T101" fmla="*/ 364 h 378"/>
                  <a:gd name="T102" fmla="*/ 530 w 534"/>
                  <a:gd name="T103" fmla="*/ 372 h 378"/>
                  <a:gd name="T104" fmla="*/ 490 w 534"/>
                  <a:gd name="T105" fmla="*/ 304 h 378"/>
                  <a:gd name="T106" fmla="*/ 436 w 534"/>
                  <a:gd name="T107" fmla="*/ 276 h 378"/>
                  <a:gd name="T108" fmla="*/ 398 w 534"/>
                  <a:gd name="T109" fmla="*/ 256 h 378"/>
                  <a:gd name="T110" fmla="*/ 360 w 534"/>
                  <a:gd name="T111" fmla="*/ 36 h 378"/>
                  <a:gd name="T112" fmla="*/ 266 w 534"/>
                  <a:gd name="T113" fmla="*/ 22 h 378"/>
                  <a:gd name="T114" fmla="*/ 184 w 534"/>
                  <a:gd name="T115" fmla="*/ 8 h 378"/>
                  <a:gd name="T116" fmla="*/ 160 w 534"/>
                  <a:gd name="T1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378">
                    <a:moveTo>
                      <a:pt x="160" y="4"/>
                    </a:moveTo>
                    <a:lnTo>
                      <a:pt x="172" y="6"/>
                    </a:lnTo>
                    <a:lnTo>
                      <a:pt x="168" y="12"/>
                    </a:lnTo>
                    <a:lnTo>
                      <a:pt x="172" y="16"/>
                    </a:lnTo>
                    <a:lnTo>
                      <a:pt x="184" y="12"/>
                    </a:lnTo>
                    <a:lnTo>
                      <a:pt x="192" y="16"/>
                    </a:lnTo>
                    <a:lnTo>
                      <a:pt x="220" y="18"/>
                    </a:lnTo>
                    <a:lnTo>
                      <a:pt x="220" y="24"/>
                    </a:lnTo>
                    <a:lnTo>
                      <a:pt x="240" y="26"/>
                    </a:lnTo>
                    <a:lnTo>
                      <a:pt x="266" y="26"/>
                    </a:lnTo>
                    <a:lnTo>
                      <a:pt x="286" y="32"/>
                    </a:lnTo>
                    <a:lnTo>
                      <a:pt x="308" y="36"/>
                    </a:lnTo>
                    <a:lnTo>
                      <a:pt x="326" y="40"/>
                    </a:lnTo>
                    <a:lnTo>
                      <a:pt x="352" y="36"/>
                    </a:lnTo>
                    <a:lnTo>
                      <a:pt x="358" y="40"/>
                    </a:lnTo>
                    <a:lnTo>
                      <a:pt x="376" y="48"/>
                    </a:lnTo>
                    <a:lnTo>
                      <a:pt x="376" y="262"/>
                    </a:lnTo>
                    <a:lnTo>
                      <a:pt x="384" y="266"/>
                    </a:lnTo>
                    <a:lnTo>
                      <a:pt x="392" y="262"/>
                    </a:lnTo>
                    <a:lnTo>
                      <a:pt x="398" y="260"/>
                    </a:lnTo>
                    <a:lnTo>
                      <a:pt x="406" y="270"/>
                    </a:lnTo>
                    <a:lnTo>
                      <a:pt x="420" y="280"/>
                    </a:lnTo>
                    <a:lnTo>
                      <a:pt x="426" y="288"/>
                    </a:lnTo>
                    <a:lnTo>
                      <a:pt x="436" y="286"/>
                    </a:lnTo>
                    <a:lnTo>
                      <a:pt x="438" y="280"/>
                    </a:lnTo>
                    <a:lnTo>
                      <a:pt x="444" y="276"/>
                    </a:lnTo>
                    <a:lnTo>
                      <a:pt x="454" y="272"/>
                    </a:lnTo>
                    <a:lnTo>
                      <a:pt x="464" y="284"/>
                    </a:lnTo>
                    <a:lnTo>
                      <a:pt x="472" y="292"/>
                    </a:lnTo>
                    <a:lnTo>
                      <a:pt x="488" y="306"/>
                    </a:lnTo>
                    <a:lnTo>
                      <a:pt x="496" y="324"/>
                    </a:lnTo>
                    <a:lnTo>
                      <a:pt x="504" y="336"/>
                    </a:lnTo>
                    <a:lnTo>
                      <a:pt x="516" y="342"/>
                    </a:lnTo>
                    <a:lnTo>
                      <a:pt x="528" y="350"/>
                    </a:lnTo>
                    <a:lnTo>
                      <a:pt x="530" y="356"/>
                    </a:lnTo>
                    <a:lnTo>
                      <a:pt x="526" y="372"/>
                    </a:lnTo>
                    <a:lnTo>
                      <a:pt x="514" y="374"/>
                    </a:lnTo>
                    <a:lnTo>
                      <a:pt x="518" y="366"/>
                    </a:lnTo>
                    <a:lnTo>
                      <a:pt x="518" y="356"/>
                    </a:lnTo>
                    <a:lnTo>
                      <a:pt x="514" y="356"/>
                    </a:lnTo>
                    <a:lnTo>
                      <a:pt x="508" y="350"/>
                    </a:lnTo>
                    <a:lnTo>
                      <a:pt x="506" y="348"/>
                    </a:lnTo>
                    <a:lnTo>
                      <a:pt x="492" y="336"/>
                    </a:lnTo>
                    <a:lnTo>
                      <a:pt x="484" y="328"/>
                    </a:lnTo>
                    <a:lnTo>
                      <a:pt x="482" y="322"/>
                    </a:lnTo>
                    <a:lnTo>
                      <a:pt x="472" y="310"/>
                    </a:lnTo>
                    <a:lnTo>
                      <a:pt x="466" y="304"/>
                    </a:lnTo>
                    <a:lnTo>
                      <a:pt x="462" y="300"/>
                    </a:lnTo>
                    <a:lnTo>
                      <a:pt x="456" y="288"/>
                    </a:lnTo>
                    <a:lnTo>
                      <a:pt x="452" y="292"/>
                    </a:lnTo>
                    <a:lnTo>
                      <a:pt x="456" y="304"/>
                    </a:lnTo>
                    <a:lnTo>
                      <a:pt x="452" y="306"/>
                    </a:lnTo>
                    <a:lnTo>
                      <a:pt x="446" y="302"/>
                    </a:lnTo>
                    <a:lnTo>
                      <a:pt x="442" y="298"/>
                    </a:lnTo>
                    <a:lnTo>
                      <a:pt x="440" y="304"/>
                    </a:lnTo>
                    <a:lnTo>
                      <a:pt x="428" y="302"/>
                    </a:lnTo>
                    <a:lnTo>
                      <a:pt x="414" y="294"/>
                    </a:lnTo>
                    <a:lnTo>
                      <a:pt x="394" y="282"/>
                    </a:lnTo>
                    <a:lnTo>
                      <a:pt x="392" y="274"/>
                    </a:lnTo>
                    <a:lnTo>
                      <a:pt x="380" y="276"/>
                    </a:lnTo>
                    <a:lnTo>
                      <a:pt x="370" y="270"/>
                    </a:lnTo>
                    <a:lnTo>
                      <a:pt x="358" y="270"/>
                    </a:lnTo>
                    <a:lnTo>
                      <a:pt x="338" y="270"/>
                    </a:lnTo>
                    <a:lnTo>
                      <a:pt x="330" y="270"/>
                    </a:lnTo>
                    <a:lnTo>
                      <a:pt x="324" y="262"/>
                    </a:lnTo>
                    <a:lnTo>
                      <a:pt x="312" y="260"/>
                    </a:lnTo>
                    <a:lnTo>
                      <a:pt x="308" y="254"/>
                    </a:lnTo>
                    <a:lnTo>
                      <a:pt x="298" y="250"/>
                    </a:lnTo>
                    <a:lnTo>
                      <a:pt x="286" y="248"/>
                    </a:lnTo>
                    <a:lnTo>
                      <a:pt x="274" y="248"/>
                    </a:lnTo>
                    <a:lnTo>
                      <a:pt x="274" y="254"/>
                    </a:lnTo>
                    <a:lnTo>
                      <a:pt x="278" y="260"/>
                    </a:lnTo>
                    <a:lnTo>
                      <a:pt x="282" y="268"/>
                    </a:lnTo>
                    <a:lnTo>
                      <a:pt x="278" y="270"/>
                    </a:lnTo>
                    <a:lnTo>
                      <a:pt x="264" y="270"/>
                    </a:lnTo>
                    <a:lnTo>
                      <a:pt x="256" y="270"/>
                    </a:lnTo>
                    <a:lnTo>
                      <a:pt x="250" y="276"/>
                    </a:lnTo>
                    <a:lnTo>
                      <a:pt x="240" y="284"/>
                    </a:lnTo>
                    <a:lnTo>
                      <a:pt x="230" y="288"/>
                    </a:lnTo>
                    <a:lnTo>
                      <a:pt x="224" y="280"/>
                    </a:lnTo>
                    <a:lnTo>
                      <a:pt x="226" y="270"/>
                    </a:lnTo>
                    <a:lnTo>
                      <a:pt x="230" y="264"/>
                    </a:lnTo>
                    <a:lnTo>
                      <a:pt x="232" y="254"/>
                    </a:lnTo>
                    <a:lnTo>
                      <a:pt x="236" y="252"/>
                    </a:lnTo>
                    <a:lnTo>
                      <a:pt x="242" y="250"/>
                    </a:lnTo>
                    <a:lnTo>
                      <a:pt x="252" y="248"/>
                    </a:lnTo>
                    <a:lnTo>
                      <a:pt x="256" y="240"/>
                    </a:lnTo>
                    <a:lnTo>
                      <a:pt x="256" y="236"/>
                    </a:lnTo>
                    <a:lnTo>
                      <a:pt x="246" y="242"/>
                    </a:lnTo>
                    <a:lnTo>
                      <a:pt x="238" y="244"/>
                    </a:lnTo>
                    <a:lnTo>
                      <a:pt x="220" y="256"/>
                    </a:lnTo>
                    <a:lnTo>
                      <a:pt x="212" y="264"/>
                    </a:lnTo>
                    <a:lnTo>
                      <a:pt x="212" y="270"/>
                    </a:lnTo>
                    <a:lnTo>
                      <a:pt x="208" y="276"/>
                    </a:lnTo>
                    <a:lnTo>
                      <a:pt x="198" y="278"/>
                    </a:lnTo>
                    <a:lnTo>
                      <a:pt x="194" y="286"/>
                    </a:lnTo>
                    <a:lnTo>
                      <a:pt x="200" y="292"/>
                    </a:lnTo>
                    <a:lnTo>
                      <a:pt x="202" y="296"/>
                    </a:lnTo>
                    <a:lnTo>
                      <a:pt x="196" y="302"/>
                    </a:lnTo>
                    <a:lnTo>
                      <a:pt x="188" y="308"/>
                    </a:lnTo>
                    <a:lnTo>
                      <a:pt x="178" y="316"/>
                    </a:lnTo>
                    <a:lnTo>
                      <a:pt x="160" y="326"/>
                    </a:lnTo>
                    <a:lnTo>
                      <a:pt x="140" y="338"/>
                    </a:lnTo>
                    <a:lnTo>
                      <a:pt x="134" y="342"/>
                    </a:lnTo>
                    <a:lnTo>
                      <a:pt x="132" y="348"/>
                    </a:lnTo>
                    <a:lnTo>
                      <a:pt x="122" y="354"/>
                    </a:lnTo>
                    <a:lnTo>
                      <a:pt x="118" y="356"/>
                    </a:lnTo>
                    <a:lnTo>
                      <a:pt x="106" y="356"/>
                    </a:lnTo>
                    <a:lnTo>
                      <a:pt x="102" y="360"/>
                    </a:lnTo>
                    <a:lnTo>
                      <a:pt x="96" y="364"/>
                    </a:lnTo>
                    <a:lnTo>
                      <a:pt x="90" y="360"/>
                    </a:lnTo>
                    <a:lnTo>
                      <a:pt x="86" y="362"/>
                    </a:lnTo>
                    <a:lnTo>
                      <a:pt x="84" y="370"/>
                    </a:lnTo>
                    <a:lnTo>
                      <a:pt x="78" y="372"/>
                    </a:lnTo>
                    <a:lnTo>
                      <a:pt x="70" y="372"/>
                    </a:lnTo>
                    <a:lnTo>
                      <a:pt x="72" y="364"/>
                    </a:lnTo>
                    <a:lnTo>
                      <a:pt x="78" y="356"/>
                    </a:lnTo>
                    <a:lnTo>
                      <a:pt x="84" y="354"/>
                    </a:lnTo>
                    <a:lnTo>
                      <a:pt x="92" y="352"/>
                    </a:lnTo>
                    <a:lnTo>
                      <a:pt x="102" y="352"/>
                    </a:lnTo>
                    <a:lnTo>
                      <a:pt x="104" y="346"/>
                    </a:lnTo>
                    <a:lnTo>
                      <a:pt x="114" y="342"/>
                    </a:lnTo>
                    <a:lnTo>
                      <a:pt x="128" y="332"/>
                    </a:lnTo>
                    <a:lnTo>
                      <a:pt x="136" y="322"/>
                    </a:lnTo>
                    <a:lnTo>
                      <a:pt x="142" y="322"/>
                    </a:lnTo>
                    <a:lnTo>
                      <a:pt x="146" y="310"/>
                    </a:lnTo>
                    <a:lnTo>
                      <a:pt x="146" y="302"/>
                    </a:lnTo>
                    <a:lnTo>
                      <a:pt x="152" y="298"/>
                    </a:lnTo>
                    <a:lnTo>
                      <a:pt x="154" y="290"/>
                    </a:lnTo>
                    <a:lnTo>
                      <a:pt x="146" y="292"/>
                    </a:lnTo>
                    <a:lnTo>
                      <a:pt x="134" y="298"/>
                    </a:lnTo>
                    <a:lnTo>
                      <a:pt x="130" y="292"/>
                    </a:lnTo>
                    <a:lnTo>
                      <a:pt x="126" y="298"/>
                    </a:lnTo>
                    <a:lnTo>
                      <a:pt x="122" y="300"/>
                    </a:lnTo>
                    <a:lnTo>
                      <a:pt x="116" y="292"/>
                    </a:lnTo>
                    <a:lnTo>
                      <a:pt x="102" y="290"/>
                    </a:lnTo>
                    <a:lnTo>
                      <a:pt x="92" y="298"/>
                    </a:lnTo>
                    <a:lnTo>
                      <a:pt x="84" y="300"/>
                    </a:lnTo>
                    <a:lnTo>
                      <a:pt x="82" y="276"/>
                    </a:lnTo>
                    <a:lnTo>
                      <a:pt x="80" y="270"/>
                    </a:lnTo>
                    <a:lnTo>
                      <a:pt x="80" y="260"/>
                    </a:lnTo>
                    <a:lnTo>
                      <a:pt x="74" y="260"/>
                    </a:lnTo>
                    <a:lnTo>
                      <a:pt x="72" y="270"/>
                    </a:lnTo>
                    <a:lnTo>
                      <a:pt x="70" y="272"/>
                    </a:lnTo>
                    <a:lnTo>
                      <a:pt x="54" y="272"/>
                    </a:lnTo>
                    <a:lnTo>
                      <a:pt x="46" y="266"/>
                    </a:lnTo>
                    <a:lnTo>
                      <a:pt x="40" y="254"/>
                    </a:lnTo>
                    <a:lnTo>
                      <a:pt x="40" y="250"/>
                    </a:lnTo>
                    <a:lnTo>
                      <a:pt x="46" y="250"/>
                    </a:lnTo>
                    <a:lnTo>
                      <a:pt x="40" y="244"/>
                    </a:lnTo>
                    <a:lnTo>
                      <a:pt x="40" y="236"/>
                    </a:lnTo>
                    <a:lnTo>
                      <a:pt x="36" y="244"/>
                    </a:lnTo>
                    <a:lnTo>
                      <a:pt x="24" y="236"/>
                    </a:lnTo>
                    <a:lnTo>
                      <a:pt x="30" y="224"/>
                    </a:lnTo>
                    <a:lnTo>
                      <a:pt x="34" y="220"/>
                    </a:lnTo>
                    <a:lnTo>
                      <a:pt x="44" y="214"/>
                    </a:lnTo>
                    <a:lnTo>
                      <a:pt x="44" y="206"/>
                    </a:lnTo>
                    <a:lnTo>
                      <a:pt x="48" y="202"/>
                    </a:lnTo>
                    <a:lnTo>
                      <a:pt x="56" y="202"/>
                    </a:lnTo>
                    <a:lnTo>
                      <a:pt x="68" y="202"/>
                    </a:lnTo>
                    <a:lnTo>
                      <a:pt x="74" y="196"/>
                    </a:lnTo>
                    <a:lnTo>
                      <a:pt x="82" y="192"/>
                    </a:lnTo>
                    <a:lnTo>
                      <a:pt x="102" y="190"/>
                    </a:lnTo>
                    <a:lnTo>
                      <a:pt x="100" y="178"/>
                    </a:lnTo>
                    <a:lnTo>
                      <a:pt x="94" y="168"/>
                    </a:lnTo>
                    <a:lnTo>
                      <a:pt x="100" y="164"/>
                    </a:lnTo>
                    <a:lnTo>
                      <a:pt x="96" y="160"/>
                    </a:lnTo>
                    <a:lnTo>
                      <a:pt x="86" y="160"/>
                    </a:lnTo>
                    <a:lnTo>
                      <a:pt x="80" y="166"/>
                    </a:lnTo>
                    <a:lnTo>
                      <a:pt x="70" y="170"/>
                    </a:lnTo>
                    <a:lnTo>
                      <a:pt x="24" y="168"/>
                    </a:lnTo>
                    <a:lnTo>
                      <a:pt x="16" y="162"/>
                    </a:lnTo>
                    <a:lnTo>
                      <a:pt x="22" y="154"/>
                    </a:lnTo>
                    <a:lnTo>
                      <a:pt x="22" y="152"/>
                    </a:lnTo>
                    <a:lnTo>
                      <a:pt x="8" y="152"/>
                    </a:lnTo>
                    <a:lnTo>
                      <a:pt x="4" y="144"/>
                    </a:lnTo>
                    <a:lnTo>
                      <a:pt x="12" y="138"/>
                    </a:lnTo>
                    <a:lnTo>
                      <a:pt x="24" y="130"/>
                    </a:lnTo>
                    <a:lnTo>
                      <a:pt x="36" y="126"/>
                    </a:lnTo>
                    <a:lnTo>
                      <a:pt x="50" y="120"/>
                    </a:lnTo>
                    <a:lnTo>
                      <a:pt x="56" y="122"/>
                    </a:lnTo>
                    <a:lnTo>
                      <a:pt x="58" y="130"/>
                    </a:lnTo>
                    <a:lnTo>
                      <a:pt x="68" y="134"/>
                    </a:lnTo>
                    <a:lnTo>
                      <a:pt x="82" y="134"/>
                    </a:lnTo>
                    <a:lnTo>
                      <a:pt x="92" y="132"/>
                    </a:lnTo>
                    <a:lnTo>
                      <a:pt x="104" y="126"/>
                    </a:lnTo>
                    <a:lnTo>
                      <a:pt x="108" y="120"/>
                    </a:lnTo>
                    <a:lnTo>
                      <a:pt x="100" y="118"/>
                    </a:lnTo>
                    <a:lnTo>
                      <a:pt x="94" y="122"/>
                    </a:lnTo>
                    <a:lnTo>
                      <a:pt x="82" y="120"/>
                    </a:lnTo>
                    <a:lnTo>
                      <a:pt x="82" y="114"/>
                    </a:lnTo>
                    <a:lnTo>
                      <a:pt x="86" y="110"/>
                    </a:lnTo>
                    <a:lnTo>
                      <a:pt x="78" y="108"/>
                    </a:lnTo>
                    <a:lnTo>
                      <a:pt x="62" y="112"/>
                    </a:lnTo>
                    <a:lnTo>
                      <a:pt x="56" y="100"/>
                    </a:lnTo>
                    <a:lnTo>
                      <a:pt x="48" y="94"/>
                    </a:lnTo>
                    <a:lnTo>
                      <a:pt x="42" y="88"/>
                    </a:lnTo>
                    <a:lnTo>
                      <a:pt x="38" y="84"/>
                    </a:lnTo>
                    <a:lnTo>
                      <a:pt x="26" y="84"/>
                    </a:lnTo>
                    <a:lnTo>
                      <a:pt x="22" y="78"/>
                    </a:lnTo>
                    <a:lnTo>
                      <a:pt x="24" y="66"/>
                    </a:lnTo>
                    <a:lnTo>
                      <a:pt x="56" y="62"/>
                    </a:lnTo>
                    <a:lnTo>
                      <a:pt x="66" y="52"/>
                    </a:lnTo>
                    <a:lnTo>
                      <a:pt x="70" y="42"/>
                    </a:lnTo>
                    <a:lnTo>
                      <a:pt x="82" y="30"/>
                    </a:lnTo>
                    <a:lnTo>
                      <a:pt x="96" y="30"/>
                    </a:lnTo>
                    <a:lnTo>
                      <a:pt x="110" y="22"/>
                    </a:lnTo>
                    <a:lnTo>
                      <a:pt x="116" y="22"/>
                    </a:lnTo>
                    <a:lnTo>
                      <a:pt x="120" y="16"/>
                    </a:lnTo>
                    <a:lnTo>
                      <a:pt x="144" y="14"/>
                    </a:lnTo>
                    <a:lnTo>
                      <a:pt x="160" y="4"/>
                    </a:lnTo>
                    <a:close/>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3" name="Freeform 152"/>
              <p:cNvSpPr>
                <a:spLocks/>
              </p:cNvSpPr>
              <p:nvPr/>
            </p:nvSpPr>
            <p:spPr bwMode="auto">
              <a:xfrm>
                <a:off x="499" y="1287"/>
                <a:ext cx="526" cy="370"/>
              </a:xfrm>
              <a:custGeom>
                <a:avLst/>
                <a:gdLst>
                  <a:gd name="T0" fmla="*/ 168 w 526"/>
                  <a:gd name="T1" fmla="*/ 12 h 370"/>
                  <a:gd name="T2" fmla="*/ 216 w 526"/>
                  <a:gd name="T3" fmla="*/ 20 h 370"/>
                  <a:gd name="T4" fmla="*/ 304 w 526"/>
                  <a:gd name="T5" fmla="*/ 32 h 370"/>
                  <a:gd name="T6" fmla="*/ 372 w 526"/>
                  <a:gd name="T7" fmla="*/ 44 h 370"/>
                  <a:gd name="T8" fmla="*/ 394 w 526"/>
                  <a:gd name="T9" fmla="*/ 256 h 370"/>
                  <a:gd name="T10" fmla="*/ 432 w 526"/>
                  <a:gd name="T11" fmla="*/ 282 h 370"/>
                  <a:gd name="T12" fmla="*/ 460 w 526"/>
                  <a:gd name="T13" fmla="*/ 280 h 370"/>
                  <a:gd name="T14" fmla="*/ 500 w 526"/>
                  <a:gd name="T15" fmla="*/ 332 h 370"/>
                  <a:gd name="T16" fmla="*/ 522 w 526"/>
                  <a:gd name="T17" fmla="*/ 368 h 370"/>
                  <a:gd name="T18" fmla="*/ 510 w 526"/>
                  <a:gd name="T19" fmla="*/ 352 h 370"/>
                  <a:gd name="T20" fmla="*/ 480 w 526"/>
                  <a:gd name="T21" fmla="*/ 324 h 370"/>
                  <a:gd name="T22" fmla="*/ 458 w 526"/>
                  <a:gd name="T23" fmla="*/ 296 h 370"/>
                  <a:gd name="T24" fmla="*/ 448 w 526"/>
                  <a:gd name="T25" fmla="*/ 302 h 370"/>
                  <a:gd name="T26" fmla="*/ 424 w 526"/>
                  <a:gd name="T27" fmla="*/ 298 h 370"/>
                  <a:gd name="T28" fmla="*/ 376 w 526"/>
                  <a:gd name="T29" fmla="*/ 272 h 370"/>
                  <a:gd name="T30" fmla="*/ 326 w 526"/>
                  <a:gd name="T31" fmla="*/ 266 h 370"/>
                  <a:gd name="T32" fmla="*/ 294 w 526"/>
                  <a:gd name="T33" fmla="*/ 246 h 370"/>
                  <a:gd name="T34" fmla="*/ 274 w 526"/>
                  <a:gd name="T35" fmla="*/ 256 h 370"/>
                  <a:gd name="T36" fmla="*/ 252 w 526"/>
                  <a:gd name="T37" fmla="*/ 266 h 370"/>
                  <a:gd name="T38" fmla="*/ 220 w 526"/>
                  <a:gd name="T39" fmla="*/ 276 h 370"/>
                  <a:gd name="T40" fmla="*/ 232 w 526"/>
                  <a:gd name="T41" fmla="*/ 248 h 370"/>
                  <a:gd name="T42" fmla="*/ 252 w 526"/>
                  <a:gd name="T43" fmla="*/ 232 h 370"/>
                  <a:gd name="T44" fmla="*/ 208 w 526"/>
                  <a:gd name="T45" fmla="*/ 260 h 370"/>
                  <a:gd name="T46" fmla="*/ 190 w 526"/>
                  <a:gd name="T47" fmla="*/ 282 h 370"/>
                  <a:gd name="T48" fmla="*/ 184 w 526"/>
                  <a:gd name="T49" fmla="*/ 304 h 370"/>
                  <a:gd name="T50" fmla="*/ 130 w 526"/>
                  <a:gd name="T51" fmla="*/ 338 h 370"/>
                  <a:gd name="T52" fmla="*/ 102 w 526"/>
                  <a:gd name="T53" fmla="*/ 352 h 370"/>
                  <a:gd name="T54" fmla="*/ 82 w 526"/>
                  <a:gd name="T55" fmla="*/ 358 h 370"/>
                  <a:gd name="T56" fmla="*/ 68 w 526"/>
                  <a:gd name="T57" fmla="*/ 360 h 370"/>
                  <a:gd name="T58" fmla="*/ 98 w 526"/>
                  <a:gd name="T59" fmla="*/ 348 h 370"/>
                  <a:gd name="T60" fmla="*/ 132 w 526"/>
                  <a:gd name="T61" fmla="*/ 318 h 370"/>
                  <a:gd name="T62" fmla="*/ 148 w 526"/>
                  <a:gd name="T63" fmla="*/ 294 h 370"/>
                  <a:gd name="T64" fmla="*/ 126 w 526"/>
                  <a:gd name="T65" fmla="*/ 288 h 370"/>
                  <a:gd name="T66" fmla="*/ 98 w 526"/>
                  <a:gd name="T67" fmla="*/ 286 h 370"/>
                  <a:gd name="T68" fmla="*/ 76 w 526"/>
                  <a:gd name="T69" fmla="*/ 266 h 370"/>
                  <a:gd name="T70" fmla="*/ 66 w 526"/>
                  <a:gd name="T71" fmla="*/ 268 h 370"/>
                  <a:gd name="T72" fmla="*/ 36 w 526"/>
                  <a:gd name="T73" fmla="*/ 246 h 370"/>
                  <a:gd name="T74" fmla="*/ 32 w 526"/>
                  <a:gd name="T75" fmla="*/ 240 h 370"/>
                  <a:gd name="T76" fmla="*/ 40 w 526"/>
                  <a:gd name="T77" fmla="*/ 210 h 370"/>
                  <a:gd name="T78" fmla="*/ 64 w 526"/>
                  <a:gd name="T79" fmla="*/ 198 h 370"/>
                  <a:gd name="T80" fmla="*/ 96 w 526"/>
                  <a:gd name="T81" fmla="*/ 174 h 370"/>
                  <a:gd name="T82" fmla="*/ 82 w 526"/>
                  <a:gd name="T83" fmla="*/ 156 h 370"/>
                  <a:gd name="T84" fmla="*/ 12 w 526"/>
                  <a:gd name="T85" fmla="*/ 158 h 370"/>
                  <a:gd name="T86" fmla="*/ 0 w 526"/>
                  <a:gd name="T87" fmla="*/ 140 h 370"/>
                  <a:gd name="T88" fmla="*/ 46 w 526"/>
                  <a:gd name="T89" fmla="*/ 116 h 370"/>
                  <a:gd name="T90" fmla="*/ 78 w 526"/>
                  <a:gd name="T91" fmla="*/ 130 h 370"/>
                  <a:gd name="T92" fmla="*/ 96 w 526"/>
                  <a:gd name="T93" fmla="*/ 114 h 370"/>
                  <a:gd name="T94" fmla="*/ 82 w 526"/>
                  <a:gd name="T95" fmla="*/ 106 h 370"/>
                  <a:gd name="T96" fmla="*/ 44 w 526"/>
                  <a:gd name="T97" fmla="*/ 90 h 370"/>
                  <a:gd name="T98" fmla="*/ 18 w 526"/>
                  <a:gd name="T99" fmla="*/ 74 h 370"/>
                  <a:gd name="T100" fmla="*/ 66 w 526"/>
                  <a:gd name="T101" fmla="*/ 38 h 370"/>
                  <a:gd name="T102" fmla="*/ 112 w 526"/>
                  <a:gd name="T103" fmla="*/ 1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6" h="370">
                    <a:moveTo>
                      <a:pt x="156" y="0"/>
                    </a:moveTo>
                    <a:lnTo>
                      <a:pt x="168" y="2"/>
                    </a:lnTo>
                    <a:lnTo>
                      <a:pt x="164" y="8"/>
                    </a:lnTo>
                    <a:lnTo>
                      <a:pt x="168" y="12"/>
                    </a:lnTo>
                    <a:lnTo>
                      <a:pt x="180" y="8"/>
                    </a:lnTo>
                    <a:lnTo>
                      <a:pt x="188" y="12"/>
                    </a:lnTo>
                    <a:lnTo>
                      <a:pt x="216" y="14"/>
                    </a:lnTo>
                    <a:lnTo>
                      <a:pt x="216" y="20"/>
                    </a:lnTo>
                    <a:lnTo>
                      <a:pt x="236" y="22"/>
                    </a:lnTo>
                    <a:lnTo>
                      <a:pt x="262" y="22"/>
                    </a:lnTo>
                    <a:lnTo>
                      <a:pt x="282" y="28"/>
                    </a:lnTo>
                    <a:lnTo>
                      <a:pt x="304" y="32"/>
                    </a:lnTo>
                    <a:lnTo>
                      <a:pt x="322" y="36"/>
                    </a:lnTo>
                    <a:lnTo>
                      <a:pt x="348" y="32"/>
                    </a:lnTo>
                    <a:lnTo>
                      <a:pt x="354" y="36"/>
                    </a:lnTo>
                    <a:lnTo>
                      <a:pt x="372" y="44"/>
                    </a:lnTo>
                    <a:lnTo>
                      <a:pt x="372" y="258"/>
                    </a:lnTo>
                    <a:lnTo>
                      <a:pt x="380" y="262"/>
                    </a:lnTo>
                    <a:lnTo>
                      <a:pt x="388" y="258"/>
                    </a:lnTo>
                    <a:lnTo>
                      <a:pt x="394" y="256"/>
                    </a:lnTo>
                    <a:lnTo>
                      <a:pt x="402" y="266"/>
                    </a:lnTo>
                    <a:lnTo>
                      <a:pt x="416" y="276"/>
                    </a:lnTo>
                    <a:lnTo>
                      <a:pt x="422" y="284"/>
                    </a:lnTo>
                    <a:lnTo>
                      <a:pt x="432" y="282"/>
                    </a:lnTo>
                    <a:lnTo>
                      <a:pt x="434" y="276"/>
                    </a:lnTo>
                    <a:lnTo>
                      <a:pt x="440" y="272"/>
                    </a:lnTo>
                    <a:lnTo>
                      <a:pt x="450" y="268"/>
                    </a:lnTo>
                    <a:lnTo>
                      <a:pt x="460" y="280"/>
                    </a:lnTo>
                    <a:lnTo>
                      <a:pt x="468" y="288"/>
                    </a:lnTo>
                    <a:lnTo>
                      <a:pt x="484" y="302"/>
                    </a:lnTo>
                    <a:lnTo>
                      <a:pt x="492" y="320"/>
                    </a:lnTo>
                    <a:lnTo>
                      <a:pt x="500" y="332"/>
                    </a:lnTo>
                    <a:lnTo>
                      <a:pt x="512" y="338"/>
                    </a:lnTo>
                    <a:lnTo>
                      <a:pt x="524" y="346"/>
                    </a:lnTo>
                    <a:lnTo>
                      <a:pt x="526" y="352"/>
                    </a:lnTo>
                    <a:lnTo>
                      <a:pt x="522" y="368"/>
                    </a:lnTo>
                    <a:lnTo>
                      <a:pt x="510" y="370"/>
                    </a:lnTo>
                    <a:lnTo>
                      <a:pt x="514" y="362"/>
                    </a:lnTo>
                    <a:lnTo>
                      <a:pt x="514" y="352"/>
                    </a:lnTo>
                    <a:lnTo>
                      <a:pt x="510" y="352"/>
                    </a:lnTo>
                    <a:lnTo>
                      <a:pt x="504" y="346"/>
                    </a:lnTo>
                    <a:lnTo>
                      <a:pt x="502" y="344"/>
                    </a:lnTo>
                    <a:lnTo>
                      <a:pt x="488" y="332"/>
                    </a:lnTo>
                    <a:lnTo>
                      <a:pt x="480" y="324"/>
                    </a:lnTo>
                    <a:lnTo>
                      <a:pt x="478" y="318"/>
                    </a:lnTo>
                    <a:lnTo>
                      <a:pt x="468" y="306"/>
                    </a:lnTo>
                    <a:lnTo>
                      <a:pt x="462" y="300"/>
                    </a:lnTo>
                    <a:lnTo>
                      <a:pt x="458" y="296"/>
                    </a:lnTo>
                    <a:lnTo>
                      <a:pt x="452" y="284"/>
                    </a:lnTo>
                    <a:lnTo>
                      <a:pt x="448" y="288"/>
                    </a:lnTo>
                    <a:lnTo>
                      <a:pt x="452" y="300"/>
                    </a:lnTo>
                    <a:lnTo>
                      <a:pt x="448" y="302"/>
                    </a:lnTo>
                    <a:lnTo>
                      <a:pt x="442" y="298"/>
                    </a:lnTo>
                    <a:lnTo>
                      <a:pt x="438" y="294"/>
                    </a:lnTo>
                    <a:lnTo>
                      <a:pt x="436" y="300"/>
                    </a:lnTo>
                    <a:lnTo>
                      <a:pt x="424" y="298"/>
                    </a:lnTo>
                    <a:lnTo>
                      <a:pt x="410" y="290"/>
                    </a:lnTo>
                    <a:lnTo>
                      <a:pt x="390" y="278"/>
                    </a:lnTo>
                    <a:lnTo>
                      <a:pt x="388" y="270"/>
                    </a:lnTo>
                    <a:lnTo>
                      <a:pt x="376" y="272"/>
                    </a:lnTo>
                    <a:lnTo>
                      <a:pt x="366" y="266"/>
                    </a:lnTo>
                    <a:lnTo>
                      <a:pt x="354" y="266"/>
                    </a:lnTo>
                    <a:lnTo>
                      <a:pt x="334" y="266"/>
                    </a:lnTo>
                    <a:lnTo>
                      <a:pt x="326" y="266"/>
                    </a:lnTo>
                    <a:lnTo>
                      <a:pt x="320" y="258"/>
                    </a:lnTo>
                    <a:lnTo>
                      <a:pt x="308" y="256"/>
                    </a:lnTo>
                    <a:lnTo>
                      <a:pt x="304" y="250"/>
                    </a:lnTo>
                    <a:lnTo>
                      <a:pt x="294" y="246"/>
                    </a:lnTo>
                    <a:lnTo>
                      <a:pt x="282" y="244"/>
                    </a:lnTo>
                    <a:lnTo>
                      <a:pt x="270" y="244"/>
                    </a:lnTo>
                    <a:lnTo>
                      <a:pt x="270" y="250"/>
                    </a:lnTo>
                    <a:lnTo>
                      <a:pt x="274" y="256"/>
                    </a:lnTo>
                    <a:lnTo>
                      <a:pt x="278" y="264"/>
                    </a:lnTo>
                    <a:lnTo>
                      <a:pt x="274" y="266"/>
                    </a:lnTo>
                    <a:lnTo>
                      <a:pt x="260" y="266"/>
                    </a:lnTo>
                    <a:lnTo>
                      <a:pt x="252" y="266"/>
                    </a:lnTo>
                    <a:lnTo>
                      <a:pt x="246" y="272"/>
                    </a:lnTo>
                    <a:lnTo>
                      <a:pt x="236" y="280"/>
                    </a:lnTo>
                    <a:lnTo>
                      <a:pt x="226" y="284"/>
                    </a:lnTo>
                    <a:lnTo>
                      <a:pt x="220" y="276"/>
                    </a:lnTo>
                    <a:lnTo>
                      <a:pt x="222" y="266"/>
                    </a:lnTo>
                    <a:lnTo>
                      <a:pt x="226" y="260"/>
                    </a:lnTo>
                    <a:lnTo>
                      <a:pt x="228" y="250"/>
                    </a:lnTo>
                    <a:lnTo>
                      <a:pt x="232" y="248"/>
                    </a:lnTo>
                    <a:lnTo>
                      <a:pt x="238" y="246"/>
                    </a:lnTo>
                    <a:lnTo>
                      <a:pt x="248" y="244"/>
                    </a:lnTo>
                    <a:lnTo>
                      <a:pt x="252" y="236"/>
                    </a:lnTo>
                    <a:lnTo>
                      <a:pt x="252" y="232"/>
                    </a:lnTo>
                    <a:lnTo>
                      <a:pt x="242" y="238"/>
                    </a:lnTo>
                    <a:lnTo>
                      <a:pt x="234" y="240"/>
                    </a:lnTo>
                    <a:lnTo>
                      <a:pt x="216" y="252"/>
                    </a:lnTo>
                    <a:lnTo>
                      <a:pt x="208" y="260"/>
                    </a:lnTo>
                    <a:lnTo>
                      <a:pt x="208" y="266"/>
                    </a:lnTo>
                    <a:lnTo>
                      <a:pt x="204" y="272"/>
                    </a:lnTo>
                    <a:lnTo>
                      <a:pt x="194" y="274"/>
                    </a:lnTo>
                    <a:lnTo>
                      <a:pt x="190" y="282"/>
                    </a:lnTo>
                    <a:lnTo>
                      <a:pt x="196" y="288"/>
                    </a:lnTo>
                    <a:lnTo>
                      <a:pt x="198" y="292"/>
                    </a:lnTo>
                    <a:lnTo>
                      <a:pt x="192" y="298"/>
                    </a:lnTo>
                    <a:lnTo>
                      <a:pt x="184" y="304"/>
                    </a:lnTo>
                    <a:lnTo>
                      <a:pt x="174" y="312"/>
                    </a:lnTo>
                    <a:lnTo>
                      <a:pt x="156" y="322"/>
                    </a:lnTo>
                    <a:lnTo>
                      <a:pt x="136" y="334"/>
                    </a:lnTo>
                    <a:lnTo>
                      <a:pt x="130" y="338"/>
                    </a:lnTo>
                    <a:lnTo>
                      <a:pt x="128" y="344"/>
                    </a:lnTo>
                    <a:lnTo>
                      <a:pt x="118" y="350"/>
                    </a:lnTo>
                    <a:lnTo>
                      <a:pt x="114" y="352"/>
                    </a:lnTo>
                    <a:lnTo>
                      <a:pt x="102" y="352"/>
                    </a:lnTo>
                    <a:lnTo>
                      <a:pt x="98" y="356"/>
                    </a:lnTo>
                    <a:lnTo>
                      <a:pt x="92" y="360"/>
                    </a:lnTo>
                    <a:lnTo>
                      <a:pt x="86" y="356"/>
                    </a:lnTo>
                    <a:lnTo>
                      <a:pt x="82" y="358"/>
                    </a:lnTo>
                    <a:lnTo>
                      <a:pt x="80" y="366"/>
                    </a:lnTo>
                    <a:lnTo>
                      <a:pt x="74" y="368"/>
                    </a:lnTo>
                    <a:lnTo>
                      <a:pt x="66" y="368"/>
                    </a:lnTo>
                    <a:lnTo>
                      <a:pt x="68" y="360"/>
                    </a:lnTo>
                    <a:lnTo>
                      <a:pt x="74" y="352"/>
                    </a:lnTo>
                    <a:lnTo>
                      <a:pt x="80" y="350"/>
                    </a:lnTo>
                    <a:lnTo>
                      <a:pt x="88" y="348"/>
                    </a:lnTo>
                    <a:lnTo>
                      <a:pt x="98" y="348"/>
                    </a:lnTo>
                    <a:lnTo>
                      <a:pt x="100" y="342"/>
                    </a:lnTo>
                    <a:lnTo>
                      <a:pt x="110" y="338"/>
                    </a:lnTo>
                    <a:lnTo>
                      <a:pt x="124" y="328"/>
                    </a:lnTo>
                    <a:lnTo>
                      <a:pt x="132" y="318"/>
                    </a:lnTo>
                    <a:lnTo>
                      <a:pt x="138" y="318"/>
                    </a:lnTo>
                    <a:lnTo>
                      <a:pt x="142" y="306"/>
                    </a:lnTo>
                    <a:lnTo>
                      <a:pt x="142" y="298"/>
                    </a:lnTo>
                    <a:lnTo>
                      <a:pt x="148" y="294"/>
                    </a:lnTo>
                    <a:lnTo>
                      <a:pt x="150" y="286"/>
                    </a:lnTo>
                    <a:lnTo>
                      <a:pt x="142" y="288"/>
                    </a:lnTo>
                    <a:lnTo>
                      <a:pt x="130" y="294"/>
                    </a:lnTo>
                    <a:lnTo>
                      <a:pt x="126" y="288"/>
                    </a:lnTo>
                    <a:lnTo>
                      <a:pt x="122" y="294"/>
                    </a:lnTo>
                    <a:lnTo>
                      <a:pt x="118" y="296"/>
                    </a:lnTo>
                    <a:lnTo>
                      <a:pt x="112" y="288"/>
                    </a:lnTo>
                    <a:lnTo>
                      <a:pt x="98" y="286"/>
                    </a:lnTo>
                    <a:lnTo>
                      <a:pt x="88" y="294"/>
                    </a:lnTo>
                    <a:lnTo>
                      <a:pt x="80" y="296"/>
                    </a:lnTo>
                    <a:lnTo>
                      <a:pt x="78" y="272"/>
                    </a:lnTo>
                    <a:lnTo>
                      <a:pt x="76" y="266"/>
                    </a:lnTo>
                    <a:lnTo>
                      <a:pt x="76" y="256"/>
                    </a:lnTo>
                    <a:lnTo>
                      <a:pt x="70" y="256"/>
                    </a:lnTo>
                    <a:lnTo>
                      <a:pt x="68" y="266"/>
                    </a:lnTo>
                    <a:lnTo>
                      <a:pt x="66" y="268"/>
                    </a:lnTo>
                    <a:lnTo>
                      <a:pt x="50" y="268"/>
                    </a:lnTo>
                    <a:lnTo>
                      <a:pt x="42" y="262"/>
                    </a:lnTo>
                    <a:lnTo>
                      <a:pt x="36" y="250"/>
                    </a:lnTo>
                    <a:lnTo>
                      <a:pt x="36" y="246"/>
                    </a:lnTo>
                    <a:lnTo>
                      <a:pt x="42" y="246"/>
                    </a:lnTo>
                    <a:lnTo>
                      <a:pt x="36" y="240"/>
                    </a:lnTo>
                    <a:lnTo>
                      <a:pt x="36" y="232"/>
                    </a:lnTo>
                    <a:lnTo>
                      <a:pt x="32" y="240"/>
                    </a:lnTo>
                    <a:lnTo>
                      <a:pt x="20" y="232"/>
                    </a:lnTo>
                    <a:lnTo>
                      <a:pt x="26" y="220"/>
                    </a:lnTo>
                    <a:lnTo>
                      <a:pt x="30" y="216"/>
                    </a:lnTo>
                    <a:lnTo>
                      <a:pt x="40" y="210"/>
                    </a:lnTo>
                    <a:lnTo>
                      <a:pt x="40" y="202"/>
                    </a:lnTo>
                    <a:lnTo>
                      <a:pt x="44" y="198"/>
                    </a:lnTo>
                    <a:lnTo>
                      <a:pt x="52" y="198"/>
                    </a:lnTo>
                    <a:lnTo>
                      <a:pt x="64" y="198"/>
                    </a:lnTo>
                    <a:lnTo>
                      <a:pt x="70" y="192"/>
                    </a:lnTo>
                    <a:lnTo>
                      <a:pt x="78" y="188"/>
                    </a:lnTo>
                    <a:lnTo>
                      <a:pt x="98" y="186"/>
                    </a:lnTo>
                    <a:lnTo>
                      <a:pt x="96" y="174"/>
                    </a:lnTo>
                    <a:lnTo>
                      <a:pt x="90" y="164"/>
                    </a:lnTo>
                    <a:lnTo>
                      <a:pt x="96" y="160"/>
                    </a:lnTo>
                    <a:lnTo>
                      <a:pt x="92" y="156"/>
                    </a:lnTo>
                    <a:lnTo>
                      <a:pt x="82" y="156"/>
                    </a:lnTo>
                    <a:lnTo>
                      <a:pt x="76" y="162"/>
                    </a:lnTo>
                    <a:lnTo>
                      <a:pt x="66" y="166"/>
                    </a:lnTo>
                    <a:lnTo>
                      <a:pt x="20" y="164"/>
                    </a:lnTo>
                    <a:lnTo>
                      <a:pt x="12" y="158"/>
                    </a:lnTo>
                    <a:lnTo>
                      <a:pt x="18" y="150"/>
                    </a:lnTo>
                    <a:lnTo>
                      <a:pt x="18" y="148"/>
                    </a:lnTo>
                    <a:lnTo>
                      <a:pt x="4" y="148"/>
                    </a:lnTo>
                    <a:lnTo>
                      <a:pt x="0" y="140"/>
                    </a:lnTo>
                    <a:lnTo>
                      <a:pt x="8" y="134"/>
                    </a:lnTo>
                    <a:lnTo>
                      <a:pt x="20" y="126"/>
                    </a:lnTo>
                    <a:lnTo>
                      <a:pt x="32" y="122"/>
                    </a:lnTo>
                    <a:lnTo>
                      <a:pt x="46" y="116"/>
                    </a:lnTo>
                    <a:lnTo>
                      <a:pt x="52" y="118"/>
                    </a:lnTo>
                    <a:lnTo>
                      <a:pt x="54" y="126"/>
                    </a:lnTo>
                    <a:lnTo>
                      <a:pt x="64" y="130"/>
                    </a:lnTo>
                    <a:lnTo>
                      <a:pt x="78" y="130"/>
                    </a:lnTo>
                    <a:lnTo>
                      <a:pt x="88" y="128"/>
                    </a:lnTo>
                    <a:lnTo>
                      <a:pt x="100" y="122"/>
                    </a:lnTo>
                    <a:lnTo>
                      <a:pt x="104" y="116"/>
                    </a:lnTo>
                    <a:lnTo>
                      <a:pt x="96" y="114"/>
                    </a:lnTo>
                    <a:lnTo>
                      <a:pt x="90" y="118"/>
                    </a:lnTo>
                    <a:lnTo>
                      <a:pt x="78" y="116"/>
                    </a:lnTo>
                    <a:lnTo>
                      <a:pt x="78" y="110"/>
                    </a:lnTo>
                    <a:lnTo>
                      <a:pt x="82" y="106"/>
                    </a:lnTo>
                    <a:lnTo>
                      <a:pt x="74" y="104"/>
                    </a:lnTo>
                    <a:lnTo>
                      <a:pt x="58" y="108"/>
                    </a:lnTo>
                    <a:lnTo>
                      <a:pt x="52" y="96"/>
                    </a:lnTo>
                    <a:lnTo>
                      <a:pt x="44" y="90"/>
                    </a:lnTo>
                    <a:lnTo>
                      <a:pt x="38" y="84"/>
                    </a:lnTo>
                    <a:lnTo>
                      <a:pt x="34" y="80"/>
                    </a:lnTo>
                    <a:lnTo>
                      <a:pt x="22" y="80"/>
                    </a:lnTo>
                    <a:lnTo>
                      <a:pt x="18" y="74"/>
                    </a:lnTo>
                    <a:lnTo>
                      <a:pt x="20" y="62"/>
                    </a:lnTo>
                    <a:lnTo>
                      <a:pt x="52" y="58"/>
                    </a:lnTo>
                    <a:lnTo>
                      <a:pt x="62" y="48"/>
                    </a:lnTo>
                    <a:lnTo>
                      <a:pt x="66" y="38"/>
                    </a:lnTo>
                    <a:lnTo>
                      <a:pt x="78" y="26"/>
                    </a:lnTo>
                    <a:lnTo>
                      <a:pt x="92" y="26"/>
                    </a:lnTo>
                    <a:lnTo>
                      <a:pt x="106" y="18"/>
                    </a:lnTo>
                    <a:lnTo>
                      <a:pt x="112" y="18"/>
                    </a:lnTo>
                    <a:lnTo>
                      <a:pt x="116" y="12"/>
                    </a:lnTo>
                    <a:lnTo>
                      <a:pt x="140" y="10"/>
                    </a:lnTo>
                    <a:lnTo>
                      <a:pt x="1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4" name="Freeform 153"/>
              <p:cNvSpPr>
                <a:spLocks/>
              </p:cNvSpPr>
              <p:nvPr/>
            </p:nvSpPr>
            <p:spPr bwMode="auto">
              <a:xfrm>
                <a:off x="495" y="1283"/>
                <a:ext cx="534" cy="378"/>
              </a:xfrm>
              <a:custGeom>
                <a:avLst/>
                <a:gdLst>
                  <a:gd name="T0" fmla="*/ 116 w 534"/>
                  <a:gd name="T1" fmla="*/ 14 h 378"/>
                  <a:gd name="T2" fmla="*/ 82 w 534"/>
                  <a:gd name="T3" fmla="*/ 26 h 378"/>
                  <a:gd name="T4" fmla="*/ 22 w 534"/>
                  <a:gd name="T5" fmla="*/ 62 h 378"/>
                  <a:gd name="T6" fmla="*/ 24 w 534"/>
                  <a:gd name="T7" fmla="*/ 88 h 378"/>
                  <a:gd name="T8" fmla="*/ 46 w 534"/>
                  <a:gd name="T9" fmla="*/ 96 h 378"/>
                  <a:gd name="T10" fmla="*/ 62 w 534"/>
                  <a:gd name="T11" fmla="*/ 116 h 378"/>
                  <a:gd name="T12" fmla="*/ 82 w 534"/>
                  <a:gd name="T13" fmla="*/ 124 h 378"/>
                  <a:gd name="T14" fmla="*/ 62 w 534"/>
                  <a:gd name="T15" fmla="*/ 128 h 378"/>
                  <a:gd name="T16" fmla="*/ 50 w 534"/>
                  <a:gd name="T17" fmla="*/ 116 h 378"/>
                  <a:gd name="T18" fmla="*/ 2 w 534"/>
                  <a:gd name="T19" fmla="*/ 140 h 378"/>
                  <a:gd name="T20" fmla="*/ 8 w 534"/>
                  <a:gd name="T21" fmla="*/ 156 h 378"/>
                  <a:gd name="T22" fmla="*/ 20 w 534"/>
                  <a:gd name="T23" fmla="*/ 172 h 378"/>
                  <a:gd name="T24" fmla="*/ 82 w 534"/>
                  <a:gd name="T25" fmla="*/ 168 h 378"/>
                  <a:gd name="T26" fmla="*/ 90 w 534"/>
                  <a:gd name="T27" fmla="*/ 168 h 378"/>
                  <a:gd name="T28" fmla="*/ 72 w 534"/>
                  <a:gd name="T29" fmla="*/ 192 h 378"/>
                  <a:gd name="T30" fmla="*/ 48 w 534"/>
                  <a:gd name="T31" fmla="*/ 198 h 378"/>
                  <a:gd name="T32" fmla="*/ 32 w 534"/>
                  <a:gd name="T33" fmla="*/ 218 h 378"/>
                  <a:gd name="T34" fmla="*/ 22 w 534"/>
                  <a:gd name="T35" fmla="*/ 234 h 378"/>
                  <a:gd name="T36" fmla="*/ 36 w 534"/>
                  <a:gd name="T37" fmla="*/ 248 h 378"/>
                  <a:gd name="T38" fmla="*/ 36 w 534"/>
                  <a:gd name="T39" fmla="*/ 254 h 378"/>
                  <a:gd name="T40" fmla="*/ 54 w 534"/>
                  <a:gd name="T41" fmla="*/ 276 h 378"/>
                  <a:gd name="T42" fmla="*/ 78 w 534"/>
                  <a:gd name="T43" fmla="*/ 276 h 378"/>
                  <a:gd name="T44" fmla="*/ 84 w 534"/>
                  <a:gd name="T45" fmla="*/ 304 h 378"/>
                  <a:gd name="T46" fmla="*/ 120 w 534"/>
                  <a:gd name="T47" fmla="*/ 302 h 378"/>
                  <a:gd name="T48" fmla="*/ 130 w 534"/>
                  <a:gd name="T49" fmla="*/ 298 h 378"/>
                  <a:gd name="T50" fmla="*/ 144 w 534"/>
                  <a:gd name="T51" fmla="*/ 298 h 378"/>
                  <a:gd name="T52" fmla="*/ 124 w 534"/>
                  <a:gd name="T53" fmla="*/ 328 h 378"/>
                  <a:gd name="T54" fmla="*/ 92 w 534"/>
                  <a:gd name="T55" fmla="*/ 348 h 378"/>
                  <a:gd name="T56" fmla="*/ 74 w 534"/>
                  <a:gd name="T57" fmla="*/ 354 h 378"/>
                  <a:gd name="T58" fmla="*/ 70 w 534"/>
                  <a:gd name="T59" fmla="*/ 374 h 378"/>
                  <a:gd name="T60" fmla="*/ 86 w 534"/>
                  <a:gd name="T61" fmla="*/ 372 h 378"/>
                  <a:gd name="T62" fmla="*/ 96 w 534"/>
                  <a:gd name="T63" fmla="*/ 368 h 378"/>
                  <a:gd name="T64" fmla="*/ 118 w 534"/>
                  <a:gd name="T65" fmla="*/ 360 h 378"/>
                  <a:gd name="T66" fmla="*/ 142 w 534"/>
                  <a:gd name="T67" fmla="*/ 340 h 378"/>
                  <a:gd name="T68" fmla="*/ 204 w 534"/>
                  <a:gd name="T69" fmla="*/ 298 h 378"/>
                  <a:gd name="T70" fmla="*/ 200 w 534"/>
                  <a:gd name="T71" fmla="*/ 284 h 378"/>
                  <a:gd name="T72" fmla="*/ 216 w 534"/>
                  <a:gd name="T73" fmla="*/ 270 h 378"/>
                  <a:gd name="T74" fmla="*/ 222 w 534"/>
                  <a:gd name="T75" fmla="*/ 270 h 378"/>
                  <a:gd name="T76" fmla="*/ 230 w 534"/>
                  <a:gd name="T77" fmla="*/ 292 h 378"/>
                  <a:gd name="T78" fmla="*/ 264 w 534"/>
                  <a:gd name="T79" fmla="*/ 274 h 378"/>
                  <a:gd name="T80" fmla="*/ 286 w 534"/>
                  <a:gd name="T81" fmla="*/ 266 h 378"/>
                  <a:gd name="T82" fmla="*/ 296 w 534"/>
                  <a:gd name="T83" fmla="*/ 254 h 378"/>
                  <a:gd name="T84" fmla="*/ 326 w 534"/>
                  <a:gd name="T85" fmla="*/ 272 h 378"/>
                  <a:gd name="T86" fmla="*/ 380 w 534"/>
                  <a:gd name="T87" fmla="*/ 280 h 378"/>
                  <a:gd name="T88" fmla="*/ 412 w 534"/>
                  <a:gd name="T89" fmla="*/ 298 h 378"/>
                  <a:gd name="T90" fmla="*/ 440 w 534"/>
                  <a:gd name="T91" fmla="*/ 308 h 378"/>
                  <a:gd name="T92" fmla="*/ 452 w 534"/>
                  <a:gd name="T93" fmla="*/ 310 h 378"/>
                  <a:gd name="T94" fmla="*/ 462 w 534"/>
                  <a:gd name="T95" fmla="*/ 308 h 378"/>
                  <a:gd name="T96" fmla="*/ 490 w 534"/>
                  <a:gd name="T97" fmla="*/ 338 h 378"/>
                  <a:gd name="T98" fmla="*/ 514 w 534"/>
                  <a:gd name="T99" fmla="*/ 364 h 378"/>
                  <a:gd name="T100" fmla="*/ 514 w 534"/>
                  <a:gd name="T101" fmla="*/ 378 h 378"/>
                  <a:gd name="T102" fmla="*/ 534 w 534"/>
                  <a:gd name="T103" fmla="*/ 356 h 378"/>
                  <a:gd name="T104" fmla="*/ 490 w 534"/>
                  <a:gd name="T105" fmla="*/ 304 h 378"/>
                  <a:gd name="T106" fmla="*/ 454 w 534"/>
                  <a:gd name="T107" fmla="*/ 268 h 378"/>
                  <a:gd name="T108" fmla="*/ 432 w 534"/>
                  <a:gd name="T109" fmla="*/ 282 h 378"/>
                  <a:gd name="T110" fmla="*/ 402 w 534"/>
                  <a:gd name="T111" fmla="*/ 258 h 378"/>
                  <a:gd name="T112" fmla="*/ 384 w 534"/>
                  <a:gd name="T113" fmla="*/ 262 h 378"/>
                  <a:gd name="T114" fmla="*/ 354 w 534"/>
                  <a:gd name="T115" fmla="*/ 34 h 378"/>
                  <a:gd name="T116" fmla="*/ 286 w 534"/>
                  <a:gd name="T117" fmla="*/ 28 h 378"/>
                  <a:gd name="T118" fmla="*/ 224 w 534"/>
                  <a:gd name="T119" fmla="*/ 18 h 378"/>
                  <a:gd name="T120" fmla="*/ 184 w 534"/>
                  <a:gd name="T121" fmla="*/ 8 h 378"/>
                  <a:gd name="T122" fmla="*/ 176 w 534"/>
                  <a:gd name="T123" fmla="*/ 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378">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5" name="Freeform 154"/>
              <p:cNvSpPr>
                <a:spLocks/>
              </p:cNvSpPr>
              <p:nvPr/>
            </p:nvSpPr>
            <p:spPr bwMode="auto">
              <a:xfrm>
                <a:off x="675" y="1589"/>
                <a:ext cx="38" cy="32"/>
              </a:xfrm>
              <a:custGeom>
                <a:avLst/>
                <a:gdLst>
                  <a:gd name="T0" fmla="*/ 10 w 38"/>
                  <a:gd name="T1" fmla="*/ 32 h 32"/>
                  <a:gd name="T2" fmla="*/ 10 w 38"/>
                  <a:gd name="T3" fmla="*/ 32 h 32"/>
                  <a:gd name="T4" fmla="*/ 8 w 38"/>
                  <a:gd name="T5" fmla="*/ 30 h 32"/>
                  <a:gd name="T6" fmla="*/ 2 w 38"/>
                  <a:gd name="T7" fmla="*/ 24 h 32"/>
                  <a:gd name="T8" fmla="*/ 2 w 38"/>
                  <a:gd name="T9" fmla="*/ 24 h 32"/>
                  <a:gd name="T10" fmla="*/ 2 w 38"/>
                  <a:gd name="T11" fmla="*/ 24 h 32"/>
                  <a:gd name="T12" fmla="*/ 0 w 38"/>
                  <a:gd name="T13" fmla="*/ 14 h 32"/>
                  <a:gd name="T14" fmla="*/ 0 w 38"/>
                  <a:gd name="T15" fmla="*/ 14 h 32"/>
                  <a:gd name="T16" fmla="*/ 2 w 38"/>
                  <a:gd name="T17" fmla="*/ 14 h 32"/>
                  <a:gd name="T18" fmla="*/ 4 w 38"/>
                  <a:gd name="T19" fmla="*/ 8 h 32"/>
                  <a:gd name="T20" fmla="*/ 4 w 38"/>
                  <a:gd name="T21" fmla="*/ 8 h 32"/>
                  <a:gd name="T22" fmla="*/ 6 w 38"/>
                  <a:gd name="T23" fmla="*/ 8 h 32"/>
                  <a:gd name="T24" fmla="*/ 6 w 38"/>
                  <a:gd name="T25" fmla="*/ 8 h 32"/>
                  <a:gd name="T26" fmla="*/ 8 w 38"/>
                  <a:gd name="T27" fmla="*/ 8 h 32"/>
                  <a:gd name="T28" fmla="*/ 10 w 38"/>
                  <a:gd name="T29" fmla="*/ 12 h 32"/>
                  <a:gd name="T30" fmla="*/ 14 w 38"/>
                  <a:gd name="T31" fmla="*/ 14 h 32"/>
                  <a:gd name="T32" fmla="*/ 14 w 38"/>
                  <a:gd name="T33" fmla="*/ 8 h 32"/>
                  <a:gd name="T34" fmla="*/ 14 w 38"/>
                  <a:gd name="T35" fmla="*/ 8 h 32"/>
                  <a:gd name="T36" fmla="*/ 14 w 38"/>
                  <a:gd name="T37" fmla="*/ 6 h 32"/>
                  <a:gd name="T38" fmla="*/ 20 w 38"/>
                  <a:gd name="T39" fmla="*/ 4 h 32"/>
                  <a:gd name="T40" fmla="*/ 26 w 38"/>
                  <a:gd name="T41" fmla="*/ 2 h 32"/>
                  <a:gd name="T42" fmla="*/ 32 w 38"/>
                  <a:gd name="T43" fmla="*/ 0 h 32"/>
                  <a:gd name="T44" fmla="*/ 32 w 38"/>
                  <a:gd name="T45" fmla="*/ 0 h 32"/>
                  <a:gd name="T46" fmla="*/ 32 w 38"/>
                  <a:gd name="T47" fmla="*/ 0 h 32"/>
                  <a:gd name="T48" fmla="*/ 32 w 38"/>
                  <a:gd name="T49" fmla="*/ 0 h 32"/>
                  <a:gd name="T50" fmla="*/ 34 w 38"/>
                  <a:gd name="T51" fmla="*/ 0 h 32"/>
                  <a:gd name="T52" fmla="*/ 34 w 38"/>
                  <a:gd name="T53" fmla="*/ 0 h 32"/>
                  <a:gd name="T54" fmla="*/ 34 w 38"/>
                  <a:gd name="T55" fmla="*/ 0 h 32"/>
                  <a:gd name="T56" fmla="*/ 38 w 38"/>
                  <a:gd name="T57" fmla="*/ 12 h 32"/>
                  <a:gd name="T58" fmla="*/ 38 w 38"/>
                  <a:gd name="T59" fmla="*/ 12 h 32"/>
                  <a:gd name="T60" fmla="*/ 38 w 38"/>
                  <a:gd name="T61" fmla="*/ 14 h 32"/>
                  <a:gd name="T62" fmla="*/ 32 w 38"/>
                  <a:gd name="T63" fmla="*/ 20 h 32"/>
                  <a:gd name="T64" fmla="*/ 28 w 38"/>
                  <a:gd name="T65" fmla="*/ 28 h 32"/>
                  <a:gd name="T66" fmla="*/ 28 w 38"/>
                  <a:gd name="T67" fmla="*/ 28 h 32"/>
                  <a:gd name="T68" fmla="*/ 26 w 38"/>
                  <a:gd name="T69" fmla="*/ 30 h 32"/>
                  <a:gd name="T70" fmla="*/ 26 w 38"/>
                  <a:gd name="T71" fmla="*/ 30 h 32"/>
                  <a:gd name="T72" fmla="*/ 10 w 38"/>
                  <a:gd name="T73" fmla="*/ 32 h 32"/>
                  <a:gd name="T74" fmla="*/ 10 w 38"/>
                  <a:gd name="T7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2">
                    <a:moveTo>
                      <a:pt x="10" y="32"/>
                    </a:moveTo>
                    <a:lnTo>
                      <a:pt x="10" y="32"/>
                    </a:lnTo>
                    <a:lnTo>
                      <a:pt x="8" y="30"/>
                    </a:lnTo>
                    <a:lnTo>
                      <a:pt x="2" y="24"/>
                    </a:lnTo>
                    <a:lnTo>
                      <a:pt x="2" y="24"/>
                    </a:lnTo>
                    <a:lnTo>
                      <a:pt x="2" y="24"/>
                    </a:lnTo>
                    <a:lnTo>
                      <a:pt x="0" y="14"/>
                    </a:lnTo>
                    <a:lnTo>
                      <a:pt x="0" y="14"/>
                    </a:lnTo>
                    <a:lnTo>
                      <a:pt x="2" y="14"/>
                    </a:lnTo>
                    <a:lnTo>
                      <a:pt x="4" y="8"/>
                    </a:lnTo>
                    <a:lnTo>
                      <a:pt x="4" y="8"/>
                    </a:lnTo>
                    <a:lnTo>
                      <a:pt x="6" y="8"/>
                    </a:lnTo>
                    <a:lnTo>
                      <a:pt x="6" y="8"/>
                    </a:lnTo>
                    <a:lnTo>
                      <a:pt x="8" y="8"/>
                    </a:lnTo>
                    <a:lnTo>
                      <a:pt x="10" y="12"/>
                    </a:lnTo>
                    <a:lnTo>
                      <a:pt x="14" y="14"/>
                    </a:lnTo>
                    <a:lnTo>
                      <a:pt x="14" y="8"/>
                    </a:lnTo>
                    <a:lnTo>
                      <a:pt x="14" y="8"/>
                    </a:lnTo>
                    <a:lnTo>
                      <a:pt x="14" y="6"/>
                    </a:lnTo>
                    <a:lnTo>
                      <a:pt x="20" y="4"/>
                    </a:lnTo>
                    <a:lnTo>
                      <a:pt x="26" y="2"/>
                    </a:lnTo>
                    <a:lnTo>
                      <a:pt x="32" y="0"/>
                    </a:lnTo>
                    <a:lnTo>
                      <a:pt x="32" y="0"/>
                    </a:lnTo>
                    <a:lnTo>
                      <a:pt x="32" y="0"/>
                    </a:lnTo>
                    <a:lnTo>
                      <a:pt x="32" y="0"/>
                    </a:lnTo>
                    <a:lnTo>
                      <a:pt x="34" y="0"/>
                    </a:lnTo>
                    <a:lnTo>
                      <a:pt x="34" y="0"/>
                    </a:lnTo>
                    <a:lnTo>
                      <a:pt x="34" y="0"/>
                    </a:lnTo>
                    <a:lnTo>
                      <a:pt x="38" y="12"/>
                    </a:lnTo>
                    <a:lnTo>
                      <a:pt x="38" y="12"/>
                    </a:lnTo>
                    <a:lnTo>
                      <a:pt x="38" y="14"/>
                    </a:lnTo>
                    <a:lnTo>
                      <a:pt x="32" y="20"/>
                    </a:lnTo>
                    <a:lnTo>
                      <a:pt x="28" y="28"/>
                    </a:lnTo>
                    <a:lnTo>
                      <a:pt x="28" y="28"/>
                    </a:lnTo>
                    <a:lnTo>
                      <a:pt x="26" y="30"/>
                    </a:lnTo>
                    <a:lnTo>
                      <a:pt x="26" y="30"/>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6" name="Freeform 155"/>
              <p:cNvSpPr>
                <a:spLocks noEditPoints="1"/>
              </p:cNvSpPr>
              <p:nvPr/>
            </p:nvSpPr>
            <p:spPr bwMode="auto">
              <a:xfrm>
                <a:off x="673" y="1587"/>
                <a:ext cx="42" cy="36"/>
              </a:xfrm>
              <a:custGeom>
                <a:avLst/>
                <a:gdLst>
                  <a:gd name="T0" fmla="*/ 34 w 42"/>
                  <a:gd name="T1" fmla="*/ 4 h 36"/>
                  <a:gd name="T2" fmla="*/ 38 w 42"/>
                  <a:gd name="T3" fmla="*/ 14 h 36"/>
                  <a:gd name="T4" fmla="*/ 32 w 42"/>
                  <a:gd name="T5" fmla="*/ 20 h 36"/>
                  <a:gd name="T6" fmla="*/ 28 w 42"/>
                  <a:gd name="T7" fmla="*/ 30 h 36"/>
                  <a:gd name="T8" fmla="*/ 12 w 42"/>
                  <a:gd name="T9" fmla="*/ 32 h 36"/>
                  <a:gd name="T10" fmla="*/ 6 w 42"/>
                  <a:gd name="T11" fmla="*/ 24 h 36"/>
                  <a:gd name="T12" fmla="*/ 4 w 42"/>
                  <a:gd name="T13" fmla="*/ 16 h 36"/>
                  <a:gd name="T14" fmla="*/ 8 w 42"/>
                  <a:gd name="T15" fmla="*/ 12 h 36"/>
                  <a:gd name="T16" fmla="*/ 12 w 42"/>
                  <a:gd name="T17" fmla="*/ 16 h 36"/>
                  <a:gd name="T18" fmla="*/ 18 w 42"/>
                  <a:gd name="T19" fmla="*/ 18 h 36"/>
                  <a:gd name="T20" fmla="*/ 18 w 42"/>
                  <a:gd name="T21" fmla="*/ 10 h 36"/>
                  <a:gd name="T22" fmla="*/ 22 w 42"/>
                  <a:gd name="T23" fmla="*/ 8 h 36"/>
                  <a:gd name="T24" fmla="*/ 30 w 42"/>
                  <a:gd name="T25" fmla="*/ 6 h 36"/>
                  <a:gd name="T26" fmla="*/ 34 w 42"/>
                  <a:gd name="T27" fmla="*/ 4 h 36"/>
                  <a:gd name="T28" fmla="*/ 34 w 42"/>
                  <a:gd name="T29" fmla="*/ 0 h 36"/>
                  <a:gd name="T30" fmla="*/ 34 w 42"/>
                  <a:gd name="T31" fmla="*/ 0 h 36"/>
                  <a:gd name="T32" fmla="*/ 34 w 42"/>
                  <a:gd name="T33" fmla="*/ 0 h 36"/>
                  <a:gd name="T34" fmla="*/ 28 w 42"/>
                  <a:gd name="T35" fmla="*/ 2 h 36"/>
                  <a:gd name="T36" fmla="*/ 22 w 42"/>
                  <a:gd name="T37" fmla="*/ 4 h 36"/>
                  <a:gd name="T38" fmla="*/ 16 w 42"/>
                  <a:gd name="T39" fmla="*/ 6 h 36"/>
                  <a:gd name="T40" fmla="*/ 16 w 42"/>
                  <a:gd name="T41" fmla="*/ 6 h 36"/>
                  <a:gd name="T42" fmla="*/ 14 w 42"/>
                  <a:gd name="T43" fmla="*/ 8 h 36"/>
                  <a:gd name="T44" fmla="*/ 14 w 42"/>
                  <a:gd name="T45" fmla="*/ 10 h 36"/>
                  <a:gd name="T46" fmla="*/ 14 w 42"/>
                  <a:gd name="T47" fmla="*/ 12 h 36"/>
                  <a:gd name="T48" fmla="*/ 12 w 42"/>
                  <a:gd name="T49" fmla="*/ 10 h 36"/>
                  <a:gd name="T50" fmla="*/ 12 w 42"/>
                  <a:gd name="T51" fmla="*/ 10 h 36"/>
                  <a:gd name="T52" fmla="*/ 8 w 42"/>
                  <a:gd name="T53" fmla="*/ 8 h 36"/>
                  <a:gd name="T54" fmla="*/ 8 w 42"/>
                  <a:gd name="T55" fmla="*/ 8 h 36"/>
                  <a:gd name="T56" fmla="*/ 8 w 42"/>
                  <a:gd name="T57" fmla="*/ 8 h 36"/>
                  <a:gd name="T58" fmla="*/ 6 w 42"/>
                  <a:gd name="T59" fmla="*/ 10 h 36"/>
                  <a:gd name="T60" fmla="*/ 2 w 42"/>
                  <a:gd name="T61" fmla="*/ 14 h 36"/>
                  <a:gd name="T62" fmla="*/ 2 w 42"/>
                  <a:gd name="T63" fmla="*/ 14 h 36"/>
                  <a:gd name="T64" fmla="*/ 0 w 42"/>
                  <a:gd name="T65" fmla="*/ 18 h 36"/>
                  <a:gd name="T66" fmla="*/ 2 w 42"/>
                  <a:gd name="T67" fmla="*/ 26 h 36"/>
                  <a:gd name="T68" fmla="*/ 2 w 42"/>
                  <a:gd name="T69" fmla="*/ 26 h 36"/>
                  <a:gd name="T70" fmla="*/ 4 w 42"/>
                  <a:gd name="T71" fmla="*/ 28 h 36"/>
                  <a:gd name="T72" fmla="*/ 8 w 42"/>
                  <a:gd name="T73" fmla="*/ 34 h 36"/>
                  <a:gd name="T74" fmla="*/ 8 w 42"/>
                  <a:gd name="T75" fmla="*/ 34 h 36"/>
                  <a:gd name="T76" fmla="*/ 12 w 42"/>
                  <a:gd name="T77" fmla="*/ 36 h 36"/>
                  <a:gd name="T78" fmla="*/ 12 w 42"/>
                  <a:gd name="T79" fmla="*/ 36 h 36"/>
                  <a:gd name="T80" fmla="*/ 12 w 42"/>
                  <a:gd name="T81" fmla="*/ 36 h 36"/>
                  <a:gd name="T82" fmla="*/ 28 w 42"/>
                  <a:gd name="T83" fmla="*/ 34 h 36"/>
                  <a:gd name="T84" fmla="*/ 28 w 42"/>
                  <a:gd name="T85" fmla="*/ 34 h 36"/>
                  <a:gd name="T86" fmla="*/ 32 w 42"/>
                  <a:gd name="T87" fmla="*/ 32 h 36"/>
                  <a:gd name="T88" fmla="*/ 36 w 42"/>
                  <a:gd name="T89" fmla="*/ 22 h 36"/>
                  <a:gd name="T90" fmla="*/ 42 w 42"/>
                  <a:gd name="T91" fmla="*/ 16 h 36"/>
                  <a:gd name="T92" fmla="*/ 42 w 42"/>
                  <a:gd name="T93" fmla="*/ 16 h 36"/>
                  <a:gd name="T94" fmla="*/ 42 w 42"/>
                  <a:gd name="T95" fmla="*/ 12 h 36"/>
                  <a:gd name="T96" fmla="*/ 38 w 42"/>
                  <a:gd name="T97" fmla="*/ 2 h 36"/>
                  <a:gd name="T98" fmla="*/ 38 w 42"/>
                  <a:gd name="T99" fmla="*/ 2 h 36"/>
                  <a:gd name="T100" fmla="*/ 36 w 42"/>
                  <a:gd name="T101" fmla="*/ 0 h 36"/>
                  <a:gd name="T102" fmla="*/ 36 w 42"/>
                  <a:gd name="T103" fmla="*/ 0 h 36"/>
                  <a:gd name="T104" fmla="*/ 34 w 42"/>
                  <a:gd name="T105" fmla="*/ 0 h 36"/>
                  <a:gd name="T106" fmla="*/ 34 w 42"/>
                  <a:gd name="T10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6">
                    <a:moveTo>
                      <a:pt x="34" y="4"/>
                    </a:moveTo>
                    <a:lnTo>
                      <a:pt x="38" y="14"/>
                    </a:lnTo>
                    <a:lnTo>
                      <a:pt x="32" y="20"/>
                    </a:lnTo>
                    <a:lnTo>
                      <a:pt x="28" y="30"/>
                    </a:lnTo>
                    <a:lnTo>
                      <a:pt x="12" y="32"/>
                    </a:lnTo>
                    <a:lnTo>
                      <a:pt x="6" y="24"/>
                    </a:lnTo>
                    <a:lnTo>
                      <a:pt x="4" y="16"/>
                    </a:lnTo>
                    <a:lnTo>
                      <a:pt x="8" y="12"/>
                    </a:lnTo>
                    <a:lnTo>
                      <a:pt x="12" y="16"/>
                    </a:lnTo>
                    <a:lnTo>
                      <a:pt x="18" y="18"/>
                    </a:lnTo>
                    <a:lnTo>
                      <a:pt x="18" y="10"/>
                    </a:lnTo>
                    <a:lnTo>
                      <a:pt x="22" y="8"/>
                    </a:lnTo>
                    <a:lnTo>
                      <a:pt x="30" y="6"/>
                    </a:lnTo>
                    <a:lnTo>
                      <a:pt x="34" y="4"/>
                    </a:lnTo>
                    <a:close/>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7" name="Freeform 156"/>
              <p:cNvSpPr>
                <a:spLocks/>
              </p:cNvSpPr>
              <p:nvPr/>
            </p:nvSpPr>
            <p:spPr bwMode="auto">
              <a:xfrm>
                <a:off x="677" y="1591"/>
                <a:ext cx="34" cy="28"/>
              </a:xfrm>
              <a:custGeom>
                <a:avLst/>
                <a:gdLst>
                  <a:gd name="T0" fmla="*/ 30 w 34"/>
                  <a:gd name="T1" fmla="*/ 0 h 28"/>
                  <a:gd name="T2" fmla="*/ 34 w 34"/>
                  <a:gd name="T3" fmla="*/ 10 h 28"/>
                  <a:gd name="T4" fmla="*/ 28 w 34"/>
                  <a:gd name="T5" fmla="*/ 16 h 28"/>
                  <a:gd name="T6" fmla="*/ 24 w 34"/>
                  <a:gd name="T7" fmla="*/ 26 h 28"/>
                  <a:gd name="T8" fmla="*/ 8 w 34"/>
                  <a:gd name="T9" fmla="*/ 28 h 28"/>
                  <a:gd name="T10" fmla="*/ 2 w 34"/>
                  <a:gd name="T11" fmla="*/ 20 h 28"/>
                  <a:gd name="T12" fmla="*/ 0 w 34"/>
                  <a:gd name="T13" fmla="*/ 12 h 28"/>
                  <a:gd name="T14" fmla="*/ 4 w 34"/>
                  <a:gd name="T15" fmla="*/ 8 h 28"/>
                  <a:gd name="T16" fmla="*/ 8 w 34"/>
                  <a:gd name="T17" fmla="*/ 12 h 28"/>
                  <a:gd name="T18" fmla="*/ 14 w 34"/>
                  <a:gd name="T19" fmla="*/ 14 h 28"/>
                  <a:gd name="T20" fmla="*/ 14 w 34"/>
                  <a:gd name="T21" fmla="*/ 6 h 28"/>
                  <a:gd name="T22" fmla="*/ 18 w 34"/>
                  <a:gd name="T23" fmla="*/ 4 h 28"/>
                  <a:gd name="T24" fmla="*/ 26 w 34"/>
                  <a:gd name="T25" fmla="*/ 2 h 28"/>
                  <a:gd name="T26" fmla="*/ 30 w 34"/>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28">
                    <a:moveTo>
                      <a:pt x="30" y="0"/>
                    </a:moveTo>
                    <a:lnTo>
                      <a:pt x="34" y="10"/>
                    </a:lnTo>
                    <a:lnTo>
                      <a:pt x="28" y="16"/>
                    </a:lnTo>
                    <a:lnTo>
                      <a:pt x="24" y="26"/>
                    </a:lnTo>
                    <a:lnTo>
                      <a:pt x="8" y="28"/>
                    </a:lnTo>
                    <a:lnTo>
                      <a:pt x="2" y="20"/>
                    </a:lnTo>
                    <a:lnTo>
                      <a:pt x="0" y="12"/>
                    </a:lnTo>
                    <a:lnTo>
                      <a:pt x="4" y="8"/>
                    </a:lnTo>
                    <a:lnTo>
                      <a:pt x="8" y="12"/>
                    </a:lnTo>
                    <a:lnTo>
                      <a:pt x="14" y="14"/>
                    </a:lnTo>
                    <a:lnTo>
                      <a:pt x="14" y="6"/>
                    </a:lnTo>
                    <a:lnTo>
                      <a:pt x="18" y="4"/>
                    </a:lnTo>
                    <a:lnTo>
                      <a:pt x="26"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8" name="Freeform 157"/>
              <p:cNvSpPr>
                <a:spLocks/>
              </p:cNvSpPr>
              <p:nvPr/>
            </p:nvSpPr>
            <p:spPr bwMode="auto">
              <a:xfrm>
                <a:off x="673" y="1587"/>
                <a:ext cx="42" cy="36"/>
              </a:xfrm>
              <a:custGeom>
                <a:avLst/>
                <a:gdLst>
                  <a:gd name="T0" fmla="*/ 34 w 42"/>
                  <a:gd name="T1" fmla="*/ 0 h 36"/>
                  <a:gd name="T2" fmla="*/ 34 w 42"/>
                  <a:gd name="T3" fmla="*/ 0 h 36"/>
                  <a:gd name="T4" fmla="*/ 34 w 42"/>
                  <a:gd name="T5" fmla="*/ 0 h 36"/>
                  <a:gd name="T6" fmla="*/ 28 w 42"/>
                  <a:gd name="T7" fmla="*/ 2 h 36"/>
                  <a:gd name="T8" fmla="*/ 22 w 42"/>
                  <a:gd name="T9" fmla="*/ 4 h 36"/>
                  <a:gd name="T10" fmla="*/ 16 w 42"/>
                  <a:gd name="T11" fmla="*/ 6 h 36"/>
                  <a:gd name="T12" fmla="*/ 16 w 42"/>
                  <a:gd name="T13" fmla="*/ 6 h 36"/>
                  <a:gd name="T14" fmla="*/ 14 w 42"/>
                  <a:gd name="T15" fmla="*/ 8 h 36"/>
                  <a:gd name="T16" fmla="*/ 14 w 42"/>
                  <a:gd name="T17" fmla="*/ 10 h 36"/>
                  <a:gd name="T18" fmla="*/ 14 w 42"/>
                  <a:gd name="T19" fmla="*/ 12 h 36"/>
                  <a:gd name="T20" fmla="*/ 12 w 42"/>
                  <a:gd name="T21" fmla="*/ 10 h 36"/>
                  <a:gd name="T22" fmla="*/ 12 w 42"/>
                  <a:gd name="T23" fmla="*/ 10 h 36"/>
                  <a:gd name="T24" fmla="*/ 8 w 42"/>
                  <a:gd name="T25" fmla="*/ 8 h 36"/>
                  <a:gd name="T26" fmla="*/ 8 w 42"/>
                  <a:gd name="T27" fmla="*/ 8 h 36"/>
                  <a:gd name="T28" fmla="*/ 8 w 42"/>
                  <a:gd name="T29" fmla="*/ 8 h 36"/>
                  <a:gd name="T30" fmla="*/ 6 w 42"/>
                  <a:gd name="T31" fmla="*/ 10 h 36"/>
                  <a:gd name="T32" fmla="*/ 2 w 42"/>
                  <a:gd name="T33" fmla="*/ 14 h 36"/>
                  <a:gd name="T34" fmla="*/ 2 w 42"/>
                  <a:gd name="T35" fmla="*/ 14 h 36"/>
                  <a:gd name="T36" fmla="*/ 0 w 42"/>
                  <a:gd name="T37" fmla="*/ 18 h 36"/>
                  <a:gd name="T38" fmla="*/ 2 w 42"/>
                  <a:gd name="T39" fmla="*/ 26 h 36"/>
                  <a:gd name="T40" fmla="*/ 2 w 42"/>
                  <a:gd name="T41" fmla="*/ 26 h 36"/>
                  <a:gd name="T42" fmla="*/ 4 w 42"/>
                  <a:gd name="T43" fmla="*/ 28 h 36"/>
                  <a:gd name="T44" fmla="*/ 8 w 42"/>
                  <a:gd name="T45" fmla="*/ 34 h 36"/>
                  <a:gd name="T46" fmla="*/ 8 w 42"/>
                  <a:gd name="T47" fmla="*/ 34 h 36"/>
                  <a:gd name="T48" fmla="*/ 12 w 42"/>
                  <a:gd name="T49" fmla="*/ 36 h 36"/>
                  <a:gd name="T50" fmla="*/ 12 w 42"/>
                  <a:gd name="T51" fmla="*/ 36 h 36"/>
                  <a:gd name="T52" fmla="*/ 12 w 42"/>
                  <a:gd name="T53" fmla="*/ 36 h 36"/>
                  <a:gd name="T54" fmla="*/ 28 w 42"/>
                  <a:gd name="T55" fmla="*/ 34 h 36"/>
                  <a:gd name="T56" fmla="*/ 28 w 42"/>
                  <a:gd name="T57" fmla="*/ 34 h 36"/>
                  <a:gd name="T58" fmla="*/ 32 w 42"/>
                  <a:gd name="T59" fmla="*/ 32 h 36"/>
                  <a:gd name="T60" fmla="*/ 36 w 42"/>
                  <a:gd name="T61" fmla="*/ 22 h 36"/>
                  <a:gd name="T62" fmla="*/ 42 w 42"/>
                  <a:gd name="T63" fmla="*/ 16 h 36"/>
                  <a:gd name="T64" fmla="*/ 42 w 42"/>
                  <a:gd name="T65" fmla="*/ 16 h 36"/>
                  <a:gd name="T66" fmla="*/ 42 w 42"/>
                  <a:gd name="T67" fmla="*/ 12 h 36"/>
                  <a:gd name="T68" fmla="*/ 38 w 42"/>
                  <a:gd name="T69" fmla="*/ 2 h 36"/>
                  <a:gd name="T70" fmla="*/ 38 w 42"/>
                  <a:gd name="T71" fmla="*/ 2 h 36"/>
                  <a:gd name="T72" fmla="*/ 36 w 42"/>
                  <a:gd name="T73" fmla="*/ 0 h 36"/>
                  <a:gd name="T74" fmla="*/ 36 w 42"/>
                  <a:gd name="T75" fmla="*/ 0 h 36"/>
                  <a:gd name="T76" fmla="*/ 34 w 42"/>
                  <a:gd name="T77" fmla="*/ 0 h 36"/>
                  <a:gd name="T78" fmla="*/ 34 w 42"/>
                  <a:gd name="T7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 h="36">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9" name="Freeform 158"/>
              <p:cNvSpPr>
                <a:spLocks/>
              </p:cNvSpPr>
              <p:nvPr/>
            </p:nvSpPr>
            <p:spPr bwMode="auto">
              <a:xfrm>
                <a:off x="497" y="1543"/>
                <a:ext cx="32" cy="16"/>
              </a:xfrm>
              <a:custGeom>
                <a:avLst/>
                <a:gdLst>
                  <a:gd name="T0" fmla="*/ 16 w 32"/>
                  <a:gd name="T1" fmla="*/ 14 h 16"/>
                  <a:gd name="T2" fmla="*/ 14 w 32"/>
                  <a:gd name="T3" fmla="*/ 16 h 16"/>
                  <a:gd name="T4" fmla="*/ 14 w 32"/>
                  <a:gd name="T5" fmla="*/ 16 h 16"/>
                  <a:gd name="T6" fmla="*/ 12 w 32"/>
                  <a:gd name="T7" fmla="*/ 16 h 16"/>
                  <a:gd name="T8" fmla="*/ 12 w 32"/>
                  <a:gd name="T9" fmla="*/ 16 h 16"/>
                  <a:gd name="T10" fmla="*/ 12 w 32"/>
                  <a:gd name="T11" fmla="*/ 16 h 16"/>
                  <a:gd name="T12" fmla="*/ 0 w 32"/>
                  <a:gd name="T13" fmla="*/ 8 h 16"/>
                  <a:gd name="T14" fmla="*/ 0 w 32"/>
                  <a:gd name="T15" fmla="*/ 8 h 16"/>
                  <a:gd name="T16" fmla="*/ 0 w 32"/>
                  <a:gd name="T17" fmla="*/ 6 h 16"/>
                  <a:gd name="T18" fmla="*/ 2 w 32"/>
                  <a:gd name="T19" fmla="*/ 2 h 16"/>
                  <a:gd name="T20" fmla="*/ 2 w 32"/>
                  <a:gd name="T21" fmla="*/ 2 h 16"/>
                  <a:gd name="T22" fmla="*/ 4 w 32"/>
                  <a:gd name="T23" fmla="*/ 0 h 16"/>
                  <a:gd name="T24" fmla="*/ 26 w 32"/>
                  <a:gd name="T25" fmla="*/ 0 h 16"/>
                  <a:gd name="T26" fmla="*/ 26 w 32"/>
                  <a:gd name="T27" fmla="*/ 0 h 16"/>
                  <a:gd name="T28" fmla="*/ 26 w 32"/>
                  <a:gd name="T29" fmla="*/ 0 h 16"/>
                  <a:gd name="T30" fmla="*/ 30 w 32"/>
                  <a:gd name="T31" fmla="*/ 4 h 16"/>
                  <a:gd name="T32" fmla="*/ 30 w 32"/>
                  <a:gd name="T33" fmla="*/ 4 h 16"/>
                  <a:gd name="T34" fmla="*/ 32 w 32"/>
                  <a:gd name="T35" fmla="*/ 6 h 16"/>
                  <a:gd name="T36" fmla="*/ 32 w 32"/>
                  <a:gd name="T37" fmla="*/ 8 h 16"/>
                  <a:gd name="T38" fmla="*/ 32 w 32"/>
                  <a:gd name="T39" fmla="*/ 8 h 16"/>
                  <a:gd name="T40" fmla="*/ 32 w 32"/>
                  <a:gd name="T41" fmla="*/ 10 h 16"/>
                  <a:gd name="T42" fmla="*/ 26 w 32"/>
                  <a:gd name="T43" fmla="*/ 14 h 16"/>
                  <a:gd name="T44" fmla="*/ 26 w 32"/>
                  <a:gd name="T45" fmla="*/ 14 h 16"/>
                  <a:gd name="T46" fmla="*/ 26 w 32"/>
                  <a:gd name="T47" fmla="*/ 16 h 16"/>
                  <a:gd name="T48" fmla="*/ 26 w 32"/>
                  <a:gd name="T49" fmla="*/ 16 h 16"/>
                  <a:gd name="T50" fmla="*/ 16 w 32"/>
                  <a:gd name="T51" fmla="*/ 14 h 16"/>
                  <a:gd name="T52" fmla="*/ 16 w 32"/>
                  <a:gd name="T5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16">
                    <a:moveTo>
                      <a:pt x="16" y="14"/>
                    </a:moveTo>
                    <a:lnTo>
                      <a:pt x="14" y="16"/>
                    </a:lnTo>
                    <a:lnTo>
                      <a:pt x="14" y="16"/>
                    </a:lnTo>
                    <a:lnTo>
                      <a:pt x="12" y="16"/>
                    </a:lnTo>
                    <a:lnTo>
                      <a:pt x="12" y="16"/>
                    </a:lnTo>
                    <a:lnTo>
                      <a:pt x="12" y="16"/>
                    </a:lnTo>
                    <a:lnTo>
                      <a:pt x="0" y="8"/>
                    </a:lnTo>
                    <a:lnTo>
                      <a:pt x="0" y="8"/>
                    </a:lnTo>
                    <a:lnTo>
                      <a:pt x="0" y="6"/>
                    </a:lnTo>
                    <a:lnTo>
                      <a:pt x="2" y="2"/>
                    </a:lnTo>
                    <a:lnTo>
                      <a:pt x="2" y="2"/>
                    </a:lnTo>
                    <a:lnTo>
                      <a:pt x="4" y="0"/>
                    </a:lnTo>
                    <a:lnTo>
                      <a:pt x="26" y="0"/>
                    </a:lnTo>
                    <a:lnTo>
                      <a:pt x="26" y="0"/>
                    </a:lnTo>
                    <a:lnTo>
                      <a:pt x="26" y="0"/>
                    </a:lnTo>
                    <a:lnTo>
                      <a:pt x="30" y="4"/>
                    </a:lnTo>
                    <a:lnTo>
                      <a:pt x="30" y="4"/>
                    </a:lnTo>
                    <a:lnTo>
                      <a:pt x="32" y="6"/>
                    </a:lnTo>
                    <a:lnTo>
                      <a:pt x="32" y="8"/>
                    </a:lnTo>
                    <a:lnTo>
                      <a:pt x="32" y="8"/>
                    </a:lnTo>
                    <a:lnTo>
                      <a:pt x="32" y="10"/>
                    </a:lnTo>
                    <a:lnTo>
                      <a:pt x="26" y="14"/>
                    </a:lnTo>
                    <a:lnTo>
                      <a:pt x="26" y="14"/>
                    </a:lnTo>
                    <a:lnTo>
                      <a:pt x="26" y="16"/>
                    </a:lnTo>
                    <a:lnTo>
                      <a:pt x="26" y="16"/>
                    </a:lnTo>
                    <a:lnTo>
                      <a:pt x="16"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0" name="Freeform 159"/>
              <p:cNvSpPr>
                <a:spLocks noEditPoints="1"/>
              </p:cNvSpPr>
              <p:nvPr/>
            </p:nvSpPr>
            <p:spPr bwMode="auto">
              <a:xfrm>
                <a:off x="495" y="1541"/>
                <a:ext cx="36" cy="20"/>
              </a:xfrm>
              <a:custGeom>
                <a:avLst/>
                <a:gdLst>
                  <a:gd name="T0" fmla="*/ 28 w 36"/>
                  <a:gd name="T1" fmla="*/ 4 h 20"/>
                  <a:gd name="T2" fmla="*/ 32 w 36"/>
                  <a:gd name="T3" fmla="*/ 8 h 20"/>
                  <a:gd name="T4" fmla="*/ 32 w 36"/>
                  <a:gd name="T5" fmla="*/ 10 h 20"/>
                  <a:gd name="T6" fmla="*/ 28 w 36"/>
                  <a:gd name="T7" fmla="*/ 16 h 20"/>
                  <a:gd name="T8" fmla="*/ 18 w 36"/>
                  <a:gd name="T9" fmla="*/ 14 h 20"/>
                  <a:gd name="T10" fmla="*/ 14 w 36"/>
                  <a:gd name="T11" fmla="*/ 16 h 20"/>
                  <a:gd name="T12" fmla="*/ 8 w 36"/>
                  <a:gd name="T13" fmla="*/ 12 h 20"/>
                  <a:gd name="T14" fmla="*/ 4 w 36"/>
                  <a:gd name="T15" fmla="*/ 8 h 20"/>
                  <a:gd name="T16" fmla="*/ 6 w 36"/>
                  <a:gd name="T17" fmla="*/ 4 h 20"/>
                  <a:gd name="T18" fmla="*/ 12 w 36"/>
                  <a:gd name="T19" fmla="*/ 4 h 20"/>
                  <a:gd name="T20" fmla="*/ 28 w 36"/>
                  <a:gd name="T21" fmla="*/ 4 h 20"/>
                  <a:gd name="T22" fmla="*/ 28 w 36"/>
                  <a:gd name="T23" fmla="*/ 0 h 20"/>
                  <a:gd name="T24" fmla="*/ 12 w 36"/>
                  <a:gd name="T25" fmla="*/ 0 h 20"/>
                  <a:gd name="T26" fmla="*/ 6 w 36"/>
                  <a:gd name="T27" fmla="*/ 0 h 20"/>
                  <a:gd name="T28" fmla="*/ 6 w 36"/>
                  <a:gd name="T29" fmla="*/ 0 h 20"/>
                  <a:gd name="T30" fmla="*/ 2 w 36"/>
                  <a:gd name="T31" fmla="*/ 2 h 20"/>
                  <a:gd name="T32" fmla="*/ 0 w 36"/>
                  <a:gd name="T33" fmla="*/ 6 h 20"/>
                  <a:gd name="T34" fmla="*/ 0 w 36"/>
                  <a:gd name="T35" fmla="*/ 6 h 20"/>
                  <a:gd name="T36" fmla="*/ 0 w 36"/>
                  <a:gd name="T37" fmla="*/ 10 h 20"/>
                  <a:gd name="T38" fmla="*/ 2 w 36"/>
                  <a:gd name="T39" fmla="*/ 12 h 20"/>
                  <a:gd name="T40" fmla="*/ 6 w 36"/>
                  <a:gd name="T41" fmla="*/ 14 h 20"/>
                  <a:gd name="T42" fmla="*/ 12 w 36"/>
                  <a:gd name="T43" fmla="*/ 20 h 20"/>
                  <a:gd name="T44" fmla="*/ 12 w 36"/>
                  <a:gd name="T45" fmla="*/ 20 h 20"/>
                  <a:gd name="T46" fmla="*/ 14 w 36"/>
                  <a:gd name="T47" fmla="*/ 20 h 20"/>
                  <a:gd name="T48" fmla="*/ 14 w 36"/>
                  <a:gd name="T49" fmla="*/ 20 h 20"/>
                  <a:gd name="T50" fmla="*/ 16 w 36"/>
                  <a:gd name="T51" fmla="*/ 20 h 20"/>
                  <a:gd name="T52" fmla="*/ 20 w 36"/>
                  <a:gd name="T53" fmla="*/ 18 h 20"/>
                  <a:gd name="T54" fmla="*/ 26 w 36"/>
                  <a:gd name="T55" fmla="*/ 20 h 20"/>
                  <a:gd name="T56" fmla="*/ 26 w 36"/>
                  <a:gd name="T57" fmla="*/ 20 h 20"/>
                  <a:gd name="T58" fmla="*/ 28 w 36"/>
                  <a:gd name="T59" fmla="*/ 20 h 20"/>
                  <a:gd name="T60" fmla="*/ 28 w 36"/>
                  <a:gd name="T61" fmla="*/ 20 h 20"/>
                  <a:gd name="T62" fmla="*/ 30 w 36"/>
                  <a:gd name="T63" fmla="*/ 18 h 20"/>
                  <a:gd name="T64" fmla="*/ 34 w 36"/>
                  <a:gd name="T65" fmla="*/ 12 h 20"/>
                  <a:gd name="T66" fmla="*/ 34 w 36"/>
                  <a:gd name="T67" fmla="*/ 12 h 20"/>
                  <a:gd name="T68" fmla="*/ 36 w 36"/>
                  <a:gd name="T69" fmla="*/ 10 h 20"/>
                  <a:gd name="T70" fmla="*/ 36 w 36"/>
                  <a:gd name="T71" fmla="*/ 8 h 20"/>
                  <a:gd name="T72" fmla="*/ 36 w 36"/>
                  <a:gd name="T73" fmla="*/ 8 h 20"/>
                  <a:gd name="T74" fmla="*/ 34 w 36"/>
                  <a:gd name="T75" fmla="*/ 4 h 20"/>
                  <a:gd name="T76" fmla="*/ 30 w 36"/>
                  <a:gd name="T77" fmla="*/ 2 h 20"/>
                  <a:gd name="T78" fmla="*/ 30 w 36"/>
                  <a:gd name="T79" fmla="*/ 2 h 20"/>
                  <a:gd name="T80" fmla="*/ 28 w 36"/>
                  <a:gd name="T81" fmla="*/ 0 h 20"/>
                  <a:gd name="T82" fmla="*/ 28 w 36"/>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0">
                    <a:moveTo>
                      <a:pt x="28" y="4"/>
                    </a:moveTo>
                    <a:lnTo>
                      <a:pt x="32" y="8"/>
                    </a:lnTo>
                    <a:lnTo>
                      <a:pt x="32" y="10"/>
                    </a:lnTo>
                    <a:lnTo>
                      <a:pt x="28" y="16"/>
                    </a:lnTo>
                    <a:lnTo>
                      <a:pt x="18" y="14"/>
                    </a:lnTo>
                    <a:lnTo>
                      <a:pt x="14" y="16"/>
                    </a:lnTo>
                    <a:lnTo>
                      <a:pt x="8" y="12"/>
                    </a:lnTo>
                    <a:lnTo>
                      <a:pt x="4" y="8"/>
                    </a:lnTo>
                    <a:lnTo>
                      <a:pt x="6" y="4"/>
                    </a:lnTo>
                    <a:lnTo>
                      <a:pt x="12" y="4"/>
                    </a:lnTo>
                    <a:lnTo>
                      <a:pt x="28" y="4"/>
                    </a:lnTo>
                    <a:close/>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1" name="Freeform 160"/>
              <p:cNvSpPr>
                <a:spLocks/>
              </p:cNvSpPr>
              <p:nvPr/>
            </p:nvSpPr>
            <p:spPr bwMode="auto">
              <a:xfrm>
                <a:off x="499" y="1545"/>
                <a:ext cx="28" cy="12"/>
              </a:xfrm>
              <a:custGeom>
                <a:avLst/>
                <a:gdLst>
                  <a:gd name="T0" fmla="*/ 24 w 28"/>
                  <a:gd name="T1" fmla="*/ 0 h 12"/>
                  <a:gd name="T2" fmla="*/ 28 w 28"/>
                  <a:gd name="T3" fmla="*/ 4 h 12"/>
                  <a:gd name="T4" fmla="*/ 28 w 28"/>
                  <a:gd name="T5" fmla="*/ 6 h 12"/>
                  <a:gd name="T6" fmla="*/ 24 w 28"/>
                  <a:gd name="T7" fmla="*/ 12 h 12"/>
                  <a:gd name="T8" fmla="*/ 14 w 28"/>
                  <a:gd name="T9" fmla="*/ 10 h 12"/>
                  <a:gd name="T10" fmla="*/ 10 w 28"/>
                  <a:gd name="T11" fmla="*/ 12 h 12"/>
                  <a:gd name="T12" fmla="*/ 4 w 28"/>
                  <a:gd name="T13" fmla="*/ 8 h 12"/>
                  <a:gd name="T14" fmla="*/ 0 w 28"/>
                  <a:gd name="T15" fmla="*/ 4 h 12"/>
                  <a:gd name="T16" fmla="*/ 2 w 28"/>
                  <a:gd name="T17" fmla="*/ 0 h 12"/>
                  <a:gd name="T18" fmla="*/ 8 w 28"/>
                  <a:gd name="T19" fmla="*/ 0 h 12"/>
                  <a:gd name="T20" fmla="*/ 24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4" y="0"/>
                    </a:moveTo>
                    <a:lnTo>
                      <a:pt x="28" y="4"/>
                    </a:lnTo>
                    <a:lnTo>
                      <a:pt x="28" y="6"/>
                    </a:lnTo>
                    <a:lnTo>
                      <a:pt x="24" y="12"/>
                    </a:lnTo>
                    <a:lnTo>
                      <a:pt x="14" y="10"/>
                    </a:lnTo>
                    <a:lnTo>
                      <a:pt x="10" y="12"/>
                    </a:lnTo>
                    <a:lnTo>
                      <a:pt x="4" y="8"/>
                    </a:lnTo>
                    <a:lnTo>
                      <a:pt x="0" y="4"/>
                    </a:lnTo>
                    <a:lnTo>
                      <a:pt x="2" y="0"/>
                    </a:lnTo>
                    <a:lnTo>
                      <a:pt x="8"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2" name="Freeform 161"/>
              <p:cNvSpPr>
                <a:spLocks/>
              </p:cNvSpPr>
              <p:nvPr/>
            </p:nvSpPr>
            <p:spPr bwMode="auto">
              <a:xfrm>
                <a:off x="495" y="1541"/>
                <a:ext cx="36" cy="20"/>
              </a:xfrm>
              <a:custGeom>
                <a:avLst/>
                <a:gdLst>
                  <a:gd name="T0" fmla="*/ 28 w 36"/>
                  <a:gd name="T1" fmla="*/ 0 h 20"/>
                  <a:gd name="T2" fmla="*/ 12 w 36"/>
                  <a:gd name="T3" fmla="*/ 0 h 20"/>
                  <a:gd name="T4" fmla="*/ 6 w 36"/>
                  <a:gd name="T5" fmla="*/ 0 h 20"/>
                  <a:gd name="T6" fmla="*/ 6 w 36"/>
                  <a:gd name="T7" fmla="*/ 0 h 20"/>
                  <a:gd name="T8" fmla="*/ 2 w 36"/>
                  <a:gd name="T9" fmla="*/ 2 h 20"/>
                  <a:gd name="T10" fmla="*/ 0 w 36"/>
                  <a:gd name="T11" fmla="*/ 6 h 20"/>
                  <a:gd name="T12" fmla="*/ 0 w 36"/>
                  <a:gd name="T13" fmla="*/ 6 h 20"/>
                  <a:gd name="T14" fmla="*/ 0 w 36"/>
                  <a:gd name="T15" fmla="*/ 10 h 20"/>
                  <a:gd name="T16" fmla="*/ 2 w 36"/>
                  <a:gd name="T17" fmla="*/ 12 h 20"/>
                  <a:gd name="T18" fmla="*/ 6 w 36"/>
                  <a:gd name="T19" fmla="*/ 14 h 20"/>
                  <a:gd name="T20" fmla="*/ 12 w 36"/>
                  <a:gd name="T21" fmla="*/ 20 h 20"/>
                  <a:gd name="T22" fmla="*/ 12 w 36"/>
                  <a:gd name="T23" fmla="*/ 20 h 20"/>
                  <a:gd name="T24" fmla="*/ 14 w 36"/>
                  <a:gd name="T25" fmla="*/ 20 h 20"/>
                  <a:gd name="T26" fmla="*/ 14 w 36"/>
                  <a:gd name="T27" fmla="*/ 20 h 20"/>
                  <a:gd name="T28" fmla="*/ 16 w 36"/>
                  <a:gd name="T29" fmla="*/ 20 h 20"/>
                  <a:gd name="T30" fmla="*/ 20 w 36"/>
                  <a:gd name="T31" fmla="*/ 18 h 20"/>
                  <a:gd name="T32" fmla="*/ 26 w 36"/>
                  <a:gd name="T33" fmla="*/ 20 h 20"/>
                  <a:gd name="T34" fmla="*/ 26 w 36"/>
                  <a:gd name="T35" fmla="*/ 20 h 20"/>
                  <a:gd name="T36" fmla="*/ 28 w 36"/>
                  <a:gd name="T37" fmla="*/ 20 h 20"/>
                  <a:gd name="T38" fmla="*/ 28 w 36"/>
                  <a:gd name="T39" fmla="*/ 20 h 20"/>
                  <a:gd name="T40" fmla="*/ 30 w 36"/>
                  <a:gd name="T41" fmla="*/ 18 h 20"/>
                  <a:gd name="T42" fmla="*/ 34 w 36"/>
                  <a:gd name="T43" fmla="*/ 12 h 20"/>
                  <a:gd name="T44" fmla="*/ 34 w 36"/>
                  <a:gd name="T45" fmla="*/ 12 h 20"/>
                  <a:gd name="T46" fmla="*/ 36 w 36"/>
                  <a:gd name="T47" fmla="*/ 10 h 20"/>
                  <a:gd name="T48" fmla="*/ 36 w 36"/>
                  <a:gd name="T49" fmla="*/ 8 h 20"/>
                  <a:gd name="T50" fmla="*/ 36 w 36"/>
                  <a:gd name="T51" fmla="*/ 8 h 20"/>
                  <a:gd name="T52" fmla="*/ 34 w 36"/>
                  <a:gd name="T53" fmla="*/ 4 h 20"/>
                  <a:gd name="T54" fmla="*/ 30 w 36"/>
                  <a:gd name="T55" fmla="*/ 2 h 20"/>
                  <a:gd name="T56" fmla="*/ 30 w 36"/>
                  <a:gd name="T57" fmla="*/ 2 h 20"/>
                  <a:gd name="T58" fmla="*/ 28 w 36"/>
                  <a:gd name="T59" fmla="*/ 0 h 20"/>
                  <a:gd name="T60" fmla="*/ 28 w 36"/>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0">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3" name="Freeform 162"/>
              <p:cNvSpPr>
                <a:spLocks/>
              </p:cNvSpPr>
              <p:nvPr/>
            </p:nvSpPr>
            <p:spPr bwMode="auto">
              <a:xfrm>
                <a:off x="939" y="1589"/>
                <a:ext cx="20" cy="38"/>
              </a:xfrm>
              <a:custGeom>
                <a:avLst/>
                <a:gdLst>
                  <a:gd name="T0" fmla="*/ 18 w 20"/>
                  <a:gd name="T1" fmla="*/ 38 h 38"/>
                  <a:gd name="T2" fmla="*/ 18 w 20"/>
                  <a:gd name="T3" fmla="*/ 38 h 38"/>
                  <a:gd name="T4" fmla="*/ 16 w 20"/>
                  <a:gd name="T5" fmla="*/ 36 h 38"/>
                  <a:gd name="T6" fmla="*/ 12 w 20"/>
                  <a:gd name="T7" fmla="*/ 30 h 38"/>
                  <a:gd name="T8" fmla="*/ 6 w 20"/>
                  <a:gd name="T9" fmla="*/ 20 h 38"/>
                  <a:gd name="T10" fmla="*/ 2 w 20"/>
                  <a:gd name="T11" fmla="*/ 16 h 38"/>
                  <a:gd name="T12" fmla="*/ 0 w 20"/>
                  <a:gd name="T13" fmla="*/ 8 h 38"/>
                  <a:gd name="T14" fmla="*/ 0 w 20"/>
                  <a:gd name="T15" fmla="*/ 2 h 38"/>
                  <a:gd name="T16" fmla="*/ 0 w 20"/>
                  <a:gd name="T17" fmla="*/ 2 h 38"/>
                  <a:gd name="T18" fmla="*/ 0 w 20"/>
                  <a:gd name="T19" fmla="*/ 0 h 38"/>
                  <a:gd name="T20" fmla="*/ 0 w 20"/>
                  <a:gd name="T21" fmla="*/ 0 h 38"/>
                  <a:gd name="T22" fmla="*/ 2 w 20"/>
                  <a:gd name="T23" fmla="*/ 0 h 38"/>
                  <a:gd name="T24" fmla="*/ 2 w 20"/>
                  <a:gd name="T25" fmla="*/ 0 h 38"/>
                  <a:gd name="T26" fmla="*/ 2 w 20"/>
                  <a:gd name="T27" fmla="*/ 0 h 38"/>
                  <a:gd name="T28" fmla="*/ 10 w 20"/>
                  <a:gd name="T29" fmla="*/ 2 h 38"/>
                  <a:gd name="T30" fmla="*/ 10 w 20"/>
                  <a:gd name="T31" fmla="*/ 2 h 38"/>
                  <a:gd name="T32" fmla="*/ 10 w 20"/>
                  <a:gd name="T33" fmla="*/ 2 h 38"/>
                  <a:gd name="T34" fmla="*/ 14 w 20"/>
                  <a:gd name="T35" fmla="*/ 4 h 38"/>
                  <a:gd name="T36" fmla="*/ 14 w 20"/>
                  <a:gd name="T37" fmla="*/ 4 h 38"/>
                  <a:gd name="T38" fmla="*/ 14 w 20"/>
                  <a:gd name="T39" fmla="*/ 6 h 38"/>
                  <a:gd name="T40" fmla="*/ 16 w 20"/>
                  <a:gd name="T41" fmla="*/ 18 h 38"/>
                  <a:gd name="T42" fmla="*/ 20 w 20"/>
                  <a:gd name="T43" fmla="*/ 26 h 38"/>
                  <a:gd name="T44" fmla="*/ 20 w 20"/>
                  <a:gd name="T45" fmla="*/ 26 h 38"/>
                  <a:gd name="T46" fmla="*/ 20 w 20"/>
                  <a:gd name="T47" fmla="*/ 26 h 38"/>
                  <a:gd name="T48" fmla="*/ 20 w 20"/>
                  <a:gd name="T49" fmla="*/ 36 h 38"/>
                  <a:gd name="T50" fmla="*/ 20 w 20"/>
                  <a:gd name="T51" fmla="*/ 36 h 38"/>
                  <a:gd name="T52" fmla="*/ 20 w 20"/>
                  <a:gd name="T53" fmla="*/ 36 h 38"/>
                  <a:gd name="T54" fmla="*/ 20 w 20"/>
                  <a:gd name="T55" fmla="*/ 36 h 38"/>
                  <a:gd name="T56" fmla="*/ 18 w 20"/>
                  <a:gd name="T57" fmla="*/ 38 h 38"/>
                  <a:gd name="T58" fmla="*/ 18 w 20"/>
                  <a:gd name="T5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8">
                    <a:moveTo>
                      <a:pt x="18" y="38"/>
                    </a:moveTo>
                    <a:lnTo>
                      <a:pt x="18" y="38"/>
                    </a:lnTo>
                    <a:lnTo>
                      <a:pt x="16" y="36"/>
                    </a:lnTo>
                    <a:lnTo>
                      <a:pt x="12" y="30"/>
                    </a:lnTo>
                    <a:lnTo>
                      <a:pt x="6" y="20"/>
                    </a:lnTo>
                    <a:lnTo>
                      <a:pt x="2" y="16"/>
                    </a:lnTo>
                    <a:lnTo>
                      <a:pt x="0" y="8"/>
                    </a:lnTo>
                    <a:lnTo>
                      <a:pt x="0" y="2"/>
                    </a:lnTo>
                    <a:lnTo>
                      <a:pt x="0" y="2"/>
                    </a:lnTo>
                    <a:lnTo>
                      <a:pt x="0" y="0"/>
                    </a:lnTo>
                    <a:lnTo>
                      <a:pt x="0" y="0"/>
                    </a:lnTo>
                    <a:lnTo>
                      <a:pt x="2" y="0"/>
                    </a:lnTo>
                    <a:lnTo>
                      <a:pt x="2" y="0"/>
                    </a:lnTo>
                    <a:lnTo>
                      <a:pt x="2" y="0"/>
                    </a:lnTo>
                    <a:lnTo>
                      <a:pt x="10" y="2"/>
                    </a:lnTo>
                    <a:lnTo>
                      <a:pt x="10" y="2"/>
                    </a:lnTo>
                    <a:lnTo>
                      <a:pt x="10" y="2"/>
                    </a:lnTo>
                    <a:lnTo>
                      <a:pt x="14" y="4"/>
                    </a:lnTo>
                    <a:lnTo>
                      <a:pt x="14" y="4"/>
                    </a:lnTo>
                    <a:lnTo>
                      <a:pt x="14" y="6"/>
                    </a:lnTo>
                    <a:lnTo>
                      <a:pt x="16" y="18"/>
                    </a:lnTo>
                    <a:lnTo>
                      <a:pt x="20" y="26"/>
                    </a:lnTo>
                    <a:lnTo>
                      <a:pt x="20" y="26"/>
                    </a:lnTo>
                    <a:lnTo>
                      <a:pt x="20" y="26"/>
                    </a:lnTo>
                    <a:lnTo>
                      <a:pt x="20" y="36"/>
                    </a:lnTo>
                    <a:lnTo>
                      <a:pt x="20" y="36"/>
                    </a:lnTo>
                    <a:lnTo>
                      <a:pt x="20" y="36"/>
                    </a:lnTo>
                    <a:lnTo>
                      <a:pt x="20" y="36"/>
                    </a:lnTo>
                    <a:lnTo>
                      <a:pt x="18"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4" name="Freeform 163"/>
              <p:cNvSpPr>
                <a:spLocks noEditPoints="1"/>
              </p:cNvSpPr>
              <p:nvPr/>
            </p:nvSpPr>
            <p:spPr bwMode="auto">
              <a:xfrm>
                <a:off x="937" y="1587"/>
                <a:ext cx="24" cy="42"/>
              </a:xfrm>
              <a:custGeom>
                <a:avLst/>
                <a:gdLst>
                  <a:gd name="T0" fmla="*/ 4 w 24"/>
                  <a:gd name="T1" fmla="*/ 4 h 42"/>
                  <a:gd name="T2" fmla="*/ 10 w 24"/>
                  <a:gd name="T3" fmla="*/ 6 h 42"/>
                  <a:gd name="T4" fmla="*/ 14 w 24"/>
                  <a:gd name="T5" fmla="*/ 8 h 42"/>
                  <a:gd name="T6" fmla="*/ 16 w 24"/>
                  <a:gd name="T7" fmla="*/ 20 h 42"/>
                  <a:gd name="T8" fmla="*/ 20 w 24"/>
                  <a:gd name="T9" fmla="*/ 28 h 42"/>
                  <a:gd name="T10" fmla="*/ 20 w 24"/>
                  <a:gd name="T11" fmla="*/ 38 h 42"/>
                  <a:gd name="T12" fmla="*/ 14 w 24"/>
                  <a:gd name="T13" fmla="*/ 30 h 42"/>
                  <a:gd name="T14" fmla="*/ 10 w 24"/>
                  <a:gd name="T15" fmla="*/ 22 h 42"/>
                  <a:gd name="T16" fmla="*/ 6 w 24"/>
                  <a:gd name="T17" fmla="*/ 16 h 42"/>
                  <a:gd name="T18" fmla="*/ 4 w 24"/>
                  <a:gd name="T19" fmla="*/ 10 h 42"/>
                  <a:gd name="T20" fmla="*/ 4 w 24"/>
                  <a:gd name="T21" fmla="*/ 4 h 42"/>
                  <a:gd name="T22" fmla="*/ 4 w 24"/>
                  <a:gd name="T23" fmla="*/ 0 h 42"/>
                  <a:gd name="T24" fmla="*/ 4 w 24"/>
                  <a:gd name="T25" fmla="*/ 0 h 42"/>
                  <a:gd name="T26" fmla="*/ 2 w 24"/>
                  <a:gd name="T27" fmla="*/ 0 h 42"/>
                  <a:gd name="T28" fmla="*/ 2 w 24"/>
                  <a:gd name="T29" fmla="*/ 0 h 42"/>
                  <a:gd name="T30" fmla="*/ 0 w 24"/>
                  <a:gd name="T31" fmla="*/ 4 h 42"/>
                  <a:gd name="T32" fmla="*/ 0 w 24"/>
                  <a:gd name="T33" fmla="*/ 10 h 42"/>
                  <a:gd name="T34" fmla="*/ 0 w 24"/>
                  <a:gd name="T35" fmla="*/ 10 h 42"/>
                  <a:gd name="T36" fmla="*/ 0 w 24"/>
                  <a:gd name="T37" fmla="*/ 12 h 42"/>
                  <a:gd name="T38" fmla="*/ 2 w 24"/>
                  <a:gd name="T39" fmla="*/ 18 h 42"/>
                  <a:gd name="T40" fmla="*/ 2 w 24"/>
                  <a:gd name="T41" fmla="*/ 18 h 42"/>
                  <a:gd name="T42" fmla="*/ 2 w 24"/>
                  <a:gd name="T43" fmla="*/ 18 h 42"/>
                  <a:gd name="T44" fmla="*/ 6 w 24"/>
                  <a:gd name="T45" fmla="*/ 24 h 42"/>
                  <a:gd name="T46" fmla="*/ 12 w 24"/>
                  <a:gd name="T47" fmla="*/ 32 h 42"/>
                  <a:gd name="T48" fmla="*/ 12 w 24"/>
                  <a:gd name="T49" fmla="*/ 32 h 42"/>
                  <a:gd name="T50" fmla="*/ 12 w 24"/>
                  <a:gd name="T51" fmla="*/ 32 h 42"/>
                  <a:gd name="T52" fmla="*/ 18 w 24"/>
                  <a:gd name="T53" fmla="*/ 40 h 42"/>
                  <a:gd name="T54" fmla="*/ 18 w 24"/>
                  <a:gd name="T55" fmla="*/ 40 h 42"/>
                  <a:gd name="T56" fmla="*/ 20 w 24"/>
                  <a:gd name="T57" fmla="*/ 42 h 42"/>
                  <a:gd name="T58" fmla="*/ 20 w 24"/>
                  <a:gd name="T59" fmla="*/ 42 h 42"/>
                  <a:gd name="T60" fmla="*/ 22 w 24"/>
                  <a:gd name="T61" fmla="*/ 40 h 42"/>
                  <a:gd name="T62" fmla="*/ 22 w 24"/>
                  <a:gd name="T63" fmla="*/ 40 h 42"/>
                  <a:gd name="T64" fmla="*/ 24 w 24"/>
                  <a:gd name="T65" fmla="*/ 40 h 42"/>
                  <a:gd name="T66" fmla="*/ 24 w 24"/>
                  <a:gd name="T67" fmla="*/ 38 h 42"/>
                  <a:gd name="T68" fmla="*/ 24 w 24"/>
                  <a:gd name="T69" fmla="*/ 28 h 42"/>
                  <a:gd name="T70" fmla="*/ 24 w 24"/>
                  <a:gd name="T71" fmla="*/ 28 h 42"/>
                  <a:gd name="T72" fmla="*/ 24 w 24"/>
                  <a:gd name="T73" fmla="*/ 26 h 42"/>
                  <a:gd name="T74" fmla="*/ 20 w 24"/>
                  <a:gd name="T75" fmla="*/ 20 h 42"/>
                  <a:gd name="T76" fmla="*/ 18 w 24"/>
                  <a:gd name="T77" fmla="*/ 8 h 42"/>
                  <a:gd name="T78" fmla="*/ 18 w 24"/>
                  <a:gd name="T79" fmla="*/ 8 h 42"/>
                  <a:gd name="T80" fmla="*/ 18 w 24"/>
                  <a:gd name="T81" fmla="*/ 6 h 42"/>
                  <a:gd name="T82" fmla="*/ 14 w 24"/>
                  <a:gd name="T83" fmla="*/ 2 h 42"/>
                  <a:gd name="T84" fmla="*/ 14 w 24"/>
                  <a:gd name="T85" fmla="*/ 2 h 42"/>
                  <a:gd name="T86" fmla="*/ 12 w 24"/>
                  <a:gd name="T87" fmla="*/ 2 h 42"/>
                  <a:gd name="T88" fmla="*/ 4 w 24"/>
                  <a:gd name="T89" fmla="*/ 0 h 42"/>
                  <a:gd name="T90" fmla="*/ 4 w 24"/>
                  <a:gd name="T91" fmla="*/ 0 h 42"/>
                  <a:gd name="T92" fmla="*/ 4 w 24"/>
                  <a:gd name="T93" fmla="*/ 0 h 42"/>
                  <a:gd name="T94" fmla="*/ 4 w 2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 h="42">
                    <a:moveTo>
                      <a:pt x="4" y="4"/>
                    </a:moveTo>
                    <a:lnTo>
                      <a:pt x="10" y="6"/>
                    </a:lnTo>
                    <a:lnTo>
                      <a:pt x="14" y="8"/>
                    </a:lnTo>
                    <a:lnTo>
                      <a:pt x="16" y="20"/>
                    </a:lnTo>
                    <a:lnTo>
                      <a:pt x="20" y="28"/>
                    </a:lnTo>
                    <a:lnTo>
                      <a:pt x="20" y="38"/>
                    </a:lnTo>
                    <a:lnTo>
                      <a:pt x="14" y="30"/>
                    </a:lnTo>
                    <a:lnTo>
                      <a:pt x="10" y="22"/>
                    </a:lnTo>
                    <a:lnTo>
                      <a:pt x="6" y="16"/>
                    </a:lnTo>
                    <a:lnTo>
                      <a:pt x="4" y="10"/>
                    </a:lnTo>
                    <a:lnTo>
                      <a:pt x="4" y="4"/>
                    </a:lnTo>
                    <a:close/>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5" name="Freeform 164"/>
              <p:cNvSpPr>
                <a:spLocks/>
              </p:cNvSpPr>
              <p:nvPr/>
            </p:nvSpPr>
            <p:spPr bwMode="auto">
              <a:xfrm>
                <a:off x="941" y="1591"/>
                <a:ext cx="16" cy="34"/>
              </a:xfrm>
              <a:custGeom>
                <a:avLst/>
                <a:gdLst>
                  <a:gd name="T0" fmla="*/ 0 w 16"/>
                  <a:gd name="T1" fmla="*/ 0 h 34"/>
                  <a:gd name="T2" fmla="*/ 6 w 16"/>
                  <a:gd name="T3" fmla="*/ 2 h 34"/>
                  <a:gd name="T4" fmla="*/ 10 w 16"/>
                  <a:gd name="T5" fmla="*/ 4 h 34"/>
                  <a:gd name="T6" fmla="*/ 12 w 16"/>
                  <a:gd name="T7" fmla="*/ 16 h 34"/>
                  <a:gd name="T8" fmla="*/ 16 w 16"/>
                  <a:gd name="T9" fmla="*/ 24 h 34"/>
                  <a:gd name="T10" fmla="*/ 16 w 16"/>
                  <a:gd name="T11" fmla="*/ 34 h 34"/>
                  <a:gd name="T12" fmla="*/ 10 w 16"/>
                  <a:gd name="T13" fmla="*/ 26 h 34"/>
                  <a:gd name="T14" fmla="*/ 6 w 16"/>
                  <a:gd name="T15" fmla="*/ 18 h 34"/>
                  <a:gd name="T16" fmla="*/ 2 w 16"/>
                  <a:gd name="T17" fmla="*/ 12 h 34"/>
                  <a:gd name="T18" fmla="*/ 0 w 16"/>
                  <a:gd name="T19" fmla="*/ 6 h 34"/>
                  <a:gd name="T20" fmla="*/ 0 w 1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4">
                    <a:moveTo>
                      <a:pt x="0" y="0"/>
                    </a:moveTo>
                    <a:lnTo>
                      <a:pt x="6" y="2"/>
                    </a:lnTo>
                    <a:lnTo>
                      <a:pt x="10" y="4"/>
                    </a:lnTo>
                    <a:lnTo>
                      <a:pt x="12" y="16"/>
                    </a:lnTo>
                    <a:lnTo>
                      <a:pt x="16" y="24"/>
                    </a:lnTo>
                    <a:lnTo>
                      <a:pt x="16" y="34"/>
                    </a:lnTo>
                    <a:lnTo>
                      <a:pt x="10" y="26"/>
                    </a:lnTo>
                    <a:lnTo>
                      <a:pt x="6" y="18"/>
                    </a:lnTo>
                    <a:lnTo>
                      <a:pt x="2" y="12"/>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6" name="Freeform 165"/>
              <p:cNvSpPr>
                <a:spLocks/>
              </p:cNvSpPr>
              <p:nvPr/>
            </p:nvSpPr>
            <p:spPr bwMode="auto">
              <a:xfrm>
                <a:off x="937" y="1587"/>
                <a:ext cx="24" cy="42"/>
              </a:xfrm>
              <a:custGeom>
                <a:avLst/>
                <a:gdLst>
                  <a:gd name="T0" fmla="*/ 4 w 24"/>
                  <a:gd name="T1" fmla="*/ 0 h 42"/>
                  <a:gd name="T2" fmla="*/ 4 w 24"/>
                  <a:gd name="T3" fmla="*/ 0 h 42"/>
                  <a:gd name="T4" fmla="*/ 2 w 24"/>
                  <a:gd name="T5" fmla="*/ 0 h 42"/>
                  <a:gd name="T6" fmla="*/ 2 w 24"/>
                  <a:gd name="T7" fmla="*/ 0 h 42"/>
                  <a:gd name="T8" fmla="*/ 0 w 24"/>
                  <a:gd name="T9" fmla="*/ 4 h 42"/>
                  <a:gd name="T10" fmla="*/ 0 w 24"/>
                  <a:gd name="T11" fmla="*/ 10 h 42"/>
                  <a:gd name="T12" fmla="*/ 0 w 24"/>
                  <a:gd name="T13" fmla="*/ 10 h 42"/>
                  <a:gd name="T14" fmla="*/ 0 w 24"/>
                  <a:gd name="T15" fmla="*/ 12 h 42"/>
                  <a:gd name="T16" fmla="*/ 2 w 24"/>
                  <a:gd name="T17" fmla="*/ 18 h 42"/>
                  <a:gd name="T18" fmla="*/ 2 w 24"/>
                  <a:gd name="T19" fmla="*/ 18 h 42"/>
                  <a:gd name="T20" fmla="*/ 2 w 24"/>
                  <a:gd name="T21" fmla="*/ 18 h 42"/>
                  <a:gd name="T22" fmla="*/ 6 w 24"/>
                  <a:gd name="T23" fmla="*/ 24 h 42"/>
                  <a:gd name="T24" fmla="*/ 12 w 24"/>
                  <a:gd name="T25" fmla="*/ 32 h 42"/>
                  <a:gd name="T26" fmla="*/ 12 w 24"/>
                  <a:gd name="T27" fmla="*/ 32 h 42"/>
                  <a:gd name="T28" fmla="*/ 12 w 24"/>
                  <a:gd name="T29" fmla="*/ 32 h 42"/>
                  <a:gd name="T30" fmla="*/ 18 w 24"/>
                  <a:gd name="T31" fmla="*/ 40 h 42"/>
                  <a:gd name="T32" fmla="*/ 18 w 24"/>
                  <a:gd name="T33" fmla="*/ 40 h 42"/>
                  <a:gd name="T34" fmla="*/ 20 w 24"/>
                  <a:gd name="T35" fmla="*/ 42 h 42"/>
                  <a:gd name="T36" fmla="*/ 20 w 24"/>
                  <a:gd name="T37" fmla="*/ 42 h 42"/>
                  <a:gd name="T38" fmla="*/ 22 w 24"/>
                  <a:gd name="T39" fmla="*/ 40 h 42"/>
                  <a:gd name="T40" fmla="*/ 22 w 24"/>
                  <a:gd name="T41" fmla="*/ 40 h 42"/>
                  <a:gd name="T42" fmla="*/ 24 w 24"/>
                  <a:gd name="T43" fmla="*/ 40 h 42"/>
                  <a:gd name="T44" fmla="*/ 24 w 24"/>
                  <a:gd name="T45" fmla="*/ 38 h 42"/>
                  <a:gd name="T46" fmla="*/ 24 w 24"/>
                  <a:gd name="T47" fmla="*/ 28 h 42"/>
                  <a:gd name="T48" fmla="*/ 24 w 24"/>
                  <a:gd name="T49" fmla="*/ 28 h 42"/>
                  <a:gd name="T50" fmla="*/ 24 w 24"/>
                  <a:gd name="T51" fmla="*/ 26 h 42"/>
                  <a:gd name="T52" fmla="*/ 20 w 24"/>
                  <a:gd name="T53" fmla="*/ 20 h 42"/>
                  <a:gd name="T54" fmla="*/ 18 w 24"/>
                  <a:gd name="T55" fmla="*/ 8 h 42"/>
                  <a:gd name="T56" fmla="*/ 18 w 24"/>
                  <a:gd name="T57" fmla="*/ 8 h 42"/>
                  <a:gd name="T58" fmla="*/ 18 w 24"/>
                  <a:gd name="T59" fmla="*/ 6 h 42"/>
                  <a:gd name="T60" fmla="*/ 14 w 24"/>
                  <a:gd name="T61" fmla="*/ 2 h 42"/>
                  <a:gd name="T62" fmla="*/ 14 w 24"/>
                  <a:gd name="T63" fmla="*/ 2 h 42"/>
                  <a:gd name="T64" fmla="*/ 12 w 24"/>
                  <a:gd name="T65" fmla="*/ 2 h 42"/>
                  <a:gd name="T66" fmla="*/ 4 w 24"/>
                  <a:gd name="T67" fmla="*/ 0 h 42"/>
                  <a:gd name="T68" fmla="*/ 4 w 24"/>
                  <a:gd name="T69" fmla="*/ 0 h 42"/>
                  <a:gd name="T70" fmla="*/ 4 w 24"/>
                  <a:gd name="T71" fmla="*/ 0 h 42"/>
                  <a:gd name="T72" fmla="*/ 4 w 24"/>
                  <a:gd name="T7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 h="42">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7" name="Freeform 166"/>
              <p:cNvSpPr>
                <a:spLocks/>
              </p:cNvSpPr>
              <p:nvPr/>
            </p:nvSpPr>
            <p:spPr bwMode="auto">
              <a:xfrm>
                <a:off x="977" y="1623"/>
                <a:ext cx="22" cy="36"/>
              </a:xfrm>
              <a:custGeom>
                <a:avLst/>
                <a:gdLst>
                  <a:gd name="T0" fmla="*/ 16 w 22"/>
                  <a:gd name="T1" fmla="*/ 36 h 36"/>
                  <a:gd name="T2" fmla="*/ 16 w 22"/>
                  <a:gd name="T3" fmla="*/ 36 h 36"/>
                  <a:gd name="T4" fmla="*/ 14 w 22"/>
                  <a:gd name="T5" fmla="*/ 36 h 36"/>
                  <a:gd name="T6" fmla="*/ 10 w 22"/>
                  <a:gd name="T7" fmla="*/ 28 h 36"/>
                  <a:gd name="T8" fmla="*/ 6 w 22"/>
                  <a:gd name="T9" fmla="*/ 24 h 36"/>
                  <a:gd name="T10" fmla="*/ 6 w 22"/>
                  <a:gd name="T11" fmla="*/ 24 h 36"/>
                  <a:gd name="T12" fmla="*/ 6 w 22"/>
                  <a:gd name="T13" fmla="*/ 22 h 36"/>
                  <a:gd name="T14" fmla="*/ 4 w 22"/>
                  <a:gd name="T15" fmla="*/ 16 h 36"/>
                  <a:gd name="T16" fmla="*/ 0 w 22"/>
                  <a:gd name="T17" fmla="*/ 8 h 36"/>
                  <a:gd name="T18" fmla="*/ 0 w 22"/>
                  <a:gd name="T19" fmla="*/ 8 h 36"/>
                  <a:gd name="T20" fmla="*/ 0 w 22"/>
                  <a:gd name="T21" fmla="*/ 8 h 36"/>
                  <a:gd name="T22" fmla="*/ 0 w 22"/>
                  <a:gd name="T23" fmla="*/ 2 h 36"/>
                  <a:gd name="T24" fmla="*/ 0 w 22"/>
                  <a:gd name="T25" fmla="*/ 2 h 36"/>
                  <a:gd name="T26" fmla="*/ 2 w 22"/>
                  <a:gd name="T27" fmla="*/ 0 h 36"/>
                  <a:gd name="T28" fmla="*/ 2 w 22"/>
                  <a:gd name="T29" fmla="*/ 0 h 36"/>
                  <a:gd name="T30" fmla="*/ 2 w 22"/>
                  <a:gd name="T31" fmla="*/ 0 h 36"/>
                  <a:gd name="T32" fmla="*/ 2 w 22"/>
                  <a:gd name="T33" fmla="*/ 0 h 36"/>
                  <a:gd name="T34" fmla="*/ 4 w 22"/>
                  <a:gd name="T35" fmla="*/ 0 h 36"/>
                  <a:gd name="T36" fmla="*/ 10 w 22"/>
                  <a:gd name="T37" fmla="*/ 0 h 36"/>
                  <a:gd name="T38" fmla="*/ 10 w 22"/>
                  <a:gd name="T39" fmla="*/ 0 h 36"/>
                  <a:gd name="T40" fmla="*/ 10 w 22"/>
                  <a:gd name="T41" fmla="*/ 2 h 36"/>
                  <a:gd name="T42" fmla="*/ 16 w 22"/>
                  <a:gd name="T43" fmla="*/ 12 h 36"/>
                  <a:gd name="T44" fmla="*/ 22 w 22"/>
                  <a:gd name="T45" fmla="*/ 22 h 36"/>
                  <a:gd name="T46" fmla="*/ 22 w 22"/>
                  <a:gd name="T47" fmla="*/ 22 h 36"/>
                  <a:gd name="T48" fmla="*/ 22 w 22"/>
                  <a:gd name="T49" fmla="*/ 22 h 36"/>
                  <a:gd name="T50" fmla="*/ 22 w 22"/>
                  <a:gd name="T51" fmla="*/ 30 h 36"/>
                  <a:gd name="T52" fmla="*/ 22 w 22"/>
                  <a:gd name="T53" fmla="*/ 30 h 36"/>
                  <a:gd name="T54" fmla="*/ 22 w 22"/>
                  <a:gd name="T55" fmla="*/ 30 h 36"/>
                  <a:gd name="T56" fmla="*/ 18 w 22"/>
                  <a:gd name="T57" fmla="*/ 36 h 36"/>
                  <a:gd name="T58" fmla="*/ 18 w 22"/>
                  <a:gd name="T59" fmla="*/ 36 h 36"/>
                  <a:gd name="T60" fmla="*/ 16 w 22"/>
                  <a:gd name="T61" fmla="*/ 36 h 36"/>
                  <a:gd name="T62" fmla="*/ 16 w 22"/>
                  <a:gd name="T63" fmla="*/ 36 h 36"/>
                  <a:gd name="T64" fmla="*/ 16 w 22"/>
                  <a:gd name="T65" fmla="*/ 36 h 36"/>
                  <a:gd name="T66" fmla="*/ 16 w 22"/>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36">
                    <a:moveTo>
                      <a:pt x="16" y="36"/>
                    </a:moveTo>
                    <a:lnTo>
                      <a:pt x="16" y="36"/>
                    </a:lnTo>
                    <a:lnTo>
                      <a:pt x="14" y="36"/>
                    </a:lnTo>
                    <a:lnTo>
                      <a:pt x="10" y="28"/>
                    </a:lnTo>
                    <a:lnTo>
                      <a:pt x="6" y="24"/>
                    </a:lnTo>
                    <a:lnTo>
                      <a:pt x="6" y="24"/>
                    </a:lnTo>
                    <a:lnTo>
                      <a:pt x="6" y="22"/>
                    </a:lnTo>
                    <a:lnTo>
                      <a:pt x="4" y="16"/>
                    </a:lnTo>
                    <a:lnTo>
                      <a:pt x="0" y="8"/>
                    </a:lnTo>
                    <a:lnTo>
                      <a:pt x="0" y="8"/>
                    </a:lnTo>
                    <a:lnTo>
                      <a:pt x="0" y="8"/>
                    </a:lnTo>
                    <a:lnTo>
                      <a:pt x="0" y="2"/>
                    </a:lnTo>
                    <a:lnTo>
                      <a:pt x="0" y="2"/>
                    </a:lnTo>
                    <a:lnTo>
                      <a:pt x="2" y="0"/>
                    </a:lnTo>
                    <a:lnTo>
                      <a:pt x="2" y="0"/>
                    </a:lnTo>
                    <a:lnTo>
                      <a:pt x="2" y="0"/>
                    </a:lnTo>
                    <a:lnTo>
                      <a:pt x="2" y="0"/>
                    </a:lnTo>
                    <a:lnTo>
                      <a:pt x="4" y="0"/>
                    </a:lnTo>
                    <a:lnTo>
                      <a:pt x="10" y="0"/>
                    </a:lnTo>
                    <a:lnTo>
                      <a:pt x="10" y="0"/>
                    </a:lnTo>
                    <a:lnTo>
                      <a:pt x="10" y="2"/>
                    </a:lnTo>
                    <a:lnTo>
                      <a:pt x="16" y="12"/>
                    </a:lnTo>
                    <a:lnTo>
                      <a:pt x="22" y="22"/>
                    </a:lnTo>
                    <a:lnTo>
                      <a:pt x="22" y="22"/>
                    </a:lnTo>
                    <a:lnTo>
                      <a:pt x="22" y="22"/>
                    </a:lnTo>
                    <a:lnTo>
                      <a:pt x="22" y="30"/>
                    </a:lnTo>
                    <a:lnTo>
                      <a:pt x="22" y="30"/>
                    </a:lnTo>
                    <a:lnTo>
                      <a:pt x="22" y="30"/>
                    </a:lnTo>
                    <a:lnTo>
                      <a:pt x="18" y="36"/>
                    </a:lnTo>
                    <a:lnTo>
                      <a:pt x="18" y="36"/>
                    </a:lnTo>
                    <a:lnTo>
                      <a:pt x="16" y="36"/>
                    </a:lnTo>
                    <a:lnTo>
                      <a:pt x="16"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8" name="Freeform 167"/>
              <p:cNvSpPr>
                <a:spLocks noEditPoints="1"/>
              </p:cNvSpPr>
              <p:nvPr/>
            </p:nvSpPr>
            <p:spPr bwMode="auto">
              <a:xfrm>
                <a:off x="975" y="1621"/>
                <a:ext cx="26" cy="40"/>
              </a:xfrm>
              <a:custGeom>
                <a:avLst/>
                <a:gdLst>
                  <a:gd name="T0" fmla="*/ 4 w 26"/>
                  <a:gd name="T1" fmla="*/ 4 h 40"/>
                  <a:gd name="T2" fmla="*/ 10 w 26"/>
                  <a:gd name="T3" fmla="*/ 4 h 40"/>
                  <a:gd name="T4" fmla="*/ 16 w 26"/>
                  <a:gd name="T5" fmla="*/ 16 h 40"/>
                  <a:gd name="T6" fmla="*/ 22 w 26"/>
                  <a:gd name="T7" fmla="*/ 24 h 40"/>
                  <a:gd name="T8" fmla="*/ 22 w 26"/>
                  <a:gd name="T9" fmla="*/ 32 h 40"/>
                  <a:gd name="T10" fmla="*/ 18 w 26"/>
                  <a:gd name="T11" fmla="*/ 36 h 40"/>
                  <a:gd name="T12" fmla="*/ 14 w 26"/>
                  <a:gd name="T13" fmla="*/ 30 h 40"/>
                  <a:gd name="T14" fmla="*/ 10 w 26"/>
                  <a:gd name="T15" fmla="*/ 24 h 40"/>
                  <a:gd name="T16" fmla="*/ 8 w 26"/>
                  <a:gd name="T17" fmla="*/ 18 h 40"/>
                  <a:gd name="T18" fmla="*/ 4 w 26"/>
                  <a:gd name="T19" fmla="*/ 10 h 40"/>
                  <a:gd name="T20" fmla="*/ 4 w 26"/>
                  <a:gd name="T21" fmla="*/ 4 h 40"/>
                  <a:gd name="T22" fmla="*/ 4 w 26"/>
                  <a:gd name="T23" fmla="*/ 0 h 40"/>
                  <a:gd name="T24" fmla="*/ 4 w 26"/>
                  <a:gd name="T25" fmla="*/ 0 h 40"/>
                  <a:gd name="T26" fmla="*/ 2 w 26"/>
                  <a:gd name="T27" fmla="*/ 0 h 40"/>
                  <a:gd name="T28" fmla="*/ 2 w 26"/>
                  <a:gd name="T29" fmla="*/ 0 h 40"/>
                  <a:gd name="T30" fmla="*/ 0 w 26"/>
                  <a:gd name="T31" fmla="*/ 4 h 40"/>
                  <a:gd name="T32" fmla="*/ 0 w 26"/>
                  <a:gd name="T33" fmla="*/ 10 h 40"/>
                  <a:gd name="T34" fmla="*/ 0 w 26"/>
                  <a:gd name="T35" fmla="*/ 10 h 40"/>
                  <a:gd name="T36" fmla="*/ 2 w 26"/>
                  <a:gd name="T37" fmla="*/ 12 h 40"/>
                  <a:gd name="T38" fmla="*/ 4 w 26"/>
                  <a:gd name="T39" fmla="*/ 18 h 40"/>
                  <a:gd name="T40" fmla="*/ 6 w 26"/>
                  <a:gd name="T41" fmla="*/ 26 h 40"/>
                  <a:gd name="T42" fmla="*/ 6 w 26"/>
                  <a:gd name="T43" fmla="*/ 26 h 40"/>
                  <a:gd name="T44" fmla="*/ 6 w 26"/>
                  <a:gd name="T45" fmla="*/ 26 h 40"/>
                  <a:gd name="T46" fmla="*/ 10 w 26"/>
                  <a:gd name="T47" fmla="*/ 32 h 40"/>
                  <a:gd name="T48" fmla="*/ 16 w 26"/>
                  <a:gd name="T49" fmla="*/ 38 h 40"/>
                  <a:gd name="T50" fmla="*/ 16 w 26"/>
                  <a:gd name="T51" fmla="*/ 38 h 40"/>
                  <a:gd name="T52" fmla="*/ 18 w 26"/>
                  <a:gd name="T53" fmla="*/ 40 h 40"/>
                  <a:gd name="T54" fmla="*/ 18 w 26"/>
                  <a:gd name="T55" fmla="*/ 40 h 40"/>
                  <a:gd name="T56" fmla="*/ 18 w 26"/>
                  <a:gd name="T57" fmla="*/ 40 h 40"/>
                  <a:gd name="T58" fmla="*/ 18 w 26"/>
                  <a:gd name="T59" fmla="*/ 40 h 40"/>
                  <a:gd name="T60" fmla="*/ 22 w 26"/>
                  <a:gd name="T61" fmla="*/ 38 h 40"/>
                  <a:gd name="T62" fmla="*/ 26 w 26"/>
                  <a:gd name="T63" fmla="*/ 34 h 40"/>
                  <a:gd name="T64" fmla="*/ 26 w 26"/>
                  <a:gd name="T65" fmla="*/ 34 h 40"/>
                  <a:gd name="T66" fmla="*/ 26 w 26"/>
                  <a:gd name="T67" fmla="*/ 32 h 40"/>
                  <a:gd name="T68" fmla="*/ 26 w 26"/>
                  <a:gd name="T69" fmla="*/ 24 h 40"/>
                  <a:gd name="T70" fmla="*/ 26 w 26"/>
                  <a:gd name="T71" fmla="*/ 24 h 40"/>
                  <a:gd name="T72" fmla="*/ 24 w 26"/>
                  <a:gd name="T73" fmla="*/ 22 h 40"/>
                  <a:gd name="T74" fmla="*/ 18 w 26"/>
                  <a:gd name="T75" fmla="*/ 14 h 40"/>
                  <a:gd name="T76" fmla="*/ 14 w 26"/>
                  <a:gd name="T77" fmla="*/ 4 h 40"/>
                  <a:gd name="T78" fmla="*/ 14 w 26"/>
                  <a:gd name="T79" fmla="*/ 4 h 40"/>
                  <a:gd name="T80" fmla="*/ 12 w 26"/>
                  <a:gd name="T81" fmla="*/ 0 h 40"/>
                  <a:gd name="T82" fmla="*/ 6 w 26"/>
                  <a:gd name="T83" fmla="*/ 0 h 40"/>
                  <a:gd name="T84" fmla="*/ 6 w 26"/>
                  <a:gd name="T85" fmla="*/ 0 h 40"/>
                  <a:gd name="T86" fmla="*/ 4 w 26"/>
                  <a:gd name="T87" fmla="*/ 0 h 40"/>
                  <a:gd name="T88" fmla="*/ 4 w 26"/>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0">
                    <a:moveTo>
                      <a:pt x="4" y="4"/>
                    </a:moveTo>
                    <a:lnTo>
                      <a:pt x="10" y="4"/>
                    </a:lnTo>
                    <a:lnTo>
                      <a:pt x="16" y="16"/>
                    </a:lnTo>
                    <a:lnTo>
                      <a:pt x="22" y="24"/>
                    </a:lnTo>
                    <a:lnTo>
                      <a:pt x="22" y="32"/>
                    </a:lnTo>
                    <a:lnTo>
                      <a:pt x="18" y="36"/>
                    </a:lnTo>
                    <a:lnTo>
                      <a:pt x="14" y="30"/>
                    </a:lnTo>
                    <a:lnTo>
                      <a:pt x="10" y="24"/>
                    </a:lnTo>
                    <a:lnTo>
                      <a:pt x="8" y="18"/>
                    </a:lnTo>
                    <a:lnTo>
                      <a:pt x="4" y="10"/>
                    </a:lnTo>
                    <a:lnTo>
                      <a:pt x="4" y="4"/>
                    </a:lnTo>
                    <a:close/>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9" name="Freeform 168"/>
              <p:cNvSpPr>
                <a:spLocks/>
              </p:cNvSpPr>
              <p:nvPr/>
            </p:nvSpPr>
            <p:spPr bwMode="auto">
              <a:xfrm>
                <a:off x="979" y="1625"/>
                <a:ext cx="18" cy="32"/>
              </a:xfrm>
              <a:custGeom>
                <a:avLst/>
                <a:gdLst>
                  <a:gd name="T0" fmla="*/ 0 w 18"/>
                  <a:gd name="T1" fmla="*/ 0 h 32"/>
                  <a:gd name="T2" fmla="*/ 6 w 18"/>
                  <a:gd name="T3" fmla="*/ 0 h 32"/>
                  <a:gd name="T4" fmla="*/ 12 w 18"/>
                  <a:gd name="T5" fmla="*/ 12 h 32"/>
                  <a:gd name="T6" fmla="*/ 18 w 18"/>
                  <a:gd name="T7" fmla="*/ 20 h 32"/>
                  <a:gd name="T8" fmla="*/ 18 w 18"/>
                  <a:gd name="T9" fmla="*/ 28 h 32"/>
                  <a:gd name="T10" fmla="*/ 14 w 18"/>
                  <a:gd name="T11" fmla="*/ 32 h 32"/>
                  <a:gd name="T12" fmla="*/ 10 w 18"/>
                  <a:gd name="T13" fmla="*/ 26 h 32"/>
                  <a:gd name="T14" fmla="*/ 6 w 18"/>
                  <a:gd name="T15" fmla="*/ 20 h 32"/>
                  <a:gd name="T16" fmla="*/ 4 w 18"/>
                  <a:gd name="T17" fmla="*/ 14 h 32"/>
                  <a:gd name="T18" fmla="*/ 0 w 18"/>
                  <a:gd name="T19" fmla="*/ 6 h 32"/>
                  <a:gd name="T20" fmla="*/ 0 w 18"/>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2">
                    <a:moveTo>
                      <a:pt x="0" y="0"/>
                    </a:moveTo>
                    <a:lnTo>
                      <a:pt x="6" y="0"/>
                    </a:lnTo>
                    <a:lnTo>
                      <a:pt x="12" y="12"/>
                    </a:lnTo>
                    <a:lnTo>
                      <a:pt x="18" y="20"/>
                    </a:lnTo>
                    <a:lnTo>
                      <a:pt x="18" y="28"/>
                    </a:lnTo>
                    <a:lnTo>
                      <a:pt x="14" y="32"/>
                    </a:lnTo>
                    <a:lnTo>
                      <a:pt x="10" y="26"/>
                    </a:lnTo>
                    <a:lnTo>
                      <a:pt x="6"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0" name="Freeform 169"/>
              <p:cNvSpPr>
                <a:spLocks/>
              </p:cNvSpPr>
              <p:nvPr/>
            </p:nvSpPr>
            <p:spPr bwMode="auto">
              <a:xfrm>
                <a:off x="975" y="1621"/>
                <a:ext cx="26" cy="40"/>
              </a:xfrm>
              <a:custGeom>
                <a:avLst/>
                <a:gdLst>
                  <a:gd name="T0" fmla="*/ 4 w 26"/>
                  <a:gd name="T1" fmla="*/ 0 h 40"/>
                  <a:gd name="T2" fmla="*/ 4 w 26"/>
                  <a:gd name="T3" fmla="*/ 0 h 40"/>
                  <a:gd name="T4" fmla="*/ 2 w 26"/>
                  <a:gd name="T5" fmla="*/ 0 h 40"/>
                  <a:gd name="T6" fmla="*/ 2 w 26"/>
                  <a:gd name="T7" fmla="*/ 0 h 40"/>
                  <a:gd name="T8" fmla="*/ 0 w 26"/>
                  <a:gd name="T9" fmla="*/ 4 h 40"/>
                  <a:gd name="T10" fmla="*/ 0 w 26"/>
                  <a:gd name="T11" fmla="*/ 10 h 40"/>
                  <a:gd name="T12" fmla="*/ 0 w 26"/>
                  <a:gd name="T13" fmla="*/ 10 h 40"/>
                  <a:gd name="T14" fmla="*/ 2 w 26"/>
                  <a:gd name="T15" fmla="*/ 12 h 40"/>
                  <a:gd name="T16" fmla="*/ 4 w 26"/>
                  <a:gd name="T17" fmla="*/ 18 h 40"/>
                  <a:gd name="T18" fmla="*/ 6 w 26"/>
                  <a:gd name="T19" fmla="*/ 26 h 40"/>
                  <a:gd name="T20" fmla="*/ 6 w 26"/>
                  <a:gd name="T21" fmla="*/ 26 h 40"/>
                  <a:gd name="T22" fmla="*/ 6 w 26"/>
                  <a:gd name="T23" fmla="*/ 26 h 40"/>
                  <a:gd name="T24" fmla="*/ 10 w 26"/>
                  <a:gd name="T25" fmla="*/ 32 h 40"/>
                  <a:gd name="T26" fmla="*/ 16 w 26"/>
                  <a:gd name="T27" fmla="*/ 38 h 40"/>
                  <a:gd name="T28" fmla="*/ 16 w 26"/>
                  <a:gd name="T29" fmla="*/ 38 h 40"/>
                  <a:gd name="T30" fmla="*/ 18 w 26"/>
                  <a:gd name="T31" fmla="*/ 40 h 40"/>
                  <a:gd name="T32" fmla="*/ 18 w 26"/>
                  <a:gd name="T33" fmla="*/ 40 h 40"/>
                  <a:gd name="T34" fmla="*/ 18 w 26"/>
                  <a:gd name="T35" fmla="*/ 40 h 40"/>
                  <a:gd name="T36" fmla="*/ 18 w 26"/>
                  <a:gd name="T37" fmla="*/ 40 h 40"/>
                  <a:gd name="T38" fmla="*/ 22 w 26"/>
                  <a:gd name="T39" fmla="*/ 38 h 40"/>
                  <a:gd name="T40" fmla="*/ 26 w 26"/>
                  <a:gd name="T41" fmla="*/ 34 h 40"/>
                  <a:gd name="T42" fmla="*/ 26 w 26"/>
                  <a:gd name="T43" fmla="*/ 34 h 40"/>
                  <a:gd name="T44" fmla="*/ 26 w 26"/>
                  <a:gd name="T45" fmla="*/ 32 h 40"/>
                  <a:gd name="T46" fmla="*/ 26 w 26"/>
                  <a:gd name="T47" fmla="*/ 24 h 40"/>
                  <a:gd name="T48" fmla="*/ 26 w 26"/>
                  <a:gd name="T49" fmla="*/ 24 h 40"/>
                  <a:gd name="T50" fmla="*/ 24 w 26"/>
                  <a:gd name="T51" fmla="*/ 22 h 40"/>
                  <a:gd name="T52" fmla="*/ 18 w 26"/>
                  <a:gd name="T53" fmla="*/ 14 h 40"/>
                  <a:gd name="T54" fmla="*/ 14 w 26"/>
                  <a:gd name="T55" fmla="*/ 4 h 40"/>
                  <a:gd name="T56" fmla="*/ 14 w 26"/>
                  <a:gd name="T57" fmla="*/ 4 h 40"/>
                  <a:gd name="T58" fmla="*/ 12 w 26"/>
                  <a:gd name="T59" fmla="*/ 0 h 40"/>
                  <a:gd name="T60" fmla="*/ 6 w 26"/>
                  <a:gd name="T61" fmla="*/ 0 h 40"/>
                  <a:gd name="T62" fmla="*/ 6 w 26"/>
                  <a:gd name="T63" fmla="*/ 0 h 40"/>
                  <a:gd name="T64" fmla="*/ 4 w 26"/>
                  <a:gd name="T65" fmla="*/ 0 h 40"/>
                  <a:gd name="T66" fmla="*/ 4 w 26"/>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40">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1" name="Freeform 170"/>
              <p:cNvSpPr>
                <a:spLocks/>
              </p:cNvSpPr>
              <p:nvPr/>
            </p:nvSpPr>
            <p:spPr bwMode="auto">
              <a:xfrm>
                <a:off x="977" y="1667"/>
                <a:ext cx="28" cy="38"/>
              </a:xfrm>
              <a:custGeom>
                <a:avLst/>
                <a:gdLst>
                  <a:gd name="T0" fmla="*/ 26 w 28"/>
                  <a:gd name="T1" fmla="*/ 38 h 38"/>
                  <a:gd name="T2" fmla="*/ 26 w 28"/>
                  <a:gd name="T3" fmla="*/ 38 h 38"/>
                  <a:gd name="T4" fmla="*/ 24 w 28"/>
                  <a:gd name="T5" fmla="*/ 38 h 38"/>
                  <a:gd name="T6" fmla="*/ 18 w 28"/>
                  <a:gd name="T7" fmla="*/ 36 h 38"/>
                  <a:gd name="T8" fmla="*/ 18 w 28"/>
                  <a:gd name="T9" fmla="*/ 36 h 38"/>
                  <a:gd name="T10" fmla="*/ 16 w 28"/>
                  <a:gd name="T11" fmla="*/ 34 h 38"/>
                  <a:gd name="T12" fmla="*/ 8 w 28"/>
                  <a:gd name="T13" fmla="*/ 22 h 38"/>
                  <a:gd name="T14" fmla="*/ 2 w 28"/>
                  <a:gd name="T15" fmla="*/ 14 h 38"/>
                  <a:gd name="T16" fmla="*/ 2 w 28"/>
                  <a:gd name="T17" fmla="*/ 14 h 38"/>
                  <a:gd name="T18" fmla="*/ 2 w 28"/>
                  <a:gd name="T19" fmla="*/ 14 h 38"/>
                  <a:gd name="T20" fmla="*/ 0 w 28"/>
                  <a:gd name="T21" fmla="*/ 2 h 38"/>
                  <a:gd name="T22" fmla="*/ 0 w 28"/>
                  <a:gd name="T23" fmla="*/ 2 h 38"/>
                  <a:gd name="T24" fmla="*/ 2 w 28"/>
                  <a:gd name="T25" fmla="*/ 0 h 38"/>
                  <a:gd name="T26" fmla="*/ 2 w 28"/>
                  <a:gd name="T27" fmla="*/ 0 h 38"/>
                  <a:gd name="T28" fmla="*/ 2 w 28"/>
                  <a:gd name="T29" fmla="*/ 0 h 38"/>
                  <a:gd name="T30" fmla="*/ 2 w 28"/>
                  <a:gd name="T31" fmla="*/ 0 h 38"/>
                  <a:gd name="T32" fmla="*/ 4 w 28"/>
                  <a:gd name="T33" fmla="*/ 0 h 38"/>
                  <a:gd name="T34" fmla="*/ 12 w 28"/>
                  <a:gd name="T35" fmla="*/ 4 h 38"/>
                  <a:gd name="T36" fmla="*/ 18 w 28"/>
                  <a:gd name="T37" fmla="*/ 4 h 38"/>
                  <a:gd name="T38" fmla="*/ 18 w 28"/>
                  <a:gd name="T39" fmla="*/ 4 h 38"/>
                  <a:gd name="T40" fmla="*/ 20 w 28"/>
                  <a:gd name="T41" fmla="*/ 6 h 38"/>
                  <a:gd name="T42" fmla="*/ 22 w 28"/>
                  <a:gd name="T43" fmla="*/ 10 h 38"/>
                  <a:gd name="T44" fmla="*/ 22 w 28"/>
                  <a:gd name="T45" fmla="*/ 10 h 38"/>
                  <a:gd name="T46" fmla="*/ 22 w 28"/>
                  <a:gd name="T47" fmla="*/ 10 h 38"/>
                  <a:gd name="T48" fmla="*/ 20 w 28"/>
                  <a:gd name="T49" fmla="*/ 18 h 38"/>
                  <a:gd name="T50" fmla="*/ 24 w 28"/>
                  <a:gd name="T51" fmla="*/ 22 h 38"/>
                  <a:gd name="T52" fmla="*/ 28 w 28"/>
                  <a:gd name="T53" fmla="*/ 34 h 38"/>
                  <a:gd name="T54" fmla="*/ 28 w 28"/>
                  <a:gd name="T55" fmla="*/ 34 h 38"/>
                  <a:gd name="T56" fmla="*/ 26 w 28"/>
                  <a:gd name="T57" fmla="*/ 36 h 38"/>
                  <a:gd name="T58" fmla="*/ 26 w 28"/>
                  <a:gd name="T59" fmla="*/ 36 h 38"/>
                  <a:gd name="T60" fmla="*/ 26 w 28"/>
                  <a:gd name="T61" fmla="*/ 38 h 38"/>
                  <a:gd name="T62" fmla="*/ 26 w 28"/>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38">
                    <a:moveTo>
                      <a:pt x="26" y="38"/>
                    </a:moveTo>
                    <a:lnTo>
                      <a:pt x="26" y="38"/>
                    </a:lnTo>
                    <a:lnTo>
                      <a:pt x="24" y="38"/>
                    </a:lnTo>
                    <a:lnTo>
                      <a:pt x="18" y="36"/>
                    </a:lnTo>
                    <a:lnTo>
                      <a:pt x="18" y="36"/>
                    </a:lnTo>
                    <a:lnTo>
                      <a:pt x="16" y="34"/>
                    </a:lnTo>
                    <a:lnTo>
                      <a:pt x="8" y="22"/>
                    </a:lnTo>
                    <a:lnTo>
                      <a:pt x="2" y="14"/>
                    </a:lnTo>
                    <a:lnTo>
                      <a:pt x="2" y="14"/>
                    </a:lnTo>
                    <a:lnTo>
                      <a:pt x="2" y="14"/>
                    </a:lnTo>
                    <a:lnTo>
                      <a:pt x="0" y="2"/>
                    </a:lnTo>
                    <a:lnTo>
                      <a:pt x="0" y="2"/>
                    </a:lnTo>
                    <a:lnTo>
                      <a:pt x="2" y="0"/>
                    </a:lnTo>
                    <a:lnTo>
                      <a:pt x="2" y="0"/>
                    </a:lnTo>
                    <a:lnTo>
                      <a:pt x="2" y="0"/>
                    </a:lnTo>
                    <a:lnTo>
                      <a:pt x="2" y="0"/>
                    </a:lnTo>
                    <a:lnTo>
                      <a:pt x="4" y="0"/>
                    </a:lnTo>
                    <a:lnTo>
                      <a:pt x="12" y="4"/>
                    </a:lnTo>
                    <a:lnTo>
                      <a:pt x="18" y="4"/>
                    </a:lnTo>
                    <a:lnTo>
                      <a:pt x="18" y="4"/>
                    </a:lnTo>
                    <a:lnTo>
                      <a:pt x="20" y="6"/>
                    </a:lnTo>
                    <a:lnTo>
                      <a:pt x="22" y="10"/>
                    </a:lnTo>
                    <a:lnTo>
                      <a:pt x="22" y="10"/>
                    </a:lnTo>
                    <a:lnTo>
                      <a:pt x="22" y="10"/>
                    </a:lnTo>
                    <a:lnTo>
                      <a:pt x="20" y="18"/>
                    </a:lnTo>
                    <a:lnTo>
                      <a:pt x="24" y="22"/>
                    </a:lnTo>
                    <a:lnTo>
                      <a:pt x="28" y="34"/>
                    </a:lnTo>
                    <a:lnTo>
                      <a:pt x="28" y="34"/>
                    </a:lnTo>
                    <a:lnTo>
                      <a:pt x="26" y="36"/>
                    </a:lnTo>
                    <a:lnTo>
                      <a:pt x="26" y="36"/>
                    </a:lnTo>
                    <a:lnTo>
                      <a:pt x="26" y="38"/>
                    </a:lnTo>
                    <a:lnTo>
                      <a:pt x="26"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2" name="Freeform 171"/>
              <p:cNvSpPr>
                <a:spLocks noEditPoints="1"/>
              </p:cNvSpPr>
              <p:nvPr/>
            </p:nvSpPr>
            <p:spPr bwMode="auto">
              <a:xfrm>
                <a:off x="975" y="1665"/>
                <a:ext cx="32" cy="42"/>
              </a:xfrm>
              <a:custGeom>
                <a:avLst/>
                <a:gdLst>
                  <a:gd name="T0" fmla="*/ 4 w 32"/>
                  <a:gd name="T1" fmla="*/ 4 h 42"/>
                  <a:gd name="T2" fmla="*/ 14 w 32"/>
                  <a:gd name="T3" fmla="*/ 8 h 42"/>
                  <a:gd name="T4" fmla="*/ 20 w 32"/>
                  <a:gd name="T5" fmla="*/ 8 h 42"/>
                  <a:gd name="T6" fmla="*/ 22 w 32"/>
                  <a:gd name="T7" fmla="*/ 12 h 42"/>
                  <a:gd name="T8" fmla="*/ 20 w 32"/>
                  <a:gd name="T9" fmla="*/ 20 h 42"/>
                  <a:gd name="T10" fmla="*/ 24 w 32"/>
                  <a:gd name="T11" fmla="*/ 26 h 42"/>
                  <a:gd name="T12" fmla="*/ 28 w 32"/>
                  <a:gd name="T13" fmla="*/ 38 h 42"/>
                  <a:gd name="T14" fmla="*/ 20 w 32"/>
                  <a:gd name="T15" fmla="*/ 36 h 42"/>
                  <a:gd name="T16" fmla="*/ 12 w 32"/>
                  <a:gd name="T17" fmla="*/ 24 h 42"/>
                  <a:gd name="T18" fmla="*/ 6 w 32"/>
                  <a:gd name="T19" fmla="*/ 16 h 42"/>
                  <a:gd name="T20" fmla="*/ 4 w 32"/>
                  <a:gd name="T21" fmla="*/ 4 h 42"/>
                  <a:gd name="T22" fmla="*/ 4 w 32"/>
                  <a:gd name="T23" fmla="*/ 0 h 42"/>
                  <a:gd name="T24" fmla="*/ 4 w 32"/>
                  <a:gd name="T25" fmla="*/ 0 h 42"/>
                  <a:gd name="T26" fmla="*/ 2 w 32"/>
                  <a:gd name="T27" fmla="*/ 0 h 42"/>
                  <a:gd name="T28" fmla="*/ 2 w 32"/>
                  <a:gd name="T29" fmla="*/ 0 h 42"/>
                  <a:gd name="T30" fmla="*/ 0 w 32"/>
                  <a:gd name="T31" fmla="*/ 4 h 42"/>
                  <a:gd name="T32" fmla="*/ 2 w 32"/>
                  <a:gd name="T33" fmla="*/ 16 h 42"/>
                  <a:gd name="T34" fmla="*/ 2 w 32"/>
                  <a:gd name="T35" fmla="*/ 16 h 42"/>
                  <a:gd name="T36" fmla="*/ 4 w 32"/>
                  <a:gd name="T37" fmla="*/ 18 h 42"/>
                  <a:gd name="T38" fmla="*/ 8 w 32"/>
                  <a:gd name="T39" fmla="*/ 26 h 42"/>
                  <a:gd name="T40" fmla="*/ 18 w 32"/>
                  <a:gd name="T41" fmla="*/ 38 h 42"/>
                  <a:gd name="T42" fmla="*/ 18 w 32"/>
                  <a:gd name="T43" fmla="*/ 38 h 42"/>
                  <a:gd name="T44" fmla="*/ 20 w 32"/>
                  <a:gd name="T45" fmla="*/ 40 h 42"/>
                  <a:gd name="T46" fmla="*/ 26 w 32"/>
                  <a:gd name="T47" fmla="*/ 42 h 42"/>
                  <a:gd name="T48" fmla="*/ 26 w 32"/>
                  <a:gd name="T49" fmla="*/ 42 h 42"/>
                  <a:gd name="T50" fmla="*/ 28 w 32"/>
                  <a:gd name="T51" fmla="*/ 42 h 42"/>
                  <a:gd name="T52" fmla="*/ 28 w 32"/>
                  <a:gd name="T53" fmla="*/ 42 h 42"/>
                  <a:gd name="T54" fmla="*/ 30 w 32"/>
                  <a:gd name="T55" fmla="*/ 40 h 42"/>
                  <a:gd name="T56" fmla="*/ 30 w 32"/>
                  <a:gd name="T57" fmla="*/ 40 h 42"/>
                  <a:gd name="T58" fmla="*/ 32 w 32"/>
                  <a:gd name="T59" fmla="*/ 36 h 42"/>
                  <a:gd name="T60" fmla="*/ 28 w 32"/>
                  <a:gd name="T61" fmla="*/ 24 h 42"/>
                  <a:gd name="T62" fmla="*/ 28 w 32"/>
                  <a:gd name="T63" fmla="*/ 24 h 42"/>
                  <a:gd name="T64" fmla="*/ 28 w 32"/>
                  <a:gd name="T65" fmla="*/ 24 h 42"/>
                  <a:gd name="T66" fmla="*/ 24 w 32"/>
                  <a:gd name="T67" fmla="*/ 20 h 42"/>
                  <a:gd name="T68" fmla="*/ 26 w 32"/>
                  <a:gd name="T69" fmla="*/ 12 h 42"/>
                  <a:gd name="T70" fmla="*/ 26 w 32"/>
                  <a:gd name="T71" fmla="*/ 12 h 42"/>
                  <a:gd name="T72" fmla="*/ 26 w 32"/>
                  <a:gd name="T73" fmla="*/ 10 h 42"/>
                  <a:gd name="T74" fmla="*/ 24 w 32"/>
                  <a:gd name="T75" fmla="*/ 6 h 42"/>
                  <a:gd name="T76" fmla="*/ 24 w 32"/>
                  <a:gd name="T77" fmla="*/ 6 h 42"/>
                  <a:gd name="T78" fmla="*/ 22 w 32"/>
                  <a:gd name="T79" fmla="*/ 4 h 42"/>
                  <a:gd name="T80" fmla="*/ 20 w 32"/>
                  <a:gd name="T81" fmla="*/ 4 h 42"/>
                  <a:gd name="T82" fmla="*/ 14 w 32"/>
                  <a:gd name="T83" fmla="*/ 4 h 42"/>
                  <a:gd name="T84" fmla="*/ 6 w 32"/>
                  <a:gd name="T85" fmla="*/ 0 h 42"/>
                  <a:gd name="T86" fmla="*/ 6 w 32"/>
                  <a:gd name="T87" fmla="*/ 0 h 42"/>
                  <a:gd name="T88" fmla="*/ 4 w 32"/>
                  <a:gd name="T89" fmla="*/ 0 h 42"/>
                  <a:gd name="T90" fmla="*/ 4 w 32"/>
                  <a:gd name="T9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2">
                    <a:moveTo>
                      <a:pt x="4" y="4"/>
                    </a:moveTo>
                    <a:lnTo>
                      <a:pt x="14" y="8"/>
                    </a:lnTo>
                    <a:lnTo>
                      <a:pt x="20" y="8"/>
                    </a:lnTo>
                    <a:lnTo>
                      <a:pt x="22" y="12"/>
                    </a:lnTo>
                    <a:lnTo>
                      <a:pt x="20" y="20"/>
                    </a:lnTo>
                    <a:lnTo>
                      <a:pt x="24" y="26"/>
                    </a:lnTo>
                    <a:lnTo>
                      <a:pt x="28" y="38"/>
                    </a:lnTo>
                    <a:lnTo>
                      <a:pt x="20" y="36"/>
                    </a:lnTo>
                    <a:lnTo>
                      <a:pt x="12" y="24"/>
                    </a:lnTo>
                    <a:lnTo>
                      <a:pt x="6" y="16"/>
                    </a:lnTo>
                    <a:lnTo>
                      <a:pt x="4" y="4"/>
                    </a:lnTo>
                    <a:close/>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3" name="Freeform 172"/>
              <p:cNvSpPr>
                <a:spLocks/>
              </p:cNvSpPr>
              <p:nvPr/>
            </p:nvSpPr>
            <p:spPr bwMode="auto">
              <a:xfrm>
                <a:off x="979" y="1669"/>
                <a:ext cx="24" cy="34"/>
              </a:xfrm>
              <a:custGeom>
                <a:avLst/>
                <a:gdLst>
                  <a:gd name="T0" fmla="*/ 0 w 24"/>
                  <a:gd name="T1" fmla="*/ 0 h 34"/>
                  <a:gd name="T2" fmla="*/ 10 w 24"/>
                  <a:gd name="T3" fmla="*/ 4 h 34"/>
                  <a:gd name="T4" fmla="*/ 16 w 24"/>
                  <a:gd name="T5" fmla="*/ 4 h 34"/>
                  <a:gd name="T6" fmla="*/ 18 w 24"/>
                  <a:gd name="T7" fmla="*/ 8 h 34"/>
                  <a:gd name="T8" fmla="*/ 16 w 24"/>
                  <a:gd name="T9" fmla="*/ 16 h 34"/>
                  <a:gd name="T10" fmla="*/ 20 w 24"/>
                  <a:gd name="T11" fmla="*/ 22 h 34"/>
                  <a:gd name="T12" fmla="*/ 24 w 24"/>
                  <a:gd name="T13" fmla="*/ 34 h 34"/>
                  <a:gd name="T14" fmla="*/ 16 w 24"/>
                  <a:gd name="T15" fmla="*/ 32 h 34"/>
                  <a:gd name="T16" fmla="*/ 8 w 24"/>
                  <a:gd name="T17" fmla="*/ 20 h 34"/>
                  <a:gd name="T18" fmla="*/ 2 w 24"/>
                  <a:gd name="T19" fmla="*/ 12 h 34"/>
                  <a:gd name="T20" fmla="*/ 0 w 24"/>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0" y="0"/>
                    </a:moveTo>
                    <a:lnTo>
                      <a:pt x="10" y="4"/>
                    </a:lnTo>
                    <a:lnTo>
                      <a:pt x="16" y="4"/>
                    </a:lnTo>
                    <a:lnTo>
                      <a:pt x="18" y="8"/>
                    </a:lnTo>
                    <a:lnTo>
                      <a:pt x="16" y="16"/>
                    </a:lnTo>
                    <a:lnTo>
                      <a:pt x="20" y="22"/>
                    </a:lnTo>
                    <a:lnTo>
                      <a:pt x="24" y="34"/>
                    </a:lnTo>
                    <a:lnTo>
                      <a:pt x="16" y="32"/>
                    </a:lnTo>
                    <a:lnTo>
                      <a:pt x="8"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4" name="Freeform 173"/>
              <p:cNvSpPr>
                <a:spLocks/>
              </p:cNvSpPr>
              <p:nvPr/>
            </p:nvSpPr>
            <p:spPr bwMode="auto">
              <a:xfrm>
                <a:off x="975" y="1665"/>
                <a:ext cx="32" cy="42"/>
              </a:xfrm>
              <a:custGeom>
                <a:avLst/>
                <a:gdLst>
                  <a:gd name="T0" fmla="*/ 4 w 32"/>
                  <a:gd name="T1" fmla="*/ 0 h 42"/>
                  <a:gd name="T2" fmla="*/ 4 w 32"/>
                  <a:gd name="T3" fmla="*/ 0 h 42"/>
                  <a:gd name="T4" fmla="*/ 2 w 32"/>
                  <a:gd name="T5" fmla="*/ 0 h 42"/>
                  <a:gd name="T6" fmla="*/ 2 w 32"/>
                  <a:gd name="T7" fmla="*/ 0 h 42"/>
                  <a:gd name="T8" fmla="*/ 0 w 32"/>
                  <a:gd name="T9" fmla="*/ 4 h 42"/>
                  <a:gd name="T10" fmla="*/ 2 w 32"/>
                  <a:gd name="T11" fmla="*/ 16 h 42"/>
                  <a:gd name="T12" fmla="*/ 2 w 32"/>
                  <a:gd name="T13" fmla="*/ 16 h 42"/>
                  <a:gd name="T14" fmla="*/ 4 w 32"/>
                  <a:gd name="T15" fmla="*/ 18 h 42"/>
                  <a:gd name="T16" fmla="*/ 8 w 32"/>
                  <a:gd name="T17" fmla="*/ 26 h 42"/>
                  <a:gd name="T18" fmla="*/ 18 w 32"/>
                  <a:gd name="T19" fmla="*/ 38 h 42"/>
                  <a:gd name="T20" fmla="*/ 18 w 32"/>
                  <a:gd name="T21" fmla="*/ 38 h 42"/>
                  <a:gd name="T22" fmla="*/ 20 w 32"/>
                  <a:gd name="T23" fmla="*/ 40 h 42"/>
                  <a:gd name="T24" fmla="*/ 26 w 32"/>
                  <a:gd name="T25" fmla="*/ 42 h 42"/>
                  <a:gd name="T26" fmla="*/ 26 w 32"/>
                  <a:gd name="T27" fmla="*/ 42 h 42"/>
                  <a:gd name="T28" fmla="*/ 28 w 32"/>
                  <a:gd name="T29" fmla="*/ 42 h 42"/>
                  <a:gd name="T30" fmla="*/ 28 w 32"/>
                  <a:gd name="T31" fmla="*/ 42 h 42"/>
                  <a:gd name="T32" fmla="*/ 30 w 32"/>
                  <a:gd name="T33" fmla="*/ 40 h 42"/>
                  <a:gd name="T34" fmla="*/ 30 w 32"/>
                  <a:gd name="T35" fmla="*/ 40 h 42"/>
                  <a:gd name="T36" fmla="*/ 32 w 32"/>
                  <a:gd name="T37" fmla="*/ 36 h 42"/>
                  <a:gd name="T38" fmla="*/ 28 w 32"/>
                  <a:gd name="T39" fmla="*/ 24 h 42"/>
                  <a:gd name="T40" fmla="*/ 28 w 32"/>
                  <a:gd name="T41" fmla="*/ 24 h 42"/>
                  <a:gd name="T42" fmla="*/ 28 w 32"/>
                  <a:gd name="T43" fmla="*/ 24 h 42"/>
                  <a:gd name="T44" fmla="*/ 24 w 32"/>
                  <a:gd name="T45" fmla="*/ 20 h 42"/>
                  <a:gd name="T46" fmla="*/ 26 w 32"/>
                  <a:gd name="T47" fmla="*/ 12 h 42"/>
                  <a:gd name="T48" fmla="*/ 26 w 32"/>
                  <a:gd name="T49" fmla="*/ 12 h 42"/>
                  <a:gd name="T50" fmla="*/ 26 w 32"/>
                  <a:gd name="T51" fmla="*/ 10 h 42"/>
                  <a:gd name="T52" fmla="*/ 24 w 32"/>
                  <a:gd name="T53" fmla="*/ 6 h 42"/>
                  <a:gd name="T54" fmla="*/ 24 w 32"/>
                  <a:gd name="T55" fmla="*/ 6 h 42"/>
                  <a:gd name="T56" fmla="*/ 22 w 32"/>
                  <a:gd name="T57" fmla="*/ 4 h 42"/>
                  <a:gd name="T58" fmla="*/ 20 w 32"/>
                  <a:gd name="T59" fmla="*/ 4 h 42"/>
                  <a:gd name="T60" fmla="*/ 14 w 32"/>
                  <a:gd name="T61" fmla="*/ 4 h 42"/>
                  <a:gd name="T62" fmla="*/ 6 w 32"/>
                  <a:gd name="T63" fmla="*/ 0 h 42"/>
                  <a:gd name="T64" fmla="*/ 6 w 32"/>
                  <a:gd name="T65" fmla="*/ 0 h 42"/>
                  <a:gd name="T66" fmla="*/ 4 w 32"/>
                  <a:gd name="T67" fmla="*/ 0 h 42"/>
                  <a:gd name="T68" fmla="*/ 4 w 3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42">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5" name="Freeform 174"/>
              <p:cNvSpPr>
                <a:spLocks/>
              </p:cNvSpPr>
              <p:nvPr/>
            </p:nvSpPr>
            <p:spPr bwMode="auto">
              <a:xfrm>
                <a:off x="531" y="1651"/>
                <a:ext cx="32" cy="20"/>
              </a:xfrm>
              <a:custGeom>
                <a:avLst/>
                <a:gdLst>
                  <a:gd name="T0" fmla="*/ 6 w 32"/>
                  <a:gd name="T1" fmla="*/ 20 h 20"/>
                  <a:gd name="T2" fmla="*/ 6 w 32"/>
                  <a:gd name="T3" fmla="*/ 20 h 20"/>
                  <a:gd name="T4" fmla="*/ 6 w 32"/>
                  <a:gd name="T5" fmla="*/ 20 h 20"/>
                  <a:gd name="T6" fmla="*/ 0 w 32"/>
                  <a:gd name="T7" fmla="*/ 18 h 20"/>
                  <a:gd name="T8" fmla="*/ 0 w 32"/>
                  <a:gd name="T9" fmla="*/ 18 h 20"/>
                  <a:gd name="T10" fmla="*/ 0 w 32"/>
                  <a:gd name="T11" fmla="*/ 16 h 20"/>
                  <a:gd name="T12" fmla="*/ 0 w 32"/>
                  <a:gd name="T13" fmla="*/ 16 h 20"/>
                  <a:gd name="T14" fmla="*/ 0 w 32"/>
                  <a:gd name="T15" fmla="*/ 16 h 20"/>
                  <a:gd name="T16" fmla="*/ 4 w 32"/>
                  <a:gd name="T17" fmla="*/ 6 h 20"/>
                  <a:gd name="T18" fmla="*/ 4 w 32"/>
                  <a:gd name="T19" fmla="*/ 6 h 20"/>
                  <a:gd name="T20" fmla="*/ 6 w 32"/>
                  <a:gd name="T21" fmla="*/ 6 h 20"/>
                  <a:gd name="T22" fmla="*/ 12 w 32"/>
                  <a:gd name="T23" fmla="*/ 2 h 20"/>
                  <a:gd name="T24" fmla="*/ 24 w 32"/>
                  <a:gd name="T25" fmla="*/ 0 h 20"/>
                  <a:gd name="T26" fmla="*/ 24 w 32"/>
                  <a:gd name="T27" fmla="*/ 0 h 20"/>
                  <a:gd name="T28" fmla="*/ 24 w 32"/>
                  <a:gd name="T29" fmla="*/ 0 h 20"/>
                  <a:gd name="T30" fmla="*/ 24 w 32"/>
                  <a:gd name="T31" fmla="*/ 0 h 20"/>
                  <a:gd name="T32" fmla="*/ 26 w 32"/>
                  <a:gd name="T33" fmla="*/ 0 h 20"/>
                  <a:gd name="T34" fmla="*/ 30 w 32"/>
                  <a:gd name="T35" fmla="*/ 2 h 20"/>
                  <a:gd name="T36" fmla="*/ 30 w 32"/>
                  <a:gd name="T37" fmla="*/ 2 h 20"/>
                  <a:gd name="T38" fmla="*/ 32 w 32"/>
                  <a:gd name="T39" fmla="*/ 4 h 20"/>
                  <a:gd name="T40" fmla="*/ 32 w 32"/>
                  <a:gd name="T41" fmla="*/ 4 h 20"/>
                  <a:gd name="T42" fmla="*/ 30 w 32"/>
                  <a:gd name="T43" fmla="*/ 6 h 20"/>
                  <a:gd name="T44" fmla="*/ 28 w 32"/>
                  <a:gd name="T45" fmla="*/ 10 h 20"/>
                  <a:gd name="T46" fmla="*/ 28 w 32"/>
                  <a:gd name="T47" fmla="*/ 10 h 20"/>
                  <a:gd name="T48" fmla="*/ 26 w 32"/>
                  <a:gd name="T49" fmla="*/ 12 h 20"/>
                  <a:gd name="T50" fmla="*/ 22 w 32"/>
                  <a:gd name="T51" fmla="*/ 14 h 20"/>
                  <a:gd name="T52" fmla="*/ 12 w 32"/>
                  <a:gd name="T53" fmla="*/ 14 h 20"/>
                  <a:gd name="T54" fmla="*/ 8 w 32"/>
                  <a:gd name="T55" fmla="*/ 20 h 20"/>
                  <a:gd name="T56" fmla="*/ 8 w 32"/>
                  <a:gd name="T57" fmla="*/ 20 h 20"/>
                  <a:gd name="T58" fmla="*/ 6 w 32"/>
                  <a:gd name="T59" fmla="*/ 20 h 20"/>
                  <a:gd name="T60" fmla="*/ 6 w 32"/>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0">
                    <a:moveTo>
                      <a:pt x="6" y="20"/>
                    </a:moveTo>
                    <a:lnTo>
                      <a:pt x="6" y="20"/>
                    </a:lnTo>
                    <a:lnTo>
                      <a:pt x="6" y="20"/>
                    </a:lnTo>
                    <a:lnTo>
                      <a:pt x="0" y="18"/>
                    </a:lnTo>
                    <a:lnTo>
                      <a:pt x="0" y="18"/>
                    </a:lnTo>
                    <a:lnTo>
                      <a:pt x="0" y="16"/>
                    </a:lnTo>
                    <a:lnTo>
                      <a:pt x="0" y="16"/>
                    </a:lnTo>
                    <a:lnTo>
                      <a:pt x="0" y="16"/>
                    </a:lnTo>
                    <a:lnTo>
                      <a:pt x="4" y="6"/>
                    </a:lnTo>
                    <a:lnTo>
                      <a:pt x="4" y="6"/>
                    </a:lnTo>
                    <a:lnTo>
                      <a:pt x="6" y="6"/>
                    </a:lnTo>
                    <a:lnTo>
                      <a:pt x="12" y="2"/>
                    </a:lnTo>
                    <a:lnTo>
                      <a:pt x="24" y="0"/>
                    </a:lnTo>
                    <a:lnTo>
                      <a:pt x="24" y="0"/>
                    </a:lnTo>
                    <a:lnTo>
                      <a:pt x="24" y="0"/>
                    </a:lnTo>
                    <a:lnTo>
                      <a:pt x="24" y="0"/>
                    </a:lnTo>
                    <a:lnTo>
                      <a:pt x="26" y="0"/>
                    </a:lnTo>
                    <a:lnTo>
                      <a:pt x="30" y="2"/>
                    </a:lnTo>
                    <a:lnTo>
                      <a:pt x="30" y="2"/>
                    </a:lnTo>
                    <a:lnTo>
                      <a:pt x="32" y="4"/>
                    </a:lnTo>
                    <a:lnTo>
                      <a:pt x="32" y="4"/>
                    </a:lnTo>
                    <a:lnTo>
                      <a:pt x="30" y="6"/>
                    </a:lnTo>
                    <a:lnTo>
                      <a:pt x="28" y="10"/>
                    </a:lnTo>
                    <a:lnTo>
                      <a:pt x="28" y="10"/>
                    </a:lnTo>
                    <a:lnTo>
                      <a:pt x="26" y="12"/>
                    </a:lnTo>
                    <a:lnTo>
                      <a:pt x="22" y="14"/>
                    </a:lnTo>
                    <a:lnTo>
                      <a:pt x="12" y="14"/>
                    </a:lnTo>
                    <a:lnTo>
                      <a:pt x="8" y="20"/>
                    </a:lnTo>
                    <a:lnTo>
                      <a:pt x="8" y="20"/>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6" name="Freeform 175"/>
              <p:cNvSpPr>
                <a:spLocks noEditPoints="1"/>
              </p:cNvSpPr>
              <p:nvPr/>
            </p:nvSpPr>
            <p:spPr bwMode="auto">
              <a:xfrm>
                <a:off x="529" y="1649"/>
                <a:ext cx="36" cy="24"/>
              </a:xfrm>
              <a:custGeom>
                <a:avLst/>
                <a:gdLst>
                  <a:gd name="T0" fmla="*/ 26 w 36"/>
                  <a:gd name="T1" fmla="*/ 4 h 24"/>
                  <a:gd name="T2" fmla="*/ 32 w 36"/>
                  <a:gd name="T3" fmla="*/ 6 h 24"/>
                  <a:gd name="T4" fmla="*/ 28 w 36"/>
                  <a:gd name="T5" fmla="*/ 12 h 24"/>
                  <a:gd name="T6" fmla="*/ 22 w 36"/>
                  <a:gd name="T7" fmla="*/ 14 h 24"/>
                  <a:gd name="T8" fmla="*/ 14 w 36"/>
                  <a:gd name="T9" fmla="*/ 14 h 24"/>
                  <a:gd name="T10" fmla="*/ 8 w 36"/>
                  <a:gd name="T11" fmla="*/ 20 h 24"/>
                  <a:gd name="T12" fmla="*/ 4 w 36"/>
                  <a:gd name="T13" fmla="*/ 18 h 24"/>
                  <a:gd name="T14" fmla="*/ 8 w 36"/>
                  <a:gd name="T15" fmla="*/ 10 h 24"/>
                  <a:gd name="T16" fmla="*/ 16 w 36"/>
                  <a:gd name="T17" fmla="*/ 6 h 24"/>
                  <a:gd name="T18" fmla="*/ 26 w 36"/>
                  <a:gd name="T19" fmla="*/ 4 h 24"/>
                  <a:gd name="T20" fmla="*/ 26 w 36"/>
                  <a:gd name="T21" fmla="*/ 0 h 24"/>
                  <a:gd name="T22" fmla="*/ 26 w 36"/>
                  <a:gd name="T23" fmla="*/ 0 h 24"/>
                  <a:gd name="T24" fmla="*/ 24 w 36"/>
                  <a:gd name="T25" fmla="*/ 0 h 24"/>
                  <a:gd name="T26" fmla="*/ 14 w 36"/>
                  <a:gd name="T27" fmla="*/ 2 h 24"/>
                  <a:gd name="T28" fmla="*/ 14 w 36"/>
                  <a:gd name="T29" fmla="*/ 2 h 24"/>
                  <a:gd name="T30" fmla="*/ 14 w 36"/>
                  <a:gd name="T31" fmla="*/ 2 h 24"/>
                  <a:gd name="T32" fmla="*/ 6 w 36"/>
                  <a:gd name="T33" fmla="*/ 6 h 24"/>
                  <a:gd name="T34" fmla="*/ 6 w 36"/>
                  <a:gd name="T35" fmla="*/ 6 h 24"/>
                  <a:gd name="T36" fmla="*/ 6 w 36"/>
                  <a:gd name="T37" fmla="*/ 8 h 24"/>
                  <a:gd name="T38" fmla="*/ 0 w 36"/>
                  <a:gd name="T39" fmla="*/ 16 h 24"/>
                  <a:gd name="T40" fmla="*/ 0 w 36"/>
                  <a:gd name="T41" fmla="*/ 16 h 24"/>
                  <a:gd name="T42" fmla="*/ 0 w 36"/>
                  <a:gd name="T43" fmla="*/ 20 h 24"/>
                  <a:gd name="T44" fmla="*/ 0 w 36"/>
                  <a:gd name="T45" fmla="*/ 20 h 24"/>
                  <a:gd name="T46" fmla="*/ 2 w 36"/>
                  <a:gd name="T47" fmla="*/ 22 h 24"/>
                  <a:gd name="T48" fmla="*/ 8 w 36"/>
                  <a:gd name="T49" fmla="*/ 24 h 24"/>
                  <a:gd name="T50" fmla="*/ 8 w 36"/>
                  <a:gd name="T51" fmla="*/ 24 h 24"/>
                  <a:gd name="T52" fmla="*/ 8 w 36"/>
                  <a:gd name="T53" fmla="*/ 24 h 24"/>
                  <a:gd name="T54" fmla="*/ 8 w 36"/>
                  <a:gd name="T55" fmla="*/ 24 h 24"/>
                  <a:gd name="T56" fmla="*/ 12 w 36"/>
                  <a:gd name="T57" fmla="*/ 22 h 24"/>
                  <a:gd name="T58" fmla="*/ 16 w 36"/>
                  <a:gd name="T59" fmla="*/ 18 h 24"/>
                  <a:gd name="T60" fmla="*/ 24 w 36"/>
                  <a:gd name="T61" fmla="*/ 18 h 24"/>
                  <a:gd name="T62" fmla="*/ 24 w 36"/>
                  <a:gd name="T63" fmla="*/ 18 h 24"/>
                  <a:gd name="T64" fmla="*/ 24 w 36"/>
                  <a:gd name="T65" fmla="*/ 16 h 24"/>
                  <a:gd name="T66" fmla="*/ 28 w 36"/>
                  <a:gd name="T67" fmla="*/ 16 h 24"/>
                  <a:gd name="T68" fmla="*/ 28 w 36"/>
                  <a:gd name="T69" fmla="*/ 16 h 24"/>
                  <a:gd name="T70" fmla="*/ 30 w 36"/>
                  <a:gd name="T71" fmla="*/ 14 h 24"/>
                  <a:gd name="T72" fmla="*/ 34 w 36"/>
                  <a:gd name="T73" fmla="*/ 8 h 24"/>
                  <a:gd name="T74" fmla="*/ 34 w 36"/>
                  <a:gd name="T75" fmla="*/ 8 h 24"/>
                  <a:gd name="T76" fmla="*/ 36 w 36"/>
                  <a:gd name="T77" fmla="*/ 6 h 24"/>
                  <a:gd name="T78" fmla="*/ 36 w 36"/>
                  <a:gd name="T79" fmla="*/ 6 h 24"/>
                  <a:gd name="T80" fmla="*/ 34 w 36"/>
                  <a:gd name="T81" fmla="*/ 4 h 24"/>
                  <a:gd name="T82" fmla="*/ 28 w 36"/>
                  <a:gd name="T83" fmla="*/ 0 h 24"/>
                  <a:gd name="T84" fmla="*/ 28 w 36"/>
                  <a:gd name="T85" fmla="*/ 0 h 24"/>
                  <a:gd name="T86" fmla="*/ 26 w 36"/>
                  <a:gd name="T87" fmla="*/ 0 h 24"/>
                  <a:gd name="T88" fmla="*/ 26 w 36"/>
                  <a:gd name="T8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24">
                    <a:moveTo>
                      <a:pt x="26" y="4"/>
                    </a:moveTo>
                    <a:lnTo>
                      <a:pt x="32" y="6"/>
                    </a:lnTo>
                    <a:lnTo>
                      <a:pt x="28" y="12"/>
                    </a:lnTo>
                    <a:lnTo>
                      <a:pt x="22" y="14"/>
                    </a:lnTo>
                    <a:lnTo>
                      <a:pt x="14" y="14"/>
                    </a:lnTo>
                    <a:lnTo>
                      <a:pt x="8" y="20"/>
                    </a:lnTo>
                    <a:lnTo>
                      <a:pt x="4" y="18"/>
                    </a:lnTo>
                    <a:lnTo>
                      <a:pt x="8" y="10"/>
                    </a:lnTo>
                    <a:lnTo>
                      <a:pt x="16" y="6"/>
                    </a:lnTo>
                    <a:lnTo>
                      <a:pt x="26" y="4"/>
                    </a:lnTo>
                    <a:close/>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7" name="Freeform 176"/>
              <p:cNvSpPr>
                <a:spLocks/>
              </p:cNvSpPr>
              <p:nvPr/>
            </p:nvSpPr>
            <p:spPr bwMode="auto">
              <a:xfrm>
                <a:off x="533" y="1653"/>
                <a:ext cx="28" cy="16"/>
              </a:xfrm>
              <a:custGeom>
                <a:avLst/>
                <a:gdLst>
                  <a:gd name="T0" fmla="*/ 22 w 28"/>
                  <a:gd name="T1" fmla="*/ 0 h 16"/>
                  <a:gd name="T2" fmla="*/ 28 w 28"/>
                  <a:gd name="T3" fmla="*/ 2 h 16"/>
                  <a:gd name="T4" fmla="*/ 24 w 28"/>
                  <a:gd name="T5" fmla="*/ 8 h 16"/>
                  <a:gd name="T6" fmla="*/ 18 w 28"/>
                  <a:gd name="T7" fmla="*/ 10 h 16"/>
                  <a:gd name="T8" fmla="*/ 10 w 28"/>
                  <a:gd name="T9" fmla="*/ 10 h 16"/>
                  <a:gd name="T10" fmla="*/ 4 w 28"/>
                  <a:gd name="T11" fmla="*/ 16 h 16"/>
                  <a:gd name="T12" fmla="*/ 0 w 28"/>
                  <a:gd name="T13" fmla="*/ 14 h 16"/>
                  <a:gd name="T14" fmla="*/ 4 w 28"/>
                  <a:gd name="T15" fmla="*/ 6 h 16"/>
                  <a:gd name="T16" fmla="*/ 12 w 28"/>
                  <a:gd name="T17" fmla="*/ 2 h 16"/>
                  <a:gd name="T18" fmla="*/ 22 w 28"/>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6">
                    <a:moveTo>
                      <a:pt x="22" y="0"/>
                    </a:moveTo>
                    <a:lnTo>
                      <a:pt x="28" y="2"/>
                    </a:lnTo>
                    <a:lnTo>
                      <a:pt x="24" y="8"/>
                    </a:lnTo>
                    <a:lnTo>
                      <a:pt x="18" y="10"/>
                    </a:lnTo>
                    <a:lnTo>
                      <a:pt x="10" y="10"/>
                    </a:lnTo>
                    <a:lnTo>
                      <a:pt x="4" y="16"/>
                    </a:lnTo>
                    <a:lnTo>
                      <a:pt x="0" y="14"/>
                    </a:lnTo>
                    <a:lnTo>
                      <a:pt x="4" y="6"/>
                    </a:lnTo>
                    <a:lnTo>
                      <a:pt x="12"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8" name="Freeform 177"/>
              <p:cNvSpPr>
                <a:spLocks/>
              </p:cNvSpPr>
              <p:nvPr/>
            </p:nvSpPr>
            <p:spPr bwMode="auto">
              <a:xfrm>
                <a:off x="529" y="1649"/>
                <a:ext cx="36" cy="24"/>
              </a:xfrm>
              <a:custGeom>
                <a:avLst/>
                <a:gdLst>
                  <a:gd name="T0" fmla="*/ 26 w 36"/>
                  <a:gd name="T1" fmla="*/ 0 h 24"/>
                  <a:gd name="T2" fmla="*/ 26 w 36"/>
                  <a:gd name="T3" fmla="*/ 0 h 24"/>
                  <a:gd name="T4" fmla="*/ 24 w 36"/>
                  <a:gd name="T5" fmla="*/ 0 h 24"/>
                  <a:gd name="T6" fmla="*/ 14 w 36"/>
                  <a:gd name="T7" fmla="*/ 2 h 24"/>
                  <a:gd name="T8" fmla="*/ 14 w 36"/>
                  <a:gd name="T9" fmla="*/ 2 h 24"/>
                  <a:gd name="T10" fmla="*/ 14 w 36"/>
                  <a:gd name="T11" fmla="*/ 2 h 24"/>
                  <a:gd name="T12" fmla="*/ 6 w 36"/>
                  <a:gd name="T13" fmla="*/ 6 h 24"/>
                  <a:gd name="T14" fmla="*/ 6 w 36"/>
                  <a:gd name="T15" fmla="*/ 6 h 24"/>
                  <a:gd name="T16" fmla="*/ 6 w 36"/>
                  <a:gd name="T17" fmla="*/ 8 h 24"/>
                  <a:gd name="T18" fmla="*/ 0 w 36"/>
                  <a:gd name="T19" fmla="*/ 16 h 24"/>
                  <a:gd name="T20" fmla="*/ 0 w 36"/>
                  <a:gd name="T21" fmla="*/ 16 h 24"/>
                  <a:gd name="T22" fmla="*/ 0 w 36"/>
                  <a:gd name="T23" fmla="*/ 20 h 24"/>
                  <a:gd name="T24" fmla="*/ 0 w 36"/>
                  <a:gd name="T25" fmla="*/ 20 h 24"/>
                  <a:gd name="T26" fmla="*/ 2 w 36"/>
                  <a:gd name="T27" fmla="*/ 22 h 24"/>
                  <a:gd name="T28" fmla="*/ 8 w 36"/>
                  <a:gd name="T29" fmla="*/ 24 h 24"/>
                  <a:gd name="T30" fmla="*/ 8 w 36"/>
                  <a:gd name="T31" fmla="*/ 24 h 24"/>
                  <a:gd name="T32" fmla="*/ 8 w 36"/>
                  <a:gd name="T33" fmla="*/ 24 h 24"/>
                  <a:gd name="T34" fmla="*/ 8 w 36"/>
                  <a:gd name="T35" fmla="*/ 24 h 24"/>
                  <a:gd name="T36" fmla="*/ 12 w 36"/>
                  <a:gd name="T37" fmla="*/ 22 h 24"/>
                  <a:gd name="T38" fmla="*/ 16 w 36"/>
                  <a:gd name="T39" fmla="*/ 18 h 24"/>
                  <a:gd name="T40" fmla="*/ 24 w 36"/>
                  <a:gd name="T41" fmla="*/ 18 h 24"/>
                  <a:gd name="T42" fmla="*/ 24 w 36"/>
                  <a:gd name="T43" fmla="*/ 18 h 24"/>
                  <a:gd name="T44" fmla="*/ 24 w 36"/>
                  <a:gd name="T45" fmla="*/ 16 h 24"/>
                  <a:gd name="T46" fmla="*/ 28 w 36"/>
                  <a:gd name="T47" fmla="*/ 16 h 24"/>
                  <a:gd name="T48" fmla="*/ 28 w 36"/>
                  <a:gd name="T49" fmla="*/ 16 h 24"/>
                  <a:gd name="T50" fmla="*/ 30 w 36"/>
                  <a:gd name="T51" fmla="*/ 14 h 24"/>
                  <a:gd name="T52" fmla="*/ 34 w 36"/>
                  <a:gd name="T53" fmla="*/ 8 h 24"/>
                  <a:gd name="T54" fmla="*/ 34 w 36"/>
                  <a:gd name="T55" fmla="*/ 8 h 24"/>
                  <a:gd name="T56" fmla="*/ 36 w 36"/>
                  <a:gd name="T57" fmla="*/ 6 h 24"/>
                  <a:gd name="T58" fmla="*/ 36 w 36"/>
                  <a:gd name="T59" fmla="*/ 6 h 24"/>
                  <a:gd name="T60" fmla="*/ 34 w 36"/>
                  <a:gd name="T61" fmla="*/ 4 h 24"/>
                  <a:gd name="T62" fmla="*/ 28 w 36"/>
                  <a:gd name="T63" fmla="*/ 0 h 24"/>
                  <a:gd name="T64" fmla="*/ 28 w 36"/>
                  <a:gd name="T65" fmla="*/ 0 h 24"/>
                  <a:gd name="T66" fmla="*/ 26 w 36"/>
                  <a:gd name="T67" fmla="*/ 0 h 24"/>
                  <a:gd name="T68" fmla="*/ 26 w 36"/>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24">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9" name="Freeform 178"/>
              <p:cNvSpPr>
                <a:spLocks/>
              </p:cNvSpPr>
              <p:nvPr/>
            </p:nvSpPr>
            <p:spPr bwMode="auto">
              <a:xfrm>
                <a:off x="955" y="1589"/>
                <a:ext cx="16" cy="32"/>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0" name="Freeform 179"/>
              <p:cNvSpPr>
                <a:spLocks noEditPoints="1"/>
              </p:cNvSpPr>
              <p:nvPr/>
            </p:nvSpPr>
            <p:spPr bwMode="auto">
              <a:xfrm>
                <a:off x="953" y="1587"/>
                <a:ext cx="20" cy="36"/>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1" name="Freeform 180"/>
              <p:cNvSpPr>
                <a:spLocks/>
              </p:cNvSpPr>
              <p:nvPr/>
            </p:nvSpPr>
            <p:spPr bwMode="auto">
              <a:xfrm>
                <a:off x="957" y="1591"/>
                <a:ext cx="12" cy="28"/>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2" name="Freeform 181"/>
              <p:cNvSpPr>
                <a:spLocks/>
              </p:cNvSpPr>
              <p:nvPr/>
            </p:nvSpPr>
            <p:spPr bwMode="auto">
              <a:xfrm>
                <a:off x="953" y="1587"/>
                <a:ext cx="20" cy="36"/>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3" name="Freeform 182"/>
              <p:cNvSpPr>
                <a:spLocks/>
              </p:cNvSpPr>
              <p:nvPr/>
            </p:nvSpPr>
            <p:spPr bwMode="auto">
              <a:xfrm>
                <a:off x="995" y="1633"/>
                <a:ext cx="20" cy="2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4" name="Freeform 183"/>
              <p:cNvSpPr>
                <a:spLocks noEditPoints="1"/>
              </p:cNvSpPr>
              <p:nvPr/>
            </p:nvSpPr>
            <p:spPr bwMode="auto">
              <a:xfrm>
                <a:off x="993" y="1631"/>
                <a:ext cx="24" cy="2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5" name="Freeform 184"/>
              <p:cNvSpPr>
                <a:spLocks/>
              </p:cNvSpPr>
              <p:nvPr/>
            </p:nvSpPr>
            <p:spPr bwMode="auto">
              <a:xfrm>
                <a:off x="997" y="1635"/>
                <a:ext cx="16" cy="18"/>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6" name="Freeform 185"/>
              <p:cNvSpPr>
                <a:spLocks/>
              </p:cNvSpPr>
              <p:nvPr/>
            </p:nvSpPr>
            <p:spPr bwMode="auto">
              <a:xfrm>
                <a:off x="993" y="1631"/>
                <a:ext cx="24" cy="2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7" name="Freeform 186"/>
              <p:cNvSpPr>
                <a:spLocks/>
              </p:cNvSpPr>
              <p:nvPr/>
            </p:nvSpPr>
            <p:spPr bwMode="auto">
              <a:xfrm>
                <a:off x="955" y="1589"/>
                <a:ext cx="16" cy="32"/>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8" name="Freeform 187"/>
              <p:cNvSpPr>
                <a:spLocks noEditPoints="1"/>
              </p:cNvSpPr>
              <p:nvPr/>
            </p:nvSpPr>
            <p:spPr bwMode="auto">
              <a:xfrm>
                <a:off x="953" y="1587"/>
                <a:ext cx="20" cy="36"/>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9" name="Freeform 188"/>
              <p:cNvSpPr>
                <a:spLocks/>
              </p:cNvSpPr>
              <p:nvPr/>
            </p:nvSpPr>
            <p:spPr bwMode="auto">
              <a:xfrm>
                <a:off x="957" y="1591"/>
                <a:ext cx="12" cy="28"/>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0" name="Freeform 189"/>
              <p:cNvSpPr>
                <a:spLocks/>
              </p:cNvSpPr>
              <p:nvPr/>
            </p:nvSpPr>
            <p:spPr bwMode="auto">
              <a:xfrm>
                <a:off x="953" y="1587"/>
                <a:ext cx="20" cy="36"/>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1" name="Freeform 190"/>
              <p:cNvSpPr>
                <a:spLocks/>
              </p:cNvSpPr>
              <p:nvPr/>
            </p:nvSpPr>
            <p:spPr bwMode="auto">
              <a:xfrm>
                <a:off x="995" y="1633"/>
                <a:ext cx="20" cy="2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2" name="Freeform 191"/>
              <p:cNvSpPr>
                <a:spLocks noEditPoints="1"/>
              </p:cNvSpPr>
              <p:nvPr/>
            </p:nvSpPr>
            <p:spPr bwMode="auto">
              <a:xfrm>
                <a:off x="993" y="1631"/>
                <a:ext cx="24" cy="2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3" name="Freeform 192"/>
              <p:cNvSpPr>
                <a:spLocks/>
              </p:cNvSpPr>
              <p:nvPr/>
            </p:nvSpPr>
            <p:spPr bwMode="auto">
              <a:xfrm>
                <a:off x="997" y="1635"/>
                <a:ext cx="16" cy="18"/>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4" name="Freeform 193"/>
              <p:cNvSpPr>
                <a:spLocks/>
              </p:cNvSpPr>
              <p:nvPr/>
            </p:nvSpPr>
            <p:spPr bwMode="auto">
              <a:xfrm>
                <a:off x="993" y="1631"/>
                <a:ext cx="24" cy="2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5" name="Freeform 194"/>
              <p:cNvSpPr>
                <a:spLocks/>
              </p:cNvSpPr>
              <p:nvPr/>
            </p:nvSpPr>
            <p:spPr bwMode="auto">
              <a:xfrm>
                <a:off x="967" y="1611"/>
                <a:ext cx="20" cy="16"/>
              </a:xfrm>
              <a:custGeom>
                <a:avLst/>
                <a:gdLst>
                  <a:gd name="T0" fmla="*/ 4 w 20"/>
                  <a:gd name="T1" fmla="*/ 16 h 16"/>
                  <a:gd name="T2" fmla="*/ 4 w 20"/>
                  <a:gd name="T3" fmla="*/ 16 h 16"/>
                  <a:gd name="T4" fmla="*/ 4 w 20"/>
                  <a:gd name="T5" fmla="*/ 14 h 16"/>
                  <a:gd name="T6" fmla="*/ 4 w 20"/>
                  <a:gd name="T7" fmla="*/ 14 h 16"/>
                  <a:gd name="T8" fmla="*/ 2 w 20"/>
                  <a:gd name="T9" fmla="*/ 14 h 16"/>
                  <a:gd name="T10" fmla="*/ 0 w 20"/>
                  <a:gd name="T11" fmla="*/ 8 h 16"/>
                  <a:gd name="T12" fmla="*/ 0 w 20"/>
                  <a:gd name="T13" fmla="*/ 8 h 16"/>
                  <a:gd name="T14" fmla="*/ 0 w 20"/>
                  <a:gd name="T15" fmla="*/ 6 h 16"/>
                  <a:gd name="T16" fmla="*/ 4 w 20"/>
                  <a:gd name="T17" fmla="*/ 0 h 16"/>
                  <a:gd name="T18" fmla="*/ 4 w 20"/>
                  <a:gd name="T19" fmla="*/ 0 h 16"/>
                  <a:gd name="T20" fmla="*/ 6 w 20"/>
                  <a:gd name="T21" fmla="*/ 0 h 16"/>
                  <a:gd name="T22" fmla="*/ 12 w 20"/>
                  <a:gd name="T23" fmla="*/ 0 h 16"/>
                  <a:gd name="T24" fmla="*/ 12 w 20"/>
                  <a:gd name="T25" fmla="*/ 0 h 16"/>
                  <a:gd name="T26" fmla="*/ 12 w 20"/>
                  <a:gd name="T27" fmla="*/ 0 h 16"/>
                  <a:gd name="T28" fmla="*/ 20 w 20"/>
                  <a:gd name="T29" fmla="*/ 4 h 16"/>
                  <a:gd name="T30" fmla="*/ 20 w 20"/>
                  <a:gd name="T31" fmla="*/ 4 h 16"/>
                  <a:gd name="T32" fmla="*/ 20 w 20"/>
                  <a:gd name="T33" fmla="*/ 6 h 16"/>
                  <a:gd name="T34" fmla="*/ 20 w 20"/>
                  <a:gd name="T35" fmla="*/ 6 h 16"/>
                  <a:gd name="T36" fmla="*/ 20 w 20"/>
                  <a:gd name="T37" fmla="*/ 8 h 16"/>
                  <a:gd name="T38" fmla="*/ 4 w 20"/>
                  <a:gd name="T39" fmla="*/ 14 h 16"/>
                  <a:gd name="T40" fmla="*/ 4 w 20"/>
                  <a:gd name="T41" fmla="*/ 14 h 16"/>
                  <a:gd name="T42" fmla="*/ 4 w 20"/>
                  <a:gd name="T43" fmla="*/ 16 h 16"/>
                  <a:gd name="T44" fmla="*/ 4 w 20"/>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6">
                    <a:moveTo>
                      <a:pt x="4" y="16"/>
                    </a:moveTo>
                    <a:lnTo>
                      <a:pt x="4" y="16"/>
                    </a:lnTo>
                    <a:lnTo>
                      <a:pt x="4" y="14"/>
                    </a:lnTo>
                    <a:lnTo>
                      <a:pt x="4" y="14"/>
                    </a:lnTo>
                    <a:lnTo>
                      <a:pt x="2" y="14"/>
                    </a:lnTo>
                    <a:lnTo>
                      <a:pt x="0" y="8"/>
                    </a:lnTo>
                    <a:lnTo>
                      <a:pt x="0" y="8"/>
                    </a:lnTo>
                    <a:lnTo>
                      <a:pt x="0" y="6"/>
                    </a:lnTo>
                    <a:lnTo>
                      <a:pt x="4" y="0"/>
                    </a:lnTo>
                    <a:lnTo>
                      <a:pt x="4" y="0"/>
                    </a:lnTo>
                    <a:lnTo>
                      <a:pt x="6" y="0"/>
                    </a:lnTo>
                    <a:lnTo>
                      <a:pt x="12" y="0"/>
                    </a:lnTo>
                    <a:lnTo>
                      <a:pt x="12" y="0"/>
                    </a:lnTo>
                    <a:lnTo>
                      <a:pt x="12" y="0"/>
                    </a:lnTo>
                    <a:lnTo>
                      <a:pt x="20" y="4"/>
                    </a:lnTo>
                    <a:lnTo>
                      <a:pt x="20" y="4"/>
                    </a:lnTo>
                    <a:lnTo>
                      <a:pt x="20" y="6"/>
                    </a:lnTo>
                    <a:lnTo>
                      <a:pt x="20" y="6"/>
                    </a:lnTo>
                    <a:lnTo>
                      <a:pt x="20" y="8"/>
                    </a:lnTo>
                    <a:lnTo>
                      <a:pt x="4" y="14"/>
                    </a:lnTo>
                    <a:lnTo>
                      <a:pt x="4" y="14"/>
                    </a:lnTo>
                    <a:lnTo>
                      <a:pt x="4"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6" name="Freeform 195"/>
              <p:cNvSpPr>
                <a:spLocks noEditPoints="1"/>
              </p:cNvSpPr>
              <p:nvPr/>
            </p:nvSpPr>
            <p:spPr bwMode="auto">
              <a:xfrm>
                <a:off x="965" y="1609"/>
                <a:ext cx="24" cy="20"/>
              </a:xfrm>
              <a:custGeom>
                <a:avLst/>
                <a:gdLst>
                  <a:gd name="T0" fmla="*/ 14 w 24"/>
                  <a:gd name="T1" fmla="*/ 4 h 20"/>
                  <a:gd name="T2" fmla="*/ 20 w 24"/>
                  <a:gd name="T3" fmla="*/ 8 h 20"/>
                  <a:gd name="T4" fmla="*/ 14 w 24"/>
                  <a:gd name="T5" fmla="*/ 12 h 20"/>
                  <a:gd name="T6" fmla="*/ 6 w 24"/>
                  <a:gd name="T7" fmla="*/ 16 h 20"/>
                  <a:gd name="T8" fmla="*/ 4 w 24"/>
                  <a:gd name="T9" fmla="*/ 8 h 20"/>
                  <a:gd name="T10" fmla="*/ 8 w 24"/>
                  <a:gd name="T11" fmla="*/ 4 h 20"/>
                  <a:gd name="T12" fmla="*/ 14 w 24"/>
                  <a:gd name="T13" fmla="*/ 4 h 20"/>
                  <a:gd name="T14" fmla="*/ 14 w 24"/>
                  <a:gd name="T15" fmla="*/ 0 h 20"/>
                  <a:gd name="T16" fmla="*/ 8 w 24"/>
                  <a:gd name="T17" fmla="*/ 0 h 20"/>
                  <a:gd name="T18" fmla="*/ 8 w 24"/>
                  <a:gd name="T19" fmla="*/ 0 h 20"/>
                  <a:gd name="T20" fmla="*/ 6 w 24"/>
                  <a:gd name="T21" fmla="*/ 0 h 20"/>
                  <a:gd name="T22" fmla="*/ 0 w 24"/>
                  <a:gd name="T23" fmla="*/ 6 h 20"/>
                  <a:gd name="T24" fmla="*/ 0 w 24"/>
                  <a:gd name="T25" fmla="*/ 6 h 20"/>
                  <a:gd name="T26" fmla="*/ 0 w 24"/>
                  <a:gd name="T27" fmla="*/ 8 h 20"/>
                  <a:gd name="T28" fmla="*/ 0 w 24"/>
                  <a:gd name="T29" fmla="*/ 10 h 20"/>
                  <a:gd name="T30" fmla="*/ 2 w 24"/>
                  <a:gd name="T31" fmla="*/ 16 h 20"/>
                  <a:gd name="T32" fmla="*/ 2 w 24"/>
                  <a:gd name="T33" fmla="*/ 16 h 20"/>
                  <a:gd name="T34" fmla="*/ 4 w 24"/>
                  <a:gd name="T35" fmla="*/ 18 h 20"/>
                  <a:gd name="T36" fmla="*/ 4 w 24"/>
                  <a:gd name="T37" fmla="*/ 18 h 20"/>
                  <a:gd name="T38" fmla="*/ 6 w 24"/>
                  <a:gd name="T39" fmla="*/ 20 h 20"/>
                  <a:gd name="T40" fmla="*/ 6 w 24"/>
                  <a:gd name="T41" fmla="*/ 20 h 20"/>
                  <a:gd name="T42" fmla="*/ 8 w 24"/>
                  <a:gd name="T43" fmla="*/ 18 h 20"/>
                  <a:gd name="T44" fmla="*/ 14 w 24"/>
                  <a:gd name="T45" fmla="*/ 16 h 20"/>
                  <a:gd name="T46" fmla="*/ 22 w 24"/>
                  <a:gd name="T47" fmla="*/ 12 h 20"/>
                  <a:gd name="T48" fmla="*/ 22 w 24"/>
                  <a:gd name="T49" fmla="*/ 12 h 20"/>
                  <a:gd name="T50" fmla="*/ 24 w 24"/>
                  <a:gd name="T51" fmla="*/ 8 h 20"/>
                  <a:gd name="T52" fmla="*/ 24 w 24"/>
                  <a:gd name="T53" fmla="*/ 8 h 20"/>
                  <a:gd name="T54" fmla="*/ 22 w 24"/>
                  <a:gd name="T55" fmla="*/ 6 h 20"/>
                  <a:gd name="T56" fmla="*/ 16 w 24"/>
                  <a:gd name="T57" fmla="*/ 0 h 20"/>
                  <a:gd name="T58" fmla="*/ 16 w 24"/>
                  <a:gd name="T59" fmla="*/ 0 h 20"/>
                  <a:gd name="T60" fmla="*/ 14 w 24"/>
                  <a:gd name="T61" fmla="*/ 0 h 20"/>
                  <a:gd name="T62" fmla="*/ 14 w 24"/>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0">
                    <a:moveTo>
                      <a:pt x="14" y="4"/>
                    </a:moveTo>
                    <a:lnTo>
                      <a:pt x="20" y="8"/>
                    </a:lnTo>
                    <a:lnTo>
                      <a:pt x="14" y="12"/>
                    </a:lnTo>
                    <a:lnTo>
                      <a:pt x="6" y="16"/>
                    </a:lnTo>
                    <a:lnTo>
                      <a:pt x="4" y="8"/>
                    </a:lnTo>
                    <a:lnTo>
                      <a:pt x="8" y="4"/>
                    </a:lnTo>
                    <a:lnTo>
                      <a:pt x="14" y="4"/>
                    </a:lnTo>
                    <a:close/>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7" name="Freeform 196"/>
              <p:cNvSpPr>
                <a:spLocks/>
              </p:cNvSpPr>
              <p:nvPr/>
            </p:nvSpPr>
            <p:spPr bwMode="auto">
              <a:xfrm>
                <a:off x="969" y="1613"/>
                <a:ext cx="16" cy="12"/>
              </a:xfrm>
              <a:custGeom>
                <a:avLst/>
                <a:gdLst>
                  <a:gd name="T0" fmla="*/ 10 w 16"/>
                  <a:gd name="T1" fmla="*/ 0 h 12"/>
                  <a:gd name="T2" fmla="*/ 16 w 16"/>
                  <a:gd name="T3" fmla="*/ 4 h 12"/>
                  <a:gd name="T4" fmla="*/ 10 w 16"/>
                  <a:gd name="T5" fmla="*/ 8 h 12"/>
                  <a:gd name="T6" fmla="*/ 2 w 16"/>
                  <a:gd name="T7" fmla="*/ 12 h 12"/>
                  <a:gd name="T8" fmla="*/ 0 w 16"/>
                  <a:gd name="T9" fmla="*/ 4 h 12"/>
                  <a:gd name="T10" fmla="*/ 4 w 16"/>
                  <a:gd name="T11" fmla="*/ 0 h 12"/>
                  <a:gd name="T12" fmla="*/ 10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10" y="0"/>
                    </a:moveTo>
                    <a:lnTo>
                      <a:pt x="16" y="4"/>
                    </a:lnTo>
                    <a:lnTo>
                      <a:pt x="10" y="8"/>
                    </a:lnTo>
                    <a:lnTo>
                      <a:pt x="2" y="12"/>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8" name="Freeform 197"/>
              <p:cNvSpPr>
                <a:spLocks/>
              </p:cNvSpPr>
              <p:nvPr/>
            </p:nvSpPr>
            <p:spPr bwMode="auto">
              <a:xfrm>
                <a:off x="965" y="1609"/>
                <a:ext cx="24" cy="20"/>
              </a:xfrm>
              <a:custGeom>
                <a:avLst/>
                <a:gdLst>
                  <a:gd name="T0" fmla="*/ 14 w 24"/>
                  <a:gd name="T1" fmla="*/ 0 h 20"/>
                  <a:gd name="T2" fmla="*/ 8 w 24"/>
                  <a:gd name="T3" fmla="*/ 0 h 20"/>
                  <a:gd name="T4" fmla="*/ 8 w 24"/>
                  <a:gd name="T5" fmla="*/ 0 h 20"/>
                  <a:gd name="T6" fmla="*/ 6 w 24"/>
                  <a:gd name="T7" fmla="*/ 0 h 20"/>
                  <a:gd name="T8" fmla="*/ 0 w 24"/>
                  <a:gd name="T9" fmla="*/ 6 h 20"/>
                  <a:gd name="T10" fmla="*/ 0 w 24"/>
                  <a:gd name="T11" fmla="*/ 6 h 20"/>
                  <a:gd name="T12" fmla="*/ 0 w 24"/>
                  <a:gd name="T13" fmla="*/ 8 h 20"/>
                  <a:gd name="T14" fmla="*/ 0 w 24"/>
                  <a:gd name="T15" fmla="*/ 10 h 20"/>
                  <a:gd name="T16" fmla="*/ 2 w 24"/>
                  <a:gd name="T17" fmla="*/ 16 h 20"/>
                  <a:gd name="T18" fmla="*/ 2 w 24"/>
                  <a:gd name="T19" fmla="*/ 16 h 20"/>
                  <a:gd name="T20" fmla="*/ 4 w 24"/>
                  <a:gd name="T21" fmla="*/ 18 h 20"/>
                  <a:gd name="T22" fmla="*/ 4 w 24"/>
                  <a:gd name="T23" fmla="*/ 18 h 20"/>
                  <a:gd name="T24" fmla="*/ 6 w 24"/>
                  <a:gd name="T25" fmla="*/ 20 h 20"/>
                  <a:gd name="T26" fmla="*/ 6 w 24"/>
                  <a:gd name="T27" fmla="*/ 20 h 20"/>
                  <a:gd name="T28" fmla="*/ 8 w 24"/>
                  <a:gd name="T29" fmla="*/ 18 h 20"/>
                  <a:gd name="T30" fmla="*/ 14 w 24"/>
                  <a:gd name="T31" fmla="*/ 16 h 20"/>
                  <a:gd name="T32" fmla="*/ 22 w 24"/>
                  <a:gd name="T33" fmla="*/ 12 h 20"/>
                  <a:gd name="T34" fmla="*/ 22 w 24"/>
                  <a:gd name="T35" fmla="*/ 12 h 20"/>
                  <a:gd name="T36" fmla="*/ 24 w 24"/>
                  <a:gd name="T37" fmla="*/ 8 h 20"/>
                  <a:gd name="T38" fmla="*/ 24 w 24"/>
                  <a:gd name="T39" fmla="*/ 8 h 20"/>
                  <a:gd name="T40" fmla="*/ 22 w 24"/>
                  <a:gd name="T41" fmla="*/ 6 h 20"/>
                  <a:gd name="T42" fmla="*/ 16 w 24"/>
                  <a:gd name="T43" fmla="*/ 0 h 20"/>
                  <a:gd name="T44" fmla="*/ 16 w 24"/>
                  <a:gd name="T45" fmla="*/ 0 h 20"/>
                  <a:gd name="T46" fmla="*/ 14 w 24"/>
                  <a:gd name="T47" fmla="*/ 0 h 20"/>
                  <a:gd name="T48" fmla="*/ 14 w 24"/>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0">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9" name="Freeform 198"/>
              <p:cNvSpPr>
                <a:spLocks/>
              </p:cNvSpPr>
              <p:nvPr/>
            </p:nvSpPr>
            <p:spPr bwMode="auto">
              <a:xfrm>
                <a:off x="1101" y="1757"/>
                <a:ext cx="814" cy="408"/>
              </a:xfrm>
              <a:custGeom>
                <a:avLst/>
                <a:gdLst>
                  <a:gd name="T0" fmla="*/ 590 w 814"/>
                  <a:gd name="T1" fmla="*/ 378 h 408"/>
                  <a:gd name="T2" fmla="*/ 560 w 814"/>
                  <a:gd name="T3" fmla="*/ 338 h 408"/>
                  <a:gd name="T4" fmla="*/ 540 w 814"/>
                  <a:gd name="T5" fmla="*/ 328 h 408"/>
                  <a:gd name="T6" fmla="*/ 502 w 814"/>
                  <a:gd name="T7" fmla="*/ 338 h 408"/>
                  <a:gd name="T8" fmla="*/ 478 w 814"/>
                  <a:gd name="T9" fmla="*/ 344 h 408"/>
                  <a:gd name="T10" fmla="*/ 454 w 814"/>
                  <a:gd name="T11" fmla="*/ 340 h 408"/>
                  <a:gd name="T12" fmla="*/ 426 w 814"/>
                  <a:gd name="T13" fmla="*/ 340 h 408"/>
                  <a:gd name="T14" fmla="*/ 406 w 814"/>
                  <a:gd name="T15" fmla="*/ 354 h 408"/>
                  <a:gd name="T16" fmla="*/ 390 w 814"/>
                  <a:gd name="T17" fmla="*/ 390 h 408"/>
                  <a:gd name="T18" fmla="*/ 362 w 814"/>
                  <a:gd name="T19" fmla="*/ 386 h 408"/>
                  <a:gd name="T20" fmla="*/ 310 w 814"/>
                  <a:gd name="T21" fmla="*/ 334 h 408"/>
                  <a:gd name="T22" fmla="*/ 294 w 814"/>
                  <a:gd name="T23" fmla="*/ 346 h 408"/>
                  <a:gd name="T24" fmla="*/ 230 w 814"/>
                  <a:gd name="T25" fmla="*/ 310 h 408"/>
                  <a:gd name="T26" fmla="*/ 106 w 814"/>
                  <a:gd name="T27" fmla="*/ 290 h 408"/>
                  <a:gd name="T28" fmla="*/ 56 w 814"/>
                  <a:gd name="T29" fmla="*/ 262 h 408"/>
                  <a:gd name="T30" fmla="*/ 34 w 814"/>
                  <a:gd name="T31" fmla="*/ 226 h 408"/>
                  <a:gd name="T32" fmla="*/ 28 w 814"/>
                  <a:gd name="T33" fmla="*/ 208 h 408"/>
                  <a:gd name="T34" fmla="*/ 10 w 814"/>
                  <a:gd name="T35" fmla="*/ 182 h 408"/>
                  <a:gd name="T36" fmla="*/ 2 w 814"/>
                  <a:gd name="T37" fmla="*/ 112 h 408"/>
                  <a:gd name="T38" fmla="*/ 10 w 814"/>
                  <a:gd name="T39" fmla="*/ 52 h 408"/>
                  <a:gd name="T40" fmla="*/ 0 w 814"/>
                  <a:gd name="T41" fmla="*/ 28 h 408"/>
                  <a:gd name="T42" fmla="*/ 18 w 814"/>
                  <a:gd name="T43" fmla="*/ 26 h 408"/>
                  <a:gd name="T44" fmla="*/ 26 w 814"/>
                  <a:gd name="T45" fmla="*/ 20 h 408"/>
                  <a:gd name="T46" fmla="*/ 410 w 814"/>
                  <a:gd name="T47" fmla="*/ 2 h 408"/>
                  <a:gd name="T48" fmla="*/ 458 w 814"/>
                  <a:gd name="T49" fmla="*/ 18 h 408"/>
                  <a:gd name="T50" fmla="*/ 492 w 814"/>
                  <a:gd name="T51" fmla="*/ 32 h 408"/>
                  <a:gd name="T52" fmla="*/ 498 w 814"/>
                  <a:gd name="T53" fmla="*/ 46 h 408"/>
                  <a:gd name="T54" fmla="*/ 510 w 814"/>
                  <a:gd name="T55" fmla="*/ 38 h 408"/>
                  <a:gd name="T56" fmla="*/ 556 w 814"/>
                  <a:gd name="T57" fmla="*/ 48 h 408"/>
                  <a:gd name="T58" fmla="*/ 570 w 814"/>
                  <a:gd name="T59" fmla="*/ 62 h 408"/>
                  <a:gd name="T60" fmla="*/ 546 w 814"/>
                  <a:gd name="T61" fmla="*/ 66 h 408"/>
                  <a:gd name="T62" fmla="*/ 518 w 814"/>
                  <a:gd name="T63" fmla="*/ 82 h 408"/>
                  <a:gd name="T64" fmla="*/ 530 w 814"/>
                  <a:gd name="T65" fmla="*/ 78 h 408"/>
                  <a:gd name="T66" fmla="*/ 540 w 814"/>
                  <a:gd name="T67" fmla="*/ 122 h 408"/>
                  <a:gd name="T68" fmla="*/ 548 w 814"/>
                  <a:gd name="T69" fmla="*/ 80 h 408"/>
                  <a:gd name="T70" fmla="*/ 564 w 814"/>
                  <a:gd name="T71" fmla="*/ 68 h 408"/>
                  <a:gd name="T72" fmla="*/ 586 w 814"/>
                  <a:gd name="T73" fmla="*/ 84 h 408"/>
                  <a:gd name="T74" fmla="*/ 588 w 814"/>
                  <a:gd name="T75" fmla="*/ 98 h 408"/>
                  <a:gd name="T76" fmla="*/ 592 w 814"/>
                  <a:gd name="T77" fmla="*/ 122 h 408"/>
                  <a:gd name="T78" fmla="*/ 636 w 814"/>
                  <a:gd name="T79" fmla="*/ 124 h 408"/>
                  <a:gd name="T80" fmla="*/ 644 w 814"/>
                  <a:gd name="T81" fmla="*/ 108 h 408"/>
                  <a:gd name="T82" fmla="*/ 696 w 814"/>
                  <a:gd name="T83" fmla="*/ 80 h 408"/>
                  <a:gd name="T84" fmla="*/ 782 w 814"/>
                  <a:gd name="T85" fmla="*/ 32 h 408"/>
                  <a:gd name="T86" fmla="*/ 804 w 814"/>
                  <a:gd name="T87" fmla="*/ 40 h 408"/>
                  <a:gd name="T88" fmla="*/ 812 w 814"/>
                  <a:gd name="T89" fmla="*/ 90 h 408"/>
                  <a:gd name="T90" fmla="*/ 760 w 814"/>
                  <a:gd name="T91" fmla="*/ 124 h 408"/>
                  <a:gd name="T92" fmla="*/ 762 w 814"/>
                  <a:gd name="T93" fmla="*/ 142 h 408"/>
                  <a:gd name="T94" fmla="*/ 718 w 814"/>
                  <a:gd name="T95" fmla="*/ 166 h 408"/>
                  <a:gd name="T96" fmla="*/ 704 w 814"/>
                  <a:gd name="T97" fmla="*/ 184 h 408"/>
                  <a:gd name="T98" fmla="*/ 688 w 814"/>
                  <a:gd name="T99" fmla="*/ 214 h 408"/>
                  <a:gd name="T100" fmla="*/ 682 w 814"/>
                  <a:gd name="T101" fmla="*/ 190 h 408"/>
                  <a:gd name="T102" fmla="*/ 678 w 814"/>
                  <a:gd name="T103" fmla="*/ 196 h 408"/>
                  <a:gd name="T104" fmla="*/ 684 w 814"/>
                  <a:gd name="T105" fmla="*/ 208 h 408"/>
                  <a:gd name="T106" fmla="*/ 692 w 814"/>
                  <a:gd name="T107" fmla="*/ 234 h 408"/>
                  <a:gd name="T108" fmla="*/ 672 w 814"/>
                  <a:gd name="T109" fmla="*/ 256 h 408"/>
                  <a:gd name="T110" fmla="*/ 638 w 814"/>
                  <a:gd name="T111" fmla="*/ 286 h 408"/>
                  <a:gd name="T112" fmla="*/ 628 w 814"/>
                  <a:gd name="T113" fmla="*/ 36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14" h="408">
                    <a:moveTo>
                      <a:pt x="620" y="408"/>
                    </a:moveTo>
                    <a:lnTo>
                      <a:pt x="620" y="408"/>
                    </a:lnTo>
                    <a:lnTo>
                      <a:pt x="618" y="406"/>
                    </a:lnTo>
                    <a:lnTo>
                      <a:pt x="610" y="400"/>
                    </a:lnTo>
                    <a:lnTo>
                      <a:pt x="606" y="388"/>
                    </a:lnTo>
                    <a:lnTo>
                      <a:pt x="592" y="378"/>
                    </a:lnTo>
                    <a:lnTo>
                      <a:pt x="592" y="378"/>
                    </a:lnTo>
                    <a:lnTo>
                      <a:pt x="590" y="378"/>
                    </a:lnTo>
                    <a:lnTo>
                      <a:pt x="588" y="366"/>
                    </a:lnTo>
                    <a:lnTo>
                      <a:pt x="588" y="356"/>
                    </a:lnTo>
                    <a:lnTo>
                      <a:pt x="590" y="346"/>
                    </a:lnTo>
                    <a:lnTo>
                      <a:pt x="584" y="340"/>
                    </a:lnTo>
                    <a:lnTo>
                      <a:pt x="578" y="334"/>
                    </a:lnTo>
                    <a:lnTo>
                      <a:pt x="572" y="330"/>
                    </a:lnTo>
                    <a:lnTo>
                      <a:pt x="566" y="332"/>
                    </a:lnTo>
                    <a:lnTo>
                      <a:pt x="560" y="338"/>
                    </a:lnTo>
                    <a:lnTo>
                      <a:pt x="560" y="338"/>
                    </a:lnTo>
                    <a:lnTo>
                      <a:pt x="558" y="340"/>
                    </a:lnTo>
                    <a:lnTo>
                      <a:pt x="558" y="340"/>
                    </a:lnTo>
                    <a:lnTo>
                      <a:pt x="558" y="340"/>
                    </a:lnTo>
                    <a:lnTo>
                      <a:pt x="558" y="340"/>
                    </a:lnTo>
                    <a:lnTo>
                      <a:pt x="558" y="338"/>
                    </a:lnTo>
                    <a:lnTo>
                      <a:pt x="550" y="330"/>
                    </a:lnTo>
                    <a:lnTo>
                      <a:pt x="540" y="328"/>
                    </a:lnTo>
                    <a:lnTo>
                      <a:pt x="528" y="326"/>
                    </a:lnTo>
                    <a:lnTo>
                      <a:pt x="518" y="322"/>
                    </a:lnTo>
                    <a:lnTo>
                      <a:pt x="506" y="322"/>
                    </a:lnTo>
                    <a:lnTo>
                      <a:pt x="494" y="324"/>
                    </a:lnTo>
                    <a:lnTo>
                      <a:pt x="488" y="326"/>
                    </a:lnTo>
                    <a:lnTo>
                      <a:pt x="490" y="328"/>
                    </a:lnTo>
                    <a:lnTo>
                      <a:pt x="496" y="332"/>
                    </a:lnTo>
                    <a:lnTo>
                      <a:pt x="502" y="338"/>
                    </a:lnTo>
                    <a:lnTo>
                      <a:pt x="502" y="338"/>
                    </a:lnTo>
                    <a:lnTo>
                      <a:pt x="502" y="340"/>
                    </a:lnTo>
                    <a:lnTo>
                      <a:pt x="502" y="340"/>
                    </a:lnTo>
                    <a:lnTo>
                      <a:pt x="500" y="340"/>
                    </a:lnTo>
                    <a:lnTo>
                      <a:pt x="494" y="342"/>
                    </a:lnTo>
                    <a:lnTo>
                      <a:pt x="486" y="342"/>
                    </a:lnTo>
                    <a:lnTo>
                      <a:pt x="478" y="344"/>
                    </a:lnTo>
                    <a:lnTo>
                      <a:pt x="478" y="344"/>
                    </a:lnTo>
                    <a:lnTo>
                      <a:pt x="476" y="344"/>
                    </a:lnTo>
                    <a:lnTo>
                      <a:pt x="476" y="344"/>
                    </a:lnTo>
                    <a:lnTo>
                      <a:pt x="476" y="344"/>
                    </a:lnTo>
                    <a:lnTo>
                      <a:pt x="468" y="338"/>
                    </a:lnTo>
                    <a:lnTo>
                      <a:pt x="460" y="336"/>
                    </a:lnTo>
                    <a:lnTo>
                      <a:pt x="454" y="338"/>
                    </a:lnTo>
                    <a:lnTo>
                      <a:pt x="454" y="338"/>
                    </a:lnTo>
                    <a:lnTo>
                      <a:pt x="454" y="340"/>
                    </a:lnTo>
                    <a:lnTo>
                      <a:pt x="454" y="340"/>
                    </a:lnTo>
                    <a:lnTo>
                      <a:pt x="452" y="338"/>
                    </a:lnTo>
                    <a:lnTo>
                      <a:pt x="444" y="334"/>
                    </a:lnTo>
                    <a:lnTo>
                      <a:pt x="438" y="334"/>
                    </a:lnTo>
                    <a:lnTo>
                      <a:pt x="434" y="338"/>
                    </a:lnTo>
                    <a:lnTo>
                      <a:pt x="434" y="338"/>
                    </a:lnTo>
                    <a:lnTo>
                      <a:pt x="432" y="340"/>
                    </a:lnTo>
                    <a:lnTo>
                      <a:pt x="426" y="340"/>
                    </a:lnTo>
                    <a:lnTo>
                      <a:pt x="426" y="340"/>
                    </a:lnTo>
                    <a:lnTo>
                      <a:pt x="426" y="340"/>
                    </a:lnTo>
                    <a:lnTo>
                      <a:pt x="426" y="340"/>
                    </a:lnTo>
                    <a:lnTo>
                      <a:pt x="424" y="340"/>
                    </a:lnTo>
                    <a:lnTo>
                      <a:pt x="420" y="338"/>
                    </a:lnTo>
                    <a:lnTo>
                      <a:pt x="418" y="344"/>
                    </a:lnTo>
                    <a:lnTo>
                      <a:pt x="412" y="350"/>
                    </a:lnTo>
                    <a:lnTo>
                      <a:pt x="406" y="354"/>
                    </a:lnTo>
                    <a:lnTo>
                      <a:pt x="406" y="354"/>
                    </a:lnTo>
                    <a:lnTo>
                      <a:pt x="406" y="354"/>
                    </a:lnTo>
                    <a:lnTo>
                      <a:pt x="396" y="354"/>
                    </a:lnTo>
                    <a:lnTo>
                      <a:pt x="394" y="358"/>
                    </a:lnTo>
                    <a:lnTo>
                      <a:pt x="388" y="364"/>
                    </a:lnTo>
                    <a:lnTo>
                      <a:pt x="384" y="370"/>
                    </a:lnTo>
                    <a:lnTo>
                      <a:pt x="386" y="380"/>
                    </a:lnTo>
                    <a:lnTo>
                      <a:pt x="390" y="390"/>
                    </a:lnTo>
                    <a:lnTo>
                      <a:pt x="390" y="390"/>
                    </a:lnTo>
                    <a:lnTo>
                      <a:pt x="390" y="392"/>
                    </a:lnTo>
                    <a:lnTo>
                      <a:pt x="390" y="392"/>
                    </a:lnTo>
                    <a:lnTo>
                      <a:pt x="388" y="394"/>
                    </a:lnTo>
                    <a:lnTo>
                      <a:pt x="388" y="394"/>
                    </a:lnTo>
                    <a:lnTo>
                      <a:pt x="388" y="394"/>
                    </a:lnTo>
                    <a:lnTo>
                      <a:pt x="376" y="392"/>
                    </a:lnTo>
                    <a:lnTo>
                      <a:pt x="362" y="386"/>
                    </a:lnTo>
                    <a:lnTo>
                      <a:pt x="362" y="386"/>
                    </a:lnTo>
                    <a:lnTo>
                      <a:pt x="362" y="386"/>
                    </a:lnTo>
                    <a:lnTo>
                      <a:pt x="348" y="364"/>
                    </a:lnTo>
                    <a:lnTo>
                      <a:pt x="338" y="352"/>
                    </a:lnTo>
                    <a:lnTo>
                      <a:pt x="334" y="340"/>
                    </a:lnTo>
                    <a:lnTo>
                      <a:pt x="322" y="336"/>
                    </a:lnTo>
                    <a:lnTo>
                      <a:pt x="314" y="332"/>
                    </a:lnTo>
                    <a:lnTo>
                      <a:pt x="310" y="334"/>
                    </a:lnTo>
                    <a:lnTo>
                      <a:pt x="308" y="342"/>
                    </a:lnTo>
                    <a:lnTo>
                      <a:pt x="308" y="342"/>
                    </a:lnTo>
                    <a:lnTo>
                      <a:pt x="306" y="344"/>
                    </a:lnTo>
                    <a:lnTo>
                      <a:pt x="296" y="346"/>
                    </a:lnTo>
                    <a:lnTo>
                      <a:pt x="296" y="346"/>
                    </a:lnTo>
                    <a:lnTo>
                      <a:pt x="296" y="346"/>
                    </a:lnTo>
                    <a:lnTo>
                      <a:pt x="296" y="346"/>
                    </a:lnTo>
                    <a:lnTo>
                      <a:pt x="294" y="346"/>
                    </a:lnTo>
                    <a:lnTo>
                      <a:pt x="280" y="336"/>
                    </a:lnTo>
                    <a:lnTo>
                      <a:pt x="280" y="336"/>
                    </a:lnTo>
                    <a:lnTo>
                      <a:pt x="280" y="336"/>
                    </a:lnTo>
                    <a:lnTo>
                      <a:pt x="278" y="322"/>
                    </a:lnTo>
                    <a:lnTo>
                      <a:pt x="252" y="302"/>
                    </a:lnTo>
                    <a:lnTo>
                      <a:pt x="236" y="304"/>
                    </a:lnTo>
                    <a:lnTo>
                      <a:pt x="230" y="310"/>
                    </a:lnTo>
                    <a:lnTo>
                      <a:pt x="230" y="310"/>
                    </a:lnTo>
                    <a:lnTo>
                      <a:pt x="228" y="310"/>
                    </a:lnTo>
                    <a:lnTo>
                      <a:pt x="186" y="310"/>
                    </a:lnTo>
                    <a:lnTo>
                      <a:pt x="172" y="304"/>
                    </a:lnTo>
                    <a:lnTo>
                      <a:pt x="148" y="294"/>
                    </a:lnTo>
                    <a:lnTo>
                      <a:pt x="132" y="288"/>
                    </a:lnTo>
                    <a:lnTo>
                      <a:pt x="132" y="288"/>
                    </a:lnTo>
                    <a:lnTo>
                      <a:pt x="106" y="290"/>
                    </a:lnTo>
                    <a:lnTo>
                      <a:pt x="106" y="290"/>
                    </a:lnTo>
                    <a:lnTo>
                      <a:pt x="104" y="290"/>
                    </a:lnTo>
                    <a:lnTo>
                      <a:pt x="100" y="278"/>
                    </a:lnTo>
                    <a:lnTo>
                      <a:pt x="92" y="272"/>
                    </a:lnTo>
                    <a:lnTo>
                      <a:pt x="88" y="268"/>
                    </a:lnTo>
                    <a:lnTo>
                      <a:pt x="76" y="266"/>
                    </a:lnTo>
                    <a:lnTo>
                      <a:pt x="68" y="258"/>
                    </a:lnTo>
                    <a:lnTo>
                      <a:pt x="56" y="262"/>
                    </a:lnTo>
                    <a:lnTo>
                      <a:pt x="56" y="262"/>
                    </a:lnTo>
                    <a:lnTo>
                      <a:pt x="56" y="262"/>
                    </a:lnTo>
                    <a:lnTo>
                      <a:pt x="56" y="262"/>
                    </a:lnTo>
                    <a:lnTo>
                      <a:pt x="54" y="262"/>
                    </a:lnTo>
                    <a:lnTo>
                      <a:pt x="54" y="262"/>
                    </a:lnTo>
                    <a:lnTo>
                      <a:pt x="54" y="260"/>
                    </a:lnTo>
                    <a:lnTo>
                      <a:pt x="52" y="248"/>
                    </a:lnTo>
                    <a:lnTo>
                      <a:pt x="42" y="236"/>
                    </a:lnTo>
                    <a:lnTo>
                      <a:pt x="34" y="226"/>
                    </a:lnTo>
                    <a:lnTo>
                      <a:pt x="34" y="226"/>
                    </a:lnTo>
                    <a:lnTo>
                      <a:pt x="34" y="224"/>
                    </a:lnTo>
                    <a:lnTo>
                      <a:pt x="36" y="220"/>
                    </a:lnTo>
                    <a:lnTo>
                      <a:pt x="32" y="218"/>
                    </a:lnTo>
                    <a:lnTo>
                      <a:pt x="32" y="218"/>
                    </a:lnTo>
                    <a:lnTo>
                      <a:pt x="32" y="216"/>
                    </a:lnTo>
                    <a:lnTo>
                      <a:pt x="28" y="208"/>
                    </a:lnTo>
                    <a:lnTo>
                      <a:pt x="28" y="208"/>
                    </a:lnTo>
                    <a:lnTo>
                      <a:pt x="28" y="206"/>
                    </a:lnTo>
                    <a:lnTo>
                      <a:pt x="32" y="200"/>
                    </a:lnTo>
                    <a:lnTo>
                      <a:pt x="26" y="200"/>
                    </a:lnTo>
                    <a:lnTo>
                      <a:pt x="26" y="200"/>
                    </a:lnTo>
                    <a:lnTo>
                      <a:pt x="24" y="200"/>
                    </a:lnTo>
                    <a:lnTo>
                      <a:pt x="16" y="192"/>
                    </a:lnTo>
                    <a:lnTo>
                      <a:pt x="10" y="182"/>
                    </a:lnTo>
                    <a:lnTo>
                      <a:pt x="10" y="182"/>
                    </a:lnTo>
                    <a:lnTo>
                      <a:pt x="8" y="180"/>
                    </a:lnTo>
                    <a:lnTo>
                      <a:pt x="8" y="170"/>
                    </a:lnTo>
                    <a:lnTo>
                      <a:pt x="2" y="164"/>
                    </a:lnTo>
                    <a:lnTo>
                      <a:pt x="2" y="164"/>
                    </a:lnTo>
                    <a:lnTo>
                      <a:pt x="2" y="162"/>
                    </a:lnTo>
                    <a:lnTo>
                      <a:pt x="2" y="154"/>
                    </a:lnTo>
                    <a:lnTo>
                      <a:pt x="6" y="134"/>
                    </a:lnTo>
                    <a:lnTo>
                      <a:pt x="2" y="112"/>
                    </a:lnTo>
                    <a:lnTo>
                      <a:pt x="2" y="112"/>
                    </a:lnTo>
                    <a:lnTo>
                      <a:pt x="2" y="110"/>
                    </a:lnTo>
                    <a:lnTo>
                      <a:pt x="6" y="102"/>
                    </a:lnTo>
                    <a:lnTo>
                      <a:pt x="8" y="60"/>
                    </a:lnTo>
                    <a:lnTo>
                      <a:pt x="8" y="60"/>
                    </a:lnTo>
                    <a:lnTo>
                      <a:pt x="10" y="58"/>
                    </a:lnTo>
                    <a:lnTo>
                      <a:pt x="12" y="58"/>
                    </a:lnTo>
                    <a:lnTo>
                      <a:pt x="10" y="52"/>
                    </a:lnTo>
                    <a:lnTo>
                      <a:pt x="6" y="46"/>
                    </a:lnTo>
                    <a:lnTo>
                      <a:pt x="6" y="46"/>
                    </a:lnTo>
                    <a:lnTo>
                      <a:pt x="6" y="44"/>
                    </a:lnTo>
                    <a:lnTo>
                      <a:pt x="6" y="40"/>
                    </a:lnTo>
                    <a:lnTo>
                      <a:pt x="4" y="38"/>
                    </a:lnTo>
                    <a:lnTo>
                      <a:pt x="4" y="38"/>
                    </a:lnTo>
                    <a:lnTo>
                      <a:pt x="4" y="36"/>
                    </a:lnTo>
                    <a:lnTo>
                      <a:pt x="0" y="28"/>
                    </a:lnTo>
                    <a:lnTo>
                      <a:pt x="0" y="28"/>
                    </a:lnTo>
                    <a:lnTo>
                      <a:pt x="0" y="26"/>
                    </a:lnTo>
                    <a:lnTo>
                      <a:pt x="8" y="22"/>
                    </a:lnTo>
                    <a:lnTo>
                      <a:pt x="8" y="22"/>
                    </a:lnTo>
                    <a:lnTo>
                      <a:pt x="8" y="22"/>
                    </a:lnTo>
                    <a:lnTo>
                      <a:pt x="8" y="22"/>
                    </a:lnTo>
                    <a:lnTo>
                      <a:pt x="10" y="22"/>
                    </a:lnTo>
                    <a:lnTo>
                      <a:pt x="18" y="26"/>
                    </a:lnTo>
                    <a:lnTo>
                      <a:pt x="24" y="26"/>
                    </a:lnTo>
                    <a:lnTo>
                      <a:pt x="24" y="26"/>
                    </a:lnTo>
                    <a:lnTo>
                      <a:pt x="26" y="28"/>
                    </a:lnTo>
                    <a:lnTo>
                      <a:pt x="26" y="36"/>
                    </a:lnTo>
                    <a:lnTo>
                      <a:pt x="28" y="38"/>
                    </a:lnTo>
                    <a:lnTo>
                      <a:pt x="30" y="34"/>
                    </a:lnTo>
                    <a:lnTo>
                      <a:pt x="32" y="28"/>
                    </a:lnTo>
                    <a:lnTo>
                      <a:pt x="26" y="20"/>
                    </a:lnTo>
                    <a:lnTo>
                      <a:pt x="26" y="20"/>
                    </a:lnTo>
                    <a:lnTo>
                      <a:pt x="26" y="20"/>
                    </a:lnTo>
                    <a:lnTo>
                      <a:pt x="26" y="8"/>
                    </a:lnTo>
                    <a:lnTo>
                      <a:pt x="26" y="8"/>
                    </a:lnTo>
                    <a:lnTo>
                      <a:pt x="28" y="6"/>
                    </a:lnTo>
                    <a:lnTo>
                      <a:pt x="410" y="6"/>
                    </a:lnTo>
                    <a:lnTo>
                      <a:pt x="410" y="2"/>
                    </a:lnTo>
                    <a:lnTo>
                      <a:pt x="410" y="2"/>
                    </a:lnTo>
                    <a:lnTo>
                      <a:pt x="412" y="0"/>
                    </a:lnTo>
                    <a:lnTo>
                      <a:pt x="420" y="0"/>
                    </a:lnTo>
                    <a:lnTo>
                      <a:pt x="420" y="0"/>
                    </a:lnTo>
                    <a:lnTo>
                      <a:pt x="422" y="2"/>
                    </a:lnTo>
                    <a:lnTo>
                      <a:pt x="424" y="8"/>
                    </a:lnTo>
                    <a:lnTo>
                      <a:pt x="426" y="10"/>
                    </a:lnTo>
                    <a:lnTo>
                      <a:pt x="436" y="14"/>
                    </a:lnTo>
                    <a:lnTo>
                      <a:pt x="458" y="18"/>
                    </a:lnTo>
                    <a:lnTo>
                      <a:pt x="470" y="22"/>
                    </a:lnTo>
                    <a:lnTo>
                      <a:pt x="492" y="24"/>
                    </a:lnTo>
                    <a:lnTo>
                      <a:pt x="492" y="24"/>
                    </a:lnTo>
                    <a:lnTo>
                      <a:pt x="492" y="26"/>
                    </a:lnTo>
                    <a:lnTo>
                      <a:pt x="492" y="26"/>
                    </a:lnTo>
                    <a:lnTo>
                      <a:pt x="492" y="28"/>
                    </a:lnTo>
                    <a:lnTo>
                      <a:pt x="492" y="32"/>
                    </a:lnTo>
                    <a:lnTo>
                      <a:pt x="492" y="32"/>
                    </a:lnTo>
                    <a:lnTo>
                      <a:pt x="490" y="32"/>
                    </a:lnTo>
                    <a:lnTo>
                      <a:pt x="480" y="36"/>
                    </a:lnTo>
                    <a:lnTo>
                      <a:pt x="472" y="40"/>
                    </a:lnTo>
                    <a:lnTo>
                      <a:pt x="464" y="48"/>
                    </a:lnTo>
                    <a:lnTo>
                      <a:pt x="470" y="50"/>
                    </a:lnTo>
                    <a:lnTo>
                      <a:pt x="482" y="50"/>
                    </a:lnTo>
                    <a:lnTo>
                      <a:pt x="492" y="50"/>
                    </a:lnTo>
                    <a:lnTo>
                      <a:pt x="498" y="46"/>
                    </a:lnTo>
                    <a:lnTo>
                      <a:pt x="500" y="44"/>
                    </a:lnTo>
                    <a:lnTo>
                      <a:pt x="508" y="38"/>
                    </a:lnTo>
                    <a:lnTo>
                      <a:pt x="508" y="38"/>
                    </a:lnTo>
                    <a:lnTo>
                      <a:pt x="508" y="38"/>
                    </a:lnTo>
                    <a:lnTo>
                      <a:pt x="508" y="38"/>
                    </a:lnTo>
                    <a:lnTo>
                      <a:pt x="510" y="38"/>
                    </a:lnTo>
                    <a:lnTo>
                      <a:pt x="510" y="38"/>
                    </a:lnTo>
                    <a:lnTo>
                      <a:pt x="510" y="38"/>
                    </a:lnTo>
                    <a:lnTo>
                      <a:pt x="514" y="44"/>
                    </a:lnTo>
                    <a:lnTo>
                      <a:pt x="522" y="48"/>
                    </a:lnTo>
                    <a:lnTo>
                      <a:pt x="530" y="52"/>
                    </a:lnTo>
                    <a:lnTo>
                      <a:pt x="538" y="50"/>
                    </a:lnTo>
                    <a:lnTo>
                      <a:pt x="546" y="50"/>
                    </a:lnTo>
                    <a:lnTo>
                      <a:pt x="554" y="48"/>
                    </a:lnTo>
                    <a:lnTo>
                      <a:pt x="554" y="48"/>
                    </a:lnTo>
                    <a:lnTo>
                      <a:pt x="556" y="48"/>
                    </a:lnTo>
                    <a:lnTo>
                      <a:pt x="556" y="48"/>
                    </a:lnTo>
                    <a:lnTo>
                      <a:pt x="556" y="48"/>
                    </a:lnTo>
                    <a:lnTo>
                      <a:pt x="562" y="52"/>
                    </a:lnTo>
                    <a:lnTo>
                      <a:pt x="568" y="58"/>
                    </a:lnTo>
                    <a:lnTo>
                      <a:pt x="568" y="58"/>
                    </a:lnTo>
                    <a:lnTo>
                      <a:pt x="570" y="60"/>
                    </a:lnTo>
                    <a:lnTo>
                      <a:pt x="570" y="62"/>
                    </a:lnTo>
                    <a:lnTo>
                      <a:pt x="570" y="62"/>
                    </a:lnTo>
                    <a:lnTo>
                      <a:pt x="568" y="64"/>
                    </a:lnTo>
                    <a:lnTo>
                      <a:pt x="568" y="64"/>
                    </a:lnTo>
                    <a:lnTo>
                      <a:pt x="568" y="64"/>
                    </a:lnTo>
                    <a:lnTo>
                      <a:pt x="568" y="64"/>
                    </a:lnTo>
                    <a:lnTo>
                      <a:pt x="566" y="64"/>
                    </a:lnTo>
                    <a:lnTo>
                      <a:pt x="560" y="62"/>
                    </a:lnTo>
                    <a:lnTo>
                      <a:pt x="552" y="62"/>
                    </a:lnTo>
                    <a:lnTo>
                      <a:pt x="546" y="66"/>
                    </a:lnTo>
                    <a:lnTo>
                      <a:pt x="540" y="68"/>
                    </a:lnTo>
                    <a:lnTo>
                      <a:pt x="540" y="68"/>
                    </a:lnTo>
                    <a:lnTo>
                      <a:pt x="540" y="68"/>
                    </a:lnTo>
                    <a:lnTo>
                      <a:pt x="540" y="68"/>
                    </a:lnTo>
                    <a:lnTo>
                      <a:pt x="538" y="68"/>
                    </a:lnTo>
                    <a:lnTo>
                      <a:pt x="536" y="66"/>
                    </a:lnTo>
                    <a:lnTo>
                      <a:pt x="526" y="76"/>
                    </a:lnTo>
                    <a:lnTo>
                      <a:pt x="518" y="82"/>
                    </a:lnTo>
                    <a:lnTo>
                      <a:pt x="520" y="86"/>
                    </a:lnTo>
                    <a:lnTo>
                      <a:pt x="524" y="84"/>
                    </a:lnTo>
                    <a:lnTo>
                      <a:pt x="526" y="78"/>
                    </a:lnTo>
                    <a:lnTo>
                      <a:pt x="526" y="78"/>
                    </a:lnTo>
                    <a:lnTo>
                      <a:pt x="528" y="78"/>
                    </a:lnTo>
                    <a:lnTo>
                      <a:pt x="528" y="78"/>
                    </a:lnTo>
                    <a:lnTo>
                      <a:pt x="530" y="78"/>
                    </a:lnTo>
                    <a:lnTo>
                      <a:pt x="530" y="78"/>
                    </a:lnTo>
                    <a:lnTo>
                      <a:pt x="530" y="80"/>
                    </a:lnTo>
                    <a:lnTo>
                      <a:pt x="524" y="96"/>
                    </a:lnTo>
                    <a:lnTo>
                      <a:pt x="520" y="118"/>
                    </a:lnTo>
                    <a:lnTo>
                      <a:pt x="520" y="128"/>
                    </a:lnTo>
                    <a:lnTo>
                      <a:pt x="522" y="138"/>
                    </a:lnTo>
                    <a:lnTo>
                      <a:pt x="530" y="136"/>
                    </a:lnTo>
                    <a:lnTo>
                      <a:pt x="538" y="130"/>
                    </a:lnTo>
                    <a:lnTo>
                      <a:pt x="540" y="122"/>
                    </a:lnTo>
                    <a:lnTo>
                      <a:pt x="540" y="112"/>
                    </a:lnTo>
                    <a:lnTo>
                      <a:pt x="540" y="84"/>
                    </a:lnTo>
                    <a:lnTo>
                      <a:pt x="540" y="84"/>
                    </a:lnTo>
                    <a:lnTo>
                      <a:pt x="540" y="84"/>
                    </a:lnTo>
                    <a:lnTo>
                      <a:pt x="542" y="80"/>
                    </a:lnTo>
                    <a:lnTo>
                      <a:pt x="542" y="80"/>
                    </a:lnTo>
                    <a:lnTo>
                      <a:pt x="544" y="80"/>
                    </a:lnTo>
                    <a:lnTo>
                      <a:pt x="548" y="80"/>
                    </a:lnTo>
                    <a:lnTo>
                      <a:pt x="552" y="76"/>
                    </a:lnTo>
                    <a:lnTo>
                      <a:pt x="556" y="70"/>
                    </a:lnTo>
                    <a:lnTo>
                      <a:pt x="556" y="70"/>
                    </a:lnTo>
                    <a:lnTo>
                      <a:pt x="556" y="70"/>
                    </a:lnTo>
                    <a:lnTo>
                      <a:pt x="564" y="68"/>
                    </a:lnTo>
                    <a:lnTo>
                      <a:pt x="564" y="68"/>
                    </a:lnTo>
                    <a:lnTo>
                      <a:pt x="564" y="68"/>
                    </a:lnTo>
                    <a:lnTo>
                      <a:pt x="564" y="68"/>
                    </a:lnTo>
                    <a:lnTo>
                      <a:pt x="564" y="68"/>
                    </a:lnTo>
                    <a:lnTo>
                      <a:pt x="572" y="72"/>
                    </a:lnTo>
                    <a:lnTo>
                      <a:pt x="580" y="74"/>
                    </a:lnTo>
                    <a:lnTo>
                      <a:pt x="580" y="74"/>
                    </a:lnTo>
                    <a:lnTo>
                      <a:pt x="582" y="74"/>
                    </a:lnTo>
                    <a:lnTo>
                      <a:pt x="586" y="82"/>
                    </a:lnTo>
                    <a:lnTo>
                      <a:pt x="586" y="82"/>
                    </a:lnTo>
                    <a:lnTo>
                      <a:pt x="586" y="84"/>
                    </a:lnTo>
                    <a:lnTo>
                      <a:pt x="584" y="92"/>
                    </a:lnTo>
                    <a:lnTo>
                      <a:pt x="580" y="100"/>
                    </a:lnTo>
                    <a:lnTo>
                      <a:pt x="578" y="104"/>
                    </a:lnTo>
                    <a:lnTo>
                      <a:pt x="578" y="104"/>
                    </a:lnTo>
                    <a:lnTo>
                      <a:pt x="586" y="98"/>
                    </a:lnTo>
                    <a:lnTo>
                      <a:pt x="586" y="98"/>
                    </a:lnTo>
                    <a:lnTo>
                      <a:pt x="588" y="98"/>
                    </a:lnTo>
                    <a:lnTo>
                      <a:pt x="588" y="98"/>
                    </a:lnTo>
                    <a:lnTo>
                      <a:pt x="588" y="98"/>
                    </a:lnTo>
                    <a:lnTo>
                      <a:pt x="594" y="98"/>
                    </a:lnTo>
                    <a:lnTo>
                      <a:pt x="594" y="98"/>
                    </a:lnTo>
                    <a:lnTo>
                      <a:pt x="594" y="100"/>
                    </a:lnTo>
                    <a:lnTo>
                      <a:pt x="594" y="110"/>
                    </a:lnTo>
                    <a:lnTo>
                      <a:pt x="592" y="116"/>
                    </a:lnTo>
                    <a:lnTo>
                      <a:pt x="592" y="122"/>
                    </a:lnTo>
                    <a:lnTo>
                      <a:pt x="592" y="122"/>
                    </a:lnTo>
                    <a:lnTo>
                      <a:pt x="592" y="124"/>
                    </a:lnTo>
                    <a:lnTo>
                      <a:pt x="586" y="130"/>
                    </a:lnTo>
                    <a:lnTo>
                      <a:pt x="584" y="134"/>
                    </a:lnTo>
                    <a:lnTo>
                      <a:pt x="590" y="138"/>
                    </a:lnTo>
                    <a:lnTo>
                      <a:pt x="604" y="138"/>
                    </a:lnTo>
                    <a:lnTo>
                      <a:pt x="614" y="134"/>
                    </a:lnTo>
                    <a:lnTo>
                      <a:pt x="626" y="130"/>
                    </a:lnTo>
                    <a:lnTo>
                      <a:pt x="636" y="124"/>
                    </a:lnTo>
                    <a:lnTo>
                      <a:pt x="640" y="122"/>
                    </a:lnTo>
                    <a:lnTo>
                      <a:pt x="642" y="118"/>
                    </a:lnTo>
                    <a:lnTo>
                      <a:pt x="640" y="114"/>
                    </a:lnTo>
                    <a:lnTo>
                      <a:pt x="640" y="114"/>
                    </a:lnTo>
                    <a:lnTo>
                      <a:pt x="640" y="112"/>
                    </a:lnTo>
                    <a:lnTo>
                      <a:pt x="642" y="108"/>
                    </a:lnTo>
                    <a:lnTo>
                      <a:pt x="642" y="108"/>
                    </a:lnTo>
                    <a:lnTo>
                      <a:pt x="644" y="108"/>
                    </a:lnTo>
                    <a:lnTo>
                      <a:pt x="644" y="108"/>
                    </a:lnTo>
                    <a:lnTo>
                      <a:pt x="664" y="110"/>
                    </a:lnTo>
                    <a:lnTo>
                      <a:pt x="674" y="108"/>
                    </a:lnTo>
                    <a:lnTo>
                      <a:pt x="682" y="102"/>
                    </a:lnTo>
                    <a:lnTo>
                      <a:pt x="682" y="92"/>
                    </a:lnTo>
                    <a:lnTo>
                      <a:pt x="682" y="92"/>
                    </a:lnTo>
                    <a:lnTo>
                      <a:pt x="682" y="90"/>
                    </a:lnTo>
                    <a:lnTo>
                      <a:pt x="696" y="80"/>
                    </a:lnTo>
                    <a:lnTo>
                      <a:pt x="696" y="80"/>
                    </a:lnTo>
                    <a:lnTo>
                      <a:pt x="698" y="80"/>
                    </a:lnTo>
                    <a:lnTo>
                      <a:pt x="748" y="80"/>
                    </a:lnTo>
                    <a:lnTo>
                      <a:pt x="758" y="74"/>
                    </a:lnTo>
                    <a:lnTo>
                      <a:pt x="764" y="68"/>
                    </a:lnTo>
                    <a:lnTo>
                      <a:pt x="766" y="54"/>
                    </a:lnTo>
                    <a:lnTo>
                      <a:pt x="774" y="40"/>
                    </a:lnTo>
                    <a:lnTo>
                      <a:pt x="782" y="32"/>
                    </a:lnTo>
                    <a:lnTo>
                      <a:pt x="782" y="32"/>
                    </a:lnTo>
                    <a:lnTo>
                      <a:pt x="782" y="32"/>
                    </a:lnTo>
                    <a:lnTo>
                      <a:pt x="782" y="32"/>
                    </a:lnTo>
                    <a:lnTo>
                      <a:pt x="784" y="32"/>
                    </a:lnTo>
                    <a:lnTo>
                      <a:pt x="790" y="36"/>
                    </a:lnTo>
                    <a:lnTo>
                      <a:pt x="802" y="40"/>
                    </a:lnTo>
                    <a:lnTo>
                      <a:pt x="802" y="40"/>
                    </a:lnTo>
                    <a:lnTo>
                      <a:pt x="804" y="40"/>
                    </a:lnTo>
                    <a:lnTo>
                      <a:pt x="806" y="48"/>
                    </a:lnTo>
                    <a:lnTo>
                      <a:pt x="804" y="64"/>
                    </a:lnTo>
                    <a:lnTo>
                      <a:pt x="806" y="70"/>
                    </a:lnTo>
                    <a:lnTo>
                      <a:pt x="810" y="74"/>
                    </a:lnTo>
                    <a:lnTo>
                      <a:pt x="814" y="82"/>
                    </a:lnTo>
                    <a:lnTo>
                      <a:pt x="814" y="82"/>
                    </a:lnTo>
                    <a:lnTo>
                      <a:pt x="814" y="84"/>
                    </a:lnTo>
                    <a:lnTo>
                      <a:pt x="812" y="90"/>
                    </a:lnTo>
                    <a:lnTo>
                      <a:pt x="812" y="90"/>
                    </a:lnTo>
                    <a:lnTo>
                      <a:pt x="810" y="90"/>
                    </a:lnTo>
                    <a:lnTo>
                      <a:pt x="798" y="90"/>
                    </a:lnTo>
                    <a:lnTo>
                      <a:pt x="788" y="92"/>
                    </a:lnTo>
                    <a:lnTo>
                      <a:pt x="780" y="98"/>
                    </a:lnTo>
                    <a:lnTo>
                      <a:pt x="772" y="102"/>
                    </a:lnTo>
                    <a:lnTo>
                      <a:pt x="766" y="114"/>
                    </a:lnTo>
                    <a:lnTo>
                      <a:pt x="760" y="124"/>
                    </a:lnTo>
                    <a:lnTo>
                      <a:pt x="760" y="128"/>
                    </a:lnTo>
                    <a:lnTo>
                      <a:pt x="762" y="132"/>
                    </a:lnTo>
                    <a:lnTo>
                      <a:pt x="770" y="134"/>
                    </a:lnTo>
                    <a:lnTo>
                      <a:pt x="770" y="134"/>
                    </a:lnTo>
                    <a:lnTo>
                      <a:pt x="770" y="134"/>
                    </a:lnTo>
                    <a:lnTo>
                      <a:pt x="770" y="134"/>
                    </a:lnTo>
                    <a:lnTo>
                      <a:pt x="770" y="136"/>
                    </a:lnTo>
                    <a:lnTo>
                      <a:pt x="762" y="142"/>
                    </a:lnTo>
                    <a:lnTo>
                      <a:pt x="762" y="142"/>
                    </a:lnTo>
                    <a:lnTo>
                      <a:pt x="762" y="142"/>
                    </a:lnTo>
                    <a:lnTo>
                      <a:pt x="756" y="142"/>
                    </a:lnTo>
                    <a:lnTo>
                      <a:pt x="748" y="146"/>
                    </a:lnTo>
                    <a:lnTo>
                      <a:pt x="734" y="150"/>
                    </a:lnTo>
                    <a:lnTo>
                      <a:pt x="718" y="154"/>
                    </a:lnTo>
                    <a:lnTo>
                      <a:pt x="716" y="156"/>
                    </a:lnTo>
                    <a:lnTo>
                      <a:pt x="718" y="166"/>
                    </a:lnTo>
                    <a:lnTo>
                      <a:pt x="718" y="166"/>
                    </a:lnTo>
                    <a:lnTo>
                      <a:pt x="716" y="166"/>
                    </a:lnTo>
                    <a:lnTo>
                      <a:pt x="712" y="174"/>
                    </a:lnTo>
                    <a:lnTo>
                      <a:pt x="706" y="184"/>
                    </a:lnTo>
                    <a:lnTo>
                      <a:pt x="706" y="184"/>
                    </a:lnTo>
                    <a:lnTo>
                      <a:pt x="704" y="184"/>
                    </a:lnTo>
                    <a:lnTo>
                      <a:pt x="704" y="184"/>
                    </a:lnTo>
                    <a:lnTo>
                      <a:pt x="704" y="184"/>
                    </a:lnTo>
                    <a:lnTo>
                      <a:pt x="700" y="184"/>
                    </a:lnTo>
                    <a:lnTo>
                      <a:pt x="702" y="190"/>
                    </a:lnTo>
                    <a:lnTo>
                      <a:pt x="702" y="190"/>
                    </a:lnTo>
                    <a:lnTo>
                      <a:pt x="702" y="192"/>
                    </a:lnTo>
                    <a:lnTo>
                      <a:pt x="700" y="200"/>
                    </a:lnTo>
                    <a:lnTo>
                      <a:pt x="692" y="208"/>
                    </a:lnTo>
                    <a:lnTo>
                      <a:pt x="688" y="214"/>
                    </a:lnTo>
                    <a:lnTo>
                      <a:pt x="688" y="214"/>
                    </a:lnTo>
                    <a:lnTo>
                      <a:pt x="686" y="214"/>
                    </a:lnTo>
                    <a:lnTo>
                      <a:pt x="686" y="214"/>
                    </a:lnTo>
                    <a:lnTo>
                      <a:pt x="686" y="214"/>
                    </a:lnTo>
                    <a:lnTo>
                      <a:pt x="686" y="214"/>
                    </a:lnTo>
                    <a:lnTo>
                      <a:pt x="684" y="212"/>
                    </a:lnTo>
                    <a:lnTo>
                      <a:pt x="684" y="200"/>
                    </a:lnTo>
                    <a:lnTo>
                      <a:pt x="682" y="190"/>
                    </a:lnTo>
                    <a:lnTo>
                      <a:pt x="682" y="190"/>
                    </a:lnTo>
                    <a:lnTo>
                      <a:pt x="682" y="188"/>
                    </a:lnTo>
                    <a:lnTo>
                      <a:pt x="682" y="180"/>
                    </a:lnTo>
                    <a:lnTo>
                      <a:pt x="682" y="180"/>
                    </a:lnTo>
                    <a:lnTo>
                      <a:pt x="682" y="184"/>
                    </a:lnTo>
                    <a:lnTo>
                      <a:pt x="680" y="194"/>
                    </a:lnTo>
                    <a:lnTo>
                      <a:pt x="680" y="194"/>
                    </a:lnTo>
                    <a:lnTo>
                      <a:pt x="678" y="196"/>
                    </a:lnTo>
                    <a:lnTo>
                      <a:pt x="678" y="196"/>
                    </a:lnTo>
                    <a:lnTo>
                      <a:pt x="678" y="196"/>
                    </a:lnTo>
                    <a:lnTo>
                      <a:pt x="678" y="196"/>
                    </a:lnTo>
                    <a:lnTo>
                      <a:pt x="678" y="196"/>
                    </a:lnTo>
                    <a:lnTo>
                      <a:pt x="672" y="194"/>
                    </a:lnTo>
                    <a:lnTo>
                      <a:pt x="672" y="196"/>
                    </a:lnTo>
                    <a:lnTo>
                      <a:pt x="682" y="206"/>
                    </a:lnTo>
                    <a:lnTo>
                      <a:pt x="682" y="206"/>
                    </a:lnTo>
                    <a:lnTo>
                      <a:pt x="684" y="208"/>
                    </a:lnTo>
                    <a:lnTo>
                      <a:pt x="682" y="212"/>
                    </a:lnTo>
                    <a:lnTo>
                      <a:pt x="684" y="220"/>
                    </a:lnTo>
                    <a:lnTo>
                      <a:pt x="688" y="222"/>
                    </a:lnTo>
                    <a:lnTo>
                      <a:pt x="688" y="222"/>
                    </a:lnTo>
                    <a:lnTo>
                      <a:pt x="688" y="222"/>
                    </a:lnTo>
                    <a:lnTo>
                      <a:pt x="692" y="232"/>
                    </a:lnTo>
                    <a:lnTo>
                      <a:pt x="692" y="232"/>
                    </a:lnTo>
                    <a:lnTo>
                      <a:pt x="692" y="234"/>
                    </a:lnTo>
                    <a:lnTo>
                      <a:pt x="688" y="240"/>
                    </a:lnTo>
                    <a:lnTo>
                      <a:pt x="688" y="240"/>
                    </a:lnTo>
                    <a:lnTo>
                      <a:pt x="688" y="242"/>
                    </a:lnTo>
                    <a:lnTo>
                      <a:pt x="682" y="246"/>
                    </a:lnTo>
                    <a:lnTo>
                      <a:pt x="682" y="252"/>
                    </a:lnTo>
                    <a:lnTo>
                      <a:pt x="682" y="252"/>
                    </a:lnTo>
                    <a:lnTo>
                      <a:pt x="680" y="254"/>
                    </a:lnTo>
                    <a:lnTo>
                      <a:pt x="672" y="256"/>
                    </a:lnTo>
                    <a:lnTo>
                      <a:pt x="660" y="266"/>
                    </a:lnTo>
                    <a:lnTo>
                      <a:pt x="656" y="270"/>
                    </a:lnTo>
                    <a:lnTo>
                      <a:pt x="656" y="270"/>
                    </a:lnTo>
                    <a:lnTo>
                      <a:pt x="656" y="270"/>
                    </a:lnTo>
                    <a:lnTo>
                      <a:pt x="648" y="272"/>
                    </a:lnTo>
                    <a:lnTo>
                      <a:pt x="638" y="286"/>
                    </a:lnTo>
                    <a:lnTo>
                      <a:pt x="638" y="286"/>
                    </a:lnTo>
                    <a:lnTo>
                      <a:pt x="638" y="286"/>
                    </a:lnTo>
                    <a:lnTo>
                      <a:pt x="628" y="290"/>
                    </a:lnTo>
                    <a:lnTo>
                      <a:pt x="622" y="296"/>
                    </a:lnTo>
                    <a:lnTo>
                      <a:pt x="614" y="308"/>
                    </a:lnTo>
                    <a:lnTo>
                      <a:pt x="610" y="318"/>
                    </a:lnTo>
                    <a:lnTo>
                      <a:pt x="614" y="330"/>
                    </a:lnTo>
                    <a:lnTo>
                      <a:pt x="620" y="342"/>
                    </a:lnTo>
                    <a:lnTo>
                      <a:pt x="622" y="354"/>
                    </a:lnTo>
                    <a:lnTo>
                      <a:pt x="628" y="366"/>
                    </a:lnTo>
                    <a:lnTo>
                      <a:pt x="630" y="384"/>
                    </a:lnTo>
                    <a:lnTo>
                      <a:pt x="630" y="398"/>
                    </a:lnTo>
                    <a:lnTo>
                      <a:pt x="628" y="406"/>
                    </a:lnTo>
                    <a:lnTo>
                      <a:pt x="628" y="406"/>
                    </a:lnTo>
                    <a:lnTo>
                      <a:pt x="626" y="408"/>
                    </a:lnTo>
                    <a:lnTo>
                      <a:pt x="620" y="4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0" name="Freeform 199"/>
              <p:cNvSpPr>
                <a:spLocks noEditPoints="1"/>
              </p:cNvSpPr>
              <p:nvPr/>
            </p:nvSpPr>
            <p:spPr bwMode="auto">
              <a:xfrm>
                <a:off x="1099" y="1755"/>
                <a:ext cx="818" cy="412"/>
              </a:xfrm>
              <a:custGeom>
                <a:avLst/>
                <a:gdLst>
                  <a:gd name="T0" fmla="*/ 472 w 818"/>
                  <a:gd name="T1" fmla="*/ 54 h 412"/>
                  <a:gd name="T2" fmla="*/ 570 w 818"/>
                  <a:gd name="T3" fmla="*/ 62 h 412"/>
                  <a:gd name="T4" fmla="*/ 524 w 818"/>
                  <a:gd name="T5" fmla="*/ 98 h 412"/>
                  <a:gd name="T6" fmla="*/ 556 w 818"/>
                  <a:gd name="T7" fmla="*/ 80 h 412"/>
                  <a:gd name="T8" fmla="*/ 594 w 818"/>
                  <a:gd name="T9" fmla="*/ 112 h 412"/>
                  <a:gd name="T10" fmla="*/ 646 w 818"/>
                  <a:gd name="T11" fmla="*/ 112 h 412"/>
                  <a:gd name="T12" fmla="*/ 792 w 818"/>
                  <a:gd name="T13" fmla="*/ 40 h 412"/>
                  <a:gd name="T14" fmla="*/ 760 w 818"/>
                  <a:gd name="T15" fmla="*/ 124 h 412"/>
                  <a:gd name="T16" fmla="*/ 700 w 818"/>
                  <a:gd name="T17" fmla="*/ 182 h 412"/>
                  <a:gd name="T18" fmla="*/ 678 w 818"/>
                  <a:gd name="T19" fmla="*/ 204 h 412"/>
                  <a:gd name="T20" fmla="*/ 638 w 818"/>
                  <a:gd name="T21" fmla="*/ 286 h 412"/>
                  <a:gd name="T22" fmla="*/ 614 w 818"/>
                  <a:gd name="T23" fmla="*/ 400 h 412"/>
                  <a:gd name="T24" fmla="*/ 542 w 818"/>
                  <a:gd name="T25" fmla="*/ 328 h 412"/>
                  <a:gd name="T26" fmla="*/ 462 w 818"/>
                  <a:gd name="T27" fmla="*/ 336 h 412"/>
                  <a:gd name="T28" fmla="*/ 388 w 818"/>
                  <a:gd name="T29" fmla="*/ 364 h 412"/>
                  <a:gd name="T30" fmla="*/ 308 w 818"/>
                  <a:gd name="T31" fmla="*/ 344 h 412"/>
                  <a:gd name="T32" fmla="*/ 104 w 818"/>
                  <a:gd name="T33" fmla="*/ 280 h 412"/>
                  <a:gd name="T34" fmla="*/ 28 w 818"/>
                  <a:gd name="T35" fmla="*/ 200 h 412"/>
                  <a:gd name="T36" fmla="*/ 10 w 818"/>
                  <a:gd name="T37" fmla="*/ 42 h 412"/>
                  <a:gd name="T38" fmla="*/ 414 w 818"/>
                  <a:gd name="T39" fmla="*/ 4 h 412"/>
                  <a:gd name="T40" fmla="*/ 26 w 818"/>
                  <a:gd name="T41" fmla="*/ 10 h 412"/>
                  <a:gd name="T42" fmla="*/ 10 w 818"/>
                  <a:gd name="T43" fmla="*/ 22 h 412"/>
                  <a:gd name="T44" fmla="*/ 10 w 818"/>
                  <a:gd name="T45" fmla="*/ 54 h 412"/>
                  <a:gd name="T46" fmla="*/ 2 w 818"/>
                  <a:gd name="T47" fmla="*/ 164 h 412"/>
                  <a:gd name="T48" fmla="*/ 30 w 818"/>
                  <a:gd name="T49" fmla="*/ 204 h 412"/>
                  <a:gd name="T50" fmla="*/ 52 w 818"/>
                  <a:gd name="T51" fmla="*/ 250 h 412"/>
                  <a:gd name="T52" fmla="*/ 94 w 818"/>
                  <a:gd name="T53" fmla="*/ 276 h 412"/>
                  <a:gd name="T54" fmla="*/ 188 w 818"/>
                  <a:gd name="T55" fmla="*/ 314 h 412"/>
                  <a:gd name="T56" fmla="*/ 298 w 818"/>
                  <a:gd name="T57" fmla="*/ 350 h 412"/>
                  <a:gd name="T58" fmla="*/ 338 w 818"/>
                  <a:gd name="T59" fmla="*/ 356 h 412"/>
                  <a:gd name="T60" fmla="*/ 392 w 818"/>
                  <a:gd name="T61" fmla="*/ 396 h 412"/>
                  <a:gd name="T62" fmla="*/ 416 w 818"/>
                  <a:gd name="T63" fmla="*/ 354 h 412"/>
                  <a:gd name="T64" fmla="*/ 436 w 818"/>
                  <a:gd name="T65" fmla="*/ 342 h 412"/>
                  <a:gd name="T66" fmla="*/ 476 w 818"/>
                  <a:gd name="T67" fmla="*/ 348 h 412"/>
                  <a:gd name="T68" fmla="*/ 500 w 818"/>
                  <a:gd name="T69" fmla="*/ 332 h 412"/>
                  <a:gd name="T70" fmla="*/ 558 w 818"/>
                  <a:gd name="T71" fmla="*/ 342 h 412"/>
                  <a:gd name="T72" fmla="*/ 588 w 818"/>
                  <a:gd name="T73" fmla="*/ 356 h 412"/>
                  <a:gd name="T74" fmla="*/ 612 w 818"/>
                  <a:gd name="T75" fmla="*/ 404 h 412"/>
                  <a:gd name="T76" fmla="*/ 634 w 818"/>
                  <a:gd name="T77" fmla="*/ 386 h 412"/>
                  <a:gd name="T78" fmla="*/ 640 w 818"/>
                  <a:gd name="T79" fmla="*/ 290 h 412"/>
                  <a:gd name="T80" fmla="*/ 686 w 818"/>
                  <a:gd name="T81" fmla="*/ 250 h 412"/>
                  <a:gd name="T82" fmla="*/ 688 w 818"/>
                  <a:gd name="T83" fmla="*/ 218 h 412"/>
                  <a:gd name="T84" fmla="*/ 706 w 818"/>
                  <a:gd name="T85" fmla="*/ 188 h 412"/>
                  <a:gd name="T86" fmla="*/ 750 w 818"/>
                  <a:gd name="T87" fmla="*/ 150 h 412"/>
                  <a:gd name="T88" fmla="*/ 766 w 818"/>
                  <a:gd name="T89" fmla="*/ 132 h 412"/>
                  <a:gd name="T90" fmla="*/ 818 w 818"/>
                  <a:gd name="T91" fmla="*/ 88 h 412"/>
                  <a:gd name="T92" fmla="*/ 806 w 818"/>
                  <a:gd name="T93" fmla="*/ 40 h 412"/>
                  <a:gd name="T94" fmla="*/ 764 w 818"/>
                  <a:gd name="T95" fmla="*/ 68 h 412"/>
                  <a:gd name="T96" fmla="*/ 646 w 818"/>
                  <a:gd name="T97" fmla="*/ 108 h 412"/>
                  <a:gd name="T98" fmla="*/ 638 w 818"/>
                  <a:gd name="T99" fmla="*/ 124 h 412"/>
                  <a:gd name="T100" fmla="*/ 598 w 818"/>
                  <a:gd name="T101" fmla="*/ 114 h 412"/>
                  <a:gd name="T102" fmla="*/ 588 w 818"/>
                  <a:gd name="T103" fmla="*/ 96 h 412"/>
                  <a:gd name="T104" fmla="*/ 566 w 818"/>
                  <a:gd name="T105" fmla="*/ 68 h 412"/>
                  <a:gd name="T106" fmla="*/ 540 w 818"/>
                  <a:gd name="T107" fmla="*/ 86 h 412"/>
                  <a:gd name="T108" fmla="*/ 534 w 818"/>
                  <a:gd name="T109" fmla="*/ 82 h 412"/>
                  <a:gd name="T110" fmla="*/ 548 w 818"/>
                  <a:gd name="T111" fmla="*/ 70 h 412"/>
                  <a:gd name="T112" fmla="*/ 564 w 818"/>
                  <a:gd name="T113" fmla="*/ 52 h 412"/>
                  <a:gd name="T114" fmla="*/ 514 w 818"/>
                  <a:gd name="T115" fmla="*/ 40 h 412"/>
                  <a:gd name="T116" fmla="*/ 472 w 818"/>
                  <a:gd name="T117" fmla="*/ 50 h 412"/>
                  <a:gd name="T118" fmla="*/ 460 w 818"/>
                  <a:gd name="T119" fmla="*/ 18 h 412"/>
                  <a:gd name="T120" fmla="*/ 524 w 818"/>
                  <a:gd name="T121" fmla="*/ 84 h 412"/>
                  <a:gd name="T122" fmla="*/ 680 w 818"/>
                  <a:gd name="T123" fmla="*/ 20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8" h="412">
                    <a:moveTo>
                      <a:pt x="422" y="4"/>
                    </a:moveTo>
                    <a:lnTo>
                      <a:pt x="424" y="10"/>
                    </a:lnTo>
                    <a:lnTo>
                      <a:pt x="428" y="14"/>
                    </a:lnTo>
                    <a:lnTo>
                      <a:pt x="438" y="18"/>
                    </a:lnTo>
                    <a:lnTo>
                      <a:pt x="460" y="22"/>
                    </a:lnTo>
                    <a:lnTo>
                      <a:pt x="472" y="26"/>
                    </a:lnTo>
                    <a:lnTo>
                      <a:pt x="494" y="28"/>
                    </a:lnTo>
                    <a:lnTo>
                      <a:pt x="492" y="32"/>
                    </a:lnTo>
                    <a:lnTo>
                      <a:pt x="480" y="36"/>
                    </a:lnTo>
                    <a:lnTo>
                      <a:pt x="474" y="40"/>
                    </a:lnTo>
                    <a:lnTo>
                      <a:pt x="466" y="46"/>
                    </a:lnTo>
                    <a:lnTo>
                      <a:pt x="462" y="50"/>
                    </a:lnTo>
                    <a:lnTo>
                      <a:pt x="472" y="54"/>
                    </a:lnTo>
                    <a:lnTo>
                      <a:pt x="484" y="54"/>
                    </a:lnTo>
                    <a:lnTo>
                      <a:pt x="494" y="54"/>
                    </a:lnTo>
                    <a:lnTo>
                      <a:pt x="500" y="50"/>
                    </a:lnTo>
                    <a:lnTo>
                      <a:pt x="504" y="46"/>
                    </a:lnTo>
                    <a:lnTo>
                      <a:pt x="510" y="42"/>
                    </a:lnTo>
                    <a:lnTo>
                      <a:pt x="514" y="46"/>
                    </a:lnTo>
                    <a:lnTo>
                      <a:pt x="524" y="52"/>
                    </a:lnTo>
                    <a:lnTo>
                      <a:pt x="532" y="56"/>
                    </a:lnTo>
                    <a:lnTo>
                      <a:pt x="542" y="54"/>
                    </a:lnTo>
                    <a:lnTo>
                      <a:pt x="548" y="54"/>
                    </a:lnTo>
                    <a:lnTo>
                      <a:pt x="558" y="52"/>
                    </a:lnTo>
                    <a:lnTo>
                      <a:pt x="562" y="56"/>
                    </a:lnTo>
                    <a:lnTo>
                      <a:pt x="570" y="62"/>
                    </a:lnTo>
                    <a:lnTo>
                      <a:pt x="570" y="64"/>
                    </a:lnTo>
                    <a:lnTo>
                      <a:pt x="562" y="62"/>
                    </a:lnTo>
                    <a:lnTo>
                      <a:pt x="554" y="62"/>
                    </a:lnTo>
                    <a:lnTo>
                      <a:pt x="546" y="66"/>
                    </a:lnTo>
                    <a:lnTo>
                      <a:pt x="542" y="68"/>
                    </a:lnTo>
                    <a:lnTo>
                      <a:pt x="538" y="64"/>
                    </a:lnTo>
                    <a:lnTo>
                      <a:pt x="534" y="68"/>
                    </a:lnTo>
                    <a:lnTo>
                      <a:pt x="526" y="76"/>
                    </a:lnTo>
                    <a:lnTo>
                      <a:pt x="518" y="84"/>
                    </a:lnTo>
                    <a:lnTo>
                      <a:pt x="520" y="90"/>
                    </a:lnTo>
                    <a:lnTo>
                      <a:pt x="526" y="88"/>
                    </a:lnTo>
                    <a:lnTo>
                      <a:pt x="530" y="82"/>
                    </a:lnTo>
                    <a:lnTo>
                      <a:pt x="524" y="98"/>
                    </a:lnTo>
                    <a:lnTo>
                      <a:pt x="520" y="120"/>
                    </a:lnTo>
                    <a:lnTo>
                      <a:pt x="520" y="130"/>
                    </a:lnTo>
                    <a:lnTo>
                      <a:pt x="524" y="142"/>
                    </a:lnTo>
                    <a:lnTo>
                      <a:pt x="532" y="140"/>
                    </a:lnTo>
                    <a:lnTo>
                      <a:pt x="542" y="134"/>
                    </a:lnTo>
                    <a:lnTo>
                      <a:pt x="544" y="124"/>
                    </a:lnTo>
                    <a:lnTo>
                      <a:pt x="544" y="114"/>
                    </a:lnTo>
                    <a:lnTo>
                      <a:pt x="544" y="104"/>
                    </a:lnTo>
                    <a:lnTo>
                      <a:pt x="544" y="94"/>
                    </a:lnTo>
                    <a:lnTo>
                      <a:pt x="544" y="86"/>
                    </a:lnTo>
                    <a:lnTo>
                      <a:pt x="546" y="84"/>
                    </a:lnTo>
                    <a:lnTo>
                      <a:pt x="552" y="84"/>
                    </a:lnTo>
                    <a:lnTo>
                      <a:pt x="556" y="80"/>
                    </a:lnTo>
                    <a:lnTo>
                      <a:pt x="558" y="74"/>
                    </a:lnTo>
                    <a:lnTo>
                      <a:pt x="566" y="72"/>
                    </a:lnTo>
                    <a:lnTo>
                      <a:pt x="574" y="76"/>
                    </a:lnTo>
                    <a:lnTo>
                      <a:pt x="582" y="78"/>
                    </a:lnTo>
                    <a:lnTo>
                      <a:pt x="586" y="84"/>
                    </a:lnTo>
                    <a:lnTo>
                      <a:pt x="584" y="94"/>
                    </a:lnTo>
                    <a:lnTo>
                      <a:pt x="580" y="102"/>
                    </a:lnTo>
                    <a:lnTo>
                      <a:pt x="576" y="104"/>
                    </a:lnTo>
                    <a:lnTo>
                      <a:pt x="578" y="108"/>
                    </a:lnTo>
                    <a:lnTo>
                      <a:pt x="584" y="104"/>
                    </a:lnTo>
                    <a:lnTo>
                      <a:pt x="590" y="102"/>
                    </a:lnTo>
                    <a:lnTo>
                      <a:pt x="594" y="102"/>
                    </a:lnTo>
                    <a:lnTo>
                      <a:pt x="594" y="112"/>
                    </a:lnTo>
                    <a:lnTo>
                      <a:pt x="592" y="118"/>
                    </a:lnTo>
                    <a:lnTo>
                      <a:pt x="592" y="124"/>
                    </a:lnTo>
                    <a:lnTo>
                      <a:pt x="588" y="130"/>
                    </a:lnTo>
                    <a:lnTo>
                      <a:pt x="584" y="138"/>
                    </a:lnTo>
                    <a:lnTo>
                      <a:pt x="590" y="142"/>
                    </a:lnTo>
                    <a:lnTo>
                      <a:pt x="606" y="142"/>
                    </a:lnTo>
                    <a:lnTo>
                      <a:pt x="618" y="138"/>
                    </a:lnTo>
                    <a:lnTo>
                      <a:pt x="628" y="134"/>
                    </a:lnTo>
                    <a:lnTo>
                      <a:pt x="638" y="128"/>
                    </a:lnTo>
                    <a:lnTo>
                      <a:pt x="644" y="126"/>
                    </a:lnTo>
                    <a:lnTo>
                      <a:pt x="646" y="120"/>
                    </a:lnTo>
                    <a:lnTo>
                      <a:pt x="644" y="116"/>
                    </a:lnTo>
                    <a:lnTo>
                      <a:pt x="646" y="112"/>
                    </a:lnTo>
                    <a:lnTo>
                      <a:pt x="666" y="114"/>
                    </a:lnTo>
                    <a:lnTo>
                      <a:pt x="676" y="112"/>
                    </a:lnTo>
                    <a:lnTo>
                      <a:pt x="686" y="104"/>
                    </a:lnTo>
                    <a:lnTo>
                      <a:pt x="686" y="94"/>
                    </a:lnTo>
                    <a:lnTo>
                      <a:pt x="692" y="88"/>
                    </a:lnTo>
                    <a:lnTo>
                      <a:pt x="700" y="84"/>
                    </a:lnTo>
                    <a:lnTo>
                      <a:pt x="752" y="84"/>
                    </a:lnTo>
                    <a:lnTo>
                      <a:pt x="762" y="78"/>
                    </a:lnTo>
                    <a:lnTo>
                      <a:pt x="768" y="70"/>
                    </a:lnTo>
                    <a:lnTo>
                      <a:pt x="770" y="56"/>
                    </a:lnTo>
                    <a:lnTo>
                      <a:pt x="778" y="44"/>
                    </a:lnTo>
                    <a:lnTo>
                      <a:pt x="784" y="36"/>
                    </a:lnTo>
                    <a:lnTo>
                      <a:pt x="792" y="40"/>
                    </a:lnTo>
                    <a:lnTo>
                      <a:pt x="804" y="44"/>
                    </a:lnTo>
                    <a:lnTo>
                      <a:pt x="806" y="50"/>
                    </a:lnTo>
                    <a:lnTo>
                      <a:pt x="804" y="64"/>
                    </a:lnTo>
                    <a:lnTo>
                      <a:pt x="806" y="72"/>
                    </a:lnTo>
                    <a:lnTo>
                      <a:pt x="812" y="78"/>
                    </a:lnTo>
                    <a:lnTo>
                      <a:pt x="816" y="84"/>
                    </a:lnTo>
                    <a:lnTo>
                      <a:pt x="812" y="90"/>
                    </a:lnTo>
                    <a:lnTo>
                      <a:pt x="800" y="90"/>
                    </a:lnTo>
                    <a:lnTo>
                      <a:pt x="790" y="92"/>
                    </a:lnTo>
                    <a:lnTo>
                      <a:pt x="782" y="98"/>
                    </a:lnTo>
                    <a:lnTo>
                      <a:pt x="772" y="102"/>
                    </a:lnTo>
                    <a:lnTo>
                      <a:pt x="768" y="116"/>
                    </a:lnTo>
                    <a:lnTo>
                      <a:pt x="760" y="124"/>
                    </a:lnTo>
                    <a:lnTo>
                      <a:pt x="760" y="132"/>
                    </a:lnTo>
                    <a:lnTo>
                      <a:pt x="764" y="136"/>
                    </a:lnTo>
                    <a:lnTo>
                      <a:pt x="770" y="138"/>
                    </a:lnTo>
                    <a:lnTo>
                      <a:pt x="764" y="142"/>
                    </a:lnTo>
                    <a:lnTo>
                      <a:pt x="758" y="142"/>
                    </a:lnTo>
                    <a:lnTo>
                      <a:pt x="750" y="146"/>
                    </a:lnTo>
                    <a:lnTo>
                      <a:pt x="736" y="150"/>
                    </a:lnTo>
                    <a:lnTo>
                      <a:pt x="720" y="154"/>
                    </a:lnTo>
                    <a:lnTo>
                      <a:pt x="716" y="156"/>
                    </a:lnTo>
                    <a:lnTo>
                      <a:pt x="718" y="168"/>
                    </a:lnTo>
                    <a:lnTo>
                      <a:pt x="712" y="174"/>
                    </a:lnTo>
                    <a:lnTo>
                      <a:pt x="706" y="184"/>
                    </a:lnTo>
                    <a:lnTo>
                      <a:pt x="700" y="182"/>
                    </a:lnTo>
                    <a:lnTo>
                      <a:pt x="704" y="194"/>
                    </a:lnTo>
                    <a:lnTo>
                      <a:pt x="700" y="200"/>
                    </a:lnTo>
                    <a:lnTo>
                      <a:pt x="692" y="210"/>
                    </a:lnTo>
                    <a:lnTo>
                      <a:pt x="688" y="214"/>
                    </a:lnTo>
                    <a:lnTo>
                      <a:pt x="688" y="202"/>
                    </a:lnTo>
                    <a:lnTo>
                      <a:pt x="686" y="192"/>
                    </a:lnTo>
                    <a:lnTo>
                      <a:pt x="688" y="182"/>
                    </a:lnTo>
                    <a:lnTo>
                      <a:pt x="684" y="178"/>
                    </a:lnTo>
                    <a:lnTo>
                      <a:pt x="682" y="186"/>
                    </a:lnTo>
                    <a:lnTo>
                      <a:pt x="680" y="196"/>
                    </a:lnTo>
                    <a:lnTo>
                      <a:pt x="674" y="194"/>
                    </a:lnTo>
                    <a:lnTo>
                      <a:pt x="670" y="196"/>
                    </a:lnTo>
                    <a:lnTo>
                      <a:pt x="678" y="204"/>
                    </a:lnTo>
                    <a:lnTo>
                      <a:pt x="684" y="210"/>
                    </a:lnTo>
                    <a:lnTo>
                      <a:pt x="682" y="214"/>
                    </a:lnTo>
                    <a:lnTo>
                      <a:pt x="684" y="224"/>
                    </a:lnTo>
                    <a:lnTo>
                      <a:pt x="688" y="226"/>
                    </a:lnTo>
                    <a:lnTo>
                      <a:pt x="692" y="234"/>
                    </a:lnTo>
                    <a:lnTo>
                      <a:pt x="688" y="242"/>
                    </a:lnTo>
                    <a:lnTo>
                      <a:pt x="682" y="248"/>
                    </a:lnTo>
                    <a:lnTo>
                      <a:pt x="682" y="254"/>
                    </a:lnTo>
                    <a:lnTo>
                      <a:pt x="672" y="256"/>
                    </a:lnTo>
                    <a:lnTo>
                      <a:pt x="660" y="266"/>
                    </a:lnTo>
                    <a:lnTo>
                      <a:pt x="656" y="270"/>
                    </a:lnTo>
                    <a:lnTo>
                      <a:pt x="648" y="272"/>
                    </a:lnTo>
                    <a:lnTo>
                      <a:pt x="638" y="286"/>
                    </a:lnTo>
                    <a:lnTo>
                      <a:pt x="628" y="290"/>
                    </a:lnTo>
                    <a:lnTo>
                      <a:pt x="622" y="298"/>
                    </a:lnTo>
                    <a:lnTo>
                      <a:pt x="614" y="308"/>
                    </a:lnTo>
                    <a:lnTo>
                      <a:pt x="610" y="320"/>
                    </a:lnTo>
                    <a:lnTo>
                      <a:pt x="614" y="332"/>
                    </a:lnTo>
                    <a:lnTo>
                      <a:pt x="620" y="344"/>
                    </a:lnTo>
                    <a:lnTo>
                      <a:pt x="622" y="358"/>
                    </a:lnTo>
                    <a:lnTo>
                      <a:pt x="628" y="370"/>
                    </a:lnTo>
                    <a:lnTo>
                      <a:pt x="630" y="386"/>
                    </a:lnTo>
                    <a:lnTo>
                      <a:pt x="630" y="400"/>
                    </a:lnTo>
                    <a:lnTo>
                      <a:pt x="628" y="408"/>
                    </a:lnTo>
                    <a:lnTo>
                      <a:pt x="622" y="408"/>
                    </a:lnTo>
                    <a:lnTo>
                      <a:pt x="614" y="400"/>
                    </a:lnTo>
                    <a:lnTo>
                      <a:pt x="608" y="390"/>
                    </a:lnTo>
                    <a:lnTo>
                      <a:pt x="602" y="384"/>
                    </a:lnTo>
                    <a:lnTo>
                      <a:pt x="594" y="378"/>
                    </a:lnTo>
                    <a:lnTo>
                      <a:pt x="592" y="368"/>
                    </a:lnTo>
                    <a:lnTo>
                      <a:pt x="592" y="358"/>
                    </a:lnTo>
                    <a:lnTo>
                      <a:pt x="594" y="348"/>
                    </a:lnTo>
                    <a:lnTo>
                      <a:pt x="588" y="340"/>
                    </a:lnTo>
                    <a:lnTo>
                      <a:pt x="582" y="334"/>
                    </a:lnTo>
                    <a:lnTo>
                      <a:pt x="574" y="330"/>
                    </a:lnTo>
                    <a:lnTo>
                      <a:pt x="568" y="332"/>
                    </a:lnTo>
                    <a:lnTo>
                      <a:pt x="560" y="340"/>
                    </a:lnTo>
                    <a:lnTo>
                      <a:pt x="554" y="330"/>
                    </a:lnTo>
                    <a:lnTo>
                      <a:pt x="542" y="328"/>
                    </a:lnTo>
                    <a:lnTo>
                      <a:pt x="530" y="326"/>
                    </a:lnTo>
                    <a:lnTo>
                      <a:pt x="522" y="322"/>
                    </a:lnTo>
                    <a:lnTo>
                      <a:pt x="508" y="322"/>
                    </a:lnTo>
                    <a:lnTo>
                      <a:pt x="494" y="324"/>
                    </a:lnTo>
                    <a:lnTo>
                      <a:pt x="486" y="326"/>
                    </a:lnTo>
                    <a:lnTo>
                      <a:pt x="492" y="332"/>
                    </a:lnTo>
                    <a:lnTo>
                      <a:pt x="496" y="336"/>
                    </a:lnTo>
                    <a:lnTo>
                      <a:pt x="502" y="340"/>
                    </a:lnTo>
                    <a:lnTo>
                      <a:pt x="494" y="342"/>
                    </a:lnTo>
                    <a:lnTo>
                      <a:pt x="488" y="342"/>
                    </a:lnTo>
                    <a:lnTo>
                      <a:pt x="478" y="344"/>
                    </a:lnTo>
                    <a:lnTo>
                      <a:pt x="472" y="340"/>
                    </a:lnTo>
                    <a:lnTo>
                      <a:pt x="462" y="336"/>
                    </a:lnTo>
                    <a:lnTo>
                      <a:pt x="460" y="338"/>
                    </a:lnTo>
                    <a:lnTo>
                      <a:pt x="456" y="340"/>
                    </a:lnTo>
                    <a:lnTo>
                      <a:pt x="446" y="334"/>
                    </a:lnTo>
                    <a:lnTo>
                      <a:pt x="438" y="334"/>
                    </a:lnTo>
                    <a:lnTo>
                      <a:pt x="434" y="340"/>
                    </a:lnTo>
                    <a:lnTo>
                      <a:pt x="428" y="340"/>
                    </a:lnTo>
                    <a:lnTo>
                      <a:pt x="422" y="338"/>
                    </a:lnTo>
                    <a:lnTo>
                      <a:pt x="418" y="344"/>
                    </a:lnTo>
                    <a:lnTo>
                      <a:pt x="414" y="350"/>
                    </a:lnTo>
                    <a:lnTo>
                      <a:pt x="408" y="354"/>
                    </a:lnTo>
                    <a:lnTo>
                      <a:pt x="398" y="354"/>
                    </a:lnTo>
                    <a:lnTo>
                      <a:pt x="394" y="358"/>
                    </a:lnTo>
                    <a:lnTo>
                      <a:pt x="388" y="364"/>
                    </a:lnTo>
                    <a:lnTo>
                      <a:pt x="384" y="372"/>
                    </a:lnTo>
                    <a:lnTo>
                      <a:pt x="386" y="382"/>
                    </a:lnTo>
                    <a:lnTo>
                      <a:pt x="390" y="394"/>
                    </a:lnTo>
                    <a:lnTo>
                      <a:pt x="380" y="392"/>
                    </a:lnTo>
                    <a:lnTo>
                      <a:pt x="366" y="386"/>
                    </a:lnTo>
                    <a:lnTo>
                      <a:pt x="358" y="376"/>
                    </a:lnTo>
                    <a:lnTo>
                      <a:pt x="350" y="364"/>
                    </a:lnTo>
                    <a:lnTo>
                      <a:pt x="342" y="354"/>
                    </a:lnTo>
                    <a:lnTo>
                      <a:pt x="336" y="340"/>
                    </a:lnTo>
                    <a:lnTo>
                      <a:pt x="324" y="336"/>
                    </a:lnTo>
                    <a:lnTo>
                      <a:pt x="316" y="332"/>
                    </a:lnTo>
                    <a:lnTo>
                      <a:pt x="310" y="336"/>
                    </a:lnTo>
                    <a:lnTo>
                      <a:pt x="308" y="344"/>
                    </a:lnTo>
                    <a:lnTo>
                      <a:pt x="298" y="346"/>
                    </a:lnTo>
                    <a:lnTo>
                      <a:pt x="284" y="338"/>
                    </a:lnTo>
                    <a:lnTo>
                      <a:pt x="282" y="322"/>
                    </a:lnTo>
                    <a:lnTo>
                      <a:pt x="272" y="316"/>
                    </a:lnTo>
                    <a:lnTo>
                      <a:pt x="254" y="302"/>
                    </a:lnTo>
                    <a:lnTo>
                      <a:pt x="236" y="304"/>
                    </a:lnTo>
                    <a:lnTo>
                      <a:pt x="230" y="310"/>
                    </a:lnTo>
                    <a:lnTo>
                      <a:pt x="188" y="310"/>
                    </a:lnTo>
                    <a:lnTo>
                      <a:pt x="174" y="304"/>
                    </a:lnTo>
                    <a:lnTo>
                      <a:pt x="152" y="294"/>
                    </a:lnTo>
                    <a:lnTo>
                      <a:pt x="136" y="288"/>
                    </a:lnTo>
                    <a:lnTo>
                      <a:pt x="108" y="290"/>
                    </a:lnTo>
                    <a:lnTo>
                      <a:pt x="104" y="280"/>
                    </a:lnTo>
                    <a:lnTo>
                      <a:pt x="96" y="272"/>
                    </a:lnTo>
                    <a:lnTo>
                      <a:pt x="92" y="268"/>
                    </a:lnTo>
                    <a:lnTo>
                      <a:pt x="78" y="266"/>
                    </a:lnTo>
                    <a:lnTo>
                      <a:pt x="70" y="258"/>
                    </a:lnTo>
                    <a:lnTo>
                      <a:pt x="58" y="262"/>
                    </a:lnTo>
                    <a:lnTo>
                      <a:pt x="56" y="248"/>
                    </a:lnTo>
                    <a:lnTo>
                      <a:pt x="46" y="236"/>
                    </a:lnTo>
                    <a:lnTo>
                      <a:pt x="38" y="228"/>
                    </a:lnTo>
                    <a:lnTo>
                      <a:pt x="42" y="222"/>
                    </a:lnTo>
                    <a:lnTo>
                      <a:pt x="36" y="218"/>
                    </a:lnTo>
                    <a:lnTo>
                      <a:pt x="32" y="210"/>
                    </a:lnTo>
                    <a:lnTo>
                      <a:pt x="38" y="200"/>
                    </a:lnTo>
                    <a:lnTo>
                      <a:pt x="28" y="200"/>
                    </a:lnTo>
                    <a:lnTo>
                      <a:pt x="20" y="194"/>
                    </a:lnTo>
                    <a:lnTo>
                      <a:pt x="12" y="182"/>
                    </a:lnTo>
                    <a:lnTo>
                      <a:pt x="12" y="172"/>
                    </a:lnTo>
                    <a:lnTo>
                      <a:pt x="6" y="164"/>
                    </a:lnTo>
                    <a:lnTo>
                      <a:pt x="6" y="156"/>
                    </a:lnTo>
                    <a:lnTo>
                      <a:pt x="10" y="138"/>
                    </a:lnTo>
                    <a:lnTo>
                      <a:pt x="6" y="114"/>
                    </a:lnTo>
                    <a:lnTo>
                      <a:pt x="10" y="104"/>
                    </a:lnTo>
                    <a:lnTo>
                      <a:pt x="12" y="62"/>
                    </a:lnTo>
                    <a:lnTo>
                      <a:pt x="18" y="62"/>
                    </a:lnTo>
                    <a:lnTo>
                      <a:pt x="12" y="52"/>
                    </a:lnTo>
                    <a:lnTo>
                      <a:pt x="10" y="46"/>
                    </a:lnTo>
                    <a:lnTo>
                      <a:pt x="10" y="42"/>
                    </a:lnTo>
                    <a:lnTo>
                      <a:pt x="8" y="38"/>
                    </a:lnTo>
                    <a:lnTo>
                      <a:pt x="4" y="28"/>
                    </a:lnTo>
                    <a:lnTo>
                      <a:pt x="10" y="26"/>
                    </a:lnTo>
                    <a:lnTo>
                      <a:pt x="20" y="28"/>
                    </a:lnTo>
                    <a:lnTo>
                      <a:pt x="26" y="30"/>
                    </a:lnTo>
                    <a:lnTo>
                      <a:pt x="28" y="38"/>
                    </a:lnTo>
                    <a:lnTo>
                      <a:pt x="28" y="44"/>
                    </a:lnTo>
                    <a:lnTo>
                      <a:pt x="34" y="38"/>
                    </a:lnTo>
                    <a:lnTo>
                      <a:pt x="36" y="28"/>
                    </a:lnTo>
                    <a:lnTo>
                      <a:pt x="30" y="22"/>
                    </a:lnTo>
                    <a:lnTo>
                      <a:pt x="30" y="10"/>
                    </a:lnTo>
                    <a:lnTo>
                      <a:pt x="414" y="10"/>
                    </a:lnTo>
                    <a:lnTo>
                      <a:pt x="414" y="4"/>
                    </a:lnTo>
                    <a:lnTo>
                      <a:pt x="422" y="4"/>
                    </a:lnTo>
                    <a:close/>
                    <a:moveTo>
                      <a:pt x="530" y="82"/>
                    </a:moveTo>
                    <a:lnTo>
                      <a:pt x="530" y="82"/>
                    </a:lnTo>
                    <a:close/>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close/>
                    <a:moveTo>
                      <a:pt x="522" y="84"/>
                    </a:moveTo>
                    <a:lnTo>
                      <a:pt x="526" y="82"/>
                    </a:lnTo>
                    <a:lnTo>
                      <a:pt x="524" y="84"/>
                    </a:lnTo>
                    <a:lnTo>
                      <a:pt x="522" y="86"/>
                    </a:lnTo>
                    <a:lnTo>
                      <a:pt x="522" y="84"/>
                    </a:lnTo>
                    <a:lnTo>
                      <a:pt x="522" y="84"/>
                    </a:lnTo>
                    <a:close/>
                    <a:moveTo>
                      <a:pt x="680" y="200"/>
                    </a:moveTo>
                    <a:lnTo>
                      <a:pt x="680" y="200"/>
                    </a:lnTo>
                    <a:lnTo>
                      <a:pt x="682" y="200"/>
                    </a:lnTo>
                    <a:lnTo>
                      <a:pt x="682" y="200"/>
                    </a:lnTo>
                    <a:lnTo>
                      <a:pt x="684" y="198"/>
                    </a:lnTo>
                    <a:lnTo>
                      <a:pt x="684" y="202"/>
                    </a:lnTo>
                    <a:lnTo>
                      <a:pt x="684" y="204"/>
                    </a:lnTo>
                    <a:lnTo>
                      <a:pt x="680" y="202"/>
                    </a:lnTo>
                    <a:lnTo>
                      <a:pt x="680" y="200"/>
                    </a:lnTo>
                    <a:lnTo>
                      <a:pt x="680"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1" name="Freeform 200"/>
              <p:cNvSpPr>
                <a:spLocks/>
              </p:cNvSpPr>
              <p:nvPr/>
            </p:nvSpPr>
            <p:spPr bwMode="auto">
              <a:xfrm>
                <a:off x="1103" y="1759"/>
                <a:ext cx="812" cy="404"/>
              </a:xfrm>
              <a:custGeom>
                <a:avLst/>
                <a:gdLst>
                  <a:gd name="T0" fmla="*/ 456 w 812"/>
                  <a:gd name="T1" fmla="*/ 18 h 404"/>
                  <a:gd name="T2" fmla="*/ 470 w 812"/>
                  <a:gd name="T3" fmla="*/ 36 h 404"/>
                  <a:gd name="T4" fmla="*/ 490 w 812"/>
                  <a:gd name="T5" fmla="*/ 50 h 404"/>
                  <a:gd name="T6" fmla="*/ 520 w 812"/>
                  <a:gd name="T7" fmla="*/ 48 h 404"/>
                  <a:gd name="T8" fmla="*/ 558 w 812"/>
                  <a:gd name="T9" fmla="*/ 52 h 404"/>
                  <a:gd name="T10" fmla="*/ 542 w 812"/>
                  <a:gd name="T11" fmla="*/ 62 h 404"/>
                  <a:gd name="T12" fmla="*/ 514 w 812"/>
                  <a:gd name="T13" fmla="*/ 80 h 404"/>
                  <a:gd name="T14" fmla="*/ 516 w 812"/>
                  <a:gd name="T15" fmla="*/ 116 h 404"/>
                  <a:gd name="T16" fmla="*/ 540 w 812"/>
                  <a:gd name="T17" fmla="*/ 120 h 404"/>
                  <a:gd name="T18" fmla="*/ 542 w 812"/>
                  <a:gd name="T19" fmla="*/ 80 h 404"/>
                  <a:gd name="T20" fmla="*/ 570 w 812"/>
                  <a:gd name="T21" fmla="*/ 72 h 404"/>
                  <a:gd name="T22" fmla="*/ 572 w 812"/>
                  <a:gd name="T23" fmla="*/ 100 h 404"/>
                  <a:gd name="T24" fmla="*/ 590 w 812"/>
                  <a:gd name="T25" fmla="*/ 108 h 404"/>
                  <a:gd name="T26" fmla="*/ 586 w 812"/>
                  <a:gd name="T27" fmla="*/ 138 h 404"/>
                  <a:gd name="T28" fmla="*/ 640 w 812"/>
                  <a:gd name="T29" fmla="*/ 122 h 404"/>
                  <a:gd name="T30" fmla="*/ 672 w 812"/>
                  <a:gd name="T31" fmla="*/ 108 h 404"/>
                  <a:gd name="T32" fmla="*/ 748 w 812"/>
                  <a:gd name="T33" fmla="*/ 80 h 404"/>
                  <a:gd name="T34" fmla="*/ 780 w 812"/>
                  <a:gd name="T35" fmla="*/ 32 h 404"/>
                  <a:gd name="T36" fmla="*/ 802 w 812"/>
                  <a:gd name="T37" fmla="*/ 68 h 404"/>
                  <a:gd name="T38" fmla="*/ 786 w 812"/>
                  <a:gd name="T39" fmla="*/ 88 h 404"/>
                  <a:gd name="T40" fmla="*/ 756 w 812"/>
                  <a:gd name="T41" fmla="*/ 128 h 404"/>
                  <a:gd name="T42" fmla="*/ 746 w 812"/>
                  <a:gd name="T43" fmla="*/ 142 h 404"/>
                  <a:gd name="T44" fmla="*/ 708 w 812"/>
                  <a:gd name="T45" fmla="*/ 170 h 404"/>
                  <a:gd name="T46" fmla="*/ 688 w 812"/>
                  <a:gd name="T47" fmla="*/ 206 h 404"/>
                  <a:gd name="T48" fmla="*/ 680 w 812"/>
                  <a:gd name="T49" fmla="*/ 174 h 404"/>
                  <a:gd name="T50" fmla="*/ 674 w 812"/>
                  <a:gd name="T51" fmla="*/ 200 h 404"/>
                  <a:gd name="T52" fmla="*/ 688 w 812"/>
                  <a:gd name="T53" fmla="*/ 230 h 404"/>
                  <a:gd name="T54" fmla="*/ 656 w 812"/>
                  <a:gd name="T55" fmla="*/ 262 h 404"/>
                  <a:gd name="T56" fmla="*/ 618 w 812"/>
                  <a:gd name="T57" fmla="*/ 294 h 404"/>
                  <a:gd name="T58" fmla="*/ 618 w 812"/>
                  <a:gd name="T59" fmla="*/ 354 h 404"/>
                  <a:gd name="T60" fmla="*/ 618 w 812"/>
                  <a:gd name="T61" fmla="*/ 404 h 404"/>
                  <a:gd name="T62" fmla="*/ 588 w 812"/>
                  <a:gd name="T63" fmla="*/ 364 h 404"/>
                  <a:gd name="T64" fmla="*/ 570 w 812"/>
                  <a:gd name="T65" fmla="*/ 326 h 404"/>
                  <a:gd name="T66" fmla="*/ 526 w 812"/>
                  <a:gd name="T67" fmla="*/ 322 h 404"/>
                  <a:gd name="T68" fmla="*/ 488 w 812"/>
                  <a:gd name="T69" fmla="*/ 328 h 404"/>
                  <a:gd name="T70" fmla="*/ 474 w 812"/>
                  <a:gd name="T71" fmla="*/ 340 h 404"/>
                  <a:gd name="T72" fmla="*/ 442 w 812"/>
                  <a:gd name="T73" fmla="*/ 330 h 404"/>
                  <a:gd name="T74" fmla="*/ 414 w 812"/>
                  <a:gd name="T75" fmla="*/ 340 h 404"/>
                  <a:gd name="T76" fmla="*/ 384 w 812"/>
                  <a:gd name="T77" fmla="*/ 360 h 404"/>
                  <a:gd name="T78" fmla="*/ 362 w 812"/>
                  <a:gd name="T79" fmla="*/ 382 h 404"/>
                  <a:gd name="T80" fmla="*/ 320 w 812"/>
                  <a:gd name="T81" fmla="*/ 332 h 404"/>
                  <a:gd name="T82" fmla="*/ 280 w 812"/>
                  <a:gd name="T83" fmla="*/ 334 h 404"/>
                  <a:gd name="T84" fmla="*/ 226 w 812"/>
                  <a:gd name="T85" fmla="*/ 306 h 404"/>
                  <a:gd name="T86" fmla="*/ 104 w 812"/>
                  <a:gd name="T87" fmla="*/ 286 h 404"/>
                  <a:gd name="T88" fmla="*/ 66 w 812"/>
                  <a:gd name="T89" fmla="*/ 254 h 404"/>
                  <a:gd name="T90" fmla="*/ 38 w 812"/>
                  <a:gd name="T91" fmla="*/ 218 h 404"/>
                  <a:gd name="T92" fmla="*/ 16 w 812"/>
                  <a:gd name="T93" fmla="*/ 190 h 404"/>
                  <a:gd name="T94" fmla="*/ 6 w 812"/>
                  <a:gd name="T95" fmla="*/ 134 h 404"/>
                  <a:gd name="T96" fmla="*/ 8 w 812"/>
                  <a:gd name="T97" fmla="*/ 48 h 404"/>
                  <a:gd name="T98" fmla="*/ 6 w 812"/>
                  <a:gd name="T99" fmla="*/ 22 h 404"/>
                  <a:gd name="T100" fmla="*/ 30 w 812"/>
                  <a:gd name="T101" fmla="*/ 34 h 404"/>
                  <a:gd name="T102" fmla="*/ 410 w 812"/>
                  <a:gd name="T10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2" h="404">
                    <a:moveTo>
                      <a:pt x="418" y="0"/>
                    </a:moveTo>
                    <a:lnTo>
                      <a:pt x="420" y="6"/>
                    </a:lnTo>
                    <a:lnTo>
                      <a:pt x="424" y="10"/>
                    </a:lnTo>
                    <a:lnTo>
                      <a:pt x="434" y="14"/>
                    </a:lnTo>
                    <a:lnTo>
                      <a:pt x="456" y="18"/>
                    </a:lnTo>
                    <a:lnTo>
                      <a:pt x="468" y="22"/>
                    </a:lnTo>
                    <a:lnTo>
                      <a:pt x="490" y="24"/>
                    </a:lnTo>
                    <a:lnTo>
                      <a:pt x="488" y="28"/>
                    </a:lnTo>
                    <a:lnTo>
                      <a:pt x="476" y="32"/>
                    </a:lnTo>
                    <a:lnTo>
                      <a:pt x="470" y="36"/>
                    </a:lnTo>
                    <a:lnTo>
                      <a:pt x="462" y="42"/>
                    </a:lnTo>
                    <a:lnTo>
                      <a:pt x="458" y="46"/>
                    </a:lnTo>
                    <a:lnTo>
                      <a:pt x="468" y="50"/>
                    </a:lnTo>
                    <a:lnTo>
                      <a:pt x="480" y="50"/>
                    </a:lnTo>
                    <a:lnTo>
                      <a:pt x="490" y="50"/>
                    </a:lnTo>
                    <a:lnTo>
                      <a:pt x="496" y="46"/>
                    </a:lnTo>
                    <a:lnTo>
                      <a:pt x="500" y="42"/>
                    </a:lnTo>
                    <a:lnTo>
                      <a:pt x="506" y="38"/>
                    </a:lnTo>
                    <a:lnTo>
                      <a:pt x="510" y="42"/>
                    </a:lnTo>
                    <a:lnTo>
                      <a:pt x="520" y="48"/>
                    </a:lnTo>
                    <a:lnTo>
                      <a:pt x="528" y="52"/>
                    </a:lnTo>
                    <a:lnTo>
                      <a:pt x="538" y="50"/>
                    </a:lnTo>
                    <a:lnTo>
                      <a:pt x="544" y="50"/>
                    </a:lnTo>
                    <a:lnTo>
                      <a:pt x="554" y="48"/>
                    </a:lnTo>
                    <a:lnTo>
                      <a:pt x="558" y="52"/>
                    </a:lnTo>
                    <a:lnTo>
                      <a:pt x="566" y="58"/>
                    </a:lnTo>
                    <a:lnTo>
                      <a:pt x="566" y="60"/>
                    </a:lnTo>
                    <a:lnTo>
                      <a:pt x="558" y="58"/>
                    </a:lnTo>
                    <a:lnTo>
                      <a:pt x="550" y="58"/>
                    </a:lnTo>
                    <a:lnTo>
                      <a:pt x="542" y="62"/>
                    </a:lnTo>
                    <a:lnTo>
                      <a:pt x="538" y="64"/>
                    </a:lnTo>
                    <a:lnTo>
                      <a:pt x="534" y="60"/>
                    </a:lnTo>
                    <a:lnTo>
                      <a:pt x="530" y="64"/>
                    </a:lnTo>
                    <a:lnTo>
                      <a:pt x="522" y="72"/>
                    </a:lnTo>
                    <a:lnTo>
                      <a:pt x="514" y="80"/>
                    </a:lnTo>
                    <a:lnTo>
                      <a:pt x="516" y="86"/>
                    </a:lnTo>
                    <a:lnTo>
                      <a:pt x="522" y="84"/>
                    </a:lnTo>
                    <a:lnTo>
                      <a:pt x="526" y="78"/>
                    </a:lnTo>
                    <a:lnTo>
                      <a:pt x="520" y="94"/>
                    </a:lnTo>
                    <a:lnTo>
                      <a:pt x="516" y="116"/>
                    </a:lnTo>
                    <a:lnTo>
                      <a:pt x="516" y="126"/>
                    </a:lnTo>
                    <a:lnTo>
                      <a:pt x="520" y="138"/>
                    </a:lnTo>
                    <a:lnTo>
                      <a:pt x="528" y="136"/>
                    </a:lnTo>
                    <a:lnTo>
                      <a:pt x="538" y="130"/>
                    </a:lnTo>
                    <a:lnTo>
                      <a:pt x="540" y="120"/>
                    </a:lnTo>
                    <a:lnTo>
                      <a:pt x="540" y="110"/>
                    </a:lnTo>
                    <a:lnTo>
                      <a:pt x="540" y="100"/>
                    </a:lnTo>
                    <a:lnTo>
                      <a:pt x="540" y="90"/>
                    </a:lnTo>
                    <a:lnTo>
                      <a:pt x="540" y="82"/>
                    </a:lnTo>
                    <a:lnTo>
                      <a:pt x="542" y="80"/>
                    </a:lnTo>
                    <a:lnTo>
                      <a:pt x="548" y="80"/>
                    </a:lnTo>
                    <a:lnTo>
                      <a:pt x="552" y="76"/>
                    </a:lnTo>
                    <a:lnTo>
                      <a:pt x="554" y="70"/>
                    </a:lnTo>
                    <a:lnTo>
                      <a:pt x="562" y="68"/>
                    </a:lnTo>
                    <a:lnTo>
                      <a:pt x="570" y="72"/>
                    </a:lnTo>
                    <a:lnTo>
                      <a:pt x="578" y="74"/>
                    </a:lnTo>
                    <a:lnTo>
                      <a:pt x="582" y="80"/>
                    </a:lnTo>
                    <a:lnTo>
                      <a:pt x="580" y="90"/>
                    </a:lnTo>
                    <a:lnTo>
                      <a:pt x="576" y="98"/>
                    </a:lnTo>
                    <a:lnTo>
                      <a:pt x="572" y="100"/>
                    </a:lnTo>
                    <a:lnTo>
                      <a:pt x="574" y="104"/>
                    </a:lnTo>
                    <a:lnTo>
                      <a:pt x="580" y="100"/>
                    </a:lnTo>
                    <a:lnTo>
                      <a:pt x="586" y="98"/>
                    </a:lnTo>
                    <a:lnTo>
                      <a:pt x="590" y="98"/>
                    </a:lnTo>
                    <a:lnTo>
                      <a:pt x="590" y="108"/>
                    </a:lnTo>
                    <a:lnTo>
                      <a:pt x="588" y="114"/>
                    </a:lnTo>
                    <a:lnTo>
                      <a:pt x="588" y="120"/>
                    </a:lnTo>
                    <a:lnTo>
                      <a:pt x="584" y="126"/>
                    </a:lnTo>
                    <a:lnTo>
                      <a:pt x="580" y="134"/>
                    </a:lnTo>
                    <a:lnTo>
                      <a:pt x="586" y="138"/>
                    </a:lnTo>
                    <a:lnTo>
                      <a:pt x="602" y="138"/>
                    </a:lnTo>
                    <a:lnTo>
                      <a:pt x="614" y="134"/>
                    </a:lnTo>
                    <a:lnTo>
                      <a:pt x="624" y="130"/>
                    </a:lnTo>
                    <a:lnTo>
                      <a:pt x="634" y="124"/>
                    </a:lnTo>
                    <a:lnTo>
                      <a:pt x="640" y="122"/>
                    </a:lnTo>
                    <a:lnTo>
                      <a:pt x="642" y="116"/>
                    </a:lnTo>
                    <a:lnTo>
                      <a:pt x="640" y="112"/>
                    </a:lnTo>
                    <a:lnTo>
                      <a:pt x="642" y="108"/>
                    </a:lnTo>
                    <a:lnTo>
                      <a:pt x="662" y="110"/>
                    </a:lnTo>
                    <a:lnTo>
                      <a:pt x="672" y="108"/>
                    </a:lnTo>
                    <a:lnTo>
                      <a:pt x="682" y="100"/>
                    </a:lnTo>
                    <a:lnTo>
                      <a:pt x="682" y="90"/>
                    </a:lnTo>
                    <a:lnTo>
                      <a:pt x="688" y="84"/>
                    </a:lnTo>
                    <a:lnTo>
                      <a:pt x="696" y="80"/>
                    </a:lnTo>
                    <a:lnTo>
                      <a:pt x="748" y="80"/>
                    </a:lnTo>
                    <a:lnTo>
                      <a:pt x="758" y="74"/>
                    </a:lnTo>
                    <a:lnTo>
                      <a:pt x="764" y="66"/>
                    </a:lnTo>
                    <a:lnTo>
                      <a:pt x="766" y="52"/>
                    </a:lnTo>
                    <a:lnTo>
                      <a:pt x="774" y="40"/>
                    </a:lnTo>
                    <a:lnTo>
                      <a:pt x="780" y="32"/>
                    </a:lnTo>
                    <a:lnTo>
                      <a:pt x="788" y="36"/>
                    </a:lnTo>
                    <a:lnTo>
                      <a:pt x="800" y="40"/>
                    </a:lnTo>
                    <a:lnTo>
                      <a:pt x="802" y="46"/>
                    </a:lnTo>
                    <a:lnTo>
                      <a:pt x="800" y="60"/>
                    </a:lnTo>
                    <a:lnTo>
                      <a:pt x="802" y="68"/>
                    </a:lnTo>
                    <a:lnTo>
                      <a:pt x="808" y="74"/>
                    </a:lnTo>
                    <a:lnTo>
                      <a:pt x="812" y="80"/>
                    </a:lnTo>
                    <a:lnTo>
                      <a:pt x="808" y="86"/>
                    </a:lnTo>
                    <a:lnTo>
                      <a:pt x="796" y="86"/>
                    </a:lnTo>
                    <a:lnTo>
                      <a:pt x="786" y="88"/>
                    </a:lnTo>
                    <a:lnTo>
                      <a:pt x="778" y="94"/>
                    </a:lnTo>
                    <a:lnTo>
                      <a:pt x="768" y="98"/>
                    </a:lnTo>
                    <a:lnTo>
                      <a:pt x="764" y="112"/>
                    </a:lnTo>
                    <a:lnTo>
                      <a:pt x="756" y="120"/>
                    </a:lnTo>
                    <a:lnTo>
                      <a:pt x="756" y="128"/>
                    </a:lnTo>
                    <a:lnTo>
                      <a:pt x="760" y="132"/>
                    </a:lnTo>
                    <a:lnTo>
                      <a:pt x="766" y="134"/>
                    </a:lnTo>
                    <a:lnTo>
                      <a:pt x="760" y="138"/>
                    </a:lnTo>
                    <a:lnTo>
                      <a:pt x="754" y="138"/>
                    </a:lnTo>
                    <a:lnTo>
                      <a:pt x="746" y="142"/>
                    </a:lnTo>
                    <a:lnTo>
                      <a:pt x="732" y="146"/>
                    </a:lnTo>
                    <a:lnTo>
                      <a:pt x="716" y="150"/>
                    </a:lnTo>
                    <a:lnTo>
                      <a:pt x="712" y="152"/>
                    </a:lnTo>
                    <a:lnTo>
                      <a:pt x="714" y="164"/>
                    </a:lnTo>
                    <a:lnTo>
                      <a:pt x="708" y="170"/>
                    </a:lnTo>
                    <a:lnTo>
                      <a:pt x="702" y="180"/>
                    </a:lnTo>
                    <a:lnTo>
                      <a:pt x="696" y="178"/>
                    </a:lnTo>
                    <a:lnTo>
                      <a:pt x="700" y="190"/>
                    </a:lnTo>
                    <a:lnTo>
                      <a:pt x="696" y="196"/>
                    </a:lnTo>
                    <a:lnTo>
                      <a:pt x="688" y="206"/>
                    </a:lnTo>
                    <a:lnTo>
                      <a:pt x="684" y="210"/>
                    </a:lnTo>
                    <a:lnTo>
                      <a:pt x="684" y="198"/>
                    </a:lnTo>
                    <a:lnTo>
                      <a:pt x="682" y="188"/>
                    </a:lnTo>
                    <a:lnTo>
                      <a:pt x="684" y="178"/>
                    </a:lnTo>
                    <a:lnTo>
                      <a:pt x="680" y="174"/>
                    </a:lnTo>
                    <a:lnTo>
                      <a:pt x="678" y="182"/>
                    </a:lnTo>
                    <a:lnTo>
                      <a:pt x="676" y="192"/>
                    </a:lnTo>
                    <a:lnTo>
                      <a:pt x="670" y="190"/>
                    </a:lnTo>
                    <a:lnTo>
                      <a:pt x="666" y="192"/>
                    </a:lnTo>
                    <a:lnTo>
                      <a:pt x="674" y="200"/>
                    </a:lnTo>
                    <a:lnTo>
                      <a:pt x="680" y="206"/>
                    </a:lnTo>
                    <a:lnTo>
                      <a:pt x="678" y="210"/>
                    </a:lnTo>
                    <a:lnTo>
                      <a:pt x="680" y="220"/>
                    </a:lnTo>
                    <a:lnTo>
                      <a:pt x="684" y="222"/>
                    </a:lnTo>
                    <a:lnTo>
                      <a:pt x="688" y="230"/>
                    </a:lnTo>
                    <a:lnTo>
                      <a:pt x="684" y="238"/>
                    </a:lnTo>
                    <a:lnTo>
                      <a:pt x="678" y="244"/>
                    </a:lnTo>
                    <a:lnTo>
                      <a:pt x="678" y="250"/>
                    </a:lnTo>
                    <a:lnTo>
                      <a:pt x="668" y="252"/>
                    </a:lnTo>
                    <a:lnTo>
                      <a:pt x="656" y="262"/>
                    </a:lnTo>
                    <a:lnTo>
                      <a:pt x="652" y="266"/>
                    </a:lnTo>
                    <a:lnTo>
                      <a:pt x="644" y="268"/>
                    </a:lnTo>
                    <a:lnTo>
                      <a:pt x="634" y="282"/>
                    </a:lnTo>
                    <a:lnTo>
                      <a:pt x="624" y="286"/>
                    </a:lnTo>
                    <a:lnTo>
                      <a:pt x="618" y="294"/>
                    </a:lnTo>
                    <a:lnTo>
                      <a:pt x="610" y="304"/>
                    </a:lnTo>
                    <a:lnTo>
                      <a:pt x="606" y="316"/>
                    </a:lnTo>
                    <a:lnTo>
                      <a:pt x="610" y="328"/>
                    </a:lnTo>
                    <a:lnTo>
                      <a:pt x="616" y="340"/>
                    </a:lnTo>
                    <a:lnTo>
                      <a:pt x="618" y="354"/>
                    </a:lnTo>
                    <a:lnTo>
                      <a:pt x="624" y="366"/>
                    </a:lnTo>
                    <a:lnTo>
                      <a:pt x="626" y="382"/>
                    </a:lnTo>
                    <a:lnTo>
                      <a:pt x="626" y="396"/>
                    </a:lnTo>
                    <a:lnTo>
                      <a:pt x="624" y="404"/>
                    </a:lnTo>
                    <a:lnTo>
                      <a:pt x="618" y="404"/>
                    </a:lnTo>
                    <a:lnTo>
                      <a:pt x="610" y="396"/>
                    </a:lnTo>
                    <a:lnTo>
                      <a:pt x="604" y="386"/>
                    </a:lnTo>
                    <a:lnTo>
                      <a:pt x="598" y="380"/>
                    </a:lnTo>
                    <a:lnTo>
                      <a:pt x="590" y="374"/>
                    </a:lnTo>
                    <a:lnTo>
                      <a:pt x="588" y="364"/>
                    </a:lnTo>
                    <a:lnTo>
                      <a:pt x="588" y="354"/>
                    </a:lnTo>
                    <a:lnTo>
                      <a:pt x="590" y="344"/>
                    </a:lnTo>
                    <a:lnTo>
                      <a:pt x="584" y="336"/>
                    </a:lnTo>
                    <a:lnTo>
                      <a:pt x="578" y="330"/>
                    </a:lnTo>
                    <a:lnTo>
                      <a:pt x="570" y="326"/>
                    </a:lnTo>
                    <a:lnTo>
                      <a:pt x="564" y="328"/>
                    </a:lnTo>
                    <a:lnTo>
                      <a:pt x="556" y="336"/>
                    </a:lnTo>
                    <a:lnTo>
                      <a:pt x="550" y="326"/>
                    </a:lnTo>
                    <a:lnTo>
                      <a:pt x="538" y="324"/>
                    </a:lnTo>
                    <a:lnTo>
                      <a:pt x="526" y="322"/>
                    </a:lnTo>
                    <a:lnTo>
                      <a:pt x="518" y="318"/>
                    </a:lnTo>
                    <a:lnTo>
                      <a:pt x="504" y="318"/>
                    </a:lnTo>
                    <a:lnTo>
                      <a:pt x="490" y="320"/>
                    </a:lnTo>
                    <a:lnTo>
                      <a:pt x="482" y="322"/>
                    </a:lnTo>
                    <a:lnTo>
                      <a:pt x="488" y="328"/>
                    </a:lnTo>
                    <a:lnTo>
                      <a:pt x="492" y="332"/>
                    </a:lnTo>
                    <a:lnTo>
                      <a:pt x="498" y="336"/>
                    </a:lnTo>
                    <a:lnTo>
                      <a:pt x="490" y="338"/>
                    </a:lnTo>
                    <a:lnTo>
                      <a:pt x="484" y="338"/>
                    </a:lnTo>
                    <a:lnTo>
                      <a:pt x="474" y="340"/>
                    </a:lnTo>
                    <a:lnTo>
                      <a:pt x="468" y="336"/>
                    </a:lnTo>
                    <a:lnTo>
                      <a:pt x="458" y="332"/>
                    </a:lnTo>
                    <a:lnTo>
                      <a:pt x="456" y="334"/>
                    </a:lnTo>
                    <a:lnTo>
                      <a:pt x="452" y="336"/>
                    </a:lnTo>
                    <a:lnTo>
                      <a:pt x="442" y="330"/>
                    </a:lnTo>
                    <a:lnTo>
                      <a:pt x="434" y="330"/>
                    </a:lnTo>
                    <a:lnTo>
                      <a:pt x="430" y="336"/>
                    </a:lnTo>
                    <a:lnTo>
                      <a:pt x="424" y="336"/>
                    </a:lnTo>
                    <a:lnTo>
                      <a:pt x="418" y="334"/>
                    </a:lnTo>
                    <a:lnTo>
                      <a:pt x="414" y="340"/>
                    </a:lnTo>
                    <a:lnTo>
                      <a:pt x="410" y="346"/>
                    </a:lnTo>
                    <a:lnTo>
                      <a:pt x="404" y="350"/>
                    </a:lnTo>
                    <a:lnTo>
                      <a:pt x="394" y="350"/>
                    </a:lnTo>
                    <a:lnTo>
                      <a:pt x="390" y="354"/>
                    </a:lnTo>
                    <a:lnTo>
                      <a:pt x="384" y="360"/>
                    </a:lnTo>
                    <a:lnTo>
                      <a:pt x="380" y="368"/>
                    </a:lnTo>
                    <a:lnTo>
                      <a:pt x="382" y="378"/>
                    </a:lnTo>
                    <a:lnTo>
                      <a:pt x="386" y="390"/>
                    </a:lnTo>
                    <a:lnTo>
                      <a:pt x="376" y="388"/>
                    </a:lnTo>
                    <a:lnTo>
                      <a:pt x="362" y="382"/>
                    </a:lnTo>
                    <a:lnTo>
                      <a:pt x="354" y="372"/>
                    </a:lnTo>
                    <a:lnTo>
                      <a:pt x="346" y="360"/>
                    </a:lnTo>
                    <a:lnTo>
                      <a:pt x="338" y="350"/>
                    </a:lnTo>
                    <a:lnTo>
                      <a:pt x="332" y="336"/>
                    </a:lnTo>
                    <a:lnTo>
                      <a:pt x="320" y="332"/>
                    </a:lnTo>
                    <a:lnTo>
                      <a:pt x="312" y="328"/>
                    </a:lnTo>
                    <a:lnTo>
                      <a:pt x="306" y="332"/>
                    </a:lnTo>
                    <a:lnTo>
                      <a:pt x="304" y="340"/>
                    </a:lnTo>
                    <a:lnTo>
                      <a:pt x="294" y="342"/>
                    </a:lnTo>
                    <a:lnTo>
                      <a:pt x="280" y="334"/>
                    </a:lnTo>
                    <a:lnTo>
                      <a:pt x="278" y="318"/>
                    </a:lnTo>
                    <a:lnTo>
                      <a:pt x="268" y="312"/>
                    </a:lnTo>
                    <a:lnTo>
                      <a:pt x="250" y="298"/>
                    </a:lnTo>
                    <a:lnTo>
                      <a:pt x="232" y="300"/>
                    </a:lnTo>
                    <a:lnTo>
                      <a:pt x="226" y="306"/>
                    </a:lnTo>
                    <a:lnTo>
                      <a:pt x="184" y="306"/>
                    </a:lnTo>
                    <a:lnTo>
                      <a:pt x="170" y="300"/>
                    </a:lnTo>
                    <a:lnTo>
                      <a:pt x="148" y="290"/>
                    </a:lnTo>
                    <a:lnTo>
                      <a:pt x="132" y="284"/>
                    </a:lnTo>
                    <a:lnTo>
                      <a:pt x="104" y="286"/>
                    </a:lnTo>
                    <a:lnTo>
                      <a:pt x="100" y="276"/>
                    </a:lnTo>
                    <a:lnTo>
                      <a:pt x="92" y="268"/>
                    </a:lnTo>
                    <a:lnTo>
                      <a:pt x="88" y="264"/>
                    </a:lnTo>
                    <a:lnTo>
                      <a:pt x="74" y="262"/>
                    </a:lnTo>
                    <a:lnTo>
                      <a:pt x="66" y="254"/>
                    </a:lnTo>
                    <a:lnTo>
                      <a:pt x="54" y="258"/>
                    </a:lnTo>
                    <a:lnTo>
                      <a:pt x="52" y="244"/>
                    </a:lnTo>
                    <a:lnTo>
                      <a:pt x="42" y="232"/>
                    </a:lnTo>
                    <a:lnTo>
                      <a:pt x="34" y="224"/>
                    </a:lnTo>
                    <a:lnTo>
                      <a:pt x="38" y="218"/>
                    </a:lnTo>
                    <a:lnTo>
                      <a:pt x="32" y="214"/>
                    </a:lnTo>
                    <a:lnTo>
                      <a:pt x="28" y="206"/>
                    </a:lnTo>
                    <a:lnTo>
                      <a:pt x="34" y="196"/>
                    </a:lnTo>
                    <a:lnTo>
                      <a:pt x="24" y="196"/>
                    </a:lnTo>
                    <a:lnTo>
                      <a:pt x="16" y="190"/>
                    </a:lnTo>
                    <a:lnTo>
                      <a:pt x="8" y="178"/>
                    </a:lnTo>
                    <a:lnTo>
                      <a:pt x="8" y="168"/>
                    </a:lnTo>
                    <a:lnTo>
                      <a:pt x="2" y="160"/>
                    </a:lnTo>
                    <a:lnTo>
                      <a:pt x="2" y="152"/>
                    </a:lnTo>
                    <a:lnTo>
                      <a:pt x="6" y="134"/>
                    </a:lnTo>
                    <a:lnTo>
                      <a:pt x="2" y="110"/>
                    </a:lnTo>
                    <a:lnTo>
                      <a:pt x="6" y="100"/>
                    </a:lnTo>
                    <a:lnTo>
                      <a:pt x="8" y="58"/>
                    </a:lnTo>
                    <a:lnTo>
                      <a:pt x="14" y="58"/>
                    </a:lnTo>
                    <a:lnTo>
                      <a:pt x="8" y="48"/>
                    </a:lnTo>
                    <a:lnTo>
                      <a:pt x="6" y="42"/>
                    </a:lnTo>
                    <a:lnTo>
                      <a:pt x="6" y="38"/>
                    </a:lnTo>
                    <a:lnTo>
                      <a:pt x="4" y="34"/>
                    </a:lnTo>
                    <a:lnTo>
                      <a:pt x="0" y="24"/>
                    </a:lnTo>
                    <a:lnTo>
                      <a:pt x="6" y="22"/>
                    </a:lnTo>
                    <a:lnTo>
                      <a:pt x="16" y="24"/>
                    </a:lnTo>
                    <a:lnTo>
                      <a:pt x="22" y="26"/>
                    </a:lnTo>
                    <a:lnTo>
                      <a:pt x="24" y="34"/>
                    </a:lnTo>
                    <a:lnTo>
                      <a:pt x="24" y="40"/>
                    </a:lnTo>
                    <a:lnTo>
                      <a:pt x="30" y="34"/>
                    </a:lnTo>
                    <a:lnTo>
                      <a:pt x="32" y="24"/>
                    </a:lnTo>
                    <a:lnTo>
                      <a:pt x="26" y="18"/>
                    </a:lnTo>
                    <a:lnTo>
                      <a:pt x="26" y="6"/>
                    </a:lnTo>
                    <a:lnTo>
                      <a:pt x="410" y="6"/>
                    </a:lnTo>
                    <a:lnTo>
                      <a:pt x="410"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2" name="Line 201"/>
              <p:cNvSpPr>
                <a:spLocks noChangeShapeType="1"/>
              </p:cNvSpPr>
              <p:nvPr/>
            </p:nvSpPr>
            <p:spPr bwMode="auto">
              <a:xfrm>
                <a:off x="1629" y="183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3" name="Freeform 202"/>
              <p:cNvSpPr>
                <a:spLocks/>
              </p:cNvSpPr>
              <p:nvPr/>
            </p:nvSpPr>
            <p:spPr bwMode="auto">
              <a:xfrm>
                <a:off x="1099" y="1755"/>
                <a:ext cx="818" cy="412"/>
              </a:xfrm>
              <a:custGeom>
                <a:avLst/>
                <a:gdLst>
                  <a:gd name="T0" fmla="*/ 28 w 818"/>
                  <a:gd name="T1" fmla="*/ 8 h 412"/>
                  <a:gd name="T2" fmla="*/ 26 w 818"/>
                  <a:gd name="T3" fmla="*/ 26 h 412"/>
                  <a:gd name="T4" fmla="*/ 0 w 818"/>
                  <a:gd name="T5" fmla="*/ 28 h 412"/>
                  <a:gd name="T6" fmla="*/ 10 w 818"/>
                  <a:gd name="T7" fmla="*/ 54 h 412"/>
                  <a:gd name="T8" fmla="*/ 6 w 818"/>
                  <a:gd name="T9" fmla="*/ 138 h 412"/>
                  <a:gd name="T10" fmla="*/ 8 w 818"/>
                  <a:gd name="T11" fmla="*/ 182 h 412"/>
                  <a:gd name="T12" fmla="*/ 28 w 818"/>
                  <a:gd name="T13" fmla="*/ 208 h 412"/>
                  <a:gd name="T14" fmla="*/ 34 w 818"/>
                  <a:gd name="T15" fmla="*/ 228 h 412"/>
                  <a:gd name="T16" fmla="*/ 58 w 818"/>
                  <a:gd name="T17" fmla="*/ 266 h 412"/>
                  <a:gd name="T18" fmla="*/ 104 w 818"/>
                  <a:gd name="T19" fmla="*/ 292 h 412"/>
                  <a:gd name="T20" fmla="*/ 188 w 818"/>
                  <a:gd name="T21" fmla="*/ 314 h 412"/>
                  <a:gd name="T22" fmla="*/ 278 w 818"/>
                  <a:gd name="T23" fmla="*/ 324 h 412"/>
                  <a:gd name="T24" fmla="*/ 308 w 818"/>
                  <a:gd name="T25" fmla="*/ 348 h 412"/>
                  <a:gd name="T26" fmla="*/ 338 w 818"/>
                  <a:gd name="T27" fmla="*/ 356 h 412"/>
                  <a:gd name="T28" fmla="*/ 378 w 818"/>
                  <a:gd name="T29" fmla="*/ 396 h 412"/>
                  <a:gd name="T30" fmla="*/ 388 w 818"/>
                  <a:gd name="T31" fmla="*/ 372 h 412"/>
                  <a:gd name="T32" fmla="*/ 416 w 818"/>
                  <a:gd name="T33" fmla="*/ 354 h 412"/>
                  <a:gd name="T34" fmla="*/ 428 w 818"/>
                  <a:gd name="T35" fmla="*/ 344 h 412"/>
                  <a:gd name="T36" fmla="*/ 454 w 818"/>
                  <a:gd name="T37" fmla="*/ 342 h 412"/>
                  <a:gd name="T38" fmla="*/ 478 w 818"/>
                  <a:gd name="T39" fmla="*/ 348 h 412"/>
                  <a:gd name="T40" fmla="*/ 506 w 818"/>
                  <a:gd name="T41" fmla="*/ 342 h 412"/>
                  <a:gd name="T42" fmla="*/ 520 w 818"/>
                  <a:gd name="T43" fmla="*/ 326 h 412"/>
                  <a:gd name="T44" fmla="*/ 560 w 818"/>
                  <a:gd name="T45" fmla="*/ 344 h 412"/>
                  <a:gd name="T46" fmla="*/ 584 w 818"/>
                  <a:gd name="T47" fmla="*/ 344 h 412"/>
                  <a:gd name="T48" fmla="*/ 590 w 818"/>
                  <a:gd name="T49" fmla="*/ 380 h 412"/>
                  <a:gd name="T50" fmla="*/ 622 w 818"/>
                  <a:gd name="T51" fmla="*/ 412 h 412"/>
                  <a:gd name="T52" fmla="*/ 634 w 818"/>
                  <a:gd name="T53" fmla="*/ 386 h 412"/>
                  <a:gd name="T54" fmla="*/ 618 w 818"/>
                  <a:gd name="T55" fmla="*/ 330 h 412"/>
                  <a:gd name="T56" fmla="*/ 658 w 818"/>
                  <a:gd name="T57" fmla="*/ 274 h 412"/>
                  <a:gd name="T58" fmla="*/ 686 w 818"/>
                  <a:gd name="T59" fmla="*/ 250 h 412"/>
                  <a:gd name="T60" fmla="*/ 690 w 818"/>
                  <a:gd name="T61" fmla="*/ 222 h 412"/>
                  <a:gd name="T62" fmla="*/ 696 w 818"/>
                  <a:gd name="T63" fmla="*/ 212 h 412"/>
                  <a:gd name="T64" fmla="*/ 706 w 818"/>
                  <a:gd name="T65" fmla="*/ 188 h 412"/>
                  <a:gd name="T66" fmla="*/ 722 w 818"/>
                  <a:gd name="T67" fmla="*/ 156 h 412"/>
                  <a:gd name="T68" fmla="*/ 774 w 818"/>
                  <a:gd name="T69" fmla="*/ 140 h 412"/>
                  <a:gd name="T70" fmla="*/ 764 w 818"/>
                  <a:gd name="T71" fmla="*/ 126 h 412"/>
                  <a:gd name="T72" fmla="*/ 812 w 818"/>
                  <a:gd name="T73" fmla="*/ 94 h 412"/>
                  <a:gd name="T74" fmla="*/ 808 w 818"/>
                  <a:gd name="T75" fmla="*/ 64 h 412"/>
                  <a:gd name="T76" fmla="*/ 786 w 818"/>
                  <a:gd name="T77" fmla="*/ 32 h 412"/>
                  <a:gd name="T78" fmla="*/ 766 w 818"/>
                  <a:gd name="T79" fmla="*/ 54 h 412"/>
                  <a:gd name="T80" fmla="*/ 682 w 818"/>
                  <a:gd name="T81" fmla="*/ 90 h 412"/>
                  <a:gd name="T82" fmla="*/ 644 w 818"/>
                  <a:gd name="T83" fmla="*/ 108 h 412"/>
                  <a:gd name="T84" fmla="*/ 638 w 818"/>
                  <a:gd name="T85" fmla="*/ 124 h 412"/>
                  <a:gd name="T86" fmla="*/ 596 w 818"/>
                  <a:gd name="T87" fmla="*/ 128 h 412"/>
                  <a:gd name="T88" fmla="*/ 598 w 818"/>
                  <a:gd name="T89" fmla="*/ 100 h 412"/>
                  <a:gd name="T90" fmla="*/ 588 w 818"/>
                  <a:gd name="T91" fmla="*/ 96 h 412"/>
                  <a:gd name="T92" fmla="*/ 568 w 818"/>
                  <a:gd name="T93" fmla="*/ 68 h 412"/>
                  <a:gd name="T94" fmla="*/ 550 w 818"/>
                  <a:gd name="T95" fmla="*/ 80 h 412"/>
                  <a:gd name="T96" fmla="*/ 540 w 818"/>
                  <a:gd name="T97" fmla="*/ 104 h 412"/>
                  <a:gd name="T98" fmla="*/ 534 w 818"/>
                  <a:gd name="T99" fmla="*/ 84 h 412"/>
                  <a:gd name="T100" fmla="*/ 538 w 818"/>
                  <a:gd name="T101" fmla="*/ 72 h 412"/>
                  <a:gd name="T102" fmla="*/ 568 w 818"/>
                  <a:gd name="T103" fmla="*/ 68 h 412"/>
                  <a:gd name="T104" fmla="*/ 572 w 818"/>
                  <a:gd name="T105" fmla="*/ 58 h 412"/>
                  <a:gd name="T106" fmla="*/ 542 w 818"/>
                  <a:gd name="T107" fmla="*/ 50 h 412"/>
                  <a:gd name="T108" fmla="*/ 510 w 818"/>
                  <a:gd name="T109" fmla="*/ 38 h 412"/>
                  <a:gd name="T110" fmla="*/ 472 w 818"/>
                  <a:gd name="T111" fmla="*/ 50 h 412"/>
                  <a:gd name="T112" fmla="*/ 496 w 818"/>
                  <a:gd name="T113" fmla="*/ 28 h 412"/>
                  <a:gd name="T114" fmla="*/ 428 w 818"/>
                  <a:gd name="T115" fmla="*/ 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412">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4" name="Freeform 203"/>
              <p:cNvSpPr>
                <a:spLocks/>
              </p:cNvSpPr>
              <p:nvPr/>
            </p:nvSpPr>
            <p:spPr bwMode="auto">
              <a:xfrm>
                <a:off x="1621" y="1837"/>
                <a:ext cx="4" cy="4"/>
              </a:xfrm>
              <a:custGeom>
                <a:avLst/>
                <a:gdLst>
                  <a:gd name="T0" fmla="*/ 0 w 4"/>
                  <a:gd name="T1" fmla="*/ 2 h 4"/>
                  <a:gd name="T2" fmla="*/ 4 w 4"/>
                  <a:gd name="T3" fmla="*/ 0 h 4"/>
                  <a:gd name="T4" fmla="*/ 2 w 4"/>
                  <a:gd name="T5" fmla="*/ 2 h 4"/>
                  <a:gd name="T6" fmla="*/ 0 w 4"/>
                  <a:gd name="T7" fmla="*/ 4 h 4"/>
                  <a:gd name="T8" fmla="*/ 0 w 4"/>
                  <a:gd name="T9" fmla="*/ 2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4" y="0"/>
                    </a:lnTo>
                    <a:lnTo>
                      <a:pt x="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5" name="Freeform 204"/>
              <p:cNvSpPr>
                <a:spLocks/>
              </p:cNvSpPr>
              <p:nvPr/>
            </p:nvSpPr>
            <p:spPr bwMode="auto">
              <a:xfrm>
                <a:off x="1779" y="1953"/>
                <a:ext cx="4" cy="6"/>
              </a:xfrm>
              <a:custGeom>
                <a:avLst/>
                <a:gdLst>
                  <a:gd name="T0" fmla="*/ 0 w 4"/>
                  <a:gd name="T1" fmla="*/ 2 h 6"/>
                  <a:gd name="T2" fmla="*/ 0 w 4"/>
                  <a:gd name="T3" fmla="*/ 2 h 6"/>
                  <a:gd name="T4" fmla="*/ 2 w 4"/>
                  <a:gd name="T5" fmla="*/ 2 h 6"/>
                  <a:gd name="T6" fmla="*/ 2 w 4"/>
                  <a:gd name="T7" fmla="*/ 2 h 6"/>
                  <a:gd name="T8" fmla="*/ 4 w 4"/>
                  <a:gd name="T9" fmla="*/ 0 h 6"/>
                  <a:gd name="T10" fmla="*/ 4 w 4"/>
                  <a:gd name="T11" fmla="*/ 4 h 6"/>
                  <a:gd name="T12" fmla="*/ 4 w 4"/>
                  <a:gd name="T13" fmla="*/ 6 h 6"/>
                  <a:gd name="T14" fmla="*/ 0 w 4"/>
                  <a:gd name="T15" fmla="*/ 4 h 6"/>
                  <a:gd name="T16" fmla="*/ 0 w 4"/>
                  <a:gd name="T17" fmla="*/ 2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2"/>
                    </a:lnTo>
                    <a:lnTo>
                      <a:pt x="2" y="2"/>
                    </a:lnTo>
                    <a:lnTo>
                      <a:pt x="4" y="0"/>
                    </a:lnTo>
                    <a:lnTo>
                      <a:pt x="4" y="4"/>
                    </a:lnTo>
                    <a:lnTo>
                      <a:pt x="4" y="6"/>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8" name="Group 406"/>
            <p:cNvGrpSpPr>
              <a:grpSpLocks/>
            </p:cNvGrpSpPr>
            <p:nvPr/>
          </p:nvGrpSpPr>
          <p:grpSpPr bwMode="auto">
            <a:xfrm>
              <a:off x="1557" y="1401"/>
              <a:ext cx="1922" cy="2012"/>
              <a:chOff x="1557" y="1401"/>
              <a:chExt cx="1922" cy="2012"/>
            </a:xfrm>
            <a:grpFill/>
          </p:grpSpPr>
          <p:sp>
            <p:nvSpPr>
              <p:cNvPr id="716" name="Freeform 206"/>
              <p:cNvSpPr>
                <a:spLocks/>
              </p:cNvSpPr>
              <p:nvPr/>
            </p:nvSpPr>
            <p:spPr bwMode="auto">
              <a:xfrm>
                <a:off x="1559" y="2267"/>
                <a:ext cx="54" cy="60"/>
              </a:xfrm>
              <a:custGeom>
                <a:avLst/>
                <a:gdLst>
                  <a:gd name="T0" fmla="*/ 22 w 54"/>
                  <a:gd name="T1" fmla="*/ 60 h 60"/>
                  <a:gd name="T2" fmla="*/ 12 w 54"/>
                  <a:gd name="T3" fmla="*/ 58 h 60"/>
                  <a:gd name="T4" fmla="*/ 6 w 54"/>
                  <a:gd name="T5" fmla="*/ 54 h 60"/>
                  <a:gd name="T6" fmla="*/ 2 w 54"/>
                  <a:gd name="T7" fmla="*/ 52 h 60"/>
                  <a:gd name="T8" fmla="*/ 2 w 54"/>
                  <a:gd name="T9" fmla="*/ 52 h 60"/>
                  <a:gd name="T10" fmla="*/ 0 w 54"/>
                  <a:gd name="T11" fmla="*/ 50 h 60"/>
                  <a:gd name="T12" fmla="*/ 2 w 54"/>
                  <a:gd name="T13" fmla="*/ 38 h 60"/>
                  <a:gd name="T14" fmla="*/ 4 w 54"/>
                  <a:gd name="T15" fmla="*/ 34 h 60"/>
                  <a:gd name="T16" fmla="*/ 10 w 54"/>
                  <a:gd name="T17" fmla="*/ 26 h 60"/>
                  <a:gd name="T18" fmla="*/ 10 w 54"/>
                  <a:gd name="T19" fmla="*/ 26 h 60"/>
                  <a:gd name="T20" fmla="*/ 12 w 54"/>
                  <a:gd name="T21" fmla="*/ 24 h 60"/>
                  <a:gd name="T22" fmla="*/ 12 w 54"/>
                  <a:gd name="T23" fmla="*/ 24 h 60"/>
                  <a:gd name="T24" fmla="*/ 12 w 54"/>
                  <a:gd name="T25" fmla="*/ 24 h 60"/>
                  <a:gd name="T26" fmla="*/ 16 w 54"/>
                  <a:gd name="T27" fmla="*/ 26 h 60"/>
                  <a:gd name="T28" fmla="*/ 24 w 54"/>
                  <a:gd name="T29" fmla="*/ 24 h 60"/>
                  <a:gd name="T30" fmla="*/ 26 w 54"/>
                  <a:gd name="T31" fmla="*/ 24 h 60"/>
                  <a:gd name="T32" fmla="*/ 24 w 54"/>
                  <a:gd name="T33" fmla="*/ 20 h 60"/>
                  <a:gd name="T34" fmla="*/ 18 w 54"/>
                  <a:gd name="T35" fmla="*/ 16 h 60"/>
                  <a:gd name="T36" fmla="*/ 18 w 54"/>
                  <a:gd name="T37" fmla="*/ 16 h 60"/>
                  <a:gd name="T38" fmla="*/ 16 w 54"/>
                  <a:gd name="T39" fmla="*/ 14 h 60"/>
                  <a:gd name="T40" fmla="*/ 14 w 54"/>
                  <a:gd name="T41" fmla="*/ 8 h 60"/>
                  <a:gd name="T42" fmla="*/ 14 w 54"/>
                  <a:gd name="T43" fmla="*/ 8 h 60"/>
                  <a:gd name="T44" fmla="*/ 14 w 54"/>
                  <a:gd name="T45" fmla="*/ 6 h 60"/>
                  <a:gd name="T46" fmla="*/ 16 w 54"/>
                  <a:gd name="T47" fmla="*/ 4 h 60"/>
                  <a:gd name="T48" fmla="*/ 16 w 54"/>
                  <a:gd name="T49" fmla="*/ 4 h 60"/>
                  <a:gd name="T50" fmla="*/ 18 w 54"/>
                  <a:gd name="T51" fmla="*/ 2 h 60"/>
                  <a:gd name="T52" fmla="*/ 18 w 54"/>
                  <a:gd name="T53" fmla="*/ 2 h 60"/>
                  <a:gd name="T54" fmla="*/ 44 w 54"/>
                  <a:gd name="T55" fmla="*/ 0 h 60"/>
                  <a:gd name="T56" fmla="*/ 44 w 54"/>
                  <a:gd name="T57" fmla="*/ 0 h 60"/>
                  <a:gd name="T58" fmla="*/ 46 w 54"/>
                  <a:gd name="T59" fmla="*/ 0 h 60"/>
                  <a:gd name="T60" fmla="*/ 46 w 54"/>
                  <a:gd name="T61" fmla="*/ 0 h 60"/>
                  <a:gd name="T62" fmla="*/ 46 w 54"/>
                  <a:gd name="T63" fmla="*/ 2 h 60"/>
                  <a:gd name="T64" fmla="*/ 46 w 54"/>
                  <a:gd name="T65" fmla="*/ 30 h 60"/>
                  <a:gd name="T66" fmla="*/ 50 w 54"/>
                  <a:gd name="T67" fmla="*/ 30 h 60"/>
                  <a:gd name="T68" fmla="*/ 50 w 54"/>
                  <a:gd name="T69" fmla="*/ 30 h 60"/>
                  <a:gd name="T70" fmla="*/ 50 w 54"/>
                  <a:gd name="T71" fmla="*/ 30 h 60"/>
                  <a:gd name="T72" fmla="*/ 54 w 54"/>
                  <a:gd name="T73" fmla="*/ 34 h 60"/>
                  <a:gd name="T74" fmla="*/ 54 w 54"/>
                  <a:gd name="T75" fmla="*/ 34 h 60"/>
                  <a:gd name="T76" fmla="*/ 54 w 54"/>
                  <a:gd name="T77" fmla="*/ 36 h 60"/>
                  <a:gd name="T78" fmla="*/ 50 w 54"/>
                  <a:gd name="T79" fmla="*/ 44 h 60"/>
                  <a:gd name="T80" fmla="*/ 34 w 54"/>
                  <a:gd name="T81" fmla="*/ 60 h 60"/>
                  <a:gd name="T82" fmla="*/ 34 w 54"/>
                  <a:gd name="T83" fmla="*/ 60 h 60"/>
                  <a:gd name="T84" fmla="*/ 32 w 54"/>
                  <a:gd name="T85" fmla="*/ 60 h 60"/>
                  <a:gd name="T86" fmla="*/ 22 w 54"/>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60">
                    <a:moveTo>
                      <a:pt x="22" y="60"/>
                    </a:moveTo>
                    <a:lnTo>
                      <a:pt x="12" y="58"/>
                    </a:lnTo>
                    <a:lnTo>
                      <a:pt x="6" y="54"/>
                    </a:lnTo>
                    <a:lnTo>
                      <a:pt x="2" y="52"/>
                    </a:lnTo>
                    <a:lnTo>
                      <a:pt x="2" y="52"/>
                    </a:lnTo>
                    <a:lnTo>
                      <a:pt x="0" y="50"/>
                    </a:lnTo>
                    <a:lnTo>
                      <a:pt x="2" y="38"/>
                    </a:lnTo>
                    <a:lnTo>
                      <a:pt x="4" y="34"/>
                    </a:lnTo>
                    <a:lnTo>
                      <a:pt x="10" y="26"/>
                    </a:lnTo>
                    <a:lnTo>
                      <a:pt x="10" y="26"/>
                    </a:lnTo>
                    <a:lnTo>
                      <a:pt x="12" y="24"/>
                    </a:lnTo>
                    <a:lnTo>
                      <a:pt x="12" y="24"/>
                    </a:lnTo>
                    <a:lnTo>
                      <a:pt x="12" y="24"/>
                    </a:lnTo>
                    <a:lnTo>
                      <a:pt x="16" y="26"/>
                    </a:lnTo>
                    <a:lnTo>
                      <a:pt x="24" y="24"/>
                    </a:lnTo>
                    <a:lnTo>
                      <a:pt x="26" y="24"/>
                    </a:lnTo>
                    <a:lnTo>
                      <a:pt x="24" y="20"/>
                    </a:lnTo>
                    <a:lnTo>
                      <a:pt x="18" y="16"/>
                    </a:lnTo>
                    <a:lnTo>
                      <a:pt x="18" y="16"/>
                    </a:lnTo>
                    <a:lnTo>
                      <a:pt x="16" y="14"/>
                    </a:lnTo>
                    <a:lnTo>
                      <a:pt x="14" y="8"/>
                    </a:lnTo>
                    <a:lnTo>
                      <a:pt x="14" y="8"/>
                    </a:lnTo>
                    <a:lnTo>
                      <a:pt x="14" y="6"/>
                    </a:lnTo>
                    <a:lnTo>
                      <a:pt x="16" y="4"/>
                    </a:lnTo>
                    <a:lnTo>
                      <a:pt x="16" y="4"/>
                    </a:lnTo>
                    <a:lnTo>
                      <a:pt x="18" y="2"/>
                    </a:lnTo>
                    <a:lnTo>
                      <a:pt x="18" y="2"/>
                    </a:lnTo>
                    <a:lnTo>
                      <a:pt x="44" y="0"/>
                    </a:lnTo>
                    <a:lnTo>
                      <a:pt x="44" y="0"/>
                    </a:lnTo>
                    <a:lnTo>
                      <a:pt x="46" y="0"/>
                    </a:lnTo>
                    <a:lnTo>
                      <a:pt x="46" y="0"/>
                    </a:lnTo>
                    <a:lnTo>
                      <a:pt x="46" y="2"/>
                    </a:lnTo>
                    <a:lnTo>
                      <a:pt x="46" y="30"/>
                    </a:lnTo>
                    <a:lnTo>
                      <a:pt x="50" y="30"/>
                    </a:lnTo>
                    <a:lnTo>
                      <a:pt x="50" y="30"/>
                    </a:lnTo>
                    <a:lnTo>
                      <a:pt x="50" y="30"/>
                    </a:lnTo>
                    <a:lnTo>
                      <a:pt x="54" y="34"/>
                    </a:lnTo>
                    <a:lnTo>
                      <a:pt x="54" y="34"/>
                    </a:lnTo>
                    <a:lnTo>
                      <a:pt x="54" y="36"/>
                    </a:lnTo>
                    <a:lnTo>
                      <a:pt x="50" y="44"/>
                    </a:lnTo>
                    <a:lnTo>
                      <a:pt x="34" y="60"/>
                    </a:lnTo>
                    <a:lnTo>
                      <a:pt x="34" y="60"/>
                    </a:lnTo>
                    <a:lnTo>
                      <a:pt x="32" y="60"/>
                    </a:lnTo>
                    <a:lnTo>
                      <a:pt x="2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7" name="Freeform 207"/>
              <p:cNvSpPr>
                <a:spLocks noEditPoints="1"/>
              </p:cNvSpPr>
              <p:nvPr/>
            </p:nvSpPr>
            <p:spPr bwMode="auto">
              <a:xfrm>
                <a:off x="1557" y="2265"/>
                <a:ext cx="58" cy="64"/>
              </a:xfrm>
              <a:custGeom>
                <a:avLst/>
                <a:gdLst>
                  <a:gd name="T0" fmla="*/ 46 w 58"/>
                  <a:gd name="T1" fmla="*/ 34 h 64"/>
                  <a:gd name="T2" fmla="*/ 54 w 58"/>
                  <a:gd name="T3" fmla="*/ 38 h 64"/>
                  <a:gd name="T4" fmla="*/ 46 w 58"/>
                  <a:gd name="T5" fmla="*/ 48 h 64"/>
                  <a:gd name="T6" fmla="*/ 34 w 58"/>
                  <a:gd name="T7" fmla="*/ 60 h 64"/>
                  <a:gd name="T8" fmla="*/ 16 w 58"/>
                  <a:gd name="T9" fmla="*/ 58 h 64"/>
                  <a:gd name="T10" fmla="*/ 4 w 58"/>
                  <a:gd name="T11" fmla="*/ 52 h 64"/>
                  <a:gd name="T12" fmla="*/ 8 w 58"/>
                  <a:gd name="T13" fmla="*/ 36 h 64"/>
                  <a:gd name="T14" fmla="*/ 16 w 58"/>
                  <a:gd name="T15" fmla="*/ 30 h 64"/>
                  <a:gd name="T16" fmla="*/ 30 w 58"/>
                  <a:gd name="T17" fmla="*/ 26 h 64"/>
                  <a:gd name="T18" fmla="*/ 20 w 58"/>
                  <a:gd name="T19" fmla="*/ 16 h 64"/>
                  <a:gd name="T20" fmla="*/ 20 w 58"/>
                  <a:gd name="T21" fmla="*/ 6 h 64"/>
                  <a:gd name="T22" fmla="*/ 46 w 58"/>
                  <a:gd name="T23" fmla="*/ 0 h 64"/>
                  <a:gd name="T24" fmla="*/ 46 w 58"/>
                  <a:gd name="T25" fmla="*/ 0 h 64"/>
                  <a:gd name="T26" fmla="*/ 20 w 58"/>
                  <a:gd name="T27" fmla="*/ 2 h 64"/>
                  <a:gd name="T28" fmla="*/ 14 w 58"/>
                  <a:gd name="T29" fmla="*/ 8 h 64"/>
                  <a:gd name="T30" fmla="*/ 14 w 58"/>
                  <a:gd name="T31" fmla="*/ 10 h 64"/>
                  <a:gd name="T32" fmla="*/ 16 w 58"/>
                  <a:gd name="T33" fmla="*/ 18 h 64"/>
                  <a:gd name="T34" fmla="*/ 24 w 58"/>
                  <a:gd name="T35" fmla="*/ 24 h 64"/>
                  <a:gd name="T36" fmla="*/ 18 w 58"/>
                  <a:gd name="T37" fmla="*/ 26 h 64"/>
                  <a:gd name="T38" fmla="*/ 16 w 58"/>
                  <a:gd name="T39" fmla="*/ 26 h 64"/>
                  <a:gd name="T40" fmla="*/ 14 w 58"/>
                  <a:gd name="T41" fmla="*/ 24 h 64"/>
                  <a:gd name="T42" fmla="*/ 4 w 58"/>
                  <a:gd name="T43" fmla="*/ 34 h 64"/>
                  <a:gd name="T44" fmla="*/ 4 w 58"/>
                  <a:gd name="T45" fmla="*/ 34 h 64"/>
                  <a:gd name="T46" fmla="*/ 2 w 58"/>
                  <a:gd name="T47" fmla="*/ 40 h 64"/>
                  <a:gd name="T48" fmla="*/ 0 w 58"/>
                  <a:gd name="T49" fmla="*/ 50 h 64"/>
                  <a:gd name="T50" fmla="*/ 0 w 58"/>
                  <a:gd name="T51" fmla="*/ 54 h 64"/>
                  <a:gd name="T52" fmla="*/ 8 w 58"/>
                  <a:gd name="T53" fmla="*/ 58 h 64"/>
                  <a:gd name="T54" fmla="*/ 12 w 58"/>
                  <a:gd name="T55" fmla="*/ 62 h 64"/>
                  <a:gd name="T56" fmla="*/ 22 w 58"/>
                  <a:gd name="T57" fmla="*/ 64 h 64"/>
                  <a:gd name="T58" fmla="*/ 24 w 58"/>
                  <a:gd name="T59" fmla="*/ 64 h 64"/>
                  <a:gd name="T60" fmla="*/ 34 w 58"/>
                  <a:gd name="T61" fmla="*/ 64 h 64"/>
                  <a:gd name="T62" fmla="*/ 44 w 58"/>
                  <a:gd name="T63" fmla="*/ 56 h 64"/>
                  <a:gd name="T64" fmla="*/ 52 w 58"/>
                  <a:gd name="T65" fmla="*/ 48 h 64"/>
                  <a:gd name="T66" fmla="*/ 52 w 58"/>
                  <a:gd name="T67" fmla="*/ 46 h 64"/>
                  <a:gd name="T68" fmla="*/ 58 w 58"/>
                  <a:gd name="T69" fmla="*/ 40 h 64"/>
                  <a:gd name="T70" fmla="*/ 58 w 58"/>
                  <a:gd name="T71" fmla="*/ 34 h 64"/>
                  <a:gd name="T72" fmla="*/ 54 w 58"/>
                  <a:gd name="T73" fmla="*/ 32 h 64"/>
                  <a:gd name="T74" fmla="*/ 50 w 58"/>
                  <a:gd name="T75" fmla="*/ 30 h 64"/>
                  <a:gd name="T76" fmla="*/ 50 w 58"/>
                  <a:gd name="T77" fmla="*/ 4 h 64"/>
                  <a:gd name="T78" fmla="*/ 50 w 58"/>
                  <a:gd name="T79" fmla="*/ 2 h 64"/>
                  <a:gd name="T80" fmla="*/ 46 w 58"/>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4">
                    <a:moveTo>
                      <a:pt x="46" y="4"/>
                    </a:moveTo>
                    <a:lnTo>
                      <a:pt x="46" y="34"/>
                    </a:lnTo>
                    <a:lnTo>
                      <a:pt x="52" y="34"/>
                    </a:lnTo>
                    <a:lnTo>
                      <a:pt x="54" y="38"/>
                    </a:lnTo>
                    <a:lnTo>
                      <a:pt x="50" y="44"/>
                    </a:lnTo>
                    <a:lnTo>
                      <a:pt x="46" y="48"/>
                    </a:lnTo>
                    <a:lnTo>
                      <a:pt x="42" y="54"/>
                    </a:lnTo>
                    <a:lnTo>
                      <a:pt x="34" y="60"/>
                    </a:lnTo>
                    <a:lnTo>
                      <a:pt x="24" y="60"/>
                    </a:lnTo>
                    <a:lnTo>
                      <a:pt x="16" y="58"/>
                    </a:lnTo>
                    <a:lnTo>
                      <a:pt x="10" y="56"/>
                    </a:lnTo>
                    <a:lnTo>
                      <a:pt x="4" y="52"/>
                    </a:lnTo>
                    <a:lnTo>
                      <a:pt x="6" y="42"/>
                    </a:lnTo>
                    <a:lnTo>
                      <a:pt x="8" y="36"/>
                    </a:lnTo>
                    <a:lnTo>
                      <a:pt x="14" y="28"/>
                    </a:lnTo>
                    <a:lnTo>
                      <a:pt x="16" y="30"/>
                    </a:lnTo>
                    <a:lnTo>
                      <a:pt x="28" y="28"/>
                    </a:lnTo>
                    <a:lnTo>
                      <a:pt x="30" y="26"/>
                    </a:lnTo>
                    <a:lnTo>
                      <a:pt x="28" y="22"/>
                    </a:lnTo>
                    <a:lnTo>
                      <a:pt x="20" y="16"/>
                    </a:lnTo>
                    <a:lnTo>
                      <a:pt x="18" y="10"/>
                    </a:lnTo>
                    <a:lnTo>
                      <a:pt x="20" y="6"/>
                    </a:lnTo>
                    <a:lnTo>
                      <a:pt x="46" y="4"/>
                    </a:lnTo>
                    <a:close/>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8" name="Freeform 208"/>
              <p:cNvSpPr>
                <a:spLocks/>
              </p:cNvSpPr>
              <p:nvPr/>
            </p:nvSpPr>
            <p:spPr bwMode="auto">
              <a:xfrm>
                <a:off x="1561" y="2269"/>
                <a:ext cx="50" cy="56"/>
              </a:xfrm>
              <a:custGeom>
                <a:avLst/>
                <a:gdLst>
                  <a:gd name="T0" fmla="*/ 42 w 50"/>
                  <a:gd name="T1" fmla="*/ 0 h 56"/>
                  <a:gd name="T2" fmla="*/ 42 w 50"/>
                  <a:gd name="T3" fmla="*/ 30 h 56"/>
                  <a:gd name="T4" fmla="*/ 48 w 50"/>
                  <a:gd name="T5" fmla="*/ 30 h 56"/>
                  <a:gd name="T6" fmla="*/ 50 w 50"/>
                  <a:gd name="T7" fmla="*/ 34 h 56"/>
                  <a:gd name="T8" fmla="*/ 46 w 50"/>
                  <a:gd name="T9" fmla="*/ 40 h 56"/>
                  <a:gd name="T10" fmla="*/ 42 w 50"/>
                  <a:gd name="T11" fmla="*/ 44 h 56"/>
                  <a:gd name="T12" fmla="*/ 38 w 50"/>
                  <a:gd name="T13" fmla="*/ 50 h 56"/>
                  <a:gd name="T14" fmla="*/ 30 w 50"/>
                  <a:gd name="T15" fmla="*/ 56 h 56"/>
                  <a:gd name="T16" fmla="*/ 20 w 50"/>
                  <a:gd name="T17" fmla="*/ 56 h 56"/>
                  <a:gd name="T18" fmla="*/ 12 w 50"/>
                  <a:gd name="T19" fmla="*/ 54 h 56"/>
                  <a:gd name="T20" fmla="*/ 6 w 50"/>
                  <a:gd name="T21" fmla="*/ 52 h 56"/>
                  <a:gd name="T22" fmla="*/ 0 w 50"/>
                  <a:gd name="T23" fmla="*/ 48 h 56"/>
                  <a:gd name="T24" fmla="*/ 2 w 50"/>
                  <a:gd name="T25" fmla="*/ 38 h 56"/>
                  <a:gd name="T26" fmla="*/ 4 w 50"/>
                  <a:gd name="T27" fmla="*/ 32 h 56"/>
                  <a:gd name="T28" fmla="*/ 10 w 50"/>
                  <a:gd name="T29" fmla="*/ 24 h 56"/>
                  <a:gd name="T30" fmla="*/ 12 w 50"/>
                  <a:gd name="T31" fmla="*/ 26 h 56"/>
                  <a:gd name="T32" fmla="*/ 24 w 50"/>
                  <a:gd name="T33" fmla="*/ 24 h 56"/>
                  <a:gd name="T34" fmla="*/ 26 w 50"/>
                  <a:gd name="T35" fmla="*/ 22 h 56"/>
                  <a:gd name="T36" fmla="*/ 24 w 50"/>
                  <a:gd name="T37" fmla="*/ 18 h 56"/>
                  <a:gd name="T38" fmla="*/ 16 w 50"/>
                  <a:gd name="T39" fmla="*/ 12 h 56"/>
                  <a:gd name="T40" fmla="*/ 14 w 50"/>
                  <a:gd name="T41" fmla="*/ 6 h 56"/>
                  <a:gd name="T42" fmla="*/ 16 w 50"/>
                  <a:gd name="T43" fmla="*/ 2 h 56"/>
                  <a:gd name="T44" fmla="*/ 42 w 50"/>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56">
                    <a:moveTo>
                      <a:pt x="42" y="0"/>
                    </a:moveTo>
                    <a:lnTo>
                      <a:pt x="42" y="30"/>
                    </a:lnTo>
                    <a:lnTo>
                      <a:pt x="48" y="30"/>
                    </a:lnTo>
                    <a:lnTo>
                      <a:pt x="50" y="34"/>
                    </a:lnTo>
                    <a:lnTo>
                      <a:pt x="46" y="40"/>
                    </a:lnTo>
                    <a:lnTo>
                      <a:pt x="42" y="44"/>
                    </a:lnTo>
                    <a:lnTo>
                      <a:pt x="38" y="50"/>
                    </a:lnTo>
                    <a:lnTo>
                      <a:pt x="30" y="56"/>
                    </a:lnTo>
                    <a:lnTo>
                      <a:pt x="20" y="56"/>
                    </a:lnTo>
                    <a:lnTo>
                      <a:pt x="12" y="54"/>
                    </a:lnTo>
                    <a:lnTo>
                      <a:pt x="6" y="52"/>
                    </a:lnTo>
                    <a:lnTo>
                      <a:pt x="0" y="48"/>
                    </a:lnTo>
                    <a:lnTo>
                      <a:pt x="2" y="38"/>
                    </a:lnTo>
                    <a:lnTo>
                      <a:pt x="4" y="32"/>
                    </a:lnTo>
                    <a:lnTo>
                      <a:pt x="10" y="24"/>
                    </a:lnTo>
                    <a:lnTo>
                      <a:pt x="12" y="26"/>
                    </a:lnTo>
                    <a:lnTo>
                      <a:pt x="24" y="24"/>
                    </a:lnTo>
                    <a:lnTo>
                      <a:pt x="26" y="22"/>
                    </a:lnTo>
                    <a:lnTo>
                      <a:pt x="24" y="18"/>
                    </a:lnTo>
                    <a:lnTo>
                      <a:pt x="16" y="12"/>
                    </a:lnTo>
                    <a:lnTo>
                      <a:pt x="14" y="6"/>
                    </a:lnTo>
                    <a:lnTo>
                      <a:pt x="1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9" name="Freeform 209"/>
              <p:cNvSpPr>
                <a:spLocks/>
              </p:cNvSpPr>
              <p:nvPr/>
            </p:nvSpPr>
            <p:spPr bwMode="auto">
              <a:xfrm>
                <a:off x="1557" y="2265"/>
                <a:ext cx="58" cy="64"/>
              </a:xfrm>
              <a:custGeom>
                <a:avLst/>
                <a:gdLst>
                  <a:gd name="T0" fmla="*/ 46 w 58"/>
                  <a:gd name="T1" fmla="*/ 0 h 64"/>
                  <a:gd name="T2" fmla="*/ 46 w 58"/>
                  <a:gd name="T3" fmla="*/ 0 h 64"/>
                  <a:gd name="T4" fmla="*/ 46 w 58"/>
                  <a:gd name="T5" fmla="*/ 0 h 64"/>
                  <a:gd name="T6" fmla="*/ 20 w 58"/>
                  <a:gd name="T7" fmla="*/ 2 h 64"/>
                  <a:gd name="T8" fmla="*/ 20 w 58"/>
                  <a:gd name="T9" fmla="*/ 2 h 64"/>
                  <a:gd name="T10" fmla="*/ 16 w 58"/>
                  <a:gd name="T11" fmla="*/ 4 h 64"/>
                  <a:gd name="T12" fmla="*/ 14 w 58"/>
                  <a:gd name="T13" fmla="*/ 8 h 64"/>
                  <a:gd name="T14" fmla="*/ 14 w 58"/>
                  <a:gd name="T15" fmla="*/ 8 h 64"/>
                  <a:gd name="T16" fmla="*/ 14 w 58"/>
                  <a:gd name="T17" fmla="*/ 10 h 64"/>
                  <a:gd name="T18" fmla="*/ 16 w 58"/>
                  <a:gd name="T19" fmla="*/ 18 h 64"/>
                  <a:gd name="T20" fmla="*/ 16 w 58"/>
                  <a:gd name="T21" fmla="*/ 18 h 64"/>
                  <a:gd name="T22" fmla="*/ 18 w 58"/>
                  <a:gd name="T23" fmla="*/ 20 h 64"/>
                  <a:gd name="T24" fmla="*/ 24 w 58"/>
                  <a:gd name="T25" fmla="*/ 24 h 64"/>
                  <a:gd name="T26" fmla="*/ 24 w 58"/>
                  <a:gd name="T27" fmla="*/ 26 h 64"/>
                  <a:gd name="T28" fmla="*/ 18 w 58"/>
                  <a:gd name="T29" fmla="*/ 26 h 64"/>
                  <a:gd name="T30" fmla="*/ 16 w 58"/>
                  <a:gd name="T31" fmla="*/ 26 h 64"/>
                  <a:gd name="T32" fmla="*/ 16 w 58"/>
                  <a:gd name="T33" fmla="*/ 26 h 64"/>
                  <a:gd name="T34" fmla="*/ 14 w 58"/>
                  <a:gd name="T35" fmla="*/ 24 h 64"/>
                  <a:gd name="T36" fmla="*/ 14 w 58"/>
                  <a:gd name="T37" fmla="*/ 24 h 64"/>
                  <a:gd name="T38" fmla="*/ 10 w 58"/>
                  <a:gd name="T39" fmla="*/ 26 h 64"/>
                  <a:gd name="T40" fmla="*/ 4 w 58"/>
                  <a:gd name="T41" fmla="*/ 34 h 64"/>
                  <a:gd name="T42" fmla="*/ 4 w 58"/>
                  <a:gd name="T43" fmla="*/ 34 h 64"/>
                  <a:gd name="T44" fmla="*/ 4 w 58"/>
                  <a:gd name="T45" fmla="*/ 34 h 64"/>
                  <a:gd name="T46" fmla="*/ 2 w 58"/>
                  <a:gd name="T47" fmla="*/ 40 h 64"/>
                  <a:gd name="T48" fmla="*/ 2 w 58"/>
                  <a:gd name="T49" fmla="*/ 40 h 64"/>
                  <a:gd name="T50" fmla="*/ 2 w 58"/>
                  <a:gd name="T51" fmla="*/ 40 h 64"/>
                  <a:gd name="T52" fmla="*/ 0 w 58"/>
                  <a:gd name="T53" fmla="*/ 50 h 64"/>
                  <a:gd name="T54" fmla="*/ 0 w 58"/>
                  <a:gd name="T55" fmla="*/ 50 h 64"/>
                  <a:gd name="T56" fmla="*/ 0 w 58"/>
                  <a:gd name="T57" fmla="*/ 54 h 64"/>
                  <a:gd name="T58" fmla="*/ 2 w 58"/>
                  <a:gd name="T59" fmla="*/ 54 h 64"/>
                  <a:gd name="T60" fmla="*/ 8 w 58"/>
                  <a:gd name="T61" fmla="*/ 58 h 64"/>
                  <a:gd name="T62" fmla="*/ 12 w 58"/>
                  <a:gd name="T63" fmla="*/ 62 h 64"/>
                  <a:gd name="T64" fmla="*/ 12 w 58"/>
                  <a:gd name="T65" fmla="*/ 62 h 64"/>
                  <a:gd name="T66" fmla="*/ 14 w 58"/>
                  <a:gd name="T67" fmla="*/ 62 h 64"/>
                  <a:gd name="T68" fmla="*/ 22 w 58"/>
                  <a:gd name="T69" fmla="*/ 64 h 64"/>
                  <a:gd name="T70" fmla="*/ 22 w 58"/>
                  <a:gd name="T71" fmla="*/ 64 h 64"/>
                  <a:gd name="T72" fmla="*/ 24 w 58"/>
                  <a:gd name="T73" fmla="*/ 64 h 64"/>
                  <a:gd name="T74" fmla="*/ 34 w 58"/>
                  <a:gd name="T75" fmla="*/ 64 h 64"/>
                  <a:gd name="T76" fmla="*/ 34 w 58"/>
                  <a:gd name="T77" fmla="*/ 64 h 64"/>
                  <a:gd name="T78" fmla="*/ 36 w 58"/>
                  <a:gd name="T79" fmla="*/ 64 h 64"/>
                  <a:gd name="T80" fmla="*/ 44 w 58"/>
                  <a:gd name="T81" fmla="*/ 56 h 64"/>
                  <a:gd name="T82" fmla="*/ 50 w 58"/>
                  <a:gd name="T83" fmla="*/ 50 h 64"/>
                  <a:gd name="T84" fmla="*/ 52 w 58"/>
                  <a:gd name="T85" fmla="*/ 48 h 64"/>
                  <a:gd name="T86" fmla="*/ 52 w 58"/>
                  <a:gd name="T87" fmla="*/ 48 h 64"/>
                  <a:gd name="T88" fmla="*/ 52 w 58"/>
                  <a:gd name="T89" fmla="*/ 46 h 64"/>
                  <a:gd name="T90" fmla="*/ 58 w 58"/>
                  <a:gd name="T91" fmla="*/ 40 h 64"/>
                  <a:gd name="T92" fmla="*/ 58 w 58"/>
                  <a:gd name="T93" fmla="*/ 40 h 64"/>
                  <a:gd name="T94" fmla="*/ 58 w 58"/>
                  <a:gd name="T95" fmla="*/ 38 h 64"/>
                  <a:gd name="T96" fmla="*/ 58 w 58"/>
                  <a:gd name="T97" fmla="*/ 34 h 64"/>
                  <a:gd name="T98" fmla="*/ 54 w 58"/>
                  <a:gd name="T99" fmla="*/ 32 h 64"/>
                  <a:gd name="T100" fmla="*/ 54 w 58"/>
                  <a:gd name="T101" fmla="*/ 32 h 64"/>
                  <a:gd name="T102" fmla="*/ 52 w 58"/>
                  <a:gd name="T103" fmla="*/ 30 h 64"/>
                  <a:gd name="T104" fmla="*/ 50 w 58"/>
                  <a:gd name="T105" fmla="*/ 30 h 64"/>
                  <a:gd name="T106" fmla="*/ 50 w 58"/>
                  <a:gd name="T107" fmla="*/ 4 h 64"/>
                  <a:gd name="T108" fmla="*/ 50 w 58"/>
                  <a:gd name="T109" fmla="*/ 4 h 64"/>
                  <a:gd name="T110" fmla="*/ 50 w 58"/>
                  <a:gd name="T111" fmla="*/ 2 h 64"/>
                  <a:gd name="T112" fmla="*/ 50 w 58"/>
                  <a:gd name="T113" fmla="*/ 2 h 64"/>
                  <a:gd name="T114" fmla="*/ 46 w 58"/>
                  <a:gd name="T115" fmla="*/ 0 h 64"/>
                  <a:gd name="T116" fmla="*/ 46 w 5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 h="64">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0" name="Freeform 210"/>
              <p:cNvSpPr>
                <a:spLocks/>
              </p:cNvSpPr>
              <p:nvPr/>
            </p:nvSpPr>
            <p:spPr bwMode="auto">
              <a:xfrm>
                <a:off x="1599" y="2255"/>
                <a:ext cx="14" cy="44"/>
              </a:xfrm>
              <a:custGeom>
                <a:avLst/>
                <a:gdLst>
                  <a:gd name="T0" fmla="*/ 2 w 14"/>
                  <a:gd name="T1" fmla="*/ 44 h 44"/>
                  <a:gd name="T2" fmla="*/ 2 w 14"/>
                  <a:gd name="T3" fmla="*/ 44 h 44"/>
                  <a:gd name="T4" fmla="*/ 2 w 14"/>
                  <a:gd name="T5" fmla="*/ 44 h 44"/>
                  <a:gd name="T6" fmla="*/ 2 w 14"/>
                  <a:gd name="T7" fmla="*/ 44 h 44"/>
                  <a:gd name="T8" fmla="*/ 0 w 14"/>
                  <a:gd name="T9" fmla="*/ 42 h 44"/>
                  <a:gd name="T10" fmla="*/ 0 w 14"/>
                  <a:gd name="T11" fmla="*/ 12 h 44"/>
                  <a:gd name="T12" fmla="*/ 0 w 14"/>
                  <a:gd name="T13" fmla="*/ 12 h 44"/>
                  <a:gd name="T14" fmla="*/ 0 w 14"/>
                  <a:gd name="T15" fmla="*/ 10 h 44"/>
                  <a:gd name="T16" fmla="*/ 10 w 14"/>
                  <a:gd name="T17" fmla="*/ 2 h 44"/>
                  <a:gd name="T18" fmla="*/ 10 w 14"/>
                  <a:gd name="T19" fmla="*/ 2 h 44"/>
                  <a:gd name="T20" fmla="*/ 12 w 14"/>
                  <a:gd name="T21" fmla="*/ 0 h 44"/>
                  <a:gd name="T22" fmla="*/ 12 w 14"/>
                  <a:gd name="T23" fmla="*/ 0 h 44"/>
                  <a:gd name="T24" fmla="*/ 12 w 14"/>
                  <a:gd name="T25" fmla="*/ 2 h 44"/>
                  <a:gd name="T26" fmla="*/ 12 w 14"/>
                  <a:gd name="T27" fmla="*/ 2 h 44"/>
                  <a:gd name="T28" fmla="*/ 14 w 14"/>
                  <a:gd name="T29" fmla="*/ 2 h 44"/>
                  <a:gd name="T30" fmla="*/ 14 w 14"/>
                  <a:gd name="T31" fmla="*/ 8 h 44"/>
                  <a:gd name="T32" fmla="*/ 14 w 14"/>
                  <a:gd name="T33" fmla="*/ 8 h 44"/>
                  <a:gd name="T34" fmla="*/ 14 w 14"/>
                  <a:gd name="T35" fmla="*/ 8 h 44"/>
                  <a:gd name="T36" fmla="*/ 14 w 14"/>
                  <a:gd name="T37" fmla="*/ 14 h 44"/>
                  <a:gd name="T38" fmla="*/ 14 w 14"/>
                  <a:gd name="T39" fmla="*/ 26 h 44"/>
                  <a:gd name="T40" fmla="*/ 14 w 14"/>
                  <a:gd name="T41" fmla="*/ 34 h 44"/>
                  <a:gd name="T42" fmla="*/ 14 w 14"/>
                  <a:gd name="T43" fmla="*/ 34 h 44"/>
                  <a:gd name="T44" fmla="*/ 12 w 14"/>
                  <a:gd name="T45" fmla="*/ 34 h 44"/>
                  <a:gd name="T46" fmla="*/ 4 w 14"/>
                  <a:gd name="T47" fmla="*/ 44 h 44"/>
                  <a:gd name="T48" fmla="*/ 4 w 14"/>
                  <a:gd name="T49" fmla="*/ 44 h 44"/>
                  <a:gd name="T50" fmla="*/ 2 w 14"/>
                  <a:gd name="T51" fmla="*/ 44 h 44"/>
                  <a:gd name="T52" fmla="*/ 2 w 14"/>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4">
                    <a:moveTo>
                      <a:pt x="2" y="44"/>
                    </a:moveTo>
                    <a:lnTo>
                      <a:pt x="2" y="44"/>
                    </a:lnTo>
                    <a:lnTo>
                      <a:pt x="2" y="44"/>
                    </a:lnTo>
                    <a:lnTo>
                      <a:pt x="2" y="44"/>
                    </a:lnTo>
                    <a:lnTo>
                      <a:pt x="0" y="42"/>
                    </a:lnTo>
                    <a:lnTo>
                      <a:pt x="0" y="12"/>
                    </a:lnTo>
                    <a:lnTo>
                      <a:pt x="0" y="12"/>
                    </a:lnTo>
                    <a:lnTo>
                      <a:pt x="0" y="10"/>
                    </a:lnTo>
                    <a:lnTo>
                      <a:pt x="10" y="2"/>
                    </a:lnTo>
                    <a:lnTo>
                      <a:pt x="10" y="2"/>
                    </a:lnTo>
                    <a:lnTo>
                      <a:pt x="12" y="0"/>
                    </a:lnTo>
                    <a:lnTo>
                      <a:pt x="12" y="0"/>
                    </a:lnTo>
                    <a:lnTo>
                      <a:pt x="12" y="2"/>
                    </a:lnTo>
                    <a:lnTo>
                      <a:pt x="12" y="2"/>
                    </a:lnTo>
                    <a:lnTo>
                      <a:pt x="14" y="2"/>
                    </a:lnTo>
                    <a:lnTo>
                      <a:pt x="14" y="8"/>
                    </a:lnTo>
                    <a:lnTo>
                      <a:pt x="14" y="8"/>
                    </a:lnTo>
                    <a:lnTo>
                      <a:pt x="14" y="8"/>
                    </a:lnTo>
                    <a:lnTo>
                      <a:pt x="14" y="14"/>
                    </a:lnTo>
                    <a:lnTo>
                      <a:pt x="14" y="26"/>
                    </a:lnTo>
                    <a:lnTo>
                      <a:pt x="14" y="34"/>
                    </a:lnTo>
                    <a:lnTo>
                      <a:pt x="14" y="34"/>
                    </a:lnTo>
                    <a:lnTo>
                      <a:pt x="12" y="34"/>
                    </a:lnTo>
                    <a:lnTo>
                      <a:pt x="4" y="44"/>
                    </a:lnTo>
                    <a:lnTo>
                      <a:pt x="4" y="44"/>
                    </a:lnTo>
                    <a:lnTo>
                      <a:pt x="2" y="44"/>
                    </a:lnTo>
                    <a:lnTo>
                      <a:pt x="2"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1" name="Freeform 211"/>
              <p:cNvSpPr>
                <a:spLocks noEditPoints="1"/>
              </p:cNvSpPr>
              <p:nvPr/>
            </p:nvSpPr>
            <p:spPr bwMode="auto">
              <a:xfrm>
                <a:off x="1597" y="2253"/>
                <a:ext cx="18" cy="48"/>
              </a:xfrm>
              <a:custGeom>
                <a:avLst/>
                <a:gdLst>
                  <a:gd name="T0" fmla="*/ 14 w 18"/>
                  <a:gd name="T1" fmla="*/ 4 h 48"/>
                  <a:gd name="T2" fmla="*/ 14 w 18"/>
                  <a:gd name="T3" fmla="*/ 10 h 48"/>
                  <a:gd name="T4" fmla="*/ 14 w 18"/>
                  <a:gd name="T5" fmla="*/ 16 h 48"/>
                  <a:gd name="T6" fmla="*/ 14 w 18"/>
                  <a:gd name="T7" fmla="*/ 28 h 48"/>
                  <a:gd name="T8" fmla="*/ 14 w 18"/>
                  <a:gd name="T9" fmla="*/ 36 h 48"/>
                  <a:gd name="T10" fmla="*/ 10 w 18"/>
                  <a:gd name="T11" fmla="*/ 38 h 48"/>
                  <a:gd name="T12" fmla="*/ 4 w 18"/>
                  <a:gd name="T13" fmla="*/ 44 h 48"/>
                  <a:gd name="T14" fmla="*/ 4 w 18"/>
                  <a:gd name="T15" fmla="*/ 14 h 48"/>
                  <a:gd name="T16" fmla="*/ 10 w 18"/>
                  <a:gd name="T17" fmla="*/ 8 h 48"/>
                  <a:gd name="T18" fmla="*/ 14 w 18"/>
                  <a:gd name="T19" fmla="*/ 4 h 48"/>
                  <a:gd name="T20" fmla="*/ 14 w 18"/>
                  <a:gd name="T21" fmla="*/ 0 h 48"/>
                  <a:gd name="T22" fmla="*/ 14 w 18"/>
                  <a:gd name="T23" fmla="*/ 0 h 48"/>
                  <a:gd name="T24" fmla="*/ 10 w 18"/>
                  <a:gd name="T25" fmla="*/ 2 h 48"/>
                  <a:gd name="T26" fmla="*/ 6 w 18"/>
                  <a:gd name="T27" fmla="*/ 6 h 48"/>
                  <a:gd name="T28" fmla="*/ 2 w 18"/>
                  <a:gd name="T29" fmla="*/ 12 h 48"/>
                  <a:gd name="T30" fmla="*/ 2 w 18"/>
                  <a:gd name="T31" fmla="*/ 12 h 48"/>
                  <a:gd name="T32" fmla="*/ 0 w 18"/>
                  <a:gd name="T33" fmla="*/ 14 h 48"/>
                  <a:gd name="T34" fmla="*/ 0 w 18"/>
                  <a:gd name="T35" fmla="*/ 44 h 48"/>
                  <a:gd name="T36" fmla="*/ 0 w 18"/>
                  <a:gd name="T37" fmla="*/ 44 h 48"/>
                  <a:gd name="T38" fmla="*/ 0 w 18"/>
                  <a:gd name="T39" fmla="*/ 46 h 48"/>
                  <a:gd name="T40" fmla="*/ 2 w 18"/>
                  <a:gd name="T41" fmla="*/ 48 h 48"/>
                  <a:gd name="T42" fmla="*/ 2 w 18"/>
                  <a:gd name="T43" fmla="*/ 48 h 48"/>
                  <a:gd name="T44" fmla="*/ 4 w 18"/>
                  <a:gd name="T45" fmla="*/ 48 h 48"/>
                  <a:gd name="T46" fmla="*/ 4 w 18"/>
                  <a:gd name="T47" fmla="*/ 48 h 48"/>
                  <a:gd name="T48" fmla="*/ 6 w 18"/>
                  <a:gd name="T49" fmla="*/ 48 h 48"/>
                  <a:gd name="T50" fmla="*/ 12 w 18"/>
                  <a:gd name="T51" fmla="*/ 42 h 48"/>
                  <a:gd name="T52" fmla="*/ 16 w 18"/>
                  <a:gd name="T53" fmla="*/ 38 h 48"/>
                  <a:gd name="T54" fmla="*/ 16 w 18"/>
                  <a:gd name="T55" fmla="*/ 38 h 48"/>
                  <a:gd name="T56" fmla="*/ 18 w 18"/>
                  <a:gd name="T57" fmla="*/ 36 h 48"/>
                  <a:gd name="T58" fmla="*/ 18 w 18"/>
                  <a:gd name="T59" fmla="*/ 28 h 48"/>
                  <a:gd name="T60" fmla="*/ 18 w 18"/>
                  <a:gd name="T61" fmla="*/ 16 h 48"/>
                  <a:gd name="T62" fmla="*/ 18 w 18"/>
                  <a:gd name="T63" fmla="*/ 12 h 48"/>
                  <a:gd name="T64" fmla="*/ 18 w 18"/>
                  <a:gd name="T65" fmla="*/ 12 h 48"/>
                  <a:gd name="T66" fmla="*/ 18 w 18"/>
                  <a:gd name="T67" fmla="*/ 10 h 48"/>
                  <a:gd name="T68" fmla="*/ 16 w 18"/>
                  <a:gd name="T69" fmla="*/ 4 h 48"/>
                  <a:gd name="T70" fmla="*/ 16 w 18"/>
                  <a:gd name="T71" fmla="*/ 4 h 48"/>
                  <a:gd name="T72" fmla="*/ 14 w 18"/>
                  <a:gd name="T73" fmla="*/ 2 h 48"/>
                  <a:gd name="T74" fmla="*/ 14 w 18"/>
                  <a:gd name="T75" fmla="*/ 2 h 48"/>
                  <a:gd name="T76" fmla="*/ 14 w 18"/>
                  <a:gd name="T77" fmla="*/ 0 h 48"/>
                  <a:gd name="T78" fmla="*/ 14 w 1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48">
                    <a:moveTo>
                      <a:pt x="14" y="4"/>
                    </a:moveTo>
                    <a:lnTo>
                      <a:pt x="14" y="10"/>
                    </a:lnTo>
                    <a:lnTo>
                      <a:pt x="14" y="16"/>
                    </a:lnTo>
                    <a:lnTo>
                      <a:pt x="14" y="28"/>
                    </a:lnTo>
                    <a:lnTo>
                      <a:pt x="14" y="36"/>
                    </a:lnTo>
                    <a:lnTo>
                      <a:pt x="10" y="38"/>
                    </a:lnTo>
                    <a:lnTo>
                      <a:pt x="4" y="44"/>
                    </a:lnTo>
                    <a:lnTo>
                      <a:pt x="4" y="14"/>
                    </a:lnTo>
                    <a:lnTo>
                      <a:pt x="10" y="8"/>
                    </a:lnTo>
                    <a:lnTo>
                      <a:pt x="14" y="4"/>
                    </a:lnTo>
                    <a:close/>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2" name="Freeform 212"/>
              <p:cNvSpPr>
                <a:spLocks/>
              </p:cNvSpPr>
              <p:nvPr/>
            </p:nvSpPr>
            <p:spPr bwMode="auto">
              <a:xfrm>
                <a:off x="1601" y="2257"/>
                <a:ext cx="10" cy="40"/>
              </a:xfrm>
              <a:custGeom>
                <a:avLst/>
                <a:gdLst>
                  <a:gd name="T0" fmla="*/ 10 w 10"/>
                  <a:gd name="T1" fmla="*/ 0 h 40"/>
                  <a:gd name="T2" fmla="*/ 10 w 10"/>
                  <a:gd name="T3" fmla="*/ 6 h 40"/>
                  <a:gd name="T4" fmla="*/ 10 w 10"/>
                  <a:gd name="T5" fmla="*/ 12 h 40"/>
                  <a:gd name="T6" fmla="*/ 10 w 10"/>
                  <a:gd name="T7" fmla="*/ 24 h 40"/>
                  <a:gd name="T8" fmla="*/ 10 w 10"/>
                  <a:gd name="T9" fmla="*/ 32 h 40"/>
                  <a:gd name="T10" fmla="*/ 6 w 10"/>
                  <a:gd name="T11" fmla="*/ 34 h 40"/>
                  <a:gd name="T12" fmla="*/ 0 w 10"/>
                  <a:gd name="T13" fmla="*/ 40 h 40"/>
                  <a:gd name="T14" fmla="*/ 0 w 10"/>
                  <a:gd name="T15" fmla="*/ 10 h 40"/>
                  <a:gd name="T16" fmla="*/ 6 w 10"/>
                  <a:gd name="T17" fmla="*/ 4 h 40"/>
                  <a:gd name="T18" fmla="*/ 10 w 10"/>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0">
                    <a:moveTo>
                      <a:pt x="10" y="0"/>
                    </a:moveTo>
                    <a:lnTo>
                      <a:pt x="10" y="6"/>
                    </a:lnTo>
                    <a:lnTo>
                      <a:pt x="10" y="12"/>
                    </a:lnTo>
                    <a:lnTo>
                      <a:pt x="10" y="24"/>
                    </a:lnTo>
                    <a:lnTo>
                      <a:pt x="10" y="32"/>
                    </a:lnTo>
                    <a:lnTo>
                      <a:pt x="6" y="34"/>
                    </a:lnTo>
                    <a:lnTo>
                      <a:pt x="0" y="40"/>
                    </a:lnTo>
                    <a:lnTo>
                      <a:pt x="0" y="10"/>
                    </a:lnTo>
                    <a:lnTo>
                      <a:pt x="6"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3" name="Freeform 213"/>
              <p:cNvSpPr>
                <a:spLocks/>
              </p:cNvSpPr>
              <p:nvPr/>
            </p:nvSpPr>
            <p:spPr bwMode="auto">
              <a:xfrm>
                <a:off x="1597" y="2253"/>
                <a:ext cx="18" cy="48"/>
              </a:xfrm>
              <a:custGeom>
                <a:avLst/>
                <a:gdLst>
                  <a:gd name="T0" fmla="*/ 14 w 18"/>
                  <a:gd name="T1" fmla="*/ 0 h 48"/>
                  <a:gd name="T2" fmla="*/ 14 w 18"/>
                  <a:gd name="T3" fmla="*/ 0 h 48"/>
                  <a:gd name="T4" fmla="*/ 10 w 18"/>
                  <a:gd name="T5" fmla="*/ 2 h 48"/>
                  <a:gd name="T6" fmla="*/ 6 w 18"/>
                  <a:gd name="T7" fmla="*/ 6 h 48"/>
                  <a:gd name="T8" fmla="*/ 2 w 18"/>
                  <a:gd name="T9" fmla="*/ 12 h 48"/>
                  <a:gd name="T10" fmla="*/ 2 w 18"/>
                  <a:gd name="T11" fmla="*/ 12 h 48"/>
                  <a:gd name="T12" fmla="*/ 0 w 18"/>
                  <a:gd name="T13" fmla="*/ 14 h 48"/>
                  <a:gd name="T14" fmla="*/ 0 w 18"/>
                  <a:gd name="T15" fmla="*/ 44 h 48"/>
                  <a:gd name="T16" fmla="*/ 0 w 18"/>
                  <a:gd name="T17" fmla="*/ 44 h 48"/>
                  <a:gd name="T18" fmla="*/ 0 w 18"/>
                  <a:gd name="T19" fmla="*/ 46 h 48"/>
                  <a:gd name="T20" fmla="*/ 2 w 18"/>
                  <a:gd name="T21" fmla="*/ 48 h 48"/>
                  <a:gd name="T22" fmla="*/ 2 w 18"/>
                  <a:gd name="T23" fmla="*/ 48 h 48"/>
                  <a:gd name="T24" fmla="*/ 4 w 18"/>
                  <a:gd name="T25" fmla="*/ 48 h 48"/>
                  <a:gd name="T26" fmla="*/ 4 w 18"/>
                  <a:gd name="T27" fmla="*/ 48 h 48"/>
                  <a:gd name="T28" fmla="*/ 6 w 18"/>
                  <a:gd name="T29" fmla="*/ 48 h 48"/>
                  <a:gd name="T30" fmla="*/ 12 w 18"/>
                  <a:gd name="T31" fmla="*/ 42 h 48"/>
                  <a:gd name="T32" fmla="*/ 16 w 18"/>
                  <a:gd name="T33" fmla="*/ 38 h 48"/>
                  <a:gd name="T34" fmla="*/ 16 w 18"/>
                  <a:gd name="T35" fmla="*/ 38 h 48"/>
                  <a:gd name="T36" fmla="*/ 18 w 18"/>
                  <a:gd name="T37" fmla="*/ 36 h 48"/>
                  <a:gd name="T38" fmla="*/ 18 w 18"/>
                  <a:gd name="T39" fmla="*/ 28 h 48"/>
                  <a:gd name="T40" fmla="*/ 18 w 18"/>
                  <a:gd name="T41" fmla="*/ 16 h 48"/>
                  <a:gd name="T42" fmla="*/ 18 w 18"/>
                  <a:gd name="T43" fmla="*/ 12 h 48"/>
                  <a:gd name="T44" fmla="*/ 18 w 18"/>
                  <a:gd name="T45" fmla="*/ 12 h 48"/>
                  <a:gd name="T46" fmla="*/ 18 w 18"/>
                  <a:gd name="T47" fmla="*/ 10 h 48"/>
                  <a:gd name="T48" fmla="*/ 16 w 18"/>
                  <a:gd name="T49" fmla="*/ 4 h 48"/>
                  <a:gd name="T50" fmla="*/ 16 w 18"/>
                  <a:gd name="T51" fmla="*/ 4 h 48"/>
                  <a:gd name="T52" fmla="*/ 14 w 18"/>
                  <a:gd name="T53" fmla="*/ 2 h 48"/>
                  <a:gd name="T54" fmla="*/ 14 w 18"/>
                  <a:gd name="T55" fmla="*/ 2 h 48"/>
                  <a:gd name="T56" fmla="*/ 14 w 18"/>
                  <a:gd name="T57" fmla="*/ 0 h 48"/>
                  <a:gd name="T58" fmla="*/ 14 w 18"/>
                  <a:gd name="T5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48">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4" name="Freeform 214"/>
              <p:cNvSpPr>
                <a:spLocks/>
              </p:cNvSpPr>
              <p:nvPr/>
            </p:nvSpPr>
            <p:spPr bwMode="auto">
              <a:xfrm>
                <a:off x="1587" y="2317"/>
                <a:ext cx="38" cy="22"/>
              </a:xfrm>
              <a:custGeom>
                <a:avLst/>
                <a:gdLst>
                  <a:gd name="T0" fmla="*/ 28 w 38"/>
                  <a:gd name="T1" fmla="*/ 22 h 22"/>
                  <a:gd name="T2" fmla="*/ 28 w 38"/>
                  <a:gd name="T3" fmla="*/ 22 h 22"/>
                  <a:gd name="T4" fmla="*/ 28 w 38"/>
                  <a:gd name="T5" fmla="*/ 22 h 22"/>
                  <a:gd name="T6" fmla="*/ 18 w 38"/>
                  <a:gd name="T7" fmla="*/ 18 h 22"/>
                  <a:gd name="T8" fmla="*/ 2 w 38"/>
                  <a:gd name="T9" fmla="*/ 12 h 22"/>
                  <a:gd name="T10" fmla="*/ 2 w 38"/>
                  <a:gd name="T11" fmla="*/ 12 h 22"/>
                  <a:gd name="T12" fmla="*/ 0 w 38"/>
                  <a:gd name="T13" fmla="*/ 10 h 22"/>
                  <a:gd name="T14" fmla="*/ 0 w 38"/>
                  <a:gd name="T15" fmla="*/ 10 h 22"/>
                  <a:gd name="T16" fmla="*/ 2 w 38"/>
                  <a:gd name="T17" fmla="*/ 8 h 22"/>
                  <a:gd name="T18" fmla="*/ 14 w 38"/>
                  <a:gd name="T19" fmla="*/ 2 h 22"/>
                  <a:gd name="T20" fmla="*/ 14 w 38"/>
                  <a:gd name="T21" fmla="*/ 2 h 22"/>
                  <a:gd name="T22" fmla="*/ 14 w 38"/>
                  <a:gd name="T23" fmla="*/ 0 h 22"/>
                  <a:gd name="T24" fmla="*/ 14 w 38"/>
                  <a:gd name="T25" fmla="*/ 0 h 22"/>
                  <a:gd name="T26" fmla="*/ 16 w 38"/>
                  <a:gd name="T27" fmla="*/ 0 h 22"/>
                  <a:gd name="T28" fmla="*/ 28 w 38"/>
                  <a:gd name="T29" fmla="*/ 8 h 22"/>
                  <a:gd name="T30" fmla="*/ 34 w 38"/>
                  <a:gd name="T31" fmla="*/ 8 h 22"/>
                  <a:gd name="T32" fmla="*/ 34 w 38"/>
                  <a:gd name="T33" fmla="*/ 8 h 22"/>
                  <a:gd name="T34" fmla="*/ 36 w 38"/>
                  <a:gd name="T35" fmla="*/ 10 h 22"/>
                  <a:gd name="T36" fmla="*/ 38 w 38"/>
                  <a:gd name="T37" fmla="*/ 12 h 22"/>
                  <a:gd name="T38" fmla="*/ 38 w 38"/>
                  <a:gd name="T39" fmla="*/ 12 h 22"/>
                  <a:gd name="T40" fmla="*/ 38 w 38"/>
                  <a:gd name="T41" fmla="*/ 14 h 22"/>
                  <a:gd name="T42" fmla="*/ 34 w 38"/>
                  <a:gd name="T43" fmla="*/ 20 h 22"/>
                  <a:gd name="T44" fmla="*/ 34 w 38"/>
                  <a:gd name="T45" fmla="*/ 20 h 22"/>
                  <a:gd name="T46" fmla="*/ 32 w 38"/>
                  <a:gd name="T47" fmla="*/ 20 h 22"/>
                  <a:gd name="T48" fmla="*/ 28 w 38"/>
                  <a:gd name="T49" fmla="*/ 22 h 22"/>
                  <a:gd name="T50" fmla="*/ 28 w 38"/>
                  <a:gd name="T51" fmla="*/ 22 h 22"/>
                  <a:gd name="T52" fmla="*/ 28 w 38"/>
                  <a:gd name="T53" fmla="*/ 22 h 22"/>
                  <a:gd name="T54" fmla="*/ 28 w 38"/>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2">
                    <a:moveTo>
                      <a:pt x="28" y="22"/>
                    </a:moveTo>
                    <a:lnTo>
                      <a:pt x="28" y="22"/>
                    </a:lnTo>
                    <a:lnTo>
                      <a:pt x="28" y="22"/>
                    </a:lnTo>
                    <a:lnTo>
                      <a:pt x="18" y="18"/>
                    </a:lnTo>
                    <a:lnTo>
                      <a:pt x="2" y="12"/>
                    </a:lnTo>
                    <a:lnTo>
                      <a:pt x="2" y="12"/>
                    </a:lnTo>
                    <a:lnTo>
                      <a:pt x="0" y="10"/>
                    </a:lnTo>
                    <a:lnTo>
                      <a:pt x="0" y="10"/>
                    </a:lnTo>
                    <a:lnTo>
                      <a:pt x="2" y="8"/>
                    </a:lnTo>
                    <a:lnTo>
                      <a:pt x="14" y="2"/>
                    </a:lnTo>
                    <a:lnTo>
                      <a:pt x="14" y="2"/>
                    </a:lnTo>
                    <a:lnTo>
                      <a:pt x="14" y="0"/>
                    </a:lnTo>
                    <a:lnTo>
                      <a:pt x="14" y="0"/>
                    </a:lnTo>
                    <a:lnTo>
                      <a:pt x="16" y="0"/>
                    </a:lnTo>
                    <a:lnTo>
                      <a:pt x="28" y="8"/>
                    </a:lnTo>
                    <a:lnTo>
                      <a:pt x="34" y="8"/>
                    </a:lnTo>
                    <a:lnTo>
                      <a:pt x="34" y="8"/>
                    </a:lnTo>
                    <a:lnTo>
                      <a:pt x="36" y="10"/>
                    </a:lnTo>
                    <a:lnTo>
                      <a:pt x="38" y="12"/>
                    </a:lnTo>
                    <a:lnTo>
                      <a:pt x="38" y="12"/>
                    </a:lnTo>
                    <a:lnTo>
                      <a:pt x="38" y="14"/>
                    </a:lnTo>
                    <a:lnTo>
                      <a:pt x="34" y="20"/>
                    </a:lnTo>
                    <a:lnTo>
                      <a:pt x="34" y="20"/>
                    </a:lnTo>
                    <a:lnTo>
                      <a:pt x="32" y="20"/>
                    </a:lnTo>
                    <a:lnTo>
                      <a:pt x="28" y="22"/>
                    </a:lnTo>
                    <a:lnTo>
                      <a:pt x="28" y="22"/>
                    </a:lnTo>
                    <a:lnTo>
                      <a:pt x="28" y="22"/>
                    </a:lnTo>
                    <a:lnTo>
                      <a:pt x="2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5" name="Freeform 215"/>
              <p:cNvSpPr>
                <a:spLocks noEditPoints="1"/>
              </p:cNvSpPr>
              <p:nvPr/>
            </p:nvSpPr>
            <p:spPr bwMode="auto">
              <a:xfrm>
                <a:off x="1585" y="2315"/>
                <a:ext cx="42" cy="26"/>
              </a:xfrm>
              <a:custGeom>
                <a:avLst/>
                <a:gdLst>
                  <a:gd name="T0" fmla="*/ 16 w 42"/>
                  <a:gd name="T1" fmla="*/ 4 h 26"/>
                  <a:gd name="T2" fmla="*/ 22 w 42"/>
                  <a:gd name="T3" fmla="*/ 8 h 26"/>
                  <a:gd name="T4" fmla="*/ 28 w 42"/>
                  <a:gd name="T5" fmla="*/ 10 h 26"/>
                  <a:gd name="T6" fmla="*/ 36 w 42"/>
                  <a:gd name="T7" fmla="*/ 12 h 26"/>
                  <a:gd name="T8" fmla="*/ 38 w 42"/>
                  <a:gd name="T9" fmla="*/ 16 h 26"/>
                  <a:gd name="T10" fmla="*/ 34 w 42"/>
                  <a:gd name="T11" fmla="*/ 20 h 26"/>
                  <a:gd name="T12" fmla="*/ 30 w 42"/>
                  <a:gd name="T13" fmla="*/ 22 h 26"/>
                  <a:gd name="T14" fmla="*/ 20 w 42"/>
                  <a:gd name="T15" fmla="*/ 18 h 26"/>
                  <a:gd name="T16" fmla="*/ 12 w 42"/>
                  <a:gd name="T17" fmla="*/ 16 h 26"/>
                  <a:gd name="T18" fmla="*/ 4 w 42"/>
                  <a:gd name="T19" fmla="*/ 12 h 26"/>
                  <a:gd name="T20" fmla="*/ 16 w 42"/>
                  <a:gd name="T21" fmla="*/ 4 h 26"/>
                  <a:gd name="T22" fmla="*/ 16 w 42"/>
                  <a:gd name="T23" fmla="*/ 0 h 26"/>
                  <a:gd name="T24" fmla="*/ 16 w 42"/>
                  <a:gd name="T25" fmla="*/ 0 h 26"/>
                  <a:gd name="T26" fmla="*/ 14 w 42"/>
                  <a:gd name="T27" fmla="*/ 2 h 26"/>
                  <a:gd name="T28" fmla="*/ 2 w 42"/>
                  <a:gd name="T29" fmla="*/ 8 h 26"/>
                  <a:gd name="T30" fmla="*/ 2 w 42"/>
                  <a:gd name="T31" fmla="*/ 8 h 26"/>
                  <a:gd name="T32" fmla="*/ 0 w 42"/>
                  <a:gd name="T33" fmla="*/ 12 h 26"/>
                  <a:gd name="T34" fmla="*/ 0 w 42"/>
                  <a:gd name="T35" fmla="*/ 12 h 26"/>
                  <a:gd name="T36" fmla="*/ 4 w 42"/>
                  <a:gd name="T37" fmla="*/ 16 h 26"/>
                  <a:gd name="T38" fmla="*/ 12 w 42"/>
                  <a:gd name="T39" fmla="*/ 20 h 26"/>
                  <a:gd name="T40" fmla="*/ 18 w 42"/>
                  <a:gd name="T41" fmla="*/ 22 h 26"/>
                  <a:gd name="T42" fmla="*/ 30 w 42"/>
                  <a:gd name="T43" fmla="*/ 26 h 26"/>
                  <a:gd name="T44" fmla="*/ 30 w 42"/>
                  <a:gd name="T45" fmla="*/ 26 h 26"/>
                  <a:gd name="T46" fmla="*/ 30 w 42"/>
                  <a:gd name="T47" fmla="*/ 26 h 26"/>
                  <a:gd name="T48" fmla="*/ 30 w 42"/>
                  <a:gd name="T49" fmla="*/ 26 h 26"/>
                  <a:gd name="T50" fmla="*/ 32 w 42"/>
                  <a:gd name="T51" fmla="*/ 26 h 26"/>
                  <a:gd name="T52" fmla="*/ 36 w 42"/>
                  <a:gd name="T53" fmla="*/ 24 h 26"/>
                  <a:gd name="T54" fmla="*/ 36 w 42"/>
                  <a:gd name="T55" fmla="*/ 24 h 26"/>
                  <a:gd name="T56" fmla="*/ 38 w 42"/>
                  <a:gd name="T57" fmla="*/ 22 h 26"/>
                  <a:gd name="T58" fmla="*/ 42 w 42"/>
                  <a:gd name="T59" fmla="*/ 18 h 26"/>
                  <a:gd name="T60" fmla="*/ 42 w 42"/>
                  <a:gd name="T61" fmla="*/ 18 h 26"/>
                  <a:gd name="T62" fmla="*/ 42 w 42"/>
                  <a:gd name="T63" fmla="*/ 16 h 26"/>
                  <a:gd name="T64" fmla="*/ 42 w 42"/>
                  <a:gd name="T65" fmla="*/ 14 h 26"/>
                  <a:gd name="T66" fmla="*/ 40 w 42"/>
                  <a:gd name="T67" fmla="*/ 10 h 26"/>
                  <a:gd name="T68" fmla="*/ 40 w 42"/>
                  <a:gd name="T69" fmla="*/ 10 h 26"/>
                  <a:gd name="T70" fmla="*/ 36 w 42"/>
                  <a:gd name="T71" fmla="*/ 8 h 26"/>
                  <a:gd name="T72" fmla="*/ 30 w 42"/>
                  <a:gd name="T73" fmla="*/ 6 h 26"/>
                  <a:gd name="T74" fmla="*/ 24 w 42"/>
                  <a:gd name="T75" fmla="*/ 4 h 26"/>
                  <a:gd name="T76" fmla="*/ 18 w 42"/>
                  <a:gd name="T77" fmla="*/ 2 h 26"/>
                  <a:gd name="T78" fmla="*/ 18 w 42"/>
                  <a:gd name="T79" fmla="*/ 2 h 26"/>
                  <a:gd name="T80" fmla="*/ 16 w 42"/>
                  <a:gd name="T81" fmla="*/ 0 h 26"/>
                  <a:gd name="T82" fmla="*/ 16 w 42"/>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26">
                    <a:moveTo>
                      <a:pt x="16" y="4"/>
                    </a:moveTo>
                    <a:lnTo>
                      <a:pt x="22" y="8"/>
                    </a:lnTo>
                    <a:lnTo>
                      <a:pt x="28" y="10"/>
                    </a:lnTo>
                    <a:lnTo>
                      <a:pt x="36" y="12"/>
                    </a:lnTo>
                    <a:lnTo>
                      <a:pt x="38" y="16"/>
                    </a:lnTo>
                    <a:lnTo>
                      <a:pt x="34" y="20"/>
                    </a:lnTo>
                    <a:lnTo>
                      <a:pt x="30" y="22"/>
                    </a:lnTo>
                    <a:lnTo>
                      <a:pt x="20" y="18"/>
                    </a:lnTo>
                    <a:lnTo>
                      <a:pt x="12" y="16"/>
                    </a:lnTo>
                    <a:lnTo>
                      <a:pt x="4" y="12"/>
                    </a:lnTo>
                    <a:lnTo>
                      <a:pt x="16" y="4"/>
                    </a:lnTo>
                    <a:close/>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6" name="Freeform 216"/>
              <p:cNvSpPr>
                <a:spLocks/>
              </p:cNvSpPr>
              <p:nvPr/>
            </p:nvSpPr>
            <p:spPr bwMode="auto">
              <a:xfrm>
                <a:off x="1589" y="2319"/>
                <a:ext cx="34" cy="18"/>
              </a:xfrm>
              <a:custGeom>
                <a:avLst/>
                <a:gdLst>
                  <a:gd name="T0" fmla="*/ 12 w 34"/>
                  <a:gd name="T1" fmla="*/ 0 h 18"/>
                  <a:gd name="T2" fmla="*/ 18 w 34"/>
                  <a:gd name="T3" fmla="*/ 4 h 18"/>
                  <a:gd name="T4" fmla="*/ 24 w 34"/>
                  <a:gd name="T5" fmla="*/ 6 h 18"/>
                  <a:gd name="T6" fmla="*/ 32 w 34"/>
                  <a:gd name="T7" fmla="*/ 8 h 18"/>
                  <a:gd name="T8" fmla="*/ 34 w 34"/>
                  <a:gd name="T9" fmla="*/ 12 h 18"/>
                  <a:gd name="T10" fmla="*/ 30 w 34"/>
                  <a:gd name="T11" fmla="*/ 16 h 18"/>
                  <a:gd name="T12" fmla="*/ 26 w 34"/>
                  <a:gd name="T13" fmla="*/ 18 h 18"/>
                  <a:gd name="T14" fmla="*/ 16 w 34"/>
                  <a:gd name="T15" fmla="*/ 14 h 18"/>
                  <a:gd name="T16" fmla="*/ 8 w 34"/>
                  <a:gd name="T17" fmla="*/ 12 h 18"/>
                  <a:gd name="T18" fmla="*/ 0 w 34"/>
                  <a:gd name="T19" fmla="*/ 8 h 18"/>
                  <a:gd name="T20" fmla="*/ 12 w 3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8">
                    <a:moveTo>
                      <a:pt x="12" y="0"/>
                    </a:moveTo>
                    <a:lnTo>
                      <a:pt x="18" y="4"/>
                    </a:lnTo>
                    <a:lnTo>
                      <a:pt x="24" y="6"/>
                    </a:lnTo>
                    <a:lnTo>
                      <a:pt x="32" y="8"/>
                    </a:lnTo>
                    <a:lnTo>
                      <a:pt x="34" y="12"/>
                    </a:lnTo>
                    <a:lnTo>
                      <a:pt x="30" y="16"/>
                    </a:lnTo>
                    <a:lnTo>
                      <a:pt x="26" y="18"/>
                    </a:lnTo>
                    <a:lnTo>
                      <a:pt x="16" y="14"/>
                    </a:lnTo>
                    <a:lnTo>
                      <a:pt x="8" y="12"/>
                    </a:lnTo>
                    <a:lnTo>
                      <a:pt x="0" y="8"/>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7" name="Freeform 217"/>
              <p:cNvSpPr>
                <a:spLocks/>
              </p:cNvSpPr>
              <p:nvPr/>
            </p:nvSpPr>
            <p:spPr bwMode="auto">
              <a:xfrm>
                <a:off x="1585" y="2315"/>
                <a:ext cx="42" cy="26"/>
              </a:xfrm>
              <a:custGeom>
                <a:avLst/>
                <a:gdLst>
                  <a:gd name="T0" fmla="*/ 16 w 42"/>
                  <a:gd name="T1" fmla="*/ 0 h 26"/>
                  <a:gd name="T2" fmla="*/ 16 w 42"/>
                  <a:gd name="T3" fmla="*/ 0 h 26"/>
                  <a:gd name="T4" fmla="*/ 14 w 42"/>
                  <a:gd name="T5" fmla="*/ 2 h 26"/>
                  <a:gd name="T6" fmla="*/ 2 w 42"/>
                  <a:gd name="T7" fmla="*/ 8 h 26"/>
                  <a:gd name="T8" fmla="*/ 2 w 42"/>
                  <a:gd name="T9" fmla="*/ 8 h 26"/>
                  <a:gd name="T10" fmla="*/ 0 w 42"/>
                  <a:gd name="T11" fmla="*/ 12 h 26"/>
                  <a:gd name="T12" fmla="*/ 0 w 42"/>
                  <a:gd name="T13" fmla="*/ 12 h 26"/>
                  <a:gd name="T14" fmla="*/ 4 w 42"/>
                  <a:gd name="T15" fmla="*/ 16 h 26"/>
                  <a:gd name="T16" fmla="*/ 12 w 42"/>
                  <a:gd name="T17" fmla="*/ 20 h 26"/>
                  <a:gd name="T18" fmla="*/ 18 w 42"/>
                  <a:gd name="T19" fmla="*/ 22 h 26"/>
                  <a:gd name="T20" fmla="*/ 30 w 42"/>
                  <a:gd name="T21" fmla="*/ 26 h 26"/>
                  <a:gd name="T22" fmla="*/ 30 w 42"/>
                  <a:gd name="T23" fmla="*/ 26 h 26"/>
                  <a:gd name="T24" fmla="*/ 30 w 42"/>
                  <a:gd name="T25" fmla="*/ 26 h 26"/>
                  <a:gd name="T26" fmla="*/ 30 w 42"/>
                  <a:gd name="T27" fmla="*/ 26 h 26"/>
                  <a:gd name="T28" fmla="*/ 32 w 42"/>
                  <a:gd name="T29" fmla="*/ 26 h 26"/>
                  <a:gd name="T30" fmla="*/ 36 w 42"/>
                  <a:gd name="T31" fmla="*/ 24 h 26"/>
                  <a:gd name="T32" fmla="*/ 36 w 42"/>
                  <a:gd name="T33" fmla="*/ 24 h 26"/>
                  <a:gd name="T34" fmla="*/ 38 w 42"/>
                  <a:gd name="T35" fmla="*/ 22 h 26"/>
                  <a:gd name="T36" fmla="*/ 42 w 42"/>
                  <a:gd name="T37" fmla="*/ 18 h 26"/>
                  <a:gd name="T38" fmla="*/ 42 w 42"/>
                  <a:gd name="T39" fmla="*/ 18 h 26"/>
                  <a:gd name="T40" fmla="*/ 42 w 42"/>
                  <a:gd name="T41" fmla="*/ 16 h 26"/>
                  <a:gd name="T42" fmla="*/ 42 w 42"/>
                  <a:gd name="T43" fmla="*/ 14 h 26"/>
                  <a:gd name="T44" fmla="*/ 40 w 42"/>
                  <a:gd name="T45" fmla="*/ 10 h 26"/>
                  <a:gd name="T46" fmla="*/ 40 w 42"/>
                  <a:gd name="T47" fmla="*/ 10 h 26"/>
                  <a:gd name="T48" fmla="*/ 36 w 42"/>
                  <a:gd name="T49" fmla="*/ 8 h 26"/>
                  <a:gd name="T50" fmla="*/ 30 w 42"/>
                  <a:gd name="T51" fmla="*/ 6 h 26"/>
                  <a:gd name="T52" fmla="*/ 24 w 42"/>
                  <a:gd name="T53" fmla="*/ 4 h 26"/>
                  <a:gd name="T54" fmla="*/ 18 w 42"/>
                  <a:gd name="T55" fmla="*/ 2 h 26"/>
                  <a:gd name="T56" fmla="*/ 18 w 42"/>
                  <a:gd name="T57" fmla="*/ 2 h 26"/>
                  <a:gd name="T58" fmla="*/ 16 w 42"/>
                  <a:gd name="T59" fmla="*/ 0 h 26"/>
                  <a:gd name="T60" fmla="*/ 16 w 42"/>
                  <a:gd name="T6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6">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8" name="Freeform 218"/>
              <p:cNvSpPr>
                <a:spLocks/>
              </p:cNvSpPr>
              <p:nvPr/>
            </p:nvSpPr>
            <p:spPr bwMode="auto">
              <a:xfrm>
                <a:off x="1599" y="2295"/>
                <a:ext cx="88" cy="50"/>
              </a:xfrm>
              <a:custGeom>
                <a:avLst/>
                <a:gdLst>
                  <a:gd name="T0" fmla="*/ 28 w 88"/>
                  <a:gd name="T1" fmla="*/ 50 h 50"/>
                  <a:gd name="T2" fmla="*/ 28 w 88"/>
                  <a:gd name="T3" fmla="*/ 50 h 50"/>
                  <a:gd name="T4" fmla="*/ 26 w 88"/>
                  <a:gd name="T5" fmla="*/ 48 h 50"/>
                  <a:gd name="T6" fmla="*/ 26 w 88"/>
                  <a:gd name="T7" fmla="*/ 48 h 50"/>
                  <a:gd name="T8" fmla="*/ 26 w 88"/>
                  <a:gd name="T9" fmla="*/ 48 h 50"/>
                  <a:gd name="T10" fmla="*/ 26 w 88"/>
                  <a:gd name="T11" fmla="*/ 42 h 50"/>
                  <a:gd name="T12" fmla="*/ 24 w 88"/>
                  <a:gd name="T13" fmla="*/ 38 h 50"/>
                  <a:gd name="T14" fmla="*/ 22 w 88"/>
                  <a:gd name="T15" fmla="*/ 38 h 50"/>
                  <a:gd name="T16" fmla="*/ 22 w 88"/>
                  <a:gd name="T17" fmla="*/ 38 h 50"/>
                  <a:gd name="T18" fmla="*/ 20 w 88"/>
                  <a:gd name="T19" fmla="*/ 36 h 50"/>
                  <a:gd name="T20" fmla="*/ 18 w 88"/>
                  <a:gd name="T21" fmla="*/ 34 h 50"/>
                  <a:gd name="T22" fmla="*/ 6 w 88"/>
                  <a:gd name="T23" fmla="*/ 28 h 50"/>
                  <a:gd name="T24" fmla="*/ 0 w 88"/>
                  <a:gd name="T25" fmla="*/ 24 h 50"/>
                  <a:gd name="T26" fmla="*/ 0 w 88"/>
                  <a:gd name="T27" fmla="*/ 24 h 50"/>
                  <a:gd name="T28" fmla="*/ 0 w 88"/>
                  <a:gd name="T29" fmla="*/ 22 h 50"/>
                  <a:gd name="T30" fmla="*/ 10 w 88"/>
                  <a:gd name="T31" fmla="*/ 6 h 50"/>
                  <a:gd name="T32" fmla="*/ 10 w 88"/>
                  <a:gd name="T33" fmla="*/ 6 h 50"/>
                  <a:gd name="T34" fmla="*/ 12 w 88"/>
                  <a:gd name="T35" fmla="*/ 6 h 50"/>
                  <a:gd name="T36" fmla="*/ 24 w 88"/>
                  <a:gd name="T37" fmla="*/ 2 h 50"/>
                  <a:gd name="T38" fmla="*/ 32 w 88"/>
                  <a:gd name="T39" fmla="*/ 2 h 50"/>
                  <a:gd name="T40" fmla="*/ 38 w 88"/>
                  <a:gd name="T41" fmla="*/ 4 h 50"/>
                  <a:gd name="T42" fmla="*/ 46 w 88"/>
                  <a:gd name="T43" fmla="*/ 2 h 50"/>
                  <a:gd name="T44" fmla="*/ 58 w 88"/>
                  <a:gd name="T45" fmla="*/ 0 h 50"/>
                  <a:gd name="T46" fmla="*/ 72 w 88"/>
                  <a:gd name="T47" fmla="*/ 0 h 50"/>
                  <a:gd name="T48" fmla="*/ 72 w 88"/>
                  <a:gd name="T49" fmla="*/ 0 h 50"/>
                  <a:gd name="T50" fmla="*/ 74 w 88"/>
                  <a:gd name="T51" fmla="*/ 0 h 50"/>
                  <a:gd name="T52" fmla="*/ 76 w 88"/>
                  <a:gd name="T53" fmla="*/ 4 h 50"/>
                  <a:gd name="T54" fmla="*/ 86 w 88"/>
                  <a:gd name="T55" fmla="*/ 12 h 50"/>
                  <a:gd name="T56" fmla="*/ 86 w 88"/>
                  <a:gd name="T57" fmla="*/ 12 h 50"/>
                  <a:gd name="T58" fmla="*/ 88 w 88"/>
                  <a:gd name="T59" fmla="*/ 14 h 50"/>
                  <a:gd name="T60" fmla="*/ 86 w 88"/>
                  <a:gd name="T61" fmla="*/ 18 h 50"/>
                  <a:gd name="T62" fmla="*/ 86 w 88"/>
                  <a:gd name="T63" fmla="*/ 18 h 50"/>
                  <a:gd name="T64" fmla="*/ 84 w 88"/>
                  <a:gd name="T65" fmla="*/ 20 h 50"/>
                  <a:gd name="T66" fmla="*/ 80 w 88"/>
                  <a:gd name="T67" fmla="*/ 20 h 50"/>
                  <a:gd name="T68" fmla="*/ 72 w 88"/>
                  <a:gd name="T69" fmla="*/ 22 h 50"/>
                  <a:gd name="T70" fmla="*/ 64 w 88"/>
                  <a:gd name="T71" fmla="*/ 22 h 50"/>
                  <a:gd name="T72" fmla="*/ 58 w 88"/>
                  <a:gd name="T73" fmla="*/ 24 h 50"/>
                  <a:gd name="T74" fmla="*/ 52 w 88"/>
                  <a:gd name="T75" fmla="*/ 32 h 50"/>
                  <a:gd name="T76" fmla="*/ 52 w 88"/>
                  <a:gd name="T77" fmla="*/ 32 h 50"/>
                  <a:gd name="T78" fmla="*/ 52 w 88"/>
                  <a:gd name="T79" fmla="*/ 32 h 50"/>
                  <a:gd name="T80" fmla="*/ 44 w 88"/>
                  <a:gd name="T81" fmla="*/ 34 h 50"/>
                  <a:gd name="T82" fmla="*/ 40 w 88"/>
                  <a:gd name="T83" fmla="*/ 36 h 50"/>
                  <a:gd name="T84" fmla="*/ 38 w 88"/>
                  <a:gd name="T85" fmla="*/ 42 h 50"/>
                  <a:gd name="T86" fmla="*/ 38 w 88"/>
                  <a:gd name="T87" fmla="*/ 42 h 50"/>
                  <a:gd name="T88" fmla="*/ 38 w 88"/>
                  <a:gd name="T89" fmla="*/ 42 h 50"/>
                  <a:gd name="T90" fmla="*/ 34 w 88"/>
                  <a:gd name="T91" fmla="*/ 46 h 50"/>
                  <a:gd name="T92" fmla="*/ 34 w 88"/>
                  <a:gd name="T93" fmla="*/ 46 h 50"/>
                  <a:gd name="T94" fmla="*/ 34 w 88"/>
                  <a:gd name="T95" fmla="*/ 48 h 50"/>
                  <a:gd name="T96" fmla="*/ 28 w 88"/>
                  <a:gd name="T97" fmla="*/ 50 h 50"/>
                  <a:gd name="T98" fmla="*/ 28 w 88"/>
                  <a:gd name="T99" fmla="*/ 50 h 50"/>
                  <a:gd name="T100" fmla="*/ 28 w 88"/>
                  <a:gd name="T101" fmla="*/ 50 h 50"/>
                  <a:gd name="T102" fmla="*/ 28 w 88"/>
                  <a:gd name="T10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50">
                    <a:moveTo>
                      <a:pt x="28" y="50"/>
                    </a:moveTo>
                    <a:lnTo>
                      <a:pt x="28" y="50"/>
                    </a:lnTo>
                    <a:lnTo>
                      <a:pt x="26" y="48"/>
                    </a:lnTo>
                    <a:lnTo>
                      <a:pt x="26" y="48"/>
                    </a:lnTo>
                    <a:lnTo>
                      <a:pt x="26" y="48"/>
                    </a:lnTo>
                    <a:lnTo>
                      <a:pt x="26" y="42"/>
                    </a:lnTo>
                    <a:lnTo>
                      <a:pt x="24" y="38"/>
                    </a:lnTo>
                    <a:lnTo>
                      <a:pt x="22" y="38"/>
                    </a:lnTo>
                    <a:lnTo>
                      <a:pt x="22" y="38"/>
                    </a:lnTo>
                    <a:lnTo>
                      <a:pt x="20" y="36"/>
                    </a:lnTo>
                    <a:lnTo>
                      <a:pt x="18" y="34"/>
                    </a:lnTo>
                    <a:lnTo>
                      <a:pt x="6" y="28"/>
                    </a:lnTo>
                    <a:lnTo>
                      <a:pt x="0" y="24"/>
                    </a:lnTo>
                    <a:lnTo>
                      <a:pt x="0" y="24"/>
                    </a:lnTo>
                    <a:lnTo>
                      <a:pt x="0" y="22"/>
                    </a:lnTo>
                    <a:lnTo>
                      <a:pt x="10" y="6"/>
                    </a:lnTo>
                    <a:lnTo>
                      <a:pt x="10" y="6"/>
                    </a:lnTo>
                    <a:lnTo>
                      <a:pt x="12" y="6"/>
                    </a:lnTo>
                    <a:lnTo>
                      <a:pt x="24" y="2"/>
                    </a:lnTo>
                    <a:lnTo>
                      <a:pt x="32" y="2"/>
                    </a:lnTo>
                    <a:lnTo>
                      <a:pt x="38" y="4"/>
                    </a:lnTo>
                    <a:lnTo>
                      <a:pt x="46" y="2"/>
                    </a:lnTo>
                    <a:lnTo>
                      <a:pt x="58" y="0"/>
                    </a:lnTo>
                    <a:lnTo>
                      <a:pt x="72" y="0"/>
                    </a:lnTo>
                    <a:lnTo>
                      <a:pt x="72" y="0"/>
                    </a:lnTo>
                    <a:lnTo>
                      <a:pt x="74" y="0"/>
                    </a:lnTo>
                    <a:lnTo>
                      <a:pt x="76" y="4"/>
                    </a:lnTo>
                    <a:lnTo>
                      <a:pt x="86" y="12"/>
                    </a:lnTo>
                    <a:lnTo>
                      <a:pt x="86" y="12"/>
                    </a:lnTo>
                    <a:lnTo>
                      <a:pt x="88" y="14"/>
                    </a:lnTo>
                    <a:lnTo>
                      <a:pt x="86" y="18"/>
                    </a:lnTo>
                    <a:lnTo>
                      <a:pt x="86" y="18"/>
                    </a:lnTo>
                    <a:lnTo>
                      <a:pt x="84" y="20"/>
                    </a:lnTo>
                    <a:lnTo>
                      <a:pt x="80" y="20"/>
                    </a:lnTo>
                    <a:lnTo>
                      <a:pt x="72" y="22"/>
                    </a:lnTo>
                    <a:lnTo>
                      <a:pt x="64" y="22"/>
                    </a:lnTo>
                    <a:lnTo>
                      <a:pt x="58" y="24"/>
                    </a:lnTo>
                    <a:lnTo>
                      <a:pt x="52" y="32"/>
                    </a:lnTo>
                    <a:lnTo>
                      <a:pt x="52" y="32"/>
                    </a:lnTo>
                    <a:lnTo>
                      <a:pt x="52" y="32"/>
                    </a:lnTo>
                    <a:lnTo>
                      <a:pt x="44" y="34"/>
                    </a:lnTo>
                    <a:lnTo>
                      <a:pt x="40" y="36"/>
                    </a:lnTo>
                    <a:lnTo>
                      <a:pt x="38" y="42"/>
                    </a:lnTo>
                    <a:lnTo>
                      <a:pt x="38" y="42"/>
                    </a:lnTo>
                    <a:lnTo>
                      <a:pt x="38" y="42"/>
                    </a:lnTo>
                    <a:lnTo>
                      <a:pt x="34" y="46"/>
                    </a:lnTo>
                    <a:lnTo>
                      <a:pt x="34" y="46"/>
                    </a:lnTo>
                    <a:lnTo>
                      <a:pt x="34" y="48"/>
                    </a:lnTo>
                    <a:lnTo>
                      <a:pt x="28" y="50"/>
                    </a:lnTo>
                    <a:lnTo>
                      <a:pt x="28" y="50"/>
                    </a:lnTo>
                    <a:lnTo>
                      <a:pt x="28" y="50"/>
                    </a:lnTo>
                    <a:lnTo>
                      <a:pt x="2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9" name="Freeform 219"/>
              <p:cNvSpPr>
                <a:spLocks noEditPoints="1"/>
              </p:cNvSpPr>
              <p:nvPr/>
            </p:nvSpPr>
            <p:spPr bwMode="auto">
              <a:xfrm>
                <a:off x="1597" y="2293"/>
                <a:ext cx="92" cy="54"/>
              </a:xfrm>
              <a:custGeom>
                <a:avLst/>
                <a:gdLst>
                  <a:gd name="T0" fmla="*/ 78 w 92"/>
                  <a:gd name="T1" fmla="*/ 8 h 54"/>
                  <a:gd name="T2" fmla="*/ 86 w 92"/>
                  <a:gd name="T3" fmla="*/ 20 h 54"/>
                  <a:gd name="T4" fmla="*/ 74 w 92"/>
                  <a:gd name="T5" fmla="*/ 22 h 54"/>
                  <a:gd name="T6" fmla="*/ 60 w 92"/>
                  <a:gd name="T7" fmla="*/ 24 h 54"/>
                  <a:gd name="T8" fmla="*/ 46 w 92"/>
                  <a:gd name="T9" fmla="*/ 34 h 54"/>
                  <a:gd name="T10" fmla="*/ 38 w 92"/>
                  <a:gd name="T11" fmla="*/ 44 h 54"/>
                  <a:gd name="T12" fmla="*/ 30 w 92"/>
                  <a:gd name="T13" fmla="*/ 50 h 54"/>
                  <a:gd name="T14" fmla="*/ 28 w 92"/>
                  <a:gd name="T15" fmla="*/ 38 h 54"/>
                  <a:gd name="T16" fmla="*/ 22 w 92"/>
                  <a:gd name="T17" fmla="*/ 34 h 54"/>
                  <a:gd name="T18" fmla="*/ 4 w 92"/>
                  <a:gd name="T19" fmla="*/ 24 h 54"/>
                  <a:gd name="T20" fmla="*/ 26 w 92"/>
                  <a:gd name="T21" fmla="*/ 6 h 54"/>
                  <a:gd name="T22" fmla="*/ 40 w 92"/>
                  <a:gd name="T23" fmla="*/ 8 h 54"/>
                  <a:gd name="T24" fmla="*/ 60 w 92"/>
                  <a:gd name="T25" fmla="*/ 4 h 54"/>
                  <a:gd name="T26" fmla="*/ 74 w 92"/>
                  <a:gd name="T27" fmla="*/ 4 h 54"/>
                  <a:gd name="T28" fmla="*/ 68 w 92"/>
                  <a:gd name="T29" fmla="*/ 0 h 54"/>
                  <a:gd name="T30" fmla="*/ 60 w 92"/>
                  <a:gd name="T31" fmla="*/ 0 h 54"/>
                  <a:gd name="T32" fmla="*/ 48 w 92"/>
                  <a:gd name="T33" fmla="*/ 2 h 54"/>
                  <a:gd name="T34" fmla="*/ 34 w 92"/>
                  <a:gd name="T35" fmla="*/ 2 h 54"/>
                  <a:gd name="T36" fmla="*/ 34 w 92"/>
                  <a:gd name="T37" fmla="*/ 2 h 54"/>
                  <a:gd name="T38" fmla="*/ 26 w 92"/>
                  <a:gd name="T39" fmla="*/ 2 h 54"/>
                  <a:gd name="T40" fmla="*/ 14 w 92"/>
                  <a:gd name="T41" fmla="*/ 6 h 54"/>
                  <a:gd name="T42" fmla="*/ 12 w 92"/>
                  <a:gd name="T43" fmla="*/ 8 h 54"/>
                  <a:gd name="T44" fmla="*/ 0 w 92"/>
                  <a:gd name="T45" fmla="*/ 22 h 54"/>
                  <a:gd name="T46" fmla="*/ 2 w 92"/>
                  <a:gd name="T47" fmla="*/ 28 h 54"/>
                  <a:gd name="T48" fmla="*/ 6 w 92"/>
                  <a:gd name="T49" fmla="*/ 32 h 54"/>
                  <a:gd name="T50" fmla="*/ 18 w 92"/>
                  <a:gd name="T51" fmla="*/ 38 h 54"/>
                  <a:gd name="T52" fmla="*/ 20 w 92"/>
                  <a:gd name="T53" fmla="*/ 40 h 54"/>
                  <a:gd name="T54" fmla="*/ 24 w 92"/>
                  <a:gd name="T55" fmla="*/ 42 h 54"/>
                  <a:gd name="T56" fmla="*/ 26 w 92"/>
                  <a:gd name="T57" fmla="*/ 44 h 54"/>
                  <a:gd name="T58" fmla="*/ 26 w 92"/>
                  <a:gd name="T59" fmla="*/ 50 h 54"/>
                  <a:gd name="T60" fmla="*/ 28 w 92"/>
                  <a:gd name="T61" fmla="*/ 52 h 54"/>
                  <a:gd name="T62" fmla="*/ 30 w 92"/>
                  <a:gd name="T63" fmla="*/ 54 h 54"/>
                  <a:gd name="T64" fmla="*/ 36 w 92"/>
                  <a:gd name="T65" fmla="*/ 52 h 54"/>
                  <a:gd name="T66" fmla="*/ 38 w 92"/>
                  <a:gd name="T67" fmla="*/ 50 h 54"/>
                  <a:gd name="T68" fmla="*/ 42 w 92"/>
                  <a:gd name="T69" fmla="*/ 46 h 54"/>
                  <a:gd name="T70" fmla="*/ 44 w 92"/>
                  <a:gd name="T71" fmla="*/ 40 h 54"/>
                  <a:gd name="T72" fmla="*/ 54 w 92"/>
                  <a:gd name="T73" fmla="*/ 36 h 54"/>
                  <a:gd name="T74" fmla="*/ 56 w 92"/>
                  <a:gd name="T75" fmla="*/ 36 h 54"/>
                  <a:gd name="T76" fmla="*/ 66 w 92"/>
                  <a:gd name="T77" fmla="*/ 26 h 54"/>
                  <a:gd name="T78" fmla="*/ 80 w 92"/>
                  <a:gd name="T79" fmla="*/ 26 h 54"/>
                  <a:gd name="T80" fmla="*/ 82 w 92"/>
                  <a:gd name="T81" fmla="*/ 24 h 54"/>
                  <a:gd name="T82" fmla="*/ 88 w 92"/>
                  <a:gd name="T83" fmla="*/ 22 h 54"/>
                  <a:gd name="T84" fmla="*/ 92 w 92"/>
                  <a:gd name="T85" fmla="*/ 18 h 54"/>
                  <a:gd name="T86" fmla="*/ 92 w 92"/>
                  <a:gd name="T87" fmla="*/ 14 h 54"/>
                  <a:gd name="T88" fmla="*/ 80 w 92"/>
                  <a:gd name="T89" fmla="*/ 4 h 54"/>
                  <a:gd name="T90" fmla="*/ 76 w 92"/>
                  <a:gd name="T91" fmla="*/ 2 h 54"/>
                  <a:gd name="T92" fmla="*/ 74 w 92"/>
                  <a:gd name="T9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54">
                    <a:moveTo>
                      <a:pt x="74" y="4"/>
                    </a:moveTo>
                    <a:lnTo>
                      <a:pt x="78" y="8"/>
                    </a:lnTo>
                    <a:lnTo>
                      <a:pt x="88" y="16"/>
                    </a:lnTo>
                    <a:lnTo>
                      <a:pt x="86" y="20"/>
                    </a:lnTo>
                    <a:lnTo>
                      <a:pt x="80" y="22"/>
                    </a:lnTo>
                    <a:lnTo>
                      <a:pt x="74" y="22"/>
                    </a:lnTo>
                    <a:lnTo>
                      <a:pt x="64" y="22"/>
                    </a:lnTo>
                    <a:lnTo>
                      <a:pt x="60" y="24"/>
                    </a:lnTo>
                    <a:lnTo>
                      <a:pt x="52" y="32"/>
                    </a:lnTo>
                    <a:lnTo>
                      <a:pt x="46" y="34"/>
                    </a:lnTo>
                    <a:lnTo>
                      <a:pt x="40" y="36"/>
                    </a:lnTo>
                    <a:lnTo>
                      <a:pt x="38" y="44"/>
                    </a:lnTo>
                    <a:lnTo>
                      <a:pt x="36" y="48"/>
                    </a:lnTo>
                    <a:lnTo>
                      <a:pt x="30" y="50"/>
                    </a:lnTo>
                    <a:lnTo>
                      <a:pt x="30" y="44"/>
                    </a:lnTo>
                    <a:lnTo>
                      <a:pt x="28" y="38"/>
                    </a:lnTo>
                    <a:lnTo>
                      <a:pt x="24" y="38"/>
                    </a:lnTo>
                    <a:lnTo>
                      <a:pt x="22" y="34"/>
                    </a:lnTo>
                    <a:lnTo>
                      <a:pt x="10" y="28"/>
                    </a:lnTo>
                    <a:lnTo>
                      <a:pt x="4" y="24"/>
                    </a:lnTo>
                    <a:lnTo>
                      <a:pt x="14" y="10"/>
                    </a:lnTo>
                    <a:lnTo>
                      <a:pt x="26" y="6"/>
                    </a:lnTo>
                    <a:lnTo>
                      <a:pt x="34" y="6"/>
                    </a:lnTo>
                    <a:lnTo>
                      <a:pt x="40" y="8"/>
                    </a:lnTo>
                    <a:lnTo>
                      <a:pt x="50" y="6"/>
                    </a:lnTo>
                    <a:lnTo>
                      <a:pt x="60" y="4"/>
                    </a:lnTo>
                    <a:lnTo>
                      <a:pt x="68" y="4"/>
                    </a:lnTo>
                    <a:lnTo>
                      <a:pt x="74" y="4"/>
                    </a:lnTo>
                    <a:close/>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0" name="Freeform 220"/>
              <p:cNvSpPr>
                <a:spLocks/>
              </p:cNvSpPr>
              <p:nvPr/>
            </p:nvSpPr>
            <p:spPr bwMode="auto">
              <a:xfrm>
                <a:off x="1601" y="2297"/>
                <a:ext cx="84" cy="46"/>
              </a:xfrm>
              <a:custGeom>
                <a:avLst/>
                <a:gdLst>
                  <a:gd name="T0" fmla="*/ 70 w 84"/>
                  <a:gd name="T1" fmla="*/ 0 h 46"/>
                  <a:gd name="T2" fmla="*/ 74 w 84"/>
                  <a:gd name="T3" fmla="*/ 4 h 46"/>
                  <a:gd name="T4" fmla="*/ 84 w 84"/>
                  <a:gd name="T5" fmla="*/ 12 h 46"/>
                  <a:gd name="T6" fmla="*/ 82 w 84"/>
                  <a:gd name="T7" fmla="*/ 16 h 46"/>
                  <a:gd name="T8" fmla="*/ 76 w 84"/>
                  <a:gd name="T9" fmla="*/ 18 h 46"/>
                  <a:gd name="T10" fmla="*/ 70 w 84"/>
                  <a:gd name="T11" fmla="*/ 18 h 46"/>
                  <a:gd name="T12" fmla="*/ 60 w 84"/>
                  <a:gd name="T13" fmla="*/ 18 h 46"/>
                  <a:gd name="T14" fmla="*/ 56 w 84"/>
                  <a:gd name="T15" fmla="*/ 20 h 46"/>
                  <a:gd name="T16" fmla="*/ 48 w 84"/>
                  <a:gd name="T17" fmla="*/ 28 h 46"/>
                  <a:gd name="T18" fmla="*/ 42 w 84"/>
                  <a:gd name="T19" fmla="*/ 30 h 46"/>
                  <a:gd name="T20" fmla="*/ 36 w 84"/>
                  <a:gd name="T21" fmla="*/ 32 h 46"/>
                  <a:gd name="T22" fmla="*/ 34 w 84"/>
                  <a:gd name="T23" fmla="*/ 40 h 46"/>
                  <a:gd name="T24" fmla="*/ 32 w 84"/>
                  <a:gd name="T25" fmla="*/ 44 h 46"/>
                  <a:gd name="T26" fmla="*/ 26 w 84"/>
                  <a:gd name="T27" fmla="*/ 46 h 46"/>
                  <a:gd name="T28" fmla="*/ 26 w 84"/>
                  <a:gd name="T29" fmla="*/ 40 h 46"/>
                  <a:gd name="T30" fmla="*/ 24 w 84"/>
                  <a:gd name="T31" fmla="*/ 34 h 46"/>
                  <a:gd name="T32" fmla="*/ 20 w 84"/>
                  <a:gd name="T33" fmla="*/ 34 h 46"/>
                  <a:gd name="T34" fmla="*/ 18 w 84"/>
                  <a:gd name="T35" fmla="*/ 30 h 46"/>
                  <a:gd name="T36" fmla="*/ 6 w 84"/>
                  <a:gd name="T37" fmla="*/ 24 h 46"/>
                  <a:gd name="T38" fmla="*/ 0 w 84"/>
                  <a:gd name="T39" fmla="*/ 20 h 46"/>
                  <a:gd name="T40" fmla="*/ 10 w 84"/>
                  <a:gd name="T41" fmla="*/ 6 h 46"/>
                  <a:gd name="T42" fmla="*/ 22 w 84"/>
                  <a:gd name="T43" fmla="*/ 2 h 46"/>
                  <a:gd name="T44" fmla="*/ 30 w 84"/>
                  <a:gd name="T45" fmla="*/ 2 h 46"/>
                  <a:gd name="T46" fmla="*/ 36 w 84"/>
                  <a:gd name="T47" fmla="*/ 4 h 46"/>
                  <a:gd name="T48" fmla="*/ 46 w 84"/>
                  <a:gd name="T49" fmla="*/ 2 h 46"/>
                  <a:gd name="T50" fmla="*/ 56 w 84"/>
                  <a:gd name="T51" fmla="*/ 0 h 46"/>
                  <a:gd name="T52" fmla="*/ 64 w 84"/>
                  <a:gd name="T53" fmla="*/ 0 h 46"/>
                  <a:gd name="T54" fmla="*/ 70 w 84"/>
                  <a:gd name="T5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46">
                    <a:moveTo>
                      <a:pt x="70" y="0"/>
                    </a:moveTo>
                    <a:lnTo>
                      <a:pt x="74" y="4"/>
                    </a:lnTo>
                    <a:lnTo>
                      <a:pt x="84" y="12"/>
                    </a:lnTo>
                    <a:lnTo>
                      <a:pt x="82" y="16"/>
                    </a:lnTo>
                    <a:lnTo>
                      <a:pt x="76" y="18"/>
                    </a:lnTo>
                    <a:lnTo>
                      <a:pt x="70" y="18"/>
                    </a:lnTo>
                    <a:lnTo>
                      <a:pt x="60" y="18"/>
                    </a:lnTo>
                    <a:lnTo>
                      <a:pt x="56" y="20"/>
                    </a:lnTo>
                    <a:lnTo>
                      <a:pt x="48" y="28"/>
                    </a:lnTo>
                    <a:lnTo>
                      <a:pt x="42" y="30"/>
                    </a:lnTo>
                    <a:lnTo>
                      <a:pt x="36" y="32"/>
                    </a:lnTo>
                    <a:lnTo>
                      <a:pt x="34" y="40"/>
                    </a:lnTo>
                    <a:lnTo>
                      <a:pt x="32" y="44"/>
                    </a:lnTo>
                    <a:lnTo>
                      <a:pt x="26" y="46"/>
                    </a:lnTo>
                    <a:lnTo>
                      <a:pt x="26" y="40"/>
                    </a:lnTo>
                    <a:lnTo>
                      <a:pt x="24" y="34"/>
                    </a:lnTo>
                    <a:lnTo>
                      <a:pt x="20" y="34"/>
                    </a:lnTo>
                    <a:lnTo>
                      <a:pt x="18" y="30"/>
                    </a:lnTo>
                    <a:lnTo>
                      <a:pt x="6" y="24"/>
                    </a:lnTo>
                    <a:lnTo>
                      <a:pt x="0" y="20"/>
                    </a:lnTo>
                    <a:lnTo>
                      <a:pt x="10" y="6"/>
                    </a:lnTo>
                    <a:lnTo>
                      <a:pt x="22" y="2"/>
                    </a:lnTo>
                    <a:lnTo>
                      <a:pt x="30" y="2"/>
                    </a:lnTo>
                    <a:lnTo>
                      <a:pt x="36" y="4"/>
                    </a:lnTo>
                    <a:lnTo>
                      <a:pt x="46" y="2"/>
                    </a:lnTo>
                    <a:lnTo>
                      <a:pt x="56" y="0"/>
                    </a:lnTo>
                    <a:lnTo>
                      <a:pt x="64"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1" name="Freeform 221"/>
              <p:cNvSpPr>
                <a:spLocks/>
              </p:cNvSpPr>
              <p:nvPr/>
            </p:nvSpPr>
            <p:spPr bwMode="auto">
              <a:xfrm>
                <a:off x="1597" y="2293"/>
                <a:ext cx="92" cy="54"/>
              </a:xfrm>
              <a:custGeom>
                <a:avLst/>
                <a:gdLst>
                  <a:gd name="T0" fmla="*/ 68 w 92"/>
                  <a:gd name="T1" fmla="*/ 0 h 54"/>
                  <a:gd name="T2" fmla="*/ 60 w 92"/>
                  <a:gd name="T3" fmla="*/ 0 h 54"/>
                  <a:gd name="T4" fmla="*/ 48 w 92"/>
                  <a:gd name="T5" fmla="*/ 2 h 54"/>
                  <a:gd name="T6" fmla="*/ 34 w 92"/>
                  <a:gd name="T7" fmla="*/ 2 h 54"/>
                  <a:gd name="T8" fmla="*/ 34 w 92"/>
                  <a:gd name="T9" fmla="*/ 2 h 54"/>
                  <a:gd name="T10" fmla="*/ 26 w 92"/>
                  <a:gd name="T11" fmla="*/ 2 h 54"/>
                  <a:gd name="T12" fmla="*/ 14 w 92"/>
                  <a:gd name="T13" fmla="*/ 6 h 54"/>
                  <a:gd name="T14" fmla="*/ 12 w 92"/>
                  <a:gd name="T15" fmla="*/ 8 h 54"/>
                  <a:gd name="T16" fmla="*/ 0 w 92"/>
                  <a:gd name="T17" fmla="*/ 22 h 54"/>
                  <a:gd name="T18" fmla="*/ 2 w 92"/>
                  <a:gd name="T19" fmla="*/ 28 h 54"/>
                  <a:gd name="T20" fmla="*/ 6 w 92"/>
                  <a:gd name="T21" fmla="*/ 32 h 54"/>
                  <a:gd name="T22" fmla="*/ 18 w 92"/>
                  <a:gd name="T23" fmla="*/ 38 h 54"/>
                  <a:gd name="T24" fmla="*/ 20 w 92"/>
                  <a:gd name="T25" fmla="*/ 40 h 54"/>
                  <a:gd name="T26" fmla="*/ 24 w 92"/>
                  <a:gd name="T27" fmla="*/ 42 h 54"/>
                  <a:gd name="T28" fmla="*/ 26 w 92"/>
                  <a:gd name="T29" fmla="*/ 44 h 54"/>
                  <a:gd name="T30" fmla="*/ 26 w 92"/>
                  <a:gd name="T31" fmla="*/ 50 h 54"/>
                  <a:gd name="T32" fmla="*/ 28 w 92"/>
                  <a:gd name="T33" fmla="*/ 52 h 54"/>
                  <a:gd name="T34" fmla="*/ 30 w 92"/>
                  <a:gd name="T35" fmla="*/ 54 h 54"/>
                  <a:gd name="T36" fmla="*/ 36 w 92"/>
                  <a:gd name="T37" fmla="*/ 52 h 54"/>
                  <a:gd name="T38" fmla="*/ 38 w 92"/>
                  <a:gd name="T39" fmla="*/ 50 h 54"/>
                  <a:gd name="T40" fmla="*/ 42 w 92"/>
                  <a:gd name="T41" fmla="*/ 46 h 54"/>
                  <a:gd name="T42" fmla="*/ 44 w 92"/>
                  <a:gd name="T43" fmla="*/ 40 h 54"/>
                  <a:gd name="T44" fmla="*/ 54 w 92"/>
                  <a:gd name="T45" fmla="*/ 36 h 54"/>
                  <a:gd name="T46" fmla="*/ 56 w 92"/>
                  <a:gd name="T47" fmla="*/ 36 h 54"/>
                  <a:gd name="T48" fmla="*/ 66 w 92"/>
                  <a:gd name="T49" fmla="*/ 26 h 54"/>
                  <a:gd name="T50" fmla="*/ 80 w 92"/>
                  <a:gd name="T51" fmla="*/ 26 h 54"/>
                  <a:gd name="T52" fmla="*/ 82 w 92"/>
                  <a:gd name="T53" fmla="*/ 24 h 54"/>
                  <a:gd name="T54" fmla="*/ 88 w 92"/>
                  <a:gd name="T55" fmla="*/ 22 h 54"/>
                  <a:gd name="T56" fmla="*/ 92 w 92"/>
                  <a:gd name="T57" fmla="*/ 18 h 54"/>
                  <a:gd name="T58" fmla="*/ 92 w 92"/>
                  <a:gd name="T59" fmla="*/ 14 h 54"/>
                  <a:gd name="T60" fmla="*/ 80 w 92"/>
                  <a:gd name="T61" fmla="*/ 4 h 54"/>
                  <a:gd name="T62" fmla="*/ 76 w 92"/>
                  <a:gd name="T63" fmla="*/ 2 h 54"/>
                  <a:gd name="T64" fmla="*/ 74 w 92"/>
                  <a:gd name="T6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54">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2" name="Freeform 222"/>
              <p:cNvSpPr>
                <a:spLocks/>
              </p:cNvSpPr>
              <p:nvPr/>
            </p:nvSpPr>
            <p:spPr bwMode="auto">
              <a:xfrm>
                <a:off x="1627" y="2313"/>
                <a:ext cx="60" cy="60"/>
              </a:xfrm>
              <a:custGeom>
                <a:avLst/>
                <a:gdLst>
                  <a:gd name="T0" fmla="*/ 48 w 60"/>
                  <a:gd name="T1" fmla="*/ 60 h 60"/>
                  <a:gd name="T2" fmla="*/ 48 w 60"/>
                  <a:gd name="T3" fmla="*/ 60 h 60"/>
                  <a:gd name="T4" fmla="*/ 48 w 60"/>
                  <a:gd name="T5" fmla="*/ 60 h 60"/>
                  <a:gd name="T6" fmla="*/ 40 w 60"/>
                  <a:gd name="T7" fmla="*/ 56 h 60"/>
                  <a:gd name="T8" fmla="*/ 24 w 60"/>
                  <a:gd name="T9" fmla="*/ 54 h 60"/>
                  <a:gd name="T10" fmla="*/ 24 w 60"/>
                  <a:gd name="T11" fmla="*/ 54 h 60"/>
                  <a:gd name="T12" fmla="*/ 24 w 60"/>
                  <a:gd name="T13" fmla="*/ 54 h 60"/>
                  <a:gd name="T14" fmla="*/ 12 w 60"/>
                  <a:gd name="T15" fmla="*/ 46 h 60"/>
                  <a:gd name="T16" fmla="*/ 6 w 60"/>
                  <a:gd name="T17" fmla="*/ 38 h 60"/>
                  <a:gd name="T18" fmla="*/ 0 w 60"/>
                  <a:gd name="T19" fmla="*/ 30 h 60"/>
                  <a:gd name="T20" fmla="*/ 0 w 60"/>
                  <a:gd name="T21" fmla="*/ 30 h 60"/>
                  <a:gd name="T22" fmla="*/ 0 w 60"/>
                  <a:gd name="T23" fmla="*/ 28 h 60"/>
                  <a:gd name="T24" fmla="*/ 0 w 60"/>
                  <a:gd name="T25" fmla="*/ 28 h 60"/>
                  <a:gd name="T26" fmla="*/ 0 w 60"/>
                  <a:gd name="T27" fmla="*/ 26 h 60"/>
                  <a:gd name="T28" fmla="*/ 8 w 60"/>
                  <a:gd name="T29" fmla="*/ 22 h 60"/>
                  <a:gd name="T30" fmla="*/ 10 w 60"/>
                  <a:gd name="T31" fmla="*/ 16 h 60"/>
                  <a:gd name="T32" fmla="*/ 10 w 60"/>
                  <a:gd name="T33" fmla="*/ 16 h 60"/>
                  <a:gd name="T34" fmla="*/ 12 w 60"/>
                  <a:gd name="T35" fmla="*/ 14 h 60"/>
                  <a:gd name="T36" fmla="*/ 24 w 60"/>
                  <a:gd name="T37" fmla="*/ 12 h 60"/>
                  <a:gd name="T38" fmla="*/ 30 w 60"/>
                  <a:gd name="T39" fmla="*/ 4 h 60"/>
                  <a:gd name="T40" fmla="*/ 36 w 60"/>
                  <a:gd name="T41" fmla="*/ 2 h 60"/>
                  <a:gd name="T42" fmla="*/ 36 w 60"/>
                  <a:gd name="T43" fmla="*/ 2 h 60"/>
                  <a:gd name="T44" fmla="*/ 36 w 60"/>
                  <a:gd name="T45" fmla="*/ 0 h 60"/>
                  <a:gd name="T46" fmla="*/ 52 w 60"/>
                  <a:gd name="T47" fmla="*/ 0 h 60"/>
                  <a:gd name="T48" fmla="*/ 58 w 60"/>
                  <a:gd name="T49" fmla="*/ 0 h 60"/>
                  <a:gd name="T50" fmla="*/ 58 w 60"/>
                  <a:gd name="T51" fmla="*/ 0 h 60"/>
                  <a:gd name="T52" fmla="*/ 58 w 60"/>
                  <a:gd name="T53" fmla="*/ 0 h 60"/>
                  <a:gd name="T54" fmla="*/ 58 w 60"/>
                  <a:gd name="T55" fmla="*/ 0 h 60"/>
                  <a:gd name="T56" fmla="*/ 58 w 60"/>
                  <a:gd name="T57" fmla="*/ 0 h 60"/>
                  <a:gd name="T58" fmla="*/ 58 w 60"/>
                  <a:gd name="T59" fmla="*/ 0 h 60"/>
                  <a:gd name="T60" fmla="*/ 60 w 60"/>
                  <a:gd name="T61" fmla="*/ 2 h 60"/>
                  <a:gd name="T62" fmla="*/ 60 w 60"/>
                  <a:gd name="T63" fmla="*/ 6 h 60"/>
                  <a:gd name="T64" fmla="*/ 58 w 60"/>
                  <a:gd name="T65" fmla="*/ 16 h 60"/>
                  <a:gd name="T66" fmla="*/ 54 w 60"/>
                  <a:gd name="T67" fmla="*/ 28 h 60"/>
                  <a:gd name="T68" fmla="*/ 52 w 60"/>
                  <a:gd name="T69" fmla="*/ 38 h 60"/>
                  <a:gd name="T70" fmla="*/ 52 w 60"/>
                  <a:gd name="T71" fmla="*/ 46 h 60"/>
                  <a:gd name="T72" fmla="*/ 50 w 60"/>
                  <a:gd name="T73" fmla="*/ 58 h 60"/>
                  <a:gd name="T74" fmla="*/ 50 w 60"/>
                  <a:gd name="T75" fmla="*/ 58 h 60"/>
                  <a:gd name="T76" fmla="*/ 50 w 60"/>
                  <a:gd name="T77" fmla="*/ 58 h 60"/>
                  <a:gd name="T78" fmla="*/ 50 w 60"/>
                  <a:gd name="T79" fmla="*/ 58 h 60"/>
                  <a:gd name="T80" fmla="*/ 48 w 60"/>
                  <a:gd name="T81" fmla="*/ 60 h 60"/>
                  <a:gd name="T82" fmla="*/ 48 w 60"/>
                  <a:gd name="T8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 h="60">
                    <a:moveTo>
                      <a:pt x="48" y="60"/>
                    </a:moveTo>
                    <a:lnTo>
                      <a:pt x="48" y="60"/>
                    </a:lnTo>
                    <a:lnTo>
                      <a:pt x="48" y="60"/>
                    </a:lnTo>
                    <a:lnTo>
                      <a:pt x="40" y="56"/>
                    </a:lnTo>
                    <a:lnTo>
                      <a:pt x="24" y="54"/>
                    </a:lnTo>
                    <a:lnTo>
                      <a:pt x="24" y="54"/>
                    </a:lnTo>
                    <a:lnTo>
                      <a:pt x="24" y="54"/>
                    </a:lnTo>
                    <a:lnTo>
                      <a:pt x="12" y="46"/>
                    </a:lnTo>
                    <a:lnTo>
                      <a:pt x="6" y="38"/>
                    </a:lnTo>
                    <a:lnTo>
                      <a:pt x="0" y="30"/>
                    </a:lnTo>
                    <a:lnTo>
                      <a:pt x="0" y="30"/>
                    </a:lnTo>
                    <a:lnTo>
                      <a:pt x="0" y="28"/>
                    </a:lnTo>
                    <a:lnTo>
                      <a:pt x="0" y="28"/>
                    </a:lnTo>
                    <a:lnTo>
                      <a:pt x="0" y="26"/>
                    </a:lnTo>
                    <a:lnTo>
                      <a:pt x="8" y="22"/>
                    </a:lnTo>
                    <a:lnTo>
                      <a:pt x="10" y="16"/>
                    </a:lnTo>
                    <a:lnTo>
                      <a:pt x="10" y="16"/>
                    </a:lnTo>
                    <a:lnTo>
                      <a:pt x="12" y="14"/>
                    </a:lnTo>
                    <a:lnTo>
                      <a:pt x="24" y="12"/>
                    </a:lnTo>
                    <a:lnTo>
                      <a:pt x="30" y="4"/>
                    </a:lnTo>
                    <a:lnTo>
                      <a:pt x="36" y="2"/>
                    </a:lnTo>
                    <a:lnTo>
                      <a:pt x="36" y="2"/>
                    </a:lnTo>
                    <a:lnTo>
                      <a:pt x="36" y="0"/>
                    </a:lnTo>
                    <a:lnTo>
                      <a:pt x="52" y="0"/>
                    </a:lnTo>
                    <a:lnTo>
                      <a:pt x="58" y="0"/>
                    </a:lnTo>
                    <a:lnTo>
                      <a:pt x="58" y="0"/>
                    </a:lnTo>
                    <a:lnTo>
                      <a:pt x="58" y="0"/>
                    </a:lnTo>
                    <a:lnTo>
                      <a:pt x="58" y="0"/>
                    </a:lnTo>
                    <a:lnTo>
                      <a:pt x="58" y="0"/>
                    </a:lnTo>
                    <a:lnTo>
                      <a:pt x="58" y="0"/>
                    </a:lnTo>
                    <a:lnTo>
                      <a:pt x="60" y="2"/>
                    </a:lnTo>
                    <a:lnTo>
                      <a:pt x="60" y="6"/>
                    </a:lnTo>
                    <a:lnTo>
                      <a:pt x="58" y="16"/>
                    </a:lnTo>
                    <a:lnTo>
                      <a:pt x="54" y="28"/>
                    </a:lnTo>
                    <a:lnTo>
                      <a:pt x="52" y="38"/>
                    </a:lnTo>
                    <a:lnTo>
                      <a:pt x="52" y="46"/>
                    </a:lnTo>
                    <a:lnTo>
                      <a:pt x="50" y="58"/>
                    </a:lnTo>
                    <a:lnTo>
                      <a:pt x="50" y="58"/>
                    </a:lnTo>
                    <a:lnTo>
                      <a:pt x="50" y="58"/>
                    </a:lnTo>
                    <a:lnTo>
                      <a:pt x="50" y="58"/>
                    </a:lnTo>
                    <a:lnTo>
                      <a:pt x="48" y="60"/>
                    </a:lnTo>
                    <a:lnTo>
                      <a:pt x="4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3" name="Freeform 223"/>
              <p:cNvSpPr>
                <a:spLocks noEditPoints="1"/>
              </p:cNvSpPr>
              <p:nvPr/>
            </p:nvSpPr>
            <p:spPr bwMode="auto">
              <a:xfrm>
                <a:off x="1625" y="2311"/>
                <a:ext cx="64" cy="64"/>
              </a:xfrm>
              <a:custGeom>
                <a:avLst/>
                <a:gdLst>
                  <a:gd name="T0" fmla="*/ 60 w 64"/>
                  <a:gd name="T1" fmla="*/ 8 h 64"/>
                  <a:gd name="T2" fmla="*/ 54 w 64"/>
                  <a:gd name="T3" fmla="*/ 28 h 64"/>
                  <a:gd name="T4" fmla="*/ 52 w 64"/>
                  <a:gd name="T5" fmla="*/ 48 h 64"/>
                  <a:gd name="T6" fmla="*/ 42 w 64"/>
                  <a:gd name="T7" fmla="*/ 56 h 64"/>
                  <a:gd name="T8" fmla="*/ 16 w 64"/>
                  <a:gd name="T9" fmla="*/ 46 h 64"/>
                  <a:gd name="T10" fmla="*/ 4 w 64"/>
                  <a:gd name="T11" fmla="*/ 30 h 64"/>
                  <a:gd name="T12" fmla="*/ 14 w 64"/>
                  <a:gd name="T13" fmla="*/ 18 h 64"/>
                  <a:gd name="T14" fmla="*/ 34 w 64"/>
                  <a:gd name="T15" fmla="*/ 8 h 64"/>
                  <a:gd name="T16" fmla="*/ 48 w 64"/>
                  <a:gd name="T17" fmla="*/ 4 h 64"/>
                  <a:gd name="T18" fmla="*/ 60 w 64"/>
                  <a:gd name="T19" fmla="*/ 4 h 64"/>
                  <a:gd name="T20" fmla="*/ 60 w 64"/>
                  <a:gd name="T21" fmla="*/ 0 h 64"/>
                  <a:gd name="T22" fmla="*/ 54 w 64"/>
                  <a:gd name="T23" fmla="*/ 0 h 64"/>
                  <a:gd name="T24" fmla="*/ 38 w 64"/>
                  <a:gd name="T25" fmla="*/ 0 h 64"/>
                  <a:gd name="T26" fmla="*/ 36 w 64"/>
                  <a:gd name="T27" fmla="*/ 2 h 64"/>
                  <a:gd name="T28" fmla="*/ 32 w 64"/>
                  <a:gd name="T29" fmla="*/ 4 h 64"/>
                  <a:gd name="T30" fmla="*/ 24 w 64"/>
                  <a:gd name="T31" fmla="*/ 12 h 64"/>
                  <a:gd name="T32" fmla="*/ 14 w 64"/>
                  <a:gd name="T33" fmla="*/ 14 h 64"/>
                  <a:gd name="T34" fmla="*/ 10 w 64"/>
                  <a:gd name="T35" fmla="*/ 22 h 64"/>
                  <a:gd name="T36" fmla="*/ 2 w 64"/>
                  <a:gd name="T37" fmla="*/ 26 h 64"/>
                  <a:gd name="T38" fmla="*/ 0 w 64"/>
                  <a:gd name="T39" fmla="*/ 30 h 64"/>
                  <a:gd name="T40" fmla="*/ 6 w 64"/>
                  <a:gd name="T41" fmla="*/ 40 h 64"/>
                  <a:gd name="T42" fmla="*/ 6 w 64"/>
                  <a:gd name="T43" fmla="*/ 42 h 64"/>
                  <a:gd name="T44" fmla="*/ 24 w 64"/>
                  <a:gd name="T45" fmla="*/ 58 h 64"/>
                  <a:gd name="T46" fmla="*/ 26 w 64"/>
                  <a:gd name="T47" fmla="*/ 58 h 64"/>
                  <a:gd name="T48" fmla="*/ 50 w 64"/>
                  <a:gd name="T49" fmla="*/ 62 h 64"/>
                  <a:gd name="T50" fmla="*/ 50 w 64"/>
                  <a:gd name="T51" fmla="*/ 64 h 64"/>
                  <a:gd name="T52" fmla="*/ 52 w 64"/>
                  <a:gd name="T53" fmla="*/ 62 h 64"/>
                  <a:gd name="T54" fmla="*/ 54 w 64"/>
                  <a:gd name="T55" fmla="*/ 60 h 64"/>
                  <a:gd name="T56" fmla="*/ 56 w 64"/>
                  <a:gd name="T57" fmla="*/ 48 h 64"/>
                  <a:gd name="T58" fmla="*/ 56 w 64"/>
                  <a:gd name="T59" fmla="*/ 40 h 64"/>
                  <a:gd name="T60" fmla="*/ 62 w 64"/>
                  <a:gd name="T61" fmla="*/ 20 h 64"/>
                  <a:gd name="T62" fmla="*/ 62 w 64"/>
                  <a:gd name="T63" fmla="*/ 20 h 64"/>
                  <a:gd name="T64" fmla="*/ 64 w 64"/>
                  <a:gd name="T65" fmla="*/ 8 h 64"/>
                  <a:gd name="T66" fmla="*/ 64 w 64"/>
                  <a:gd name="T67" fmla="*/ 4 h 64"/>
                  <a:gd name="T68" fmla="*/ 62 w 64"/>
                  <a:gd name="T69" fmla="*/ 0 h 64"/>
                  <a:gd name="T70" fmla="*/ 60 w 64"/>
                  <a:gd name="T7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4">
                    <a:moveTo>
                      <a:pt x="60" y="4"/>
                    </a:moveTo>
                    <a:lnTo>
                      <a:pt x="60" y="8"/>
                    </a:lnTo>
                    <a:lnTo>
                      <a:pt x="58" y="18"/>
                    </a:lnTo>
                    <a:lnTo>
                      <a:pt x="54" y="28"/>
                    </a:lnTo>
                    <a:lnTo>
                      <a:pt x="52" y="38"/>
                    </a:lnTo>
                    <a:lnTo>
                      <a:pt x="52" y="48"/>
                    </a:lnTo>
                    <a:lnTo>
                      <a:pt x="50" y="60"/>
                    </a:lnTo>
                    <a:lnTo>
                      <a:pt x="42" y="56"/>
                    </a:lnTo>
                    <a:lnTo>
                      <a:pt x="26" y="54"/>
                    </a:lnTo>
                    <a:lnTo>
                      <a:pt x="16" y="46"/>
                    </a:lnTo>
                    <a:lnTo>
                      <a:pt x="10" y="38"/>
                    </a:lnTo>
                    <a:lnTo>
                      <a:pt x="4" y="30"/>
                    </a:lnTo>
                    <a:lnTo>
                      <a:pt x="12" y="26"/>
                    </a:lnTo>
                    <a:lnTo>
                      <a:pt x="14" y="18"/>
                    </a:lnTo>
                    <a:lnTo>
                      <a:pt x="26" y="14"/>
                    </a:lnTo>
                    <a:lnTo>
                      <a:pt x="34" y="8"/>
                    </a:lnTo>
                    <a:lnTo>
                      <a:pt x="38" y="4"/>
                    </a:lnTo>
                    <a:lnTo>
                      <a:pt x="48" y="4"/>
                    </a:lnTo>
                    <a:lnTo>
                      <a:pt x="54" y="4"/>
                    </a:lnTo>
                    <a:lnTo>
                      <a:pt x="60" y="4"/>
                    </a:lnTo>
                    <a:close/>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4" name="Freeform 224"/>
              <p:cNvSpPr>
                <a:spLocks/>
              </p:cNvSpPr>
              <p:nvPr/>
            </p:nvSpPr>
            <p:spPr bwMode="auto">
              <a:xfrm>
                <a:off x="1629" y="2315"/>
                <a:ext cx="56" cy="56"/>
              </a:xfrm>
              <a:custGeom>
                <a:avLst/>
                <a:gdLst>
                  <a:gd name="T0" fmla="*/ 56 w 56"/>
                  <a:gd name="T1" fmla="*/ 0 h 56"/>
                  <a:gd name="T2" fmla="*/ 56 w 56"/>
                  <a:gd name="T3" fmla="*/ 4 h 56"/>
                  <a:gd name="T4" fmla="*/ 54 w 56"/>
                  <a:gd name="T5" fmla="*/ 14 h 56"/>
                  <a:gd name="T6" fmla="*/ 50 w 56"/>
                  <a:gd name="T7" fmla="*/ 24 h 56"/>
                  <a:gd name="T8" fmla="*/ 48 w 56"/>
                  <a:gd name="T9" fmla="*/ 34 h 56"/>
                  <a:gd name="T10" fmla="*/ 48 w 56"/>
                  <a:gd name="T11" fmla="*/ 44 h 56"/>
                  <a:gd name="T12" fmla="*/ 46 w 56"/>
                  <a:gd name="T13" fmla="*/ 56 h 56"/>
                  <a:gd name="T14" fmla="*/ 38 w 56"/>
                  <a:gd name="T15" fmla="*/ 52 h 56"/>
                  <a:gd name="T16" fmla="*/ 22 w 56"/>
                  <a:gd name="T17" fmla="*/ 50 h 56"/>
                  <a:gd name="T18" fmla="*/ 12 w 56"/>
                  <a:gd name="T19" fmla="*/ 42 h 56"/>
                  <a:gd name="T20" fmla="*/ 6 w 56"/>
                  <a:gd name="T21" fmla="*/ 34 h 56"/>
                  <a:gd name="T22" fmla="*/ 0 w 56"/>
                  <a:gd name="T23" fmla="*/ 26 h 56"/>
                  <a:gd name="T24" fmla="*/ 8 w 56"/>
                  <a:gd name="T25" fmla="*/ 22 h 56"/>
                  <a:gd name="T26" fmla="*/ 10 w 56"/>
                  <a:gd name="T27" fmla="*/ 14 h 56"/>
                  <a:gd name="T28" fmla="*/ 22 w 56"/>
                  <a:gd name="T29" fmla="*/ 10 h 56"/>
                  <a:gd name="T30" fmla="*/ 30 w 56"/>
                  <a:gd name="T31" fmla="*/ 4 h 56"/>
                  <a:gd name="T32" fmla="*/ 34 w 56"/>
                  <a:gd name="T33" fmla="*/ 0 h 56"/>
                  <a:gd name="T34" fmla="*/ 44 w 56"/>
                  <a:gd name="T35" fmla="*/ 0 h 56"/>
                  <a:gd name="T36" fmla="*/ 50 w 56"/>
                  <a:gd name="T37" fmla="*/ 0 h 56"/>
                  <a:gd name="T38" fmla="*/ 56 w 56"/>
                  <a:gd name="T3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6">
                    <a:moveTo>
                      <a:pt x="56" y="0"/>
                    </a:moveTo>
                    <a:lnTo>
                      <a:pt x="56" y="4"/>
                    </a:lnTo>
                    <a:lnTo>
                      <a:pt x="54" y="14"/>
                    </a:lnTo>
                    <a:lnTo>
                      <a:pt x="50" y="24"/>
                    </a:lnTo>
                    <a:lnTo>
                      <a:pt x="48" y="34"/>
                    </a:lnTo>
                    <a:lnTo>
                      <a:pt x="48" y="44"/>
                    </a:lnTo>
                    <a:lnTo>
                      <a:pt x="46" y="56"/>
                    </a:lnTo>
                    <a:lnTo>
                      <a:pt x="38" y="52"/>
                    </a:lnTo>
                    <a:lnTo>
                      <a:pt x="22" y="50"/>
                    </a:lnTo>
                    <a:lnTo>
                      <a:pt x="12" y="42"/>
                    </a:lnTo>
                    <a:lnTo>
                      <a:pt x="6" y="34"/>
                    </a:lnTo>
                    <a:lnTo>
                      <a:pt x="0" y="26"/>
                    </a:lnTo>
                    <a:lnTo>
                      <a:pt x="8" y="22"/>
                    </a:lnTo>
                    <a:lnTo>
                      <a:pt x="10" y="14"/>
                    </a:lnTo>
                    <a:lnTo>
                      <a:pt x="22" y="10"/>
                    </a:lnTo>
                    <a:lnTo>
                      <a:pt x="30" y="4"/>
                    </a:lnTo>
                    <a:lnTo>
                      <a:pt x="34" y="0"/>
                    </a:lnTo>
                    <a:lnTo>
                      <a:pt x="44" y="0"/>
                    </a:lnTo>
                    <a:lnTo>
                      <a:pt x="50"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5" name="Freeform 225"/>
              <p:cNvSpPr>
                <a:spLocks/>
              </p:cNvSpPr>
              <p:nvPr/>
            </p:nvSpPr>
            <p:spPr bwMode="auto">
              <a:xfrm>
                <a:off x="1625" y="2311"/>
                <a:ext cx="64" cy="64"/>
              </a:xfrm>
              <a:custGeom>
                <a:avLst/>
                <a:gdLst>
                  <a:gd name="T0" fmla="*/ 60 w 64"/>
                  <a:gd name="T1" fmla="*/ 0 h 64"/>
                  <a:gd name="T2" fmla="*/ 60 w 64"/>
                  <a:gd name="T3" fmla="*/ 0 h 64"/>
                  <a:gd name="T4" fmla="*/ 58 w 64"/>
                  <a:gd name="T5" fmla="*/ 0 h 64"/>
                  <a:gd name="T6" fmla="*/ 54 w 64"/>
                  <a:gd name="T7" fmla="*/ 0 h 64"/>
                  <a:gd name="T8" fmla="*/ 48 w 64"/>
                  <a:gd name="T9" fmla="*/ 0 h 64"/>
                  <a:gd name="T10" fmla="*/ 38 w 64"/>
                  <a:gd name="T11" fmla="*/ 0 h 64"/>
                  <a:gd name="T12" fmla="*/ 38 w 64"/>
                  <a:gd name="T13" fmla="*/ 0 h 64"/>
                  <a:gd name="T14" fmla="*/ 36 w 64"/>
                  <a:gd name="T15" fmla="*/ 2 h 64"/>
                  <a:gd name="T16" fmla="*/ 32 w 64"/>
                  <a:gd name="T17" fmla="*/ 4 h 64"/>
                  <a:gd name="T18" fmla="*/ 32 w 64"/>
                  <a:gd name="T19" fmla="*/ 4 h 64"/>
                  <a:gd name="T20" fmla="*/ 30 w 64"/>
                  <a:gd name="T21" fmla="*/ 6 h 64"/>
                  <a:gd name="T22" fmla="*/ 24 w 64"/>
                  <a:gd name="T23" fmla="*/ 12 h 64"/>
                  <a:gd name="T24" fmla="*/ 14 w 64"/>
                  <a:gd name="T25" fmla="*/ 14 h 64"/>
                  <a:gd name="T26" fmla="*/ 14 w 64"/>
                  <a:gd name="T27" fmla="*/ 14 h 64"/>
                  <a:gd name="T28" fmla="*/ 10 w 64"/>
                  <a:gd name="T29" fmla="*/ 18 h 64"/>
                  <a:gd name="T30" fmla="*/ 10 w 64"/>
                  <a:gd name="T31" fmla="*/ 22 h 64"/>
                  <a:gd name="T32" fmla="*/ 2 w 64"/>
                  <a:gd name="T33" fmla="*/ 26 h 64"/>
                  <a:gd name="T34" fmla="*/ 2 w 64"/>
                  <a:gd name="T35" fmla="*/ 26 h 64"/>
                  <a:gd name="T36" fmla="*/ 0 w 64"/>
                  <a:gd name="T37" fmla="*/ 30 h 64"/>
                  <a:gd name="T38" fmla="*/ 0 w 64"/>
                  <a:gd name="T39" fmla="*/ 30 h 64"/>
                  <a:gd name="T40" fmla="*/ 0 w 64"/>
                  <a:gd name="T41" fmla="*/ 32 h 64"/>
                  <a:gd name="T42" fmla="*/ 6 w 64"/>
                  <a:gd name="T43" fmla="*/ 40 h 64"/>
                  <a:gd name="T44" fmla="*/ 6 w 64"/>
                  <a:gd name="T45" fmla="*/ 40 h 64"/>
                  <a:gd name="T46" fmla="*/ 6 w 64"/>
                  <a:gd name="T47" fmla="*/ 42 h 64"/>
                  <a:gd name="T48" fmla="*/ 14 w 64"/>
                  <a:gd name="T49" fmla="*/ 48 h 64"/>
                  <a:gd name="T50" fmla="*/ 24 w 64"/>
                  <a:gd name="T51" fmla="*/ 58 h 64"/>
                  <a:gd name="T52" fmla="*/ 24 w 64"/>
                  <a:gd name="T53" fmla="*/ 58 h 64"/>
                  <a:gd name="T54" fmla="*/ 26 w 64"/>
                  <a:gd name="T55" fmla="*/ 58 h 64"/>
                  <a:gd name="T56" fmla="*/ 42 w 64"/>
                  <a:gd name="T57" fmla="*/ 60 h 64"/>
                  <a:gd name="T58" fmla="*/ 50 w 64"/>
                  <a:gd name="T59" fmla="*/ 62 h 64"/>
                  <a:gd name="T60" fmla="*/ 50 w 64"/>
                  <a:gd name="T61" fmla="*/ 62 h 64"/>
                  <a:gd name="T62" fmla="*/ 50 w 64"/>
                  <a:gd name="T63" fmla="*/ 64 h 64"/>
                  <a:gd name="T64" fmla="*/ 50 w 64"/>
                  <a:gd name="T65" fmla="*/ 64 h 64"/>
                  <a:gd name="T66" fmla="*/ 52 w 64"/>
                  <a:gd name="T67" fmla="*/ 62 h 64"/>
                  <a:gd name="T68" fmla="*/ 52 w 64"/>
                  <a:gd name="T69" fmla="*/ 62 h 64"/>
                  <a:gd name="T70" fmla="*/ 54 w 64"/>
                  <a:gd name="T71" fmla="*/ 60 h 64"/>
                  <a:gd name="T72" fmla="*/ 56 w 64"/>
                  <a:gd name="T73" fmla="*/ 48 h 64"/>
                  <a:gd name="T74" fmla="*/ 56 w 64"/>
                  <a:gd name="T75" fmla="*/ 48 h 64"/>
                  <a:gd name="T76" fmla="*/ 56 w 64"/>
                  <a:gd name="T77" fmla="*/ 48 h 64"/>
                  <a:gd name="T78" fmla="*/ 56 w 64"/>
                  <a:gd name="T79" fmla="*/ 40 h 64"/>
                  <a:gd name="T80" fmla="*/ 58 w 64"/>
                  <a:gd name="T81" fmla="*/ 30 h 64"/>
                  <a:gd name="T82" fmla="*/ 62 w 64"/>
                  <a:gd name="T83" fmla="*/ 20 h 64"/>
                  <a:gd name="T84" fmla="*/ 62 w 64"/>
                  <a:gd name="T85" fmla="*/ 20 h 64"/>
                  <a:gd name="T86" fmla="*/ 62 w 64"/>
                  <a:gd name="T87" fmla="*/ 20 h 64"/>
                  <a:gd name="T88" fmla="*/ 64 w 64"/>
                  <a:gd name="T89" fmla="*/ 8 h 64"/>
                  <a:gd name="T90" fmla="*/ 64 w 64"/>
                  <a:gd name="T91" fmla="*/ 8 h 64"/>
                  <a:gd name="T92" fmla="*/ 64 w 64"/>
                  <a:gd name="T93" fmla="*/ 8 h 64"/>
                  <a:gd name="T94" fmla="*/ 64 w 64"/>
                  <a:gd name="T95" fmla="*/ 4 h 64"/>
                  <a:gd name="T96" fmla="*/ 64 w 64"/>
                  <a:gd name="T97" fmla="*/ 4 h 64"/>
                  <a:gd name="T98" fmla="*/ 62 w 64"/>
                  <a:gd name="T99" fmla="*/ 0 h 64"/>
                  <a:gd name="T100" fmla="*/ 62 w 64"/>
                  <a:gd name="T101" fmla="*/ 0 h 64"/>
                  <a:gd name="T102" fmla="*/ 60 w 64"/>
                  <a:gd name="T103" fmla="*/ 0 h 64"/>
                  <a:gd name="T104" fmla="*/ 60 w 64"/>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64">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6" name="Freeform 226"/>
              <p:cNvSpPr>
                <a:spLocks/>
              </p:cNvSpPr>
              <p:nvPr/>
            </p:nvSpPr>
            <p:spPr bwMode="auto">
              <a:xfrm>
                <a:off x="1683" y="2385"/>
                <a:ext cx="94" cy="38"/>
              </a:xfrm>
              <a:custGeom>
                <a:avLst/>
                <a:gdLst>
                  <a:gd name="T0" fmla="*/ 40 w 94"/>
                  <a:gd name="T1" fmla="*/ 38 h 38"/>
                  <a:gd name="T2" fmla="*/ 28 w 94"/>
                  <a:gd name="T3" fmla="*/ 26 h 38"/>
                  <a:gd name="T4" fmla="*/ 18 w 94"/>
                  <a:gd name="T5" fmla="*/ 22 h 38"/>
                  <a:gd name="T6" fmla="*/ 10 w 94"/>
                  <a:gd name="T7" fmla="*/ 22 h 38"/>
                  <a:gd name="T8" fmla="*/ 8 w 94"/>
                  <a:gd name="T9" fmla="*/ 22 h 38"/>
                  <a:gd name="T10" fmla="*/ 8 w 94"/>
                  <a:gd name="T11" fmla="*/ 22 h 38"/>
                  <a:gd name="T12" fmla="*/ 2 w 94"/>
                  <a:gd name="T13" fmla="*/ 20 h 38"/>
                  <a:gd name="T14" fmla="*/ 0 w 94"/>
                  <a:gd name="T15" fmla="*/ 18 h 38"/>
                  <a:gd name="T16" fmla="*/ 4 w 94"/>
                  <a:gd name="T17" fmla="*/ 14 h 38"/>
                  <a:gd name="T18" fmla="*/ 6 w 94"/>
                  <a:gd name="T19" fmla="*/ 8 h 38"/>
                  <a:gd name="T20" fmla="*/ 10 w 94"/>
                  <a:gd name="T21" fmla="*/ 2 h 38"/>
                  <a:gd name="T22" fmla="*/ 12 w 94"/>
                  <a:gd name="T23" fmla="*/ 2 h 38"/>
                  <a:gd name="T24" fmla="*/ 12 w 94"/>
                  <a:gd name="T25" fmla="*/ 2 h 38"/>
                  <a:gd name="T26" fmla="*/ 18 w 94"/>
                  <a:gd name="T27" fmla="*/ 4 h 38"/>
                  <a:gd name="T28" fmla="*/ 22 w 94"/>
                  <a:gd name="T29" fmla="*/ 8 h 38"/>
                  <a:gd name="T30" fmla="*/ 36 w 94"/>
                  <a:gd name="T31" fmla="*/ 10 h 38"/>
                  <a:gd name="T32" fmla="*/ 46 w 94"/>
                  <a:gd name="T33" fmla="*/ 6 h 38"/>
                  <a:gd name="T34" fmla="*/ 64 w 94"/>
                  <a:gd name="T35" fmla="*/ 0 h 38"/>
                  <a:gd name="T36" fmla="*/ 80 w 94"/>
                  <a:gd name="T37" fmla="*/ 6 h 38"/>
                  <a:gd name="T38" fmla="*/ 90 w 94"/>
                  <a:gd name="T39" fmla="*/ 16 h 38"/>
                  <a:gd name="T40" fmla="*/ 92 w 94"/>
                  <a:gd name="T41" fmla="*/ 18 h 38"/>
                  <a:gd name="T42" fmla="*/ 92 w 94"/>
                  <a:gd name="T43" fmla="*/ 26 h 38"/>
                  <a:gd name="T44" fmla="*/ 90 w 94"/>
                  <a:gd name="T45" fmla="*/ 26 h 38"/>
                  <a:gd name="T46" fmla="*/ 80 w 94"/>
                  <a:gd name="T47" fmla="*/ 34 h 38"/>
                  <a:gd name="T48" fmla="*/ 78 w 94"/>
                  <a:gd name="T49" fmla="*/ 34 h 38"/>
                  <a:gd name="T50" fmla="*/ 74 w 94"/>
                  <a:gd name="T51" fmla="*/ 32 h 38"/>
                  <a:gd name="T52" fmla="*/ 72 w 94"/>
                  <a:gd name="T53" fmla="*/ 32 h 38"/>
                  <a:gd name="T54" fmla="*/ 70 w 94"/>
                  <a:gd name="T55" fmla="*/ 28 h 38"/>
                  <a:gd name="T56" fmla="*/ 70 w 94"/>
                  <a:gd name="T57" fmla="*/ 16 h 38"/>
                  <a:gd name="T58" fmla="*/ 64 w 94"/>
                  <a:gd name="T59" fmla="*/ 12 h 38"/>
                  <a:gd name="T60" fmla="*/ 58 w 94"/>
                  <a:gd name="T61" fmla="*/ 14 h 38"/>
                  <a:gd name="T62" fmla="*/ 56 w 94"/>
                  <a:gd name="T63" fmla="*/ 18 h 38"/>
                  <a:gd name="T64" fmla="*/ 48 w 94"/>
                  <a:gd name="T65" fmla="*/ 20 h 38"/>
                  <a:gd name="T66" fmla="*/ 50 w 94"/>
                  <a:gd name="T67" fmla="*/ 28 h 38"/>
                  <a:gd name="T68" fmla="*/ 50 w 94"/>
                  <a:gd name="T69" fmla="*/ 28 h 38"/>
                  <a:gd name="T70" fmla="*/ 50 w 94"/>
                  <a:gd name="T71" fmla="*/ 34 h 38"/>
                  <a:gd name="T72" fmla="*/ 40 w 94"/>
                  <a:gd name="T73" fmla="*/ 38 h 38"/>
                  <a:gd name="T74" fmla="*/ 40 w 94"/>
                  <a:gd name="T7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38">
                    <a:moveTo>
                      <a:pt x="40" y="38"/>
                    </a:moveTo>
                    <a:lnTo>
                      <a:pt x="40" y="38"/>
                    </a:lnTo>
                    <a:lnTo>
                      <a:pt x="38" y="38"/>
                    </a:lnTo>
                    <a:lnTo>
                      <a:pt x="28" y="26"/>
                    </a:lnTo>
                    <a:lnTo>
                      <a:pt x="24" y="24"/>
                    </a:lnTo>
                    <a:lnTo>
                      <a:pt x="18" y="22"/>
                    </a:lnTo>
                    <a:lnTo>
                      <a:pt x="14" y="20"/>
                    </a:lnTo>
                    <a:lnTo>
                      <a:pt x="10" y="22"/>
                    </a:lnTo>
                    <a:lnTo>
                      <a:pt x="10" y="22"/>
                    </a:lnTo>
                    <a:lnTo>
                      <a:pt x="8" y="22"/>
                    </a:lnTo>
                    <a:lnTo>
                      <a:pt x="8" y="22"/>
                    </a:lnTo>
                    <a:lnTo>
                      <a:pt x="8" y="22"/>
                    </a:lnTo>
                    <a:lnTo>
                      <a:pt x="2" y="20"/>
                    </a:lnTo>
                    <a:lnTo>
                      <a:pt x="2" y="20"/>
                    </a:lnTo>
                    <a:lnTo>
                      <a:pt x="0" y="18"/>
                    </a:lnTo>
                    <a:lnTo>
                      <a:pt x="0" y="18"/>
                    </a:lnTo>
                    <a:lnTo>
                      <a:pt x="0" y="16"/>
                    </a:lnTo>
                    <a:lnTo>
                      <a:pt x="4" y="14"/>
                    </a:lnTo>
                    <a:lnTo>
                      <a:pt x="6" y="8"/>
                    </a:lnTo>
                    <a:lnTo>
                      <a:pt x="6" y="8"/>
                    </a:lnTo>
                    <a:lnTo>
                      <a:pt x="6" y="8"/>
                    </a:lnTo>
                    <a:lnTo>
                      <a:pt x="10" y="2"/>
                    </a:lnTo>
                    <a:lnTo>
                      <a:pt x="10" y="2"/>
                    </a:lnTo>
                    <a:lnTo>
                      <a:pt x="12" y="2"/>
                    </a:lnTo>
                    <a:lnTo>
                      <a:pt x="12" y="2"/>
                    </a:lnTo>
                    <a:lnTo>
                      <a:pt x="12" y="2"/>
                    </a:lnTo>
                    <a:lnTo>
                      <a:pt x="18" y="4"/>
                    </a:lnTo>
                    <a:lnTo>
                      <a:pt x="18" y="4"/>
                    </a:lnTo>
                    <a:lnTo>
                      <a:pt x="18" y="4"/>
                    </a:lnTo>
                    <a:lnTo>
                      <a:pt x="22" y="8"/>
                    </a:lnTo>
                    <a:lnTo>
                      <a:pt x="28" y="10"/>
                    </a:lnTo>
                    <a:lnTo>
                      <a:pt x="36" y="10"/>
                    </a:lnTo>
                    <a:lnTo>
                      <a:pt x="40" y="8"/>
                    </a:lnTo>
                    <a:lnTo>
                      <a:pt x="46" y="6"/>
                    </a:lnTo>
                    <a:lnTo>
                      <a:pt x="56" y="2"/>
                    </a:lnTo>
                    <a:lnTo>
                      <a:pt x="64" y="0"/>
                    </a:lnTo>
                    <a:lnTo>
                      <a:pt x="74" y="2"/>
                    </a:lnTo>
                    <a:lnTo>
                      <a:pt x="80" y="6"/>
                    </a:lnTo>
                    <a:lnTo>
                      <a:pt x="86" y="10"/>
                    </a:lnTo>
                    <a:lnTo>
                      <a:pt x="90" y="16"/>
                    </a:lnTo>
                    <a:lnTo>
                      <a:pt x="92" y="18"/>
                    </a:lnTo>
                    <a:lnTo>
                      <a:pt x="92" y="18"/>
                    </a:lnTo>
                    <a:lnTo>
                      <a:pt x="94" y="20"/>
                    </a:lnTo>
                    <a:lnTo>
                      <a:pt x="92" y="26"/>
                    </a:lnTo>
                    <a:lnTo>
                      <a:pt x="92" y="26"/>
                    </a:lnTo>
                    <a:lnTo>
                      <a:pt x="90" y="26"/>
                    </a:lnTo>
                    <a:lnTo>
                      <a:pt x="80" y="34"/>
                    </a:lnTo>
                    <a:lnTo>
                      <a:pt x="80" y="34"/>
                    </a:lnTo>
                    <a:lnTo>
                      <a:pt x="78" y="34"/>
                    </a:lnTo>
                    <a:lnTo>
                      <a:pt x="78" y="34"/>
                    </a:lnTo>
                    <a:lnTo>
                      <a:pt x="78" y="34"/>
                    </a:lnTo>
                    <a:lnTo>
                      <a:pt x="74" y="32"/>
                    </a:lnTo>
                    <a:lnTo>
                      <a:pt x="74" y="32"/>
                    </a:lnTo>
                    <a:lnTo>
                      <a:pt x="72" y="32"/>
                    </a:lnTo>
                    <a:lnTo>
                      <a:pt x="70" y="28"/>
                    </a:lnTo>
                    <a:lnTo>
                      <a:pt x="70" y="28"/>
                    </a:lnTo>
                    <a:lnTo>
                      <a:pt x="70" y="26"/>
                    </a:lnTo>
                    <a:lnTo>
                      <a:pt x="70" y="16"/>
                    </a:lnTo>
                    <a:lnTo>
                      <a:pt x="68" y="14"/>
                    </a:lnTo>
                    <a:lnTo>
                      <a:pt x="64" y="12"/>
                    </a:lnTo>
                    <a:lnTo>
                      <a:pt x="60" y="12"/>
                    </a:lnTo>
                    <a:lnTo>
                      <a:pt x="58" y="14"/>
                    </a:lnTo>
                    <a:lnTo>
                      <a:pt x="56" y="18"/>
                    </a:lnTo>
                    <a:lnTo>
                      <a:pt x="56" y="18"/>
                    </a:lnTo>
                    <a:lnTo>
                      <a:pt x="54" y="18"/>
                    </a:lnTo>
                    <a:lnTo>
                      <a:pt x="48" y="20"/>
                    </a:lnTo>
                    <a:lnTo>
                      <a:pt x="46" y="22"/>
                    </a:lnTo>
                    <a:lnTo>
                      <a:pt x="50" y="28"/>
                    </a:lnTo>
                    <a:lnTo>
                      <a:pt x="50" y="28"/>
                    </a:lnTo>
                    <a:lnTo>
                      <a:pt x="50" y="28"/>
                    </a:lnTo>
                    <a:lnTo>
                      <a:pt x="50" y="34"/>
                    </a:lnTo>
                    <a:lnTo>
                      <a:pt x="50" y="34"/>
                    </a:lnTo>
                    <a:lnTo>
                      <a:pt x="48"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7" name="Freeform 227"/>
              <p:cNvSpPr>
                <a:spLocks noEditPoints="1"/>
              </p:cNvSpPr>
              <p:nvPr/>
            </p:nvSpPr>
            <p:spPr bwMode="auto">
              <a:xfrm>
                <a:off x="1681" y="2383"/>
                <a:ext cx="98" cy="42"/>
              </a:xfrm>
              <a:custGeom>
                <a:avLst/>
                <a:gdLst>
                  <a:gd name="T0" fmla="*/ 80 w 98"/>
                  <a:gd name="T1" fmla="*/ 10 h 42"/>
                  <a:gd name="T2" fmla="*/ 94 w 98"/>
                  <a:gd name="T3" fmla="*/ 22 h 42"/>
                  <a:gd name="T4" fmla="*/ 80 w 98"/>
                  <a:gd name="T5" fmla="*/ 34 h 42"/>
                  <a:gd name="T6" fmla="*/ 74 w 98"/>
                  <a:gd name="T7" fmla="*/ 24 h 42"/>
                  <a:gd name="T8" fmla="*/ 66 w 98"/>
                  <a:gd name="T9" fmla="*/ 12 h 42"/>
                  <a:gd name="T10" fmla="*/ 56 w 98"/>
                  <a:gd name="T11" fmla="*/ 18 h 42"/>
                  <a:gd name="T12" fmla="*/ 48 w 98"/>
                  <a:gd name="T13" fmla="*/ 28 h 42"/>
                  <a:gd name="T14" fmla="*/ 42 w 98"/>
                  <a:gd name="T15" fmla="*/ 38 h 42"/>
                  <a:gd name="T16" fmla="*/ 26 w 98"/>
                  <a:gd name="T17" fmla="*/ 24 h 42"/>
                  <a:gd name="T18" fmla="*/ 10 w 98"/>
                  <a:gd name="T19" fmla="*/ 22 h 42"/>
                  <a:gd name="T20" fmla="*/ 8 w 98"/>
                  <a:gd name="T21" fmla="*/ 12 h 42"/>
                  <a:gd name="T22" fmla="*/ 24 w 98"/>
                  <a:gd name="T23" fmla="*/ 12 h 42"/>
                  <a:gd name="T24" fmla="*/ 42 w 98"/>
                  <a:gd name="T25" fmla="*/ 12 h 42"/>
                  <a:gd name="T26" fmla="*/ 66 w 98"/>
                  <a:gd name="T27" fmla="*/ 4 h 42"/>
                  <a:gd name="T28" fmla="*/ 66 w 98"/>
                  <a:gd name="T29" fmla="*/ 0 h 42"/>
                  <a:gd name="T30" fmla="*/ 56 w 98"/>
                  <a:gd name="T31" fmla="*/ 2 h 42"/>
                  <a:gd name="T32" fmla="*/ 36 w 98"/>
                  <a:gd name="T33" fmla="*/ 10 h 42"/>
                  <a:gd name="T34" fmla="*/ 22 w 98"/>
                  <a:gd name="T35" fmla="*/ 4 h 42"/>
                  <a:gd name="T36" fmla="*/ 16 w 98"/>
                  <a:gd name="T37" fmla="*/ 2 h 42"/>
                  <a:gd name="T38" fmla="*/ 14 w 98"/>
                  <a:gd name="T39" fmla="*/ 2 h 42"/>
                  <a:gd name="T40" fmla="*/ 6 w 98"/>
                  <a:gd name="T41" fmla="*/ 8 h 42"/>
                  <a:gd name="T42" fmla="*/ 0 w 98"/>
                  <a:gd name="T43" fmla="*/ 18 h 42"/>
                  <a:gd name="T44" fmla="*/ 0 w 98"/>
                  <a:gd name="T45" fmla="*/ 22 h 42"/>
                  <a:gd name="T46" fmla="*/ 10 w 98"/>
                  <a:gd name="T47" fmla="*/ 26 h 42"/>
                  <a:gd name="T48" fmla="*/ 12 w 98"/>
                  <a:gd name="T49" fmla="*/ 26 h 42"/>
                  <a:gd name="T50" fmla="*/ 18 w 98"/>
                  <a:gd name="T51" fmla="*/ 26 h 42"/>
                  <a:gd name="T52" fmla="*/ 30 w 98"/>
                  <a:gd name="T53" fmla="*/ 30 h 42"/>
                  <a:gd name="T54" fmla="*/ 40 w 98"/>
                  <a:gd name="T55" fmla="*/ 40 h 42"/>
                  <a:gd name="T56" fmla="*/ 44 w 98"/>
                  <a:gd name="T57" fmla="*/ 42 h 42"/>
                  <a:gd name="T58" fmla="*/ 52 w 98"/>
                  <a:gd name="T59" fmla="*/ 38 h 42"/>
                  <a:gd name="T60" fmla="*/ 54 w 98"/>
                  <a:gd name="T61" fmla="*/ 30 h 42"/>
                  <a:gd name="T62" fmla="*/ 50 w 98"/>
                  <a:gd name="T63" fmla="*/ 24 h 42"/>
                  <a:gd name="T64" fmla="*/ 58 w 98"/>
                  <a:gd name="T65" fmla="*/ 22 h 42"/>
                  <a:gd name="T66" fmla="*/ 62 w 98"/>
                  <a:gd name="T67" fmla="*/ 16 h 42"/>
                  <a:gd name="T68" fmla="*/ 70 w 98"/>
                  <a:gd name="T69" fmla="*/ 20 h 42"/>
                  <a:gd name="T70" fmla="*/ 70 w 98"/>
                  <a:gd name="T71" fmla="*/ 28 h 42"/>
                  <a:gd name="T72" fmla="*/ 72 w 98"/>
                  <a:gd name="T73" fmla="*/ 34 h 42"/>
                  <a:gd name="T74" fmla="*/ 80 w 98"/>
                  <a:gd name="T75" fmla="*/ 38 h 42"/>
                  <a:gd name="T76" fmla="*/ 84 w 98"/>
                  <a:gd name="T77" fmla="*/ 38 h 42"/>
                  <a:gd name="T78" fmla="*/ 94 w 98"/>
                  <a:gd name="T79" fmla="*/ 30 h 42"/>
                  <a:gd name="T80" fmla="*/ 98 w 98"/>
                  <a:gd name="T81" fmla="*/ 22 h 42"/>
                  <a:gd name="T82" fmla="*/ 90 w 98"/>
                  <a:gd name="T83" fmla="*/ 10 h 42"/>
                  <a:gd name="T84" fmla="*/ 84 w 98"/>
                  <a:gd name="T85" fmla="*/ 6 h 42"/>
                  <a:gd name="T86" fmla="*/ 76 w 98"/>
                  <a:gd name="T87" fmla="*/ 2 h 42"/>
                  <a:gd name="T88" fmla="*/ 66 w 9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2">
                    <a:moveTo>
                      <a:pt x="66" y="4"/>
                    </a:moveTo>
                    <a:lnTo>
                      <a:pt x="76" y="6"/>
                    </a:lnTo>
                    <a:lnTo>
                      <a:pt x="80" y="10"/>
                    </a:lnTo>
                    <a:lnTo>
                      <a:pt x="86" y="12"/>
                    </a:lnTo>
                    <a:lnTo>
                      <a:pt x="90" y="18"/>
                    </a:lnTo>
                    <a:lnTo>
                      <a:pt x="94" y="22"/>
                    </a:lnTo>
                    <a:lnTo>
                      <a:pt x="92" y="28"/>
                    </a:lnTo>
                    <a:lnTo>
                      <a:pt x="86" y="30"/>
                    </a:lnTo>
                    <a:lnTo>
                      <a:pt x="80" y="34"/>
                    </a:lnTo>
                    <a:lnTo>
                      <a:pt x="76" y="32"/>
                    </a:lnTo>
                    <a:lnTo>
                      <a:pt x="74" y="28"/>
                    </a:lnTo>
                    <a:lnTo>
                      <a:pt x="74" y="24"/>
                    </a:lnTo>
                    <a:lnTo>
                      <a:pt x="74" y="18"/>
                    </a:lnTo>
                    <a:lnTo>
                      <a:pt x="72" y="14"/>
                    </a:lnTo>
                    <a:lnTo>
                      <a:pt x="66" y="12"/>
                    </a:lnTo>
                    <a:lnTo>
                      <a:pt x="62" y="12"/>
                    </a:lnTo>
                    <a:lnTo>
                      <a:pt x="58" y="14"/>
                    </a:lnTo>
                    <a:lnTo>
                      <a:pt x="56" y="18"/>
                    </a:lnTo>
                    <a:lnTo>
                      <a:pt x="50" y="20"/>
                    </a:lnTo>
                    <a:lnTo>
                      <a:pt x="46" y="24"/>
                    </a:lnTo>
                    <a:lnTo>
                      <a:pt x="48" y="28"/>
                    </a:lnTo>
                    <a:lnTo>
                      <a:pt x="50" y="30"/>
                    </a:lnTo>
                    <a:lnTo>
                      <a:pt x="50" y="36"/>
                    </a:lnTo>
                    <a:lnTo>
                      <a:pt x="42" y="38"/>
                    </a:lnTo>
                    <a:lnTo>
                      <a:pt x="38" y="32"/>
                    </a:lnTo>
                    <a:lnTo>
                      <a:pt x="32" y="28"/>
                    </a:lnTo>
                    <a:lnTo>
                      <a:pt x="26" y="24"/>
                    </a:lnTo>
                    <a:lnTo>
                      <a:pt x="20" y="22"/>
                    </a:lnTo>
                    <a:lnTo>
                      <a:pt x="16" y="20"/>
                    </a:lnTo>
                    <a:lnTo>
                      <a:pt x="10" y="22"/>
                    </a:lnTo>
                    <a:lnTo>
                      <a:pt x="4" y="20"/>
                    </a:lnTo>
                    <a:lnTo>
                      <a:pt x="8" y="16"/>
                    </a:lnTo>
                    <a:lnTo>
                      <a:pt x="8" y="12"/>
                    </a:lnTo>
                    <a:lnTo>
                      <a:pt x="14" y="6"/>
                    </a:lnTo>
                    <a:lnTo>
                      <a:pt x="20" y="8"/>
                    </a:lnTo>
                    <a:lnTo>
                      <a:pt x="24" y="12"/>
                    </a:lnTo>
                    <a:lnTo>
                      <a:pt x="30" y="14"/>
                    </a:lnTo>
                    <a:lnTo>
                      <a:pt x="38" y="14"/>
                    </a:lnTo>
                    <a:lnTo>
                      <a:pt x="42" y="12"/>
                    </a:lnTo>
                    <a:lnTo>
                      <a:pt x="50" y="10"/>
                    </a:lnTo>
                    <a:lnTo>
                      <a:pt x="58" y="6"/>
                    </a:lnTo>
                    <a:lnTo>
                      <a:pt x="66" y="4"/>
                    </a:lnTo>
                    <a:close/>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8" name="Freeform 228"/>
              <p:cNvSpPr>
                <a:spLocks/>
              </p:cNvSpPr>
              <p:nvPr/>
            </p:nvSpPr>
            <p:spPr bwMode="auto">
              <a:xfrm>
                <a:off x="1685" y="2387"/>
                <a:ext cx="90" cy="34"/>
              </a:xfrm>
              <a:custGeom>
                <a:avLst/>
                <a:gdLst>
                  <a:gd name="T0" fmla="*/ 62 w 90"/>
                  <a:gd name="T1" fmla="*/ 0 h 34"/>
                  <a:gd name="T2" fmla="*/ 72 w 90"/>
                  <a:gd name="T3" fmla="*/ 2 h 34"/>
                  <a:gd name="T4" fmla="*/ 76 w 90"/>
                  <a:gd name="T5" fmla="*/ 6 h 34"/>
                  <a:gd name="T6" fmla="*/ 82 w 90"/>
                  <a:gd name="T7" fmla="*/ 8 h 34"/>
                  <a:gd name="T8" fmla="*/ 86 w 90"/>
                  <a:gd name="T9" fmla="*/ 14 h 34"/>
                  <a:gd name="T10" fmla="*/ 90 w 90"/>
                  <a:gd name="T11" fmla="*/ 18 h 34"/>
                  <a:gd name="T12" fmla="*/ 88 w 90"/>
                  <a:gd name="T13" fmla="*/ 24 h 34"/>
                  <a:gd name="T14" fmla="*/ 82 w 90"/>
                  <a:gd name="T15" fmla="*/ 26 h 34"/>
                  <a:gd name="T16" fmla="*/ 76 w 90"/>
                  <a:gd name="T17" fmla="*/ 30 h 34"/>
                  <a:gd name="T18" fmla="*/ 72 w 90"/>
                  <a:gd name="T19" fmla="*/ 28 h 34"/>
                  <a:gd name="T20" fmla="*/ 70 w 90"/>
                  <a:gd name="T21" fmla="*/ 24 h 34"/>
                  <a:gd name="T22" fmla="*/ 70 w 90"/>
                  <a:gd name="T23" fmla="*/ 20 h 34"/>
                  <a:gd name="T24" fmla="*/ 70 w 90"/>
                  <a:gd name="T25" fmla="*/ 14 h 34"/>
                  <a:gd name="T26" fmla="*/ 68 w 90"/>
                  <a:gd name="T27" fmla="*/ 10 h 34"/>
                  <a:gd name="T28" fmla="*/ 62 w 90"/>
                  <a:gd name="T29" fmla="*/ 8 h 34"/>
                  <a:gd name="T30" fmla="*/ 58 w 90"/>
                  <a:gd name="T31" fmla="*/ 8 h 34"/>
                  <a:gd name="T32" fmla="*/ 54 w 90"/>
                  <a:gd name="T33" fmla="*/ 10 h 34"/>
                  <a:gd name="T34" fmla="*/ 52 w 90"/>
                  <a:gd name="T35" fmla="*/ 14 h 34"/>
                  <a:gd name="T36" fmla="*/ 46 w 90"/>
                  <a:gd name="T37" fmla="*/ 16 h 34"/>
                  <a:gd name="T38" fmla="*/ 42 w 90"/>
                  <a:gd name="T39" fmla="*/ 20 h 34"/>
                  <a:gd name="T40" fmla="*/ 44 w 90"/>
                  <a:gd name="T41" fmla="*/ 24 h 34"/>
                  <a:gd name="T42" fmla="*/ 46 w 90"/>
                  <a:gd name="T43" fmla="*/ 26 h 34"/>
                  <a:gd name="T44" fmla="*/ 46 w 90"/>
                  <a:gd name="T45" fmla="*/ 32 h 34"/>
                  <a:gd name="T46" fmla="*/ 38 w 90"/>
                  <a:gd name="T47" fmla="*/ 34 h 34"/>
                  <a:gd name="T48" fmla="*/ 34 w 90"/>
                  <a:gd name="T49" fmla="*/ 28 h 34"/>
                  <a:gd name="T50" fmla="*/ 28 w 90"/>
                  <a:gd name="T51" fmla="*/ 24 h 34"/>
                  <a:gd name="T52" fmla="*/ 22 w 90"/>
                  <a:gd name="T53" fmla="*/ 20 h 34"/>
                  <a:gd name="T54" fmla="*/ 16 w 90"/>
                  <a:gd name="T55" fmla="*/ 18 h 34"/>
                  <a:gd name="T56" fmla="*/ 12 w 90"/>
                  <a:gd name="T57" fmla="*/ 16 h 34"/>
                  <a:gd name="T58" fmla="*/ 6 w 90"/>
                  <a:gd name="T59" fmla="*/ 18 h 34"/>
                  <a:gd name="T60" fmla="*/ 0 w 90"/>
                  <a:gd name="T61" fmla="*/ 16 h 34"/>
                  <a:gd name="T62" fmla="*/ 4 w 90"/>
                  <a:gd name="T63" fmla="*/ 12 h 34"/>
                  <a:gd name="T64" fmla="*/ 4 w 90"/>
                  <a:gd name="T65" fmla="*/ 8 h 34"/>
                  <a:gd name="T66" fmla="*/ 10 w 90"/>
                  <a:gd name="T67" fmla="*/ 2 h 34"/>
                  <a:gd name="T68" fmla="*/ 16 w 90"/>
                  <a:gd name="T69" fmla="*/ 4 h 34"/>
                  <a:gd name="T70" fmla="*/ 20 w 90"/>
                  <a:gd name="T71" fmla="*/ 8 h 34"/>
                  <a:gd name="T72" fmla="*/ 26 w 90"/>
                  <a:gd name="T73" fmla="*/ 10 h 34"/>
                  <a:gd name="T74" fmla="*/ 34 w 90"/>
                  <a:gd name="T75" fmla="*/ 10 h 34"/>
                  <a:gd name="T76" fmla="*/ 38 w 90"/>
                  <a:gd name="T77" fmla="*/ 8 h 34"/>
                  <a:gd name="T78" fmla="*/ 46 w 90"/>
                  <a:gd name="T79" fmla="*/ 6 h 34"/>
                  <a:gd name="T80" fmla="*/ 54 w 90"/>
                  <a:gd name="T81" fmla="*/ 2 h 34"/>
                  <a:gd name="T82" fmla="*/ 62 w 90"/>
                  <a:gd name="T8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 h="34">
                    <a:moveTo>
                      <a:pt x="62" y="0"/>
                    </a:moveTo>
                    <a:lnTo>
                      <a:pt x="72" y="2"/>
                    </a:lnTo>
                    <a:lnTo>
                      <a:pt x="76" y="6"/>
                    </a:lnTo>
                    <a:lnTo>
                      <a:pt x="82" y="8"/>
                    </a:lnTo>
                    <a:lnTo>
                      <a:pt x="86" y="14"/>
                    </a:lnTo>
                    <a:lnTo>
                      <a:pt x="90" y="18"/>
                    </a:lnTo>
                    <a:lnTo>
                      <a:pt x="88" y="24"/>
                    </a:lnTo>
                    <a:lnTo>
                      <a:pt x="82" y="26"/>
                    </a:lnTo>
                    <a:lnTo>
                      <a:pt x="76" y="30"/>
                    </a:lnTo>
                    <a:lnTo>
                      <a:pt x="72" y="28"/>
                    </a:lnTo>
                    <a:lnTo>
                      <a:pt x="70" y="24"/>
                    </a:lnTo>
                    <a:lnTo>
                      <a:pt x="70" y="20"/>
                    </a:lnTo>
                    <a:lnTo>
                      <a:pt x="70" y="14"/>
                    </a:lnTo>
                    <a:lnTo>
                      <a:pt x="68" y="10"/>
                    </a:lnTo>
                    <a:lnTo>
                      <a:pt x="62" y="8"/>
                    </a:lnTo>
                    <a:lnTo>
                      <a:pt x="58" y="8"/>
                    </a:lnTo>
                    <a:lnTo>
                      <a:pt x="54" y="10"/>
                    </a:lnTo>
                    <a:lnTo>
                      <a:pt x="52" y="14"/>
                    </a:lnTo>
                    <a:lnTo>
                      <a:pt x="46" y="16"/>
                    </a:lnTo>
                    <a:lnTo>
                      <a:pt x="42" y="20"/>
                    </a:lnTo>
                    <a:lnTo>
                      <a:pt x="44" y="24"/>
                    </a:lnTo>
                    <a:lnTo>
                      <a:pt x="46" y="26"/>
                    </a:lnTo>
                    <a:lnTo>
                      <a:pt x="46" y="32"/>
                    </a:lnTo>
                    <a:lnTo>
                      <a:pt x="38" y="34"/>
                    </a:lnTo>
                    <a:lnTo>
                      <a:pt x="34" y="28"/>
                    </a:lnTo>
                    <a:lnTo>
                      <a:pt x="28" y="24"/>
                    </a:lnTo>
                    <a:lnTo>
                      <a:pt x="22" y="20"/>
                    </a:lnTo>
                    <a:lnTo>
                      <a:pt x="16" y="18"/>
                    </a:lnTo>
                    <a:lnTo>
                      <a:pt x="12" y="16"/>
                    </a:lnTo>
                    <a:lnTo>
                      <a:pt x="6" y="18"/>
                    </a:lnTo>
                    <a:lnTo>
                      <a:pt x="0" y="16"/>
                    </a:lnTo>
                    <a:lnTo>
                      <a:pt x="4" y="12"/>
                    </a:lnTo>
                    <a:lnTo>
                      <a:pt x="4" y="8"/>
                    </a:lnTo>
                    <a:lnTo>
                      <a:pt x="10" y="2"/>
                    </a:lnTo>
                    <a:lnTo>
                      <a:pt x="16" y="4"/>
                    </a:lnTo>
                    <a:lnTo>
                      <a:pt x="20" y="8"/>
                    </a:lnTo>
                    <a:lnTo>
                      <a:pt x="26" y="10"/>
                    </a:lnTo>
                    <a:lnTo>
                      <a:pt x="34" y="10"/>
                    </a:lnTo>
                    <a:lnTo>
                      <a:pt x="38" y="8"/>
                    </a:lnTo>
                    <a:lnTo>
                      <a:pt x="46" y="6"/>
                    </a:lnTo>
                    <a:lnTo>
                      <a:pt x="54" y="2"/>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9" name="Freeform 229"/>
              <p:cNvSpPr>
                <a:spLocks/>
              </p:cNvSpPr>
              <p:nvPr/>
            </p:nvSpPr>
            <p:spPr bwMode="auto">
              <a:xfrm>
                <a:off x="1681" y="2383"/>
                <a:ext cx="98" cy="42"/>
              </a:xfrm>
              <a:custGeom>
                <a:avLst/>
                <a:gdLst>
                  <a:gd name="T0" fmla="*/ 66 w 98"/>
                  <a:gd name="T1" fmla="*/ 0 h 42"/>
                  <a:gd name="T2" fmla="*/ 58 w 98"/>
                  <a:gd name="T3" fmla="*/ 2 h 42"/>
                  <a:gd name="T4" fmla="*/ 56 w 98"/>
                  <a:gd name="T5" fmla="*/ 2 h 42"/>
                  <a:gd name="T6" fmla="*/ 40 w 98"/>
                  <a:gd name="T7" fmla="*/ 10 h 42"/>
                  <a:gd name="T8" fmla="*/ 30 w 98"/>
                  <a:gd name="T9" fmla="*/ 10 h 42"/>
                  <a:gd name="T10" fmla="*/ 22 w 98"/>
                  <a:gd name="T11" fmla="*/ 4 h 42"/>
                  <a:gd name="T12" fmla="*/ 20 w 98"/>
                  <a:gd name="T13" fmla="*/ 4 h 42"/>
                  <a:gd name="T14" fmla="*/ 16 w 98"/>
                  <a:gd name="T15" fmla="*/ 2 h 42"/>
                  <a:gd name="T16" fmla="*/ 14 w 98"/>
                  <a:gd name="T17" fmla="*/ 2 h 42"/>
                  <a:gd name="T18" fmla="*/ 6 w 98"/>
                  <a:gd name="T19" fmla="*/ 8 h 42"/>
                  <a:gd name="T20" fmla="*/ 6 w 98"/>
                  <a:gd name="T21" fmla="*/ 10 h 42"/>
                  <a:gd name="T22" fmla="*/ 0 w 98"/>
                  <a:gd name="T23" fmla="*/ 18 h 42"/>
                  <a:gd name="T24" fmla="*/ 0 w 98"/>
                  <a:gd name="T25" fmla="*/ 22 h 42"/>
                  <a:gd name="T26" fmla="*/ 2 w 98"/>
                  <a:gd name="T27" fmla="*/ 24 h 42"/>
                  <a:gd name="T28" fmla="*/ 10 w 98"/>
                  <a:gd name="T29" fmla="*/ 26 h 42"/>
                  <a:gd name="T30" fmla="*/ 10 w 98"/>
                  <a:gd name="T31" fmla="*/ 26 h 42"/>
                  <a:gd name="T32" fmla="*/ 16 w 98"/>
                  <a:gd name="T33" fmla="*/ 24 h 42"/>
                  <a:gd name="T34" fmla="*/ 18 w 98"/>
                  <a:gd name="T35" fmla="*/ 26 h 42"/>
                  <a:gd name="T36" fmla="*/ 24 w 98"/>
                  <a:gd name="T37" fmla="*/ 28 h 42"/>
                  <a:gd name="T38" fmla="*/ 34 w 98"/>
                  <a:gd name="T39" fmla="*/ 36 h 42"/>
                  <a:gd name="T40" fmla="*/ 40 w 98"/>
                  <a:gd name="T41" fmla="*/ 40 h 42"/>
                  <a:gd name="T42" fmla="*/ 42 w 98"/>
                  <a:gd name="T43" fmla="*/ 42 h 42"/>
                  <a:gd name="T44" fmla="*/ 50 w 98"/>
                  <a:gd name="T45" fmla="*/ 40 h 42"/>
                  <a:gd name="T46" fmla="*/ 52 w 98"/>
                  <a:gd name="T47" fmla="*/ 38 h 42"/>
                  <a:gd name="T48" fmla="*/ 54 w 98"/>
                  <a:gd name="T49" fmla="*/ 30 h 42"/>
                  <a:gd name="T50" fmla="*/ 52 w 98"/>
                  <a:gd name="T51" fmla="*/ 28 h 42"/>
                  <a:gd name="T52" fmla="*/ 50 w 98"/>
                  <a:gd name="T53" fmla="*/ 24 h 42"/>
                  <a:gd name="T54" fmla="*/ 58 w 98"/>
                  <a:gd name="T55" fmla="*/ 22 h 42"/>
                  <a:gd name="T56" fmla="*/ 60 w 98"/>
                  <a:gd name="T57" fmla="*/ 20 h 42"/>
                  <a:gd name="T58" fmla="*/ 62 w 98"/>
                  <a:gd name="T59" fmla="*/ 16 h 42"/>
                  <a:gd name="T60" fmla="*/ 70 w 98"/>
                  <a:gd name="T61" fmla="*/ 18 h 42"/>
                  <a:gd name="T62" fmla="*/ 70 w 98"/>
                  <a:gd name="T63" fmla="*/ 24 h 42"/>
                  <a:gd name="T64" fmla="*/ 70 w 98"/>
                  <a:gd name="T65" fmla="*/ 28 h 42"/>
                  <a:gd name="T66" fmla="*/ 72 w 98"/>
                  <a:gd name="T67" fmla="*/ 34 h 42"/>
                  <a:gd name="T68" fmla="*/ 74 w 98"/>
                  <a:gd name="T69" fmla="*/ 36 h 42"/>
                  <a:gd name="T70" fmla="*/ 80 w 98"/>
                  <a:gd name="T71" fmla="*/ 38 h 42"/>
                  <a:gd name="T72" fmla="*/ 80 w 98"/>
                  <a:gd name="T73" fmla="*/ 38 h 42"/>
                  <a:gd name="T74" fmla="*/ 88 w 98"/>
                  <a:gd name="T75" fmla="*/ 34 h 42"/>
                  <a:gd name="T76" fmla="*/ 94 w 98"/>
                  <a:gd name="T77" fmla="*/ 30 h 42"/>
                  <a:gd name="T78" fmla="*/ 98 w 98"/>
                  <a:gd name="T79" fmla="*/ 22 h 42"/>
                  <a:gd name="T80" fmla="*/ 96 w 98"/>
                  <a:gd name="T81" fmla="*/ 18 h 42"/>
                  <a:gd name="T82" fmla="*/ 90 w 98"/>
                  <a:gd name="T83" fmla="*/ 10 h 42"/>
                  <a:gd name="T84" fmla="*/ 88 w 98"/>
                  <a:gd name="T85" fmla="*/ 10 h 42"/>
                  <a:gd name="T86" fmla="*/ 78 w 98"/>
                  <a:gd name="T87" fmla="*/ 2 h 42"/>
                  <a:gd name="T88" fmla="*/ 76 w 98"/>
                  <a:gd name="T89" fmla="*/ 2 h 42"/>
                  <a:gd name="T90" fmla="*/ 68 w 98"/>
                  <a:gd name="T91" fmla="*/ 0 h 42"/>
                  <a:gd name="T92" fmla="*/ 66 w 9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42">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0" name="Freeform 230"/>
              <p:cNvSpPr>
                <a:spLocks/>
              </p:cNvSpPr>
              <p:nvPr/>
            </p:nvSpPr>
            <p:spPr bwMode="auto">
              <a:xfrm>
                <a:off x="1661" y="2189"/>
                <a:ext cx="154" cy="54"/>
              </a:xfrm>
              <a:custGeom>
                <a:avLst/>
                <a:gdLst>
                  <a:gd name="T0" fmla="*/ 114 w 154"/>
                  <a:gd name="T1" fmla="*/ 54 h 54"/>
                  <a:gd name="T2" fmla="*/ 106 w 154"/>
                  <a:gd name="T3" fmla="*/ 52 h 54"/>
                  <a:gd name="T4" fmla="*/ 106 w 154"/>
                  <a:gd name="T5" fmla="*/ 52 h 54"/>
                  <a:gd name="T6" fmla="*/ 104 w 154"/>
                  <a:gd name="T7" fmla="*/ 50 h 54"/>
                  <a:gd name="T8" fmla="*/ 106 w 154"/>
                  <a:gd name="T9" fmla="*/ 40 h 54"/>
                  <a:gd name="T10" fmla="*/ 96 w 154"/>
                  <a:gd name="T11" fmla="*/ 40 h 54"/>
                  <a:gd name="T12" fmla="*/ 90 w 154"/>
                  <a:gd name="T13" fmla="*/ 32 h 54"/>
                  <a:gd name="T14" fmla="*/ 74 w 154"/>
                  <a:gd name="T15" fmla="*/ 28 h 54"/>
                  <a:gd name="T16" fmla="*/ 72 w 154"/>
                  <a:gd name="T17" fmla="*/ 26 h 54"/>
                  <a:gd name="T18" fmla="*/ 58 w 154"/>
                  <a:gd name="T19" fmla="*/ 20 h 54"/>
                  <a:gd name="T20" fmla="*/ 44 w 154"/>
                  <a:gd name="T21" fmla="*/ 18 h 54"/>
                  <a:gd name="T22" fmla="*/ 40 w 154"/>
                  <a:gd name="T23" fmla="*/ 14 h 54"/>
                  <a:gd name="T24" fmla="*/ 28 w 154"/>
                  <a:gd name="T25" fmla="*/ 16 h 54"/>
                  <a:gd name="T26" fmla="*/ 14 w 154"/>
                  <a:gd name="T27" fmla="*/ 24 h 54"/>
                  <a:gd name="T28" fmla="*/ 2 w 154"/>
                  <a:gd name="T29" fmla="*/ 24 h 54"/>
                  <a:gd name="T30" fmla="*/ 0 w 154"/>
                  <a:gd name="T31" fmla="*/ 22 h 54"/>
                  <a:gd name="T32" fmla="*/ 0 w 154"/>
                  <a:gd name="T33" fmla="*/ 20 h 54"/>
                  <a:gd name="T34" fmla="*/ 8 w 154"/>
                  <a:gd name="T35" fmla="*/ 6 h 54"/>
                  <a:gd name="T36" fmla="*/ 10 w 154"/>
                  <a:gd name="T37" fmla="*/ 6 h 54"/>
                  <a:gd name="T38" fmla="*/ 38 w 154"/>
                  <a:gd name="T39" fmla="*/ 0 h 54"/>
                  <a:gd name="T40" fmla="*/ 70 w 154"/>
                  <a:gd name="T41" fmla="*/ 4 h 54"/>
                  <a:gd name="T42" fmla="*/ 96 w 154"/>
                  <a:gd name="T43" fmla="*/ 12 h 54"/>
                  <a:gd name="T44" fmla="*/ 98 w 154"/>
                  <a:gd name="T45" fmla="*/ 12 h 54"/>
                  <a:gd name="T46" fmla="*/ 108 w 154"/>
                  <a:gd name="T47" fmla="*/ 22 h 54"/>
                  <a:gd name="T48" fmla="*/ 132 w 154"/>
                  <a:gd name="T49" fmla="*/ 30 h 54"/>
                  <a:gd name="T50" fmla="*/ 154 w 154"/>
                  <a:gd name="T51" fmla="*/ 42 h 54"/>
                  <a:gd name="T52" fmla="*/ 154 w 154"/>
                  <a:gd name="T53" fmla="*/ 44 h 54"/>
                  <a:gd name="T54" fmla="*/ 148 w 154"/>
                  <a:gd name="T55" fmla="*/ 48 h 54"/>
                  <a:gd name="T56" fmla="*/ 140 w 154"/>
                  <a:gd name="T57" fmla="*/ 54 h 54"/>
                  <a:gd name="T58" fmla="*/ 138 w 154"/>
                  <a:gd name="T59" fmla="*/ 54 h 54"/>
                  <a:gd name="T60" fmla="*/ 136 w 154"/>
                  <a:gd name="T61" fmla="*/ 54 h 54"/>
                  <a:gd name="T62" fmla="*/ 128 w 154"/>
                  <a:gd name="T63" fmla="*/ 50 h 54"/>
                  <a:gd name="T64" fmla="*/ 116 w 154"/>
                  <a:gd name="T65" fmla="*/ 54 h 54"/>
                  <a:gd name="T66" fmla="*/ 114 w 154"/>
                  <a:gd name="T6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54">
                    <a:moveTo>
                      <a:pt x="114" y="54"/>
                    </a:moveTo>
                    <a:lnTo>
                      <a:pt x="114" y="54"/>
                    </a:lnTo>
                    <a:lnTo>
                      <a:pt x="114" y="54"/>
                    </a:lnTo>
                    <a:lnTo>
                      <a:pt x="106" y="52"/>
                    </a:lnTo>
                    <a:lnTo>
                      <a:pt x="106" y="52"/>
                    </a:lnTo>
                    <a:lnTo>
                      <a:pt x="106" y="52"/>
                    </a:lnTo>
                    <a:lnTo>
                      <a:pt x="106" y="52"/>
                    </a:lnTo>
                    <a:lnTo>
                      <a:pt x="104" y="50"/>
                    </a:lnTo>
                    <a:lnTo>
                      <a:pt x="106" y="44"/>
                    </a:lnTo>
                    <a:lnTo>
                      <a:pt x="106" y="40"/>
                    </a:lnTo>
                    <a:lnTo>
                      <a:pt x="96" y="40"/>
                    </a:lnTo>
                    <a:lnTo>
                      <a:pt x="96" y="40"/>
                    </a:lnTo>
                    <a:lnTo>
                      <a:pt x="94" y="38"/>
                    </a:lnTo>
                    <a:lnTo>
                      <a:pt x="90" y="32"/>
                    </a:lnTo>
                    <a:lnTo>
                      <a:pt x="86" y="30"/>
                    </a:lnTo>
                    <a:lnTo>
                      <a:pt x="74" y="28"/>
                    </a:lnTo>
                    <a:lnTo>
                      <a:pt x="74" y="28"/>
                    </a:lnTo>
                    <a:lnTo>
                      <a:pt x="72" y="26"/>
                    </a:lnTo>
                    <a:lnTo>
                      <a:pt x="70" y="24"/>
                    </a:lnTo>
                    <a:lnTo>
                      <a:pt x="58" y="20"/>
                    </a:lnTo>
                    <a:lnTo>
                      <a:pt x="44" y="18"/>
                    </a:lnTo>
                    <a:lnTo>
                      <a:pt x="44" y="18"/>
                    </a:lnTo>
                    <a:lnTo>
                      <a:pt x="44" y="18"/>
                    </a:lnTo>
                    <a:lnTo>
                      <a:pt x="40" y="14"/>
                    </a:lnTo>
                    <a:lnTo>
                      <a:pt x="32" y="12"/>
                    </a:lnTo>
                    <a:lnTo>
                      <a:pt x="28" y="16"/>
                    </a:lnTo>
                    <a:lnTo>
                      <a:pt x="14" y="24"/>
                    </a:lnTo>
                    <a:lnTo>
                      <a:pt x="14" y="24"/>
                    </a:lnTo>
                    <a:lnTo>
                      <a:pt x="12" y="24"/>
                    </a:lnTo>
                    <a:lnTo>
                      <a:pt x="2" y="24"/>
                    </a:lnTo>
                    <a:lnTo>
                      <a:pt x="2" y="24"/>
                    </a:lnTo>
                    <a:lnTo>
                      <a:pt x="0" y="22"/>
                    </a:lnTo>
                    <a:lnTo>
                      <a:pt x="0" y="22"/>
                    </a:lnTo>
                    <a:lnTo>
                      <a:pt x="0" y="20"/>
                    </a:lnTo>
                    <a:lnTo>
                      <a:pt x="2" y="16"/>
                    </a:lnTo>
                    <a:lnTo>
                      <a:pt x="8" y="6"/>
                    </a:lnTo>
                    <a:lnTo>
                      <a:pt x="8" y="6"/>
                    </a:lnTo>
                    <a:lnTo>
                      <a:pt x="10" y="6"/>
                    </a:lnTo>
                    <a:lnTo>
                      <a:pt x="24" y="2"/>
                    </a:lnTo>
                    <a:lnTo>
                      <a:pt x="38" y="0"/>
                    </a:lnTo>
                    <a:lnTo>
                      <a:pt x="54" y="0"/>
                    </a:lnTo>
                    <a:lnTo>
                      <a:pt x="70" y="4"/>
                    </a:lnTo>
                    <a:lnTo>
                      <a:pt x="82" y="8"/>
                    </a:lnTo>
                    <a:lnTo>
                      <a:pt x="96" y="12"/>
                    </a:lnTo>
                    <a:lnTo>
                      <a:pt x="96" y="12"/>
                    </a:lnTo>
                    <a:lnTo>
                      <a:pt x="98" y="12"/>
                    </a:lnTo>
                    <a:lnTo>
                      <a:pt x="102" y="18"/>
                    </a:lnTo>
                    <a:lnTo>
                      <a:pt x="108" y="22"/>
                    </a:lnTo>
                    <a:lnTo>
                      <a:pt x="120" y="26"/>
                    </a:lnTo>
                    <a:lnTo>
                      <a:pt x="132" y="30"/>
                    </a:lnTo>
                    <a:lnTo>
                      <a:pt x="154" y="42"/>
                    </a:lnTo>
                    <a:lnTo>
                      <a:pt x="154" y="42"/>
                    </a:lnTo>
                    <a:lnTo>
                      <a:pt x="154" y="44"/>
                    </a:lnTo>
                    <a:lnTo>
                      <a:pt x="154" y="44"/>
                    </a:lnTo>
                    <a:lnTo>
                      <a:pt x="154" y="44"/>
                    </a:lnTo>
                    <a:lnTo>
                      <a:pt x="148" y="48"/>
                    </a:lnTo>
                    <a:lnTo>
                      <a:pt x="142" y="50"/>
                    </a:lnTo>
                    <a:lnTo>
                      <a:pt x="140" y="54"/>
                    </a:lnTo>
                    <a:lnTo>
                      <a:pt x="140" y="54"/>
                    </a:lnTo>
                    <a:lnTo>
                      <a:pt x="138" y="54"/>
                    </a:lnTo>
                    <a:lnTo>
                      <a:pt x="136" y="54"/>
                    </a:lnTo>
                    <a:lnTo>
                      <a:pt x="136" y="54"/>
                    </a:lnTo>
                    <a:lnTo>
                      <a:pt x="136" y="54"/>
                    </a:lnTo>
                    <a:lnTo>
                      <a:pt x="128" y="50"/>
                    </a:lnTo>
                    <a:lnTo>
                      <a:pt x="120" y="50"/>
                    </a:lnTo>
                    <a:lnTo>
                      <a:pt x="116" y="54"/>
                    </a:lnTo>
                    <a:lnTo>
                      <a:pt x="116" y="54"/>
                    </a:lnTo>
                    <a:lnTo>
                      <a:pt x="114" y="54"/>
                    </a:lnTo>
                    <a:lnTo>
                      <a:pt x="11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1" name="Freeform 231"/>
              <p:cNvSpPr>
                <a:spLocks noEditPoints="1"/>
              </p:cNvSpPr>
              <p:nvPr/>
            </p:nvSpPr>
            <p:spPr bwMode="auto">
              <a:xfrm>
                <a:off x="1659" y="2187"/>
                <a:ext cx="158" cy="58"/>
              </a:xfrm>
              <a:custGeom>
                <a:avLst/>
                <a:gdLst>
                  <a:gd name="T0" fmla="*/ 70 w 158"/>
                  <a:gd name="T1" fmla="*/ 8 h 58"/>
                  <a:gd name="T2" fmla="*/ 98 w 158"/>
                  <a:gd name="T3" fmla="*/ 16 h 58"/>
                  <a:gd name="T4" fmla="*/ 108 w 158"/>
                  <a:gd name="T5" fmla="*/ 26 h 58"/>
                  <a:gd name="T6" fmla="*/ 132 w 158"/>
                  <a:gd name="T7" fmla="*/ 34 h 58"/>
                  <a:gd name="T8" fmla="*/ 154 w 158"/>
                  <a:gd name="T9" fmla="*/ 46 h 58"/>
                  <a:gd name="T10" fmla="*/ 142 w 158"/>
                  <a:gd name="T11" fmla="*/ 50 h 58"/>
                  <a:gd name="T12" fmla="*/ 138 w 158"/>
                  <a:gd name="T13" fmla="*/ 54 h 58"/>
                  <a:gd name="T14" fmla="*/ 122 w 158"/>
                  <a:gd name="T15" fmla="*/ 50 h 58"/>
                  <a:gd name="T16" fmla="*/ 108 w 158"/>
                  <a:gd name="T17" fmla="*/ 52 h 58"/>
                  <a:gd name="T18" fmla="*/ 108 w 158"/>
                  <a:gd name="T19" fmla="*/ 40 h 58"/>
                  <a:gd name="T20" fmla="*/ 94 w 158"/>
                  <a:gd name="T21" fmla="*/ 32 h 58"/>
                  <a:gd name="T22" fmla="*/ 76 w 158"/>
                  <a:gd name="T23" fmla="*/ 28 h 58"/>
                  <a:gd name="T24" fmla="*/ 60 w 158"/>
                  <a:gd name="T25" fmla="*/ 20 h 58"/>
                  <a:gd name="T26" fmla="*/ 44 w 158"/>
                  <a:gd name="T27" fmla="*/ 14 h 58"/>
                  <a:gd name="T28" fmla="*/ 28 w 158"/>
                  <a:gd name="T29" fmla="*/ 16 h 58"/>
                  <a:gd name="T30" fmla="*/ 14 w 158"/>
                  <a:gd name="T31" fmla="*/ 24 h 58"/>
                  <a:gd name="T32" fmla="*/ 6 w 158"/>
                  <a:gd name="T33" fmla="*/ 18 h 58"/>
                  <a:gd name="T34" fmla="*/ 26 w 158"/>
                  <a:gd name="T35" fmla="*/ 6 h 58"/>
                  <a:gd name="T36" fmla="*/ 56 w 158"/>
                  <a:gd name="T37" fmla="*/ 4 h 58"/>
                  <a:gd name="T38" fmla="*/ 40 w 158"/>
                  <a:gd name="T39" fmla="*/ 0 h 58"/>
                  <a:gd name="T40" fmla="*/ 40 w 158"/>
                  <a:gd name="T41" fmla="*/ 0 h 58"/>
                  <a:gd name="T42" fmla="*/ 26 w 158"/>
                  <a:gd name="T43" fmla="*/ 2 h 58"/>
                  <a:gd name="T44" fmla="*/ 12 w 158"/>
                  <a:gd name="T45" fmla="*/ 6 h 58"/>
                  <a:gd name="T46" fmla="*/ 10 w 158"/>
                  <a:gd name="T47" fmla="*/ 6 h 58"/>
                  <a:gd name="T48" fmla="*/ 2 w 158"/>
                  <a:gd name="T49" fmla="*/ 16 h 58"/>
                  <a:gd name="T50" fmla="*/ 0 w 158"/>
                  <a:gd name="T51" fmla="*/ 22 h 58"/>
                  <a:gd name="T52" fmla="*/ 0 w 158"/>
                  <a:gd name="T53" fmla="*/ 26 h 58"/>
                  <a:gd name="T54" fmla="*/ 4 w 158"/>
                  <a:gd name="T55" fmla="*/ 28 h 58"/>
                  <a:gd name="T56" fmla="*/ 14 w 158"/>
                  <a:gd name="T57" fmla="*/ 28 h 58"/>
                  <a:gd name="T58" fmla="*/ 24 w 158"/>
                  <a:gd name="T59" fmla="*/ 24 h 58"/>
                  <a:gd name="T60" fmla="*/ 30 w 158"/>
                  <a:gd name="T61" fmla="*/ 20 h 58"/>
                  <a:gd name="T62" fmla="*/ 36 w 158"/>
                  <a:gd name="T63" fmla="*/ 16 h 58"/>
                  <a:gd name="T64" fmla="*/ 44 w 158"/>
                  <a:gd name="T65" fmla="*/ 20 h 58"/>
                  <a:gd name="T66" fmla="*/ 46 w 158"/>
                  <a:gd name="T67" fmla="*/ 22 h 58"/>
                  <a:gd name="T68" fmla="*/ 70 w 158"/>
                  <a:gd name="T69" fmla="*/ 28 h 58"/>
                  <a:gd name="T70" fmla="*/ 74 w 158"/>
                  <a:gd name="T71" fmla="*/ 30 h 58"/>
                  <a:gd name="T72" fmla="*/ 88 w 158"/>
                  <a:gd name="T73" fmla="*/ 34 h 58"/>
                  <a:gd name="T74" fmla="*/ 94 w 158"/>
                  <a:gd name="T75" fmla="*/ 42 h 58"/>
                  <a:gd name="T76" fmla="*/ 98 w 158"/>
                  <a:gd name="T77" fmla="*/ 44 h 58"/>
                  <a:gd name="T78" fmla="*/ 106 w 158"/>
                  <a:gd name="T79" fmla="*/ 46 h 58"/>
                  <a:gd name="T80" fmla="*/ 106 w 158"/>
                  <a:gd name="T81" fmla="*/ 52 h 58"/>
                  <a:gd name="T82" fmla="*/ 106 w 158"/>
                  <a:gd name="T83" fmla="*/ 54 h 58"/>
                  <a:gd name="T84" fmla="*/ 116 w 158"/>
                  <a:gd name="T85" fmla="*/ 58 h 58"/>
                  <a:gd name="T86" fmla="*/ 116 w 158"/>
                  <a:gd name="T87" fmla="*/ 58 h 58"/>
                  <a:gd name="T88" fmla="*/ 118 w 158"/>
                  <a:gd name="T89" fmla="*/ 58 h 58"/>
                  <a:gd name="T90" fmla="*/ 130 w 158"/>
                  <a:gd name="T91" fmla="*/ 54 h 58"/>
                  <a:gd name="T92" fmla="*/ 136 w 158"/>
                  <a:gd name="T93" fmla="*/ 58 h 58"/>
                  <a:gd name="T94" fmla="*/ 140 w 158"/>
                  <a:gd name="T95" fmla="*/ 58 h 58"/>
                  <a:gd name="T96" fmla="*/ 144 w 158"/>
                  <a:gd name="T97" fmla="*/ 56 h 58"/>
                  <a:gd name="T98" fmla="*/ 150 w 158"/>
                  <a:gd name="T99" fmla="*/ 52 h 58"/>
                  <a:gd name="T100" fmla="*/ 152 w 158"/>
                  <a:gd name="T101" fmla="*/ 52 h 58"/>
                  <a:gd name="T102" fmla="*/ 156 w 158"/>
                  <a:gd name="T103" fmla="*/ 48 h 58"/>
                  <a:gd name="T104" fmla="*/ 158 w 158"/>
                  <a:gd name="T105" fmla="*/ 44 h 58"/>
                  <a:gd name="T106" fmla="*/ 146 w 158"/>
                  <a:gd name="T107" fmla="*/ 36 h 58"/>
                  <a:gd name="T108" fmla="*/ 134 w 158"/>
                  <a:gd name="T109" fmla="*/ 30 h 58"/>
                  <a:gd name="T110" fmla="*/ 122 w 158"/>
                  <a:gd name="T111" fmla="*/ 26 h 58"/>
                  <a:gd name="T112" fmla="*/ 106 w 158"/>
                  <a:gd name="T113" fmla="*/ 18 h 58"/>
                  <a:gd name="T114" fmla="*/ 100 w 158"/>
                  <a:gd name="T115" fmla="*/ 14 h 58"/>
                  <a:gd name="T116" fmla="*/ 84 w 158"/>
                  <a:gd name="T117" fmla="*/ 8 h 58"/>
                  <a:gd name="T118" fmla="*/ 72 w 158"/>
                  <a:gd name="T119" fmla="*/ 4 h 58"/>
                  <a:gd name="T120" fmla="*/ 58 w 158"/>
                  <a:gd name="T121" fmla="*/ 0 h 58"/>
                  <a:gd name="T122" fmla="*/ 56 w 158"/>
                  <a:gd name="T1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58">
                    <a:moveTo>
                      <a:pt x="56" y="4"/>
                    </a:moveTo>
                    <a:lnTo>
                      <a:pt x="70" y="8"/>
                    </a:lnTo>
                    <a:lnTo>
                      <a:pt x="84" y="12"/>
                    </a:lnTo>
                    <a:lnTo>
                      <a:pt x="98" y="16"/>
                    </a:lnTo>
                    <a:lnTo>
                      <a:pt x="104" y="22"/>
                    </a:lnTo>
                    <a:lnTo>
                      <a:pt x="108" y="26"/>
                    </a:lnTo>
                    <a:lnTo>
                      <a:pt x="122" y="30"/>
                    </a:lnTo>
                    <a:lnTo>
                      <a:pt x="132" y="34"/>
                    </a:lnTo>
                    <a:lnTo>
                      <a:pt x="144" y="40"/>
                    </a:lnTo>
                    <a:lnTo>
                      <a:pt x="154" y="46"/>
                    </a:lnTo>
                    <a:lnTo>
                      <a:pt x="148" y="48"/>
                    </a:lnTo>
                    <a:lnTo>
                      <a:pt x="142" y="50"/>
                    </a:lnTo>
                    <a:lnTo>
                      <a:pt x="140" y="54"/>
                    </a:lnTo>
                    <a:lnTo>
                      <a:pt x="138" y="54"/>
                    </a:lnTo>
                    <a:lnTo>
                      <a:pt x="130" y="50"/>
                    </a:lnTo>
                    <a:lnTo>
                      <a:pt x="122" y="50"/>
                    </a:lnTo>
                    <a:lnTo>
                      <a:pt x="116" y="54"/>
                    </a:lnTo>
                    <a:lnTo>
                      <a:pt x="108" y="52"/>
                    </a:lnTo>
                    <a:lnTo>
                      <a:pt x="110" y="46"/>
                    </a:lnTo>
                    <a:lnTo>
                      <a:pt x="108" y="40"/>
                    </a:lnTo>
                    <a:lnTo>
                      <a:pt x="98" y="40"/>
                    </a:lnTo>
                    <a:lnTo>
                      <a:pt x="94" y="32"/>
                    </a:lnTo>
                    <a:lnTo>
                      <a:pt x="88" y="30"/>
                    </a:lnTo>
                    <a:lnTo>
                      <a:pt x="76" y="28"/>
                    </a:lnTo>
                    <a:lnTo>
                      <a:pt x="72" y="24"/>
                    </a:lnTo>
                    <a:lnTo>
                      <a:pt x="60" y="20"/>
                    </a:lnTo>
                    <a:lnTo>
                      <a:pt x="48" y="18"/>
                    </a:lnTo>
                    <a:lnTo>
                      <a:pt x="44" y="14"/>
                    </a:lnTo>
                    <a:lnTo>
                      <a:pt x="34" y="12"/>
                    </a:lnTo>
                    <a:lnTo>
                      <a:pt x="28" y="16"/>
                    </a:lnTo>
                    <a:lnTo>
                      <a:pt x="22" y="20"/>
                    </a:lnTo>
                    <a:lnTo>
                      <a:pt x="14" y="24"/>
                    </a:lnTo>
                    <a:lnTo>
                      <a:pt x="4" y="24"/>
                    </a:lnTo>
                    <a:lnTo>
                      <a:pt x="6" y="18"/>
                    </a:lnTo>
                    <a:lnTo>
                      <a:pt x="12" y="10"/>
                    </a:lnTo>
                    <a:lnTo>
                      <a:pt x="26" y="6"/>
                    </a:lnTo>
                    <a:lnTo>
                      <a:pt x="40" y="4"/>
                    </a:lnTo>
                    <a:lnTo>
                      <a:pt x="56" y="4"/>
                    </a:lnTo>
                    <a:close/>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2" name="Freeform 232"/>
              <p:cNvSpPr>
                <a:spLocks/>
              </p:cNvSpPr>
              <p:nvPr/>
            </p:nvSpPr>
            <p:spPr bwMode="auto">
              <a:xfrm>
                <a:off x="1663" y="2191"/>
                <a:ext cx="150" cy="50"/>
              </a:xfrm>
              <a:custGeom>
                <a:avLst/>
                <a:gdLst>
                  <a:gd name="T0" fmla="*/ 52 w 150"/>
                  <a:gd name="T1" fmla="*/ 0 h 50"/>
                  <a:gd name="T2" fmla="*/ 66 w 150"/>
                  <a:gd name="T3" fmla="*/ 4 h 50"/>
                  <a:gd name="T4" fmla="*/ 80 w 150"/>
                  <a:gd name="T5" fmla="*/ 8 h 50"/>
                  <a:gd name="T6" fmla="*/ 94 w 150"/>
                  <a:gd name="T7" fmla="*/ 12 h 50"/>
                  <a:gd name="T8" fmla="*/ 100 w 150"/>
                  <a:gd name="T9" fmla="*/ 18 h 50"/>
                  <a:gd name="T10" fmla="*/ 104 w 150"/>
                  <a:gd name="T11" fmla="*/ 22 h 50"/>
                  <a:gd name="T12" fmla="*/ 118 w 150"/>
                  <a:gd name="T13" fmla="*/ 26 h 50"/>
                  <a:gd name="T14" fmla="*/ 128 w 150"/>
                  <a:gd name="T15" fmla="*/ 30 h 50"/>
                  <a:gd name="T16" fmla="*/ 140 w 150"/>
                  <a:gd name="T17" fmla="*/ 36 h 50"/>
                  <a:gd name="T18" fmla="*/ 150 w 150"/>
                  <a:gd name="T19" fmla="*/ 42 h 50"/>
                  <a:gd name="T20" fmla="*/ 144 w 150"/>
                  <a:gd name="T21" fmla="*/ 44 h 50"/>
                  <a:gd name="T22" fmla="*/ 138 w 150"/>
                  <a:gd name="T23" fmla="*/ 46 h 50"/>
                  <a:gd name="T24" fmla="*/ 136 w 150"/>
                  <a:gd name="T25" fmla="*/ 50 h 50"/>
                  <a:gd name="T26" fmla="*/ 134 w 150"/>
                  <a:gd name="T27" fmla="*/ 50 h 50"/>
                  <a:gd name="T28" fmla="*/ 126 w 150"/>
                  <a:gd name="T29" fmla="*/ 46 h 50"/>
                  <a:gd name="T30" fmla="*/ 118 w 150"/>
                  <a:gd name="T31" fmla="*/ 46 h 50"/>
                  <a:gd name="T32" fmla="*/ 112 w 150"/>
                  <a:gd name="T33" fmla="*/ 50 h 50"/>
                  <a:gd name="T34" fmla="*/ 104 w 150"/>
                  <a:gd name="T35" fmla="*/ 48 h 50"/>
                  <a:gd name="T36" fmla="*/ 106 w 150"/>
                  <a:gd name="T37" fmla="*/ 42 h 50"/>
                  <a:gd name="T38" fmla="*/ 104 w 150"/>
                  <a:gd name="T39" fmla="*/ 36 h 50"/>
                  <a:gd name="T40" fmla="*/ 94 w 150"/>
                  <a:gd name="T41" fmla="*/ 36 h 50"/>
                  <a:gd name="T42" fmla="*/ 90 w 150"/>
                  <a:gd name="T43" fmla="*/ 28 h 50"/>
                  <a:gd name="T44" fmla="*/ 84 w 150"/>
                  <a:gd name="T45" fmla="*/ 26 h 50"/>
                  <a:gd name="T46" fmla="*/ 72 w 150"/>
                  <a:gd name="T47" fmla="*/ 24 h 50"/>
                  <a:gd name="T48" fmla="*/ 68 w 150"/>
                  <a:gd name="T49" fmla="*/ 20 h 50"/>
                  <a:gd name="T50" fmla="*/ 56 w 150"/>
                  <a:gd name="T51" fmla="*/ 16 h 50"/>
                  <a:gd name="T52" fmla="*/ 44 w 150"/>
                  <a:gd name="T53" fmla="*/ 14 h 50"/>
                  <a:gd name="T54" fmla="*/ 40 w 150"/>
                  <a:gd name="T55" fmla="*/ 10 h 50"/>
                  <a:gd name="T56" fmla="*/ 30 w 150"/>
                  <a:gd name="T57" fmla="*/ 8 h 50"/>
                  <a:gd name="T58" fmla="*/ 24 w 150"/>
                  <a:gd name="T59" fmla="*/ 12 h 50"/>
                  <a:gd name="T60" fmla="*/ 18 w 150"/>
                  <a:gd name="T61" fmla="*/ 16 h 50"/>
                  <a:gd name="T62" fmla="*/ 10 w 150"/>
                  <a:gd name="T63" fmla="*/ 20 h 50"/>
                  <a:gd name="T64" fmla="*/ 0 w 150"/>
                  <a:gd name="T65" fmla="*/ 20 h 50"/>
                  <a:gd name="T66" fmla="*/ 2 w 150"/>
                  <a:gd name="T67" fmla="*/ 14 h 50"/>
                  <a:gd name="T68" fmla="*/ 8 w 150"/>
                  <a:gd name="T69" fmla="*/ 6 h 50"/>
                  <a:gd name="T70" fmla="*/ 22 w 150"/>
                  <a:gd name="T71" fmla="*/ 2 h 50"/>
                  <a:gd name="T72" fmla="*/ 36 w 150"/>
                  <a:gd name="T73" fmla="*/ 0 h 50"/>
                  <a:gd name="T74" fmla="*/ 52 w 150"/>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 h="50">
                    <a:moveTo>
                      <a:pt x="52" y="0"/>
                    </a:moveTo>
                    <a:lnTo>
                      <a:pt x="66" y="4"/>
                    </a:lnTo>
                    <a:lnTo>
                      <a:pt x="80" y="8"/>
                    </a:lnTo>
                    <a:lnTo>
                      <a:pt x="94" y="12"/>
                    </a:lnTo>
                    <a:lnTo>
                      <a:pt x="100" y="18"/>
                    </a:lnTo>
                    <a:lnTo>
                      <a:pt x="104" y="22"/>
                    </a:lnTo>
                    <a:lnTo>
                      <a:pt x="118" y="26"/>
                    </a:lnTo>
                    <a:lnTo>
                      <a:pt x="128" y="30"/>
                    </a:lnTo>
                    <a:lnTo>
                      <a:pt x="140" y="36"/>
                    </a:lnTo>
                    <a:lnTo>
                      <a:pt x="150" y="42"/>
                    </a:lnTo>
                    <a:lnTo>
                      <a:pt x="144" y="44"/>
                    </a:lnTo>
                    <a:lnTo>
                      <a:pt x="138" y="46"/>
                    </a:lnTo>
                    <a:lnTo>
                      <a:pt x="136" y="50"/>
                    </a:lnTo>
                    <a:lnTo>
                      <a:pt x="134" y="50"/>
                    </a:lnTo>
                    <a:lnTo>
                      <a:pt x="126" y="46"/>
                    </a:lnTo>
                    <a:lnTo>
                      <a:pt x="118" y="46"/>
                    </a:lnTo>
                    <a:lnTo>
                      <a:pt x="112" y="50"/>
                    </a:lnTo>
                    <a:lnTo>
                      <a:pt x="104" y="48"/>
                    </a:lnTo>
                    <a:lnTo>
                      <a:pt x="106" y="42"/>
                    </a:lnTo>
                    <a:lnTo>
                      <a:pt x="104" y="36"/>
                    </a:lnTo>
                    <a:lnTo>
                      <a:pt x="94" y="36"/>
                    </a:lnTo>
                    <a:lnTo>
                      <a:pt x="90" y="28"/>
                    </a:lnTo>
                    <a:lnTo>
                      <a:pt x="84" y="26"/>
                    </a:lnTo>
                    <a:lnTo>
                      <a:pt x="72" y="24"/>
                    </a:lnTo>
                    <a:lnTo>
                      <a:pt x="68" y="20"/>
                    </a:lnTo>
                    <a:lnTo>
                      <a:pt x="56" y="16"/>
                    </a:lnTo>
                    <a:lnTo>
                      <a:pt x="44" y="14"/>
                    </a:lnTo>
                    <a:lnTo>
                      <a:pt x="40" y="10"/>
                    </a:lnTo>
                    <a:lnTo>
                      <a:pt x="30" y="8"/>
                    </a:lnTo>
                    <a:lnTo>
                      <a:pt x="24" y="12"/>
                    </a:lnTo>
                    <a:lnTo>
                      <a:pt x="18" y="16"/>
                    </a:lnTo>
                    <a:lnTo>
                      <a:pt x="10" y="20"/>
                    </a:lnTo>
                    <a:lnTo>
                      <a:pt x="0" y="20"/>
                    </a:lnTo>
                    <a:lnTo>
                      <a:pt x="2" y="14"/>
                    </a:lnTo>
                    <a:lnTo>
                      <a:pt x="8" y="6"/>
                    </a:lnTo>
                    <a:lnTo>
                      <a:pt x="22" y="2"/>
                    </a:lnTo>
                    <a:lnTo>
                      <a:pt x="36"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3" name="Freeform 233"/>
              <p:cNvSpPr>
                <a:spLocks/>
              </p:cNvSpPr>
              <p:nvPr/>
            </p:nvSpPr>
            <p:spPr bwMode="auto">
              <a:xfrm>
                <a:off x="1659" y="2187"/>
                <a:ext cx="158" cy="58"/>
              </a:xfrm>
              <a:custGeom>
                <a:avLst/>
                <a:gdLst>
                  <a:gd name="T0" fmla="*/ 40 w 158"/>
                  <a:gd name="T1" fmla="*/ 0 h 58"/>
                  <a:gd name="T2" fmla="*/ 40 w 158"/>
                  <a:gd name="T3" fmla="*/ 0 h 58"/>
                  <a:gd name="T4" fmla="*/ 26 w 158"/>
                  <a:gd name="T5" fmla="*/ 2 h 58"/>
                  <a:gd name="T6" fmla="*/ 12 w 158"/>
                  <a:gd name="T7" fmla="*/ 6 h 58"/>
                  <a:gd name="T8" fmla="*/ 10 w 158"/>
                  <a:gd name="T9" fmla="*/ 6 h 58"/>
                  <a:gd name="T10" fmla="*/ 2 w 158"/>
                  <a:gd name="T11" fmla="*/ 16 h 58"/>
                  <a:gd name="T12" fmla="*/ 0 w 158"/>
                  <a:gd name="T13" fmla="*/ 22 h 58"/>
                  <a:gd name="T14" fmla="*/ 0 w 158"/>
                  <a:gd name="T15" fmla="*/ 26 h 58"/>
                  <a:gd name="T16" fmla="*/ 4 w 158"/>
                  <a:gd name="T17" fmla="*/ 28 h 58"/>
                  <a:gd name="T18" fmla="*/ 14 w 158"/>
                  <a:gd name="T19" fmla="*/ 28 h 58"/>
                  <a:gd name="T20" fmla="*/ 24 w 158"/>
                  <a:gd name="T21" fmla="*/ 24 h 58"/>
                  <a:gd name="T22" fmla="*/ 30 w 158"/>
                  <a:gd name="T23" fmla="*/ 20 h 58"/>
                  <a:gd name="T24" fmla="*/ 36 w 158"/>
                  <a:gd name="T25" fmla="*/ 16 h 58"/>
                  <a:gd name="T26" fmla="*/ 44 w 158"/>
                  <a:gd name="T27" fmla="*/ 20 h 58"/>
                  <a:gd name="T28" fmla="*/ 46 w 158"/>
                  <a:gd name="T29" fmla="*/ 22 h 58"/>
                  <a:gd name="T30" fmla="*/ 70 w 158"/>
                  <a:gd name="T31" fmla="*/ 28 h 58"/>
                  <a:gd name="T32" fmla="*/ 74 w 158"/>
                  <a:gd name="T33" fmla="*/ 30 h 58"/>
                  <a:gd name="T34" fmla="*/ 88 w 158"/>
                  <a:gd name="T35" fmla="*/ 34 h 58"/>
                  <a:gd name="T36" fmla="*/ 94 w 158"/>
                  <a:gd name="T37" fmla="*/ 42 h 58"/>
                  <a:gd name="T38" fmla="*/ 98 w 158"/>
                  <a:gd name="T39" fmla="*/ 44 h 58"/>
                  <a:gd name="T40" fmla="*/ 106 w 158"/>
                  <a:gd name="T41" fmla="*/ 46 h 58"/>
                  <a:gd name="T42" fmla="*/ 106 w 158"/>
                  <a:gd name="T43" fmla="*/ 52 h 58"/>
                  <a:gd name="T44" fmla="*/ 106 w 158"/>
                  <a:gd name="T45" fmla="*/ 54 h 58"/>
                  <a:gd name="T46" fmla="*/ 116 w 158"/>
                  <a:gd name="T47" fmla="*/ 58 h 58"/>
                  <a:gd name="T48" fmla="*/ 116 w 158"/>
                  <a:gd name="T49" fmla="*/ 58 h 58"/>
                  <a:gd name="T50" fmla="*/ 118 w 158"/>
                  <a:gd name="T51" fmla="*/ 58 h 58"/>
                  <a:gd name="T52" fmla="*/ 130 w 158"/>
                  <a:gd name="T53" fmla="*/ 54 h 58"/>
                  <a:gd name="T54" fmla="*/ 136 w 158"/>
                  <a:gd name="T55" fmla="*/ 58 h 58"/>
                  <a:gd name="T56" fmla="*/ 140 w 158"/>
                  <a:gd name="T57" fmla="*/ 58 h 58"/>
                  <a:gd name="T58" fmla="*/ 144 w 158"/>
                  <a:gd name="T59" fmla="*/ 56 h 58"/>
                  <a:gd name="T60" fmla="*/ 150 w 158"/>
                  <a:gd name="T61" fmla="*/ 52 h 58"/>
                  <a:gd name="T62" fmla="*/ 152 w 158"/>
                  <a:gd name="T63" fmla="*/ 52 h 58"/>
                  <a:gd name="T64" fmla="*/ 156 w 158"/>
                  <a:gd name="T65" fmla="*/ 48 h 58"/>
                  <a:gd name="T66" fmla="*/ 158 w 158"/>
                  <a:gd name="T67" fmla="*/ 44 h 58"/>
                  <a:gd name="T68" fmla="*/ 146 w 158"/>
                  <a:gd name="T69" fmla="*/ 36 h 58"/>
                  <a:gd name="T70" fmla="*/ 134 w 158"/>
                  <a:gd name="T71" fmla="*/ 30 h 58"/>
                  <a:gd name="T72" fmla="*/ 122 w 158"/>
                  <a:gd name="T73" fmla="*/ 26 h 58"/>
                  <a:gd name="T74" fmla="*/ 106 w 158"/>
                  <a:gd name="T75" fmla="*/ 18 h 58"/>
                  <a:gd name="T76" fmla="*/ 100 w 158"/>
                  <a:gd name="T77" fmla="*/ 14 h 58"/>
                  <a:gd name="T78" fmla="*/ 84 w 158"/>
                  <a:gd name="T79" fmla="*/ 8 h 58"/>
                  <a:gd name="T80" fmla="*/ 72 w 158"/>
                  <a:gd name="T81" fmla="*/ 4 h 58"/>
                  <a:gd name="T82" fmla="*/ 58 w 158"/>
                  <a:gd name="T83" fmla="*/ 0 h 58"/>
                  <a:gd name="T84" fmla="*/ 56 w 15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8" h="58">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4" name="Freeform 234"/>
              <p:cNvSpPr>
                <a:spLocks/>
              </p:cNvSpPr>
              <p:nvPr/>
            </p:nvSpPr>
            <p:spPr bwMode="auto">
              <a:xfrm>
                <a:off x="1811" y="2233"/>
                <a:ext cx="44" cy="32"/>
              </a:xfrm>
              <a:custGeom>
                <a:avLst/>
                <a:gdLst>
                  <a:gd name="T0" fmla="*/ 16 w 44"/>
                  <a:gd name="T1" fmla="*/ 32 h 32"/>
                  <a:gd name="T2" fmla="*/ 2 w 44"/>
                  <a:gd name="T3" fmla="*/ 30 h 32"/>
                  <a:gd name="T4" fmla="*/ 2 w 44"/>
                  <a:gd name="T5" fmla="*/ 30 h 32"/>
                  <a:gd name="T6" fmla="*/ 0 w 44"/>
                  <a:gd name="T7" fmla="*/ 28 h 32"/>
                  <a:gd name="T8" fmla="*/ 0 w 44"/>
                  <a:gd name="T9" fmla="*/ 22 h 32"/>
                  <a:gd name="T10" fmla="*/ 0 w 44"/>
                  <a:gd name="T11" fmla="*/ 22 h 32"/>
                  <a:gd name="T12" fmla="*/ 2 w 44"/>
                  <a:gd name="T13" fmla="*/ 20 h 32"/>
                  <a:gd name="T14" fmla="*/ 8 w 44"/>
                  <a:gd name="T15" fmla="*/ 20 h 32"/>
                  <a:gd name="T16" fmla="*/ 14 w 44"/>
                  <a:gd name="T17" fmla="*/ 18 h 32"/>
                  <a:gd name="T18" fmla="*/ 14 w 44"/>
                  <a:gd name="T19" fmla="*/ 18 h 32"/>
                  <a:gd name="T20" fmla="*/ 14 w 44"/>
                  <a:gd name="T21" fmla="*/ 18 h 32"/>
                  <a:gd name="T22" fmla="*/ 14 w 44"/>
                  <a:gd name="T23" fmla="*/ 18 h 32"/>
                  <a:gd name="T24" fmla="*/ 16 w 44"/>
                  <a:gd name="T25" fmla="*/ 18 h 32"/>
                  <a:gd name="T26" fmla="*/ 20 w 44"/>
                  <a:gd name="T27" fmla="*/ 20 h 32"/>
                  <a:gd name="T28" fmla="*/ 26 w 44"/>
                  <a:gd name="T29" fmla="*/ 20 h 32"/>
                  <a:gd name="T30" fmla="*/ 26 w 44"/>
                  <a:gd name="T31" fmla="*/ 16 h 32"/>
                  <a:gd name="T32" fmla="*/ 20 w 44"/>
                  <a:gd name="T33" fmla="*/ 10 h 32"/>
                  <a:gd name="T34" fmla="*/ 16 w 44"/>
                  <a:gd name="T35" fmla="*/ 6 h 32"/>
                  <a:gd name="T36" fmla="*/ 16 w 44"/>
                  <a:gd name="T37" fmla="*/ 6 h 32"/>
                  <a:gd name="T38" fmla="*/ 14 w 44"/>
                  <a:gd name="T39" fmla="*/ 4 h 32"/>
                  <a:gd name="T40" fmla="*/ 14 w 44"/>
                  <a:gd name="T41" fmla="*/ 4 h 32"/>
                  <a:gd name="T42" fmla="*/ 16 w 44"/>
                  <a:gd name="T43" fmla="*/ 2 h 32"/>
                  <a:gd name="T44" fmla="*/ 24 w 44"/>
                  <a:gd name="T45" fmla="*/ 0 h 32"/>
                  <a:gd name="T46" fmla="*/ 24 w 44"/>
                  <a:gd name="T47" fmla="*/ 0 h 32"/>
                  <a:gd name="T48" fmla="*/ 24 w 44"/>
                  <a:gd name="T49" fmla="*/ 0 h 32"/>
                  <a:gd name="T50" fmla="*/ 24 w 44"/>
                  <a:gd name="T51" fmla="*/ 0 h 32"/>
                  <a:gd name="T52" fmla="*/ 24 w 44"/>
                  <a:gd name="T53" fmla="*/ 0 h 32"/>
                  <a:gd name="T54" fmla="*/ 32 w 44"/>
                  <a:gd name="T55" fmla="*/ 2 h 32"/>
                  <a:gd name="T56" fmla="*/ 40 w 44"/>
                  <a:gd name="T57" fmla="*/ 4 h 32"/>
                  <a:gd name="T58" fmla="*/ 40 w 44"/>
                  <a:gd name="T59" fmla="*/ 4 h 32"/>
                  <a:gd name="T60" fmla="*/ 42 w 44"/>
                  <a:gd name="T61" fmla="*/ 6 h 32"/>
                  <a:gd name="T62" fmla="*/ 44 w 44"/>
                  <a:gd name="T63" fmla="*/ 16 h 32"/>
                  <a:gd name="T64" fmla="*/ 44 w 44"/>
                  <a:gd name="T65" fmla="*/ 16 h 32"/>
                  <a:gd name="T66" fmla="*/ 44 w 44"/>
                  <a:gd name="T67" fmla="*/ 16 h 32"/>
                  <a:gd name="T68" fmla="*/ 42 w 44"/>
                  <a:gd name="T69" fmla="*/ 20 h 32"/>
                  <a:gd name="T70" fmla="*/ 42 w 44"/>
                  <a:gd name="T71" fmla="*/ 20 h 32"/>
                  <a:gd name="T72" fmla="*/ 40 w 44"/>
                  <a:gd name="T73" fmla="*/ 22 h 32"/>
                  <a:gd name="T74" fmla="*/ 38 w 44"/>
                  <a:gd name="T75" fmla="*/ 22 h 32"/>
                  <a:gd name="T76" fmla="*/ 40 w 44"/>
                  <a:gd name="T77" fmla="*/ 24 h 32"/>
                  <a:gd name="T78" fmla="*/ 40 w 44"/>
                  <a:gd name="T79" fmla="*/ 24 h 32"/>
                  <a:gd name="T80" fmla="*/ 40 w 44"/>
                  <a:gd name="T81" fmla="*/ 24 h 32"/>
                  <a:gd name="T82" fmla="*/ 40 w 44"/>
                  <a:gd name="T83" fmla="*/ 30 h 32"/>
                  <a:gd name="T84" fmla="*/ 40 w 44"/>
                  <a:gd name="T85" fmla="*/ 30 h 32"/>
                  <a:gd name="T86" fmla="*/ 38 w 44"/>
                  <a:gd name="T87" fmla="*/ 32 h 32"/>
                  <a:gd name="T88" fmla="*/ 16 w 44"/>
                  <a:gd name="T8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32">
                    <a:moveTo>
                      <a:pt x="16" y="32"/>
                    </a:moveTo>
                    <a:lnTo>
                      <a:pt x="2" y="30"/>
                    </a:lnTo>
                    <a:lnTo>
                      <a:pt x="2" y="30"/>
                    </a:lnTo>
                    <a:lnTo>
                      <a:pt x="0" y="28"/>
                    </a:lnTo>
                    <a:lnTo>
                      <a:pt x="0" y="22"/>
                    </a:lnTo>
                    <a:lnTo>
                      <a:pt x="0" y="22"/>
                    </a:lnTo>
                    <a:lnTo>
                      <a:pt x="2" y="20"/>
                    </a:lnTo>
                    <a:lnTo>
                      <a:pt x="8" y="20"/>
                    </a:lnTo>
                    <a:lnTo>
                      <a:pt x="14" y="18"/>
                    </a:lnTo>
                    <a:lnTo>
                      <a:pt x="14" y="18"/>
                    </a:lnTo>
                    <a:lnTo>
                      <a:pt x="14" y="18"/>
                    </a:lnTo>
                    <a:lnTo>
                      <a:pt x="14" y="18"/>
                    </a:lnTo>
                    <a:lnTo>
                      <a:pt x="16" y="18"/>
                    </a:lnTo>
                    <a:lnTo>
                      <a:pt x="20" y="20"/>
                    </a:lnTo>
                    <a:lnTo>
                      <a:pt x="26" y="20"/>
                    </a:lnTo>
                    <a:lnTo>
                      <a:pt x="26" y="16"/>
                    </a:lnTo>
                    <a:lnTo>
                      <a:pt x="20" y="10"/>
                    </a:lnTo>
                    <a:lnTo>
                      <a:pt x="16" y="6"/>
                    </a:lnTo>
                    <a:lnTo>
                      <a:pt x="16" y="6"/>
                    </a:lnTo>
                    <a:lnTo>
                      <a:pt x="14" y="4"/>
                    </a:lnTo>
                    <a:lnTo>
                      <a:pt x="14" y="4"/>
                    </a:lnTo>
                    <a:lnTo>
                      <a:pt x="16" y="2"/>
                    </a:lnTo>
                    <a:lnTo>
                      <a:pt x="24" y="0"/>
                    </a:lnTo>
                    <a:lnTo>
                      <a:pt x="24" y="0"/>
                    </a:lnTo>
                    <a:lnTo>
                      <a:pt x="24" y="0"/>
                    </a:lnTo>
                    <a:lnTo>
                      <a:pt x="24" y="0"/>
                    </a:lnTo>
                    <a:lnTo>
                      <a:pt x="24" y="0"/>
                    </a:lnTo>
                    <a:lnTo>
                      <a:pt x="32" y="2"/>
                    </a:lnTo>
                    <a:lnTo>
                      <a:pt x="40" y="4"/>
                    </a:lnTo>
                    <a:lnTo>
                      <a:pt x="40" y="4"/>
                    </a:lnTo>
                    <a:lnTo>
                      <a:pt x="42" y="6"/>
                    </a:lnTo>
                    <a:lnTo>
                      <a:pt x="44" y="16"/>
                    </a:lnTo>
                    <a:lnTo>
                      <a:pt x="44" y="16"/>
                    </a:lnTo>
                    <a:lnTo>
                      <a:pt x="44" y="16"/>
                    </a:lnTo>
                    <a:lnTo>
                      <a:pt x="42" y="20"/>
                    </a:lnTo>
                    <a:lnTo>
                      <a:pt x="42" y="20"/>
                    </a:lnTo>
                    <a:lnTo>
                      <a:pt x="40" y="22"/>
                    </a:lnTo>
                    <a:lnTo>
                      <a:pt x="38" y="22"/>
                    </a:lnTo>
                    <a:lnTo>
                      <a:pt x="40" y="24"/>
                    </a:lnTo>
                    <a:lnTo>
                      <a:pt x="40" y="24"/>
                    </a:lnTo>
                    <a:lnTo>
                      <a:pt x="40" y="24"/>
                    </a:lnTo>
                    <a:lnTo>
                      <a:pt x="40" y="30"/>
                    </a:lnTo>
                    <a:lnTo>
                      <a:pt x="40" y="30"/>
                    </a:lnTo>
                    <a:lnTo>
                      <a:pt x="38" y="32"/>
                    </a:lnTo>
                    <a:lnTo>
                      <a:pt x="1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5" name="Freeform 235"/>
              <p:cNvSpPr>
                <a:spLocks noEditPoints="1"/>
              </p:cNvSpPr>
              <p:nvPr/>
            </p:nvSpPr>
            <p:spPr bwMode="auto">
              <a:xfrm>
                <a:off x="1809" y="2231"/>
                <a:ext cx="48" cy="36"/>
              </a:xfrm>
              <a:custGeom>
                <a:avLst/>
                <a:gdLst>
                  <a:gd name="T0" fmla="*/ 32 w 48"/>
                  <a:gd name="T1" fmla="*/ 6 h 36"/>
                  <a:gd name="T2" fmla="*/ 44 w 48"/>
                  <a:gd name="T3" fmla="*/ 18 h 36"/>
                  <a:gd name="T4" fmla="*/ 36 w 48"/>
                  <a:gd name="T5" fmla="*/ 24 h 36"/>
                  <a:gd name="T6" fmla="*/ 40 w 48"/>
                  <a:gd name="T7" fmla="*/ 32 h 36"/>
                  <a:gd name="T8" fmla="*/ 18 w 48"/>
                  <a:gd name="T9" fmla="*/ 32 h 36"/>
                  <a:gd name="T10" fmla="*/ 4 w 48"/>
                  <a:gd name="T11" fmla="*/ 24 h 36"/>
                  <a:gd name="T12" fmla="*/ 16 w 48"/>
                  <a:gd name="T13" fmla="*/ 22 h 36"/>
                  <a:gd name="T14" fmla="*/ 30 w 48"/>
                  <a:gd name="T15" fmla="*/ 24 h 36"/>
                  <a:gd name="T16" fmla="*/ 24 w 48"/>
                  <a:gd name="T17" fmla="*/ 10 h 36"/>
                  <a:gd name="T18" fmla="*/ 26 w 48"/>
                  <a:gd name="T19" fmla="*/ 4 h 36"/>
                  <a:gd name="T20" fmla="*/ 26 w 48"/>
                  <a:gd name="T21" fmla="*/ 0 h 36"/>
                  <a:gd name="T22" fmla="*/ 18 w 48"/>
                  <a:gd name="T23" fmla="*/ 2 h 36"/>
                  <a:gd name="T24" fmla="*/ 16 w 48"/>
                  <a:gd name="T25" fmla="*/ 4 h 36"/>
                  <a:gd name="T26" fmla="*/ 14 w 48"/>
                  <a:gd name="T27" fmla="*/ 6 h 36"/>
                  <a:gd name="T28" fmla="*/ 16 w 48"/>
                  <a:gd name="T29" fmla="*/ 10 h 36"/>
                  <a:gd name="T30" fmla="*/ 26 w 48"/>
                  <a:gd name="T31" fmla="*/ 18 h 36"/>
                  <a:gd name="T32" fmla="*/ 22 w 48"/>
                  <a:gd name="T33" fmla="*/ 20 h 36"/>
                  <a:gd name="T34" fmla="*/ 18 w 48"/>
                  <a:gd name="T35" fmla="*/ 18 h 36"/>
                  <a:gd name="T36" fmla="*/ 16 w 48"/>
                  <a:gd name="T37" fmla="*/ 18 h 36"/>
                  <a:gd name="T38" fmla="*/ 10 w 48"/>
                  <a:gd name="T39" fmla="*/ 20 h 36"/>
                  <a:gd name="T40" fmla="*/ 4 w 48"/>
                  <a:gd name="T41" fmla="*/ 20 h 36"/>
                  <a:gd name="T42" fmla="*/ 0 w 48"/>
                  <a:gd name="T43" fmla="*/ 24 h 36"/>
                  <a:gd name="T44" fmla="*/ 0 w 48"/>
                  <a:gd name="T45" fmla="*/ 30 h 36"/>
                  <a:gd name="T46" fmla="*/ 4 w 48"/>
                  <a:gd name="T47" fmla="*/ 34 h 36"/>
                  <a:gd name="T48" fmla="*/ 18 w 48"/>
                  <a:gd name="T49" fmla="*/ 36 h 36"/>
                  <a:gd name="T50" fmla="*/ 32 w 48"/>
                  <a:gd name="T51" fmla="*/ 36 h 36"/>
                  <a:gd name="T52" fmla="*/ 40 w 48"/>
                  <a:gd name="T53" fmla="*/ 36 h 36"/>
                  <a:gd name="T54" fmla="*/ 44 w 48"/>
                  <a:gd name="T55" fmla="*/ 32 h 36"/>
                  <a:gd name="T56" fmla="*/ 44 w 48"/>
                  <a:gd name="T57" fmla="*/ 26 h 36"/>
                  <a:gd name="T58" fmla="*/ 44 w 48"/>
                  <a:gd name="T59" fmla="*/ 24 h 36"/>
                  <a:gd name="T60" fmla="*/ 48 w 48"/>
                  <a:gd name="T61" fmla="*/ 20 h 36"/>
                  <a:gd name="T62" fmla="*/ 48 w 48"/>
                  <a:gd name="T63" fmla="*/ 16 h 36"/>
                  <a:gd name="T64" fmla="*/ 46 w 48"/>
                  <a:gd name="T65" fmla="*/ 8 h 36"/>
                  <a:gd name="T66" fmla="*/ 42 w 48"/>
                  <a:gd name="T67" fmla="*/ 4 h 36"/>
                  <a:gd name="T68" fmla="*/ 26 w 48"/>
                  <a:gd name="T69" fmla="*/ 0 h 36"/>
                  <a:gd name="T70" fmla="*/ 26 w 48"/>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36">
                    <a:moveTo>
                      <a:pt x="26" y="4"/>
                    </a:moveTo>
                    <a:lnTo>
                      <a:pt x="32" y="6"/>
                    </a:lnTo>
                    <a:lnTo>
                      <a:pt x="42" y="8"/>
                    </a:lnTo>
                    <a:lnTo>
                      <a:pt x="44" y="18"/>
                    </a:lnTo>
                    <a:lnTo>
                      <a:pt x="42" y="22"/>
                    </a:lnTo>
                    <a:lnTo>
                      <a:pt x="36" y="24"/>
                    </a:lnTo>
                    <a:lnTo>
                      <a:pt x="40" y="26"/>
                    </a:lnTo>
                    <a:lnTo>
                      <a:pt x="40" y="32"/>
                    </a:lnTo>
                    <a:lnTo>
                      <a:pt x="32" y="32"/>
                    </a:lnTo>
                    <a:lnTo>
                      <a:pt x="18" y="32"/>
                    </a:lnTo>
                    <a:lnTo>
                      <a:pt x="4" y="30"/>
                    </a:lnTo>
                    <a:lnTo>
                      <a:pt x="4" y="24"/>
                    </a:lnTo>
                    <a:lnTo>
                      <a:pt x="10" y="24"/>
                    </a:lnTo>
                    <a:lnTo>
                      <a:pt x="16" y="22"/>
                    </a:lnTo>
                    <a:lnTo>
                      <a:pt x="22" y="24"/>
                    </a:lnTo>
                    <a:lnTo>
                      <a:pt x="30" y="24"/>
                    </a:lnTo>
                    <a:lnTo>
                      <a:pt x="30" y="18"/>
                    </a:lnTo>
                    <a:lnTo>
                      <a:pt x="24" y="10"/>
                    </a:lnTo>
                    <a:lnTo>
                      <a:pt x="18" y="6"/>
                    </a:lnTo>
                    <a:lnTo>
                      <a:pt x="26" y="4"/>
                    </a:lnTo>
                    <a:close/>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6" name="Freeform 236"/>
              <p:cNvSpPr>
                <a:spLocks/>
              </p:cNvSpPr>
              <p:nvPr/>
            </p:nvSpPr>
            <p:spPr bwMode="auto">
              <a:xfrm>
                <a:off x="1813" y="2235"/>
                <a:ext cx="40" cy="28"/>
              </a:xfrm>
              <a:custGeom>
                <a:avLst/>
                <a:gdLst>
                  <a:gd name="T0" fmla="*/ 22 w 40"/>
                  <a:gd name="T1" fmla="*/ 0 h 28"/>
                  <a:gd name="T2" fmla="*/ 28 w 40"/>
                  <a:gd name="T3" fmla="*/ 2 h 28"/>
                  <a:gd name="T4" fmla="*/ 38 w 40"/>
                  <a:gd name="T5" fmla="*/ 4 h 28"/>
                  <a:gd name="T6" fmla="*/ 40 w 40"/>
                  <a:gd name="T7" fmla="*/ 14 h 28"/>
                  <a:gd name="T8" fmla="*/ 38 w 40"/>
                  <a:gd name="T9" fmla="*/ 18 h 28"/>
                  <a:gd name="T10" fmla="*/ 32 w 40"/>
                  <a:gd name="T11" fmla="*/ 20 h 28"/>
                  <a:gd name="T12" fmla="*/ 36 w 40"/>
                  <a:gd name="T13" fmla="*/ 22 h 28"/>
                  <a:gd name="T14" fmla="*/ 36 w 40"/>
                  <a:gd name="T15" fmla="*/ 28 h 28"/>
                  <a:gd name="T16" fmla="*/ 28 w 40"/>
                  <a:gd name="T17" fmla="*/ 28 h 28"/>
                  <a:gd name="T18" fmla="*/ 14 w 40"/>
                  <a:gd name="T19" fmla="*/ 28 h 28"/>
                  <a:gd name="T20" fmla="*/ 0 w 40"/>
                  <a:gd name="T21" fmla="*/ 26 h 28"/>
                  <a:gd name="T22" fmla="*/ 0 w 40"/>
                  <a:gd name="T23" fmla="*/ 20 h 28"/>
                  <a:gd name="T24" fmla="*/ 6 w 40"/>
                  <a:gd name="T25" fmla="*/ 20 h 28"/>
                  <a:gd name="T26" fmla="*/ 12 w 40"/>
                  <a:gd name="T27" fmla="*/ 18 h 28"/>
                  <a:gd name="T28" fmla="*/ 18 w 40"/>
                  <a:gd name="T29" fmla="*/ 20 h 28"/>
                  <a:gd name="T30" fmla="*/ 26 w 40"/>
                  <a:gd name="T31" fmla="*/ 20 h 28"/>
                  <a:gd name="T32" fmla="*/ 26 w 40"/>
                  <a:gd name="T33" fmla="*/ 14 h 28"/>
                  <a:gd name="T34" fmla="*/ 20 w 40"/>
                  <a:gd name="T35" fmla="*/ 6 h 28"/>
                  <a:gd name="T36" fmla="*/ 14 w 40"/>
                  <a:gd name="T37" fmla="*/ 2 h 28"/>
                  <a:gd name="T38" fmla="*/ 22 w 40"/>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28">
                    <a:moveTo>
                      <a:pt x="22" y="0"/>
                    </a:moveTo>
                    <a:lnTo>
                      <a:pt x="28" y="2"/>
                    </a:lnTo>
                    <a:lnTo>
                      <a:pt x="38" y="4"/>
                    </a:lnTo>
                    <a:lnTo>
                      <a:pt x="40" y="14"/>
                    </a:lnTo>
                    <a:lnTo>
                      <a:pt x="38" y="18"/>
                    </a:lnTo>
                    <a:lnTo>
                      <a:pt x="32" y="20"/>
                    </a:lnTo>
                    <a:lnTo>
                      <a:pt x="36" y="22"/>
                    </a:lnTo>
                    <a:lnTo>
                      <a:pt x="36" y="28"/>
                    </a:lnTo>
                    <a:lnTo>
                      <a:pt x="28" y="28"/>
                    </a:lnTo>
                    <a:lnTo>
                      <a:pt x="14" y="28"/>
                    </a:lnTo>
                    <a:lnTo>
                      <a:pt x="0" y="26"/>
                    </a:lnTo>
                    <a:lnTo>
                      <a:pt x="0" y="20"/>
                    </a:lnTo>
                    <a:lnTo>
                      <a:pt x="6" y="20"/>
                    </a:lnTo>
                    <a:lnTo>
                      <a:pt x="12" y="18"/>
                    </a:lnTo>
                    <a:lnTo>
                      <a:pt x="18" y="20"/>
                    </a:lnTo>
                    <a:lnTo>
                      <a:pt x="26" y="20"/>
                    </a:lnTo>
                    <a:lnTo>
                      <a:pt x="26" y="14"/>
                    </a:lnTo>
                    <a:lnTo>
                      <a:pt x="20" y="6"/>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7" name="Freeform 237"/>
              <p:cNvSpPr>
                <a:spLocks/>
              </p:cNvSpPr>
              <p:nvPr/>
            </p:nvSpPr>
            <p:spPr bwMode="auto">
              <a:xfrm>
                <a:off x="1809" y="2231"/>
                <a:ext cx="48" cy="36"/>
              </a:xfrm>
              <a:custGeom>
                <a:avLst/>
                <a:gdLst>
                  <a:gd name="T0" fmla="*/ 26 w 48"/>
                  <a:gd name="T1" fmla="*/ 0 h 36"/>
                  <a:gd name="T2" fmla="*/ 26 w 48"/>
                  <a:gd name="T3" fmla="*/ 0 h 36"/>
                  <a:gd name="T4" fmla="*/ 24 w 48"/>
                  <a:gd name="T5" fmla="*/ 0 h 36"/>
                  <a:gd name="T6" fmla="*/ 18 w 48"/>
                  <a:gd name="T7" fmla="*/ 2 h 36"/>
                  <a:gd name="T8" fmla="*/ 18 w 48"/>
                  <a:gd name="T9" fmla="*/ 2 h 36"/>
                  <a:gd name="T10" fmla="*/ 16 w 48"/>
                  <a:gd name="T11" fmla="*/ 4 h 36"/>
                  <a:gd name="T12" fmla="*/ 14 w 48"/>
                  <a:gd name="T13" fmla="*/ 6 h 36"/>
                  <a:gd name="T14" fmla="*/ 14 w 48"/>
                  <a:gd name="T15" fmla="*/ 6 h 36"/>
                  <a:gd name="T16" fmla="*/ 14 w 48"/>
                  <a:gd name="T17" fmla="*/ 8 h 36"/>
                  <a:gd name="T18" fmla="*/ 16 w 48"/>
                  <a:gd name="T19" fmla="*/ 10 h 36"/>
                  <a:gd name="T20" fmla="*/ 22 w 48"/>
                  <a:gd name="T21" fmla="*/ 14 h 36"/>
                  <a:gd name="T22" fmla="*/ 26 w 48"/>
                  <a:gd name="T23" fmla="*/ 18 h 36"/>
                  <a:gd name="T24" fmla="*/ 26 w 48"/>
                  <a:gd name="T25" fmla="*/ 20 h 36"/>
                  <a:gd name="T26" fmla="*/ 22 w 48"/>
                  <a:gd name="T27" fmla="*/ 20 h 36"/>
                  <a:gd name="T28" fmla="*/ 18 w 48"/>
                  <a:gd name="T29" fmla="*/ 18 h 36"/>
                  <a:gd name="T30" fmla="*/ 18 w 48"/>
                  <a:gd name="T31" fmla="*/ 18 h 36"/>
                  <a:gd name="T32" fmla="*/ 16 w 48"/>
                  <a:gd name="T33" fmla="*/ 18 h 36"/>
                  <a:gd name="T34" fmla="*/ 16 w 48"/>
                  <a:gd name="T35" fmla="*/ 18 h 36"/>
                  <a:gd name="T36" fmla="*/ 16 w 48"/>
                  <a:gd name="T37" fmla="*/ 18 h 36"/>
                  <a:gd name="T38" fmla="*/ 10 w 48"/>
                  <a:gd name="T39" fmla="*/ 20 h 36"/>
                  <a:gd name="T40" fmla="*/ 4 w 48"/>
                  <a:gd name="T41" fmla="*/ 20 h 36"/>
                  <a:gd name="T42" fmla="*/ 4 w 48"/>
                  <a:gd name="T43" fmla="*/ 20 h 36"/>
                  <a:gd name="T44" fmla="*/ 2 w 48"/>
                  <a:gd name="T45" fmla="*/ 20 h 36"/>
                  <a:gd name="T46" fmla="*/ 0 w 48"/>
                  <a:gd name="T47" fmla="*/ 24 h 36"/>
                  <a:gd name="T48" fmla="*/ 0 w 48"/>
                  <a:gd name="T49" fmla="*/ 30 h 36"/>
                  <a:gd name="T50" fmla="*/ 0 w 48"/>
                  <a:gd name="T51" fmla="*/ 30 h 36"/>
                  <a:gd name="T52" fmla="*/ 2 w 48"/>
                  <a:gd name="T53" fmla="*/ 34 h 36"/>
                  <a:gd name="T54" fmla="*/ 4 w 48"/>
                  <a:gd name="T55" fmla="*/ 34 h 36"/>
                  <a:gd name="T56" fmla="*/ 18 w 48"/>
                  <a:gd name="T57" fmla="*/ 36 h 36"/>
                  <a:gd name="T58" fmla="*/ 18 w 48"/>
                  <a:gd name="T59" fmla="*/ 36 h 36"/>
                  <a:gd name="T60" fmla="*/ 18 w 48"/>
                  <a:gd name="T61" fmla="*/ 36 h 36"/>
                  <a:gd name="T62" fmla="*/ 32 w 48"/>
                  <a:gd name="T63" fmla="*/ 36 h 36"/>
                  <a:gd name="T64" fmla="*/ 40 w 48"/>
                  <a:gd name="T65" fmla="*/ 36 h 36"/>
                  <a:gd name="T66" fmla="*/ 40 w 48"/>
                  <a:gd name="T67" fmla="*/ 36 h 36"/>
                  <a:gd name="T68" fmla="*/ 42 w 48"/>
                  <a:gd name="T69" fmla="*/ 36 h 36"/>
                  <a:gd name="T70" fmla="*/ 44 w 48"/>
                  <a:gd name="T71" fmla="*/ 32 h 36"/>
                  <a:gd name="T72" fmla="*/ 44 w 48"/>
                  <a:gd name="T73" fmla="*/ 26 h 36"/>
                  <a:gd name="T74" fmla="*/ 44 w 48"/>
                  <a:gd name="T75" fmla="*/ 26 h 36"/>
                  <a:gd name="T76" fmla="*/ 44 w 48"/>
                  <a:gd name="T77" fmla="*/ 24 h 36"/>
                  <a:gd name="T78" fmla="*/ 44 w 48"/>
                  <a:gd name="T79" fmla="*/ 24 h 36"/>
                  <a:gd name="T80" fmla="*/ 46 w 48"/>
                  <a:gd name="T81" fmla="*/ 24 h 36"/>
                  <a:gd name="T82" fmla="*/ 48 w 48"/>
                  <a:gd name="T83" fmla="*/ 20 h 36"/>
                  <a:gd name="T84" fmla="*/ 48 w 48"/>
                  <a:gd name="T85" fmla="*/ 20 h 36"/>
                  <a:gd name="T86" fmla="*/ 48 w 48"/>
                  <a:gd name="T87" fmla="*/ 16 h 36"/>
                  <a:gd name="T88" fmla="*/ 46 w 48"/>
                  <a:gd name="T89" fmla="*/ 8 h 36"/>
                  <a:gd name="T90" fmla="*/ 46 w 48"/>
                  <a:gd name="T91" fmla="*/ 8 h 36"/>
                  <a:gd name="T92" fmla="*/ 44 w 48"/>
                  <a:gd name="T93" fmla="*/ 6 h 36"/>
                  <a:gd name="T94" fmla="*/ 42 w 48"/>
                  <a:gd name="T95" fmla="*/ 4 h 36"/>
                  <a:gd name="T96" fmla="*/ 34 w 48"/>
                  <a:gd name="T97" fmla="*/ 2 h 36"/>
                  <a:gd name="T98" fmla="*/ 26 w 48"/>
                  <a:gd name="T99" fmla="*/ 0 h 36"/>
                  <a:gd name="T100" fmla="*/ 26 w 48"/>
                  <a:gd name="T101" fmla="*/ 0 h 36"/>
                  <a:gd name="T102" fmla="*/ 26 w 48"/>
                  <a:gd name="T103" fmla="*/ 0 h 36"/>
                  <a:gd name="T104" fmla="*/ 26 w 48"/>
                  <a:gd name="T10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36">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8" name="Freeform 238"/>
              <p:cNvSpPr>
                <a:spLocks/>
              </p:cNvSpPr>
              <p:nvPr/>
            </p:nvSpPr>
            <p:spPr bwMode="auto">
              <a:xfrm>
                <a:off x="1755" y="2255"/>
                <a:ext cx="32" cy="22"/>
              </a:xfrm>
              <a:custGeom>
                <a:avLst/>
                <a:gdLst>
                  <a:gd name="T0" fmla="*/ 14 w 32"/>
                  <a:gd name="T1" fmla="*/ 22 h 22"/>
                  <a:gd name="T2" fmla="*/ 14 w 32"/>
                  <a:gd name="T3" fmla="*/ 22 h 22"/>
                  <a:gd name="T4" fmla="*/ 12 w 32"/>
                  <a:gd name="T5" fmla="*/ 20 h 22"/>
                  <a:gd name="T6" fmla="*/ 10 w 32"/>
                  <a:gd name="T7" fmla="*/ 16 h 22"/>
                  <a:gd name="T8" fmla="*/ 6 w 32"/>
                  <a:gd name="T9" fmla="*/ 12 h 22"/>
                  <a:gd name="T10" fmla="*/ 2 w 32"/>
                  <a:gd name="T11" fmla="*/ 10 h 22"/>
                  <a:gd name="T12" fmla="*/ 2 w 32"/>
                  <a:gd name="T13" fmla="*/ 10 h 22"/>
                  <a:gd name="T14" fmla="*/ 0 w 32"/>
                  <a:gd name="T15" fmla="*/ 10 h 22"/>
                  <a:gd name="T16" fmla="*/ 0 w 32"/>
                  <a:gd name="T17" fmla="*/ 10 h 22"/>
                  <a:gd name="T18" fmla="*/ 0 w 32"/>
                  <a:gd name="T19" fmla="*/ 8 h 22"/>
                  <a:gd name="T20" fmla="*/ 6 w 32"/>
                  <a:gd name="T21" fmla="*/ 2 h 22"/>
                  <a:gd name="T22" fmla="*/ 6 w 32"/>
                  <a:gd name="T23" fmla="*/ 2 h 22"/>
                  <a:gd name="T24" fmla="*/ 8 w 32"/>
                  <a:gd name="T25" fmla="*/ 0 h 22"/>
                  <a:gd name="T26" fmla="*/ 14 w 32"/>
                  <a:gd name="T27" fmla="*/ 0 h 22"/>
                  <a:gd name="T28" fmla="*/ 20 w 32"/>
                  <a:gd name="T29" fmla="*/ 2 h 22"/>
                  <a:gd name="T30" fmla="*/ 28 w 32"/>
                  <a:gd name="T31" fmla="*/ 6 h 22"/>
                  <a:gd name="T32" fmla="*/ 32 w 32"/>
                  <a:gd name="T33" fmla="*/ 10 h 22"/>
                  <a:gd name="T34" fmla="*/ 32 w 32"/>
                  <a:gd name="T35" fmla="*/ 10 h 22"/>
                  <a:gd name="T36" fmla="*/ 32 w 32"/>
                  <a:gd name="T37" fmla="*/ 12 h 22"/>
                  <a:gd name="T38" fmla="*/ 32 w 32"/>
                  <a:gd name="T39" fmla="*/ 12 h 22"/>
                  <a:gd name="T40" fmla="*/ 32 w 32"/>
                  <a:gd name="T41" fmla="*/ 14 h 22"/>
                  <a:gd name="T42" fmla="*/ 24 w 32"/>
                  <a:gd name="T43" fmla="*/ 18 h 22"/>
                  <a:gd name="T44" fmla="*/ 24 w 32"/>
                  <a:gd name="T45" fmla="*/ 18 h 22"/>
                  <a:gd name="T46" fmla="*/ 24 w 32"/>
                  <a:gd name="T47" fmla="*/ 18 h 22"/>
                  <a:gd name="T48" fmla="*/ 20 w 32"/>
                  <a:gd name="T49" fmla="*/ 18 h 22"/>
                  <a:gd name="T50" fmla="*/ 16 w 32"/>
                  <a:gd name="T51" fmla="*/ 22 h 22"/>
                  <a:gd name="T52" fmla="*/ 16 w 32"/>
                  <a:gd name="T53" fmla="*/ 22 h 22"/>
                  <a:gd name="T54" fmla="*/ 14 w 32"/>
                  <a:gd name="T55" fmla="*/ 22 h 22"/>
                  <a:gd name="T56" fmla="*/ 14 w 32"/>
                  <a:gd name="T57" fmla="*/ 22 h 22"/>
                  <a:gd name="T58" fmla="*/ 14 w 32"/>
                  <a:gd name="T59" fmla="*/ 22 h 22"/>
                  <a:gd name="T60" fmla="*/ 14 w 32"/>
                  <a:gd name="T6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2">
                    <a:moveTo>
                      <a:pt x="14" y="22"/>
                    </a:moveTo>
                    <a:lnTo>
                      <a:pt x="14" y="22"/>
                    </a:lnTo>
                    <a:lnTo>
                      <a:pt x="12" y="20"/>
                    </a:lnTo>
                    <a:lnTo>
                      <a:pt x="10" y="16"/>
                    </a:lnTo>
                    <a:lnTo>
                      <a:pt x="6" y="12"/>
                    </a:lnTo>
                    <a:lnTo>
                      <a:pt x="2" y="10"/>
                    </a:lnTo>
                    <a:lnTo>
                      <a:pt x="2" y="10"/>
                    </a:lnTo>
                    <a:lnTo>
                      <a:pt x="0" y="10"/>
                    </a:lnTo>
                    <a:lnTo>
                      <a:pt x="0" y="10"/>
                    </a:lnTo>
                    <a:lnTo>
                      <a:pt x="0" y="8"/>
                    </a:lnTo>
                    <a:lnTo>
                      <a:pt x="6" y="2"/>
                    </a:lnTo>
                    <a:lnTo>
                      <a:pt x="6" y="2"/>
                    </a:lnTo>
                    <a:lnTo>
                      <a:pt x="8" y="0"/>
                    </a:lnTo>
                    <a:lnTo>
                      <a:pt x="14" y="0"/>
                    </a:lnTo>
                    <a:lnTo>
                      <a:pt x="20" y="2"/>
                    </a:lnTo>
                    <a:lnTo>
                      <a:pt x="28" y="6"/>
                    </a:lnTo>
                    <a:lnTo>
                      <a:pt x="32" y="10"/>
                    </a:lnTo>
                    <a:lnTo>
                      <a:pt x="32" y="10"/>
                    </a:lnTo>
                    <a:lnTo>
                      <a:pt x="32" y="12"/>
                    </a:lnTo>
                    <a:lnTo>
                      <a:pt x="32" y="12"/>
                    </a:lnTo>
                    <a:lnTo>
                      <a:pt x="32" y="14"/>
                    </a:lnTo>
                    <a:lnTo>
                      <a:pt x="24" y="18"/>
                    </a:lnTo>
                    <a:lnTo>
                      <a:pt x="24" y="18"/>
                    </a:lnTo>
                    <a:lnTo>
                      <a:pt x="24" y="18"/>
                    </a:lnTo>
                    <a:lnTo>
                      <a:pt x="20" y="18"/>
                    </a:lnTo>
                    <a:lnTo>
                      <a:pt x="16" y="22"/>
                    </a:lnTo>
                    <a:lnTo>
                      <a:pt x="16" y="22"/>
                    </a:lnTo>
                    <a:lnTo>
                      <a:pt x="14" y="22"/>
                    </a:lnTo>
                    <a:lnTo>
                      <a:pt x="14" y="22"/>
                    </a:lnTo>
                    <a:lnTo>
                      <a:pt x="14" y="22"/>
                    </a:lnTo>
                    <a:lnTo>
                      <a:pt x="14"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9" name="Freeform 239"/>
              <p:cNvSpPr>
                <a:spLocks noEditPoints="1"/>
              </p:cNvSpPr>
              <p:nvPr/>
            </p:nvSpPr>
            <p:spPr bwMode="auto">
              <a:xfrm>
                <a:off x="1753" y="2253"/>
                <a:ext cx="36" cy="26"/>
              </a:xfrm>
              <a:custGeom>
                <a:avLst/>
                <a:gdLst>
                  <a:gd name="T0" fmla="*/ 16 w 36"/>
                  <a:gd name="T1" fmla="*/ 4 h 26"/>
                  <a:gd name="T2" fmla="*/ 22 w 36"/>
                  <a:gd name="T3" fmla="*/ 6 h 26"/>
                  <a:gd name="T4" fmla="*/ 28 w 36"/>
                  <a:gd name="T5" fmla="*/ 10 h 26"/>
                  <a:gd name="T6" fmla="*/ 32 w 36"/>
                  <a:gd name="T7" fmla="*/ 14 h 26"/>
                  <a:gd name="T8" fmla="*/ 26 w 36"/>
                  <a:gd name="T9" fmla="*/ 18 h 26"/>
                  <a:gd name="T10" fmla="*/ 20 w 36"/>
                  <a:gd name="T11" fmla="*/ 18 h 26"/>
                  <a:gd name="T12" fmla="*/ 16 w 36"/>
                  <a:gd name="T13" fmla="*/ 22 h 26"/>
                  <a:gd name="T14" fmla="*/ 14 w 36"/>
                  <a:gd name="T15" fmla="*/ 16 h 26"/>
                  <a:gd name="T16" fmla="*/ 10 w 36"/>
                  <a:gd name="T17" fmla="*/ 12 h 26"/>
                  <a:gd name="T18" fmla="*/ 4 w 36"/>
                  <a:gd name="T19" fmla="*/ 10 h 26"/>
                  <a:gd name="T20" fmla="*/ 10 w 36"/>
                  <a:gd name="T21" fmla="*/ 4 h 26"/>
                  <a:gd name="T22" fmla="*/ 16 w 36"/>
                  <a:gd name="T23" fmla="*/ 4 h 26"/>
                  <a:gd name="T24" fmla="*/ 16 w 36"/>
                  <a:gd name="T25" fmla="*/ 0 h 26"/>
                  <a:gd name="T26" fmla="*/ 10 w 36"/>
                  <a:gd name="T27" fmla="*/ 0 h 26"/>
                  <a:gd name="T28" fmla="*/ 10 w 36"/>
                  <a:gd name="T29" fmla="*/ 0 h 26"/>
                  <a:gd name="T30" fmla="*/ 6 w 36"/>
                  <a:gd name="T31" fmla="*/ 2 h 26"/>
                  <a:gd name="T32" fmla="*/ 2 w 36"/>
                  <a:gd name="T33" fmla="*/ 8 h 26"/>
                  <a:gd name="T34" fmla="*/ 2 w 36"/>
                  <a:gd name="T35" fmla="*/ 8 h 26"/>
                  <a:gd name="T36" fmla="*/ 0 w 36"/>
                  <a:gd name="T37" fmla="*/ 12 h 26"/>
                  <a:gd name="T38" fmla="*/ 0 w 36"/>
                  <a:gd name="T39" fmla="*/ 12 h 26"/>
                  <a:gd name="T40" fmla="*/ 4 w 36"/>
                  <a:gd name="T41" fmla="*/ 14 h 26"/>
                  <a:gd name="T42" fmla="*/ 8 w 36"/>
                  <a:gd name="T43" fmla="*/ 16 h 26"/>
                  <a:gd name="T44" fmla="*/ 10 w 36"/>
                  <a:gd name="T45" fmla="*/ 18 h 26"/>
                  <a:gd name="T46" fmla="*/ 14 w 36"/>
                  <a:gd name="T47" fmla="*/ 24 h 26"/>
                  <a:gd name="T48" fmla="*/ 14 w 36"/>
                  <a:gd name="T49" fmla="*/ 24 h 26"/>
                  <a:gd name="T50" fmla="*/ 16 w 36"/>
                  <a:gd name="T51" fmla="*/ 26 h 26"/>
                  <a:gd name="T52" fmla="*/ 16 w 36"/>
                  <a:gd name="T53" fmla="*/ 26 h 26"/>
                  <a:gd name="T54" fmla="*/ 16 w 36"/>
                  <a:gd name="T55" fmla="*/ 26 h 26"/>
                  <a:gd name="T56" fmla="*/ 16 w 36"/>
                  <a:gd name="T57" fmla="*/ 26 h 26"/>
                  <a:gd name="T58" fmla="*/ 20 w 36"/>
                  <a:gd name="T59" fmla="*/ 24 h 26"/>
                  <a:gd name="T60" fmla="*/ 22 w 36"/>
                  <a:gd name="T61" fmla="*/ 22 h 26"/>
                  <a:gd name="T62" fmla="*/ 26 w 36"/>
                  <a:gd name="T63" fmla="*/ 22 h 26"/>
                  <a:gd name="T64" fmla="*/ 26 w 36"/>
                  <a:gd name="T65" fmla="*/ 22 h 26"/>
                  <a:gd name="T66" fmla="*/ 28 w 36"/>
                  <a:gd name="T67" fmla="*/ 22 h 26"/>
                  <a:gd name="T68" fmla="*/ 34 w 36"/>
                  <a:gd name="T69" fmla="*/ 18 h 26"/>
                  <a:gd name="T70" fmla="*/ 34 w 36"/>
                  <a:gd name="T71" fmla="*/ 18 h 26"/>
                  <a:gd name="T72" fmla="*/ 36 w 36"/>
                  <a:gd name="T73" fmla="*/ 14 h 26"/>
                  <a:gd name="T74" fmla="*/ 36 w 36"/>
                  <a:gd name="T75" fmla="*/ 14 h 26"/>
                  <a:gd name="T76" fmla="*/ 36 w 36"/>
                  <a:gd name="T77" fmla="*/ 12 h 26"/>
                  <a:gd name="T78" fmla="*/ 32 w 36"/>
                  <a:gd name="T79" fmla="*/ 8 h 26"/>
                  <a:gd name="T80" fmla="*/ 32 w 36"/>
                  <a:gd name="T81" fmla="*/ 8 h 26"/>
                  <a:gd name="T82" fmla="*/ 30 w 36"/>
                  <a:gd name="T83" fmla="*/ 8 h 26"/>
                  <a:gd name="T84" fmla="*/ 24 w 36"/>
                  <a:gd name="T85" fmla="*/ 4 h 26"/>
                  <a:gd name="T86" fmla="*/ 24 w 36"/>
                  <a:gd name="T87" fmla="*/ 4 h 26"/>
                  <a:gd name="T88" fmla="*/ 24 w 36"/>
                  <a:gd name="T89" fmla="*/ 4 h 26"/>
                  <a:gd name="T90" fmla="*/ 18 w 36"/>
                  <a:gd name="T91" fmla="*/ 2 h 26"/>
                  <a:gd name="T92" fmla="*/ 18 w 36"/>
                  <a:gd name="T93" fmla="*/ 2 h 26"/>
                  <a:gd name="T94" fmla="*/ 16 w 36"/>
                  <a:gd name="T95" fmla="*/ 0 h 26"/>
                  <a:gd name="T96" fmla="*/ 16 w 36"/>
                  <a:gd name="T9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26">
                    <a:moveTo>
                      <a:pt x="16" y="4"/>
                    </a:moveTo>
                    <a:lnTo>
                      <a:pt x="22" y="6"/>
                    </a:lnTo>
                    <a:lnTo>
                      <a:pt x="28" y="10"/>
                    </a:lnTo>
                    <a:lnTo>
                      <a:pt x="32" y="14"/>
                    </a:lnTo>
                    <a:lnTo>
                      <a:pt x="26" y="18"/>
                    </a:lnTo>
                    <a:lnTo>
                      <a:pt x="20" y="18"/>
                    </a:lnTo>
                    <a:lnTo>
                      <a:pt x="16" y="22"/>
                    </a:lnTo>
                    <a:lnTo>
                      <a:pt x="14" y="16"/>
                    </a:lnTo>
                    <a:lnTo>
                      <a:pt x="10" y="12"/>
                    </a:lnTo>
                    <a:lnTo>
                      <a:pt x="4" y="10"/>
                    </a:lnTo>
                    <a:lnTo>
                      <a:pt x="10" y="4"/>
                    </a:lnTo>
                    <a:lnTo>
                      <a:pt x="16" y="4"/>
                    </a:lnTo>
                    <a:close/>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0" name="Freeform 240"/>
              <p:cNvSpPr>
                <a:spLocks/>
              </p:cNvSpPr>
              <p:nvPr/>
            </p:nvSpPr>
            <p:spPr bwMode="auto">
              <a:xfrm>
                <a:off x="1757" y="2257"/>
                <a:ext cx="28" cy="18"/>
              </a:xfrm>
              <a:custGeom>
                <a:avLst/>
                <a:gdLst>
                  <a:gd name="T0" fmla="*/ 12 w 28"/>
                  <a:gd name="T1" fmla="*/ 0 h 18"/>
                  <a:gd name="T2" fmla="*/ 18 w 28"/>
                  <a:gd name="T3" fmla="*/ 2 h 18"/>
                  <a:gd name="T4" fmla="*/ 24 w 28"/>
                  <a:gd name="T5" fmla="*/ 6 h 18"/>
                  <a:gd name="T6" fmla="*/ 28 w 28"/>
                  <a:gd name="T7" fmla="*/ 10 h 18"/>
                  <a:gd name="T8" fmla="*/ 22 w 28"/>
                  <a:gd name="T9" fmla="*/ 14 h 18"/>
                  <a:gd name="T10" fmla="*/ 16 w 28"/>
                  <a:gd name="T11" fmla="*/ 14 h 18"/>
                  <a:gd name="T12" fmla="*/ 12 w 28"/>
                  <a:gd name="T13" fmla="*/ 18 h 18"/>
                  <a:gd name="T14" fmla="*/ 10 w 28"/>
                  <a:gd name="T15" fmla="*/ 12 h 18"/>
                  <a:gd name="T16" fmla="*/ 6 w 28"/>
                  <a:gd name="T17" fmla="*/ 8 h 18"/>
                  <a:gd name="T18" fmla="*/ 0 w 28"/>
                  <a:gd name="T19" fmla="*/ 6 h 18"/>
                  <a:gd name="T20" fmla="*/ 6 w 28"/>
                  <a:gd name="T21" fmla="*/ 0 h 18"/>
                  <a:gd name="T22" fmla="*/ 12 w 2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8">
                    <a:moveTo>
                      <a:pt x="12" y="0"/>
                    </a:moveTo>
                    <a:lnTo>
                      <a:pt x="18" y="2"/>
                    </a:lnTo>
                    <a:lnTo>
                      <a:pt x="24" y="6"/>
                    </a:lnTo>
                    <a:lnTo>
                      <a:pt x="28" y="10"/>
                    </a:lnTo>
                    <a:lnTo>
                      <a:pt x="22" y="14"/>
                    </a:lnTo>
                    <a:lnTo>
                      <a:pt x="16" y="14"/>
                    </a:lnTo>
                    <a:lnTo>
                      <a:pt x="12" y="18"/>
                    </a:lnTo>
                    <a:lnTo>
                      <a:pt x="10" y="12"/>
                    </a:lnTo>
                    <a:lnTo>
                      <a:pt x="6" y="8"/>
                    </a:lnTo>
                    <a:lnTo>
                      <a:pt x="0" y="6"/>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1" name="Freeform 241"/>
              <p:cNvSpPr>
                <a:spLocks/>
              </p:cNvSpPr>
              <p:nvPr/>
            </p:nvSpPr>
            <p:spPr bwMode="auto">
              <a:xfrm>
                <a:off x="1753" y="2253"/>
                <a:ext cx="36" cy="26"/>
              </a:xfrm>
              <a:custGeom>
                <a:avLst/>
                <a:gdLst>
                  <a:gd name="T0" fmla="*/ 16 w 36"/>
                  <a:gd name="T1" fmla="*/ 0 h 26"/>
                  <a:gd name="T2" fmla="*/ 10 w 36"/>
                  <a:gd name="T3" fmla="*/ 0 h 26"/>
                  <a:gd name="T4" fmla="*/ 10 w 36"/>
                  <a:gd name="T5" fmla="*/ 0 h 26"/>
                  <a:gd name="T6" fmla="*/ 6 w 36"/>
                  <a:gd name="T7" fmla="*/ 2 h 26"/>
                  <a:gd name="T8" fmla="*/ 2 w 36"/>
                  <a:gd name="T9" fmla="*/ 8 h 26"/>
                  <a:gd name="T10" fmla="*/ 2 w 36"/>
                  <a:gd name="T11" fmla="*/ 8 h 26"/>
                  <a:gd name="T12" fmla="*/ 0 w 36"/>
                  <a:gd name="T13" fmla="*/ 12 h 26"/>
                  <a:gd name="T14" fmla="*/ 0 w 36"/>
                  <a:gd name="T15" fmla="*/ 12 h 26"/>
                  <a:gd name="T16" fmla="*/ 4 w 36"/>
                  <a:gd name="T17" fmla="*/ 14 h 26"/>
                  <a:gd name="T18" fmla="*/ 8 w 36"/>
                  <a:gd name="T19" fmla="*/ 16 h 26"/>
                  <a:gd name="T20" fmla="*/ 10 w 36"/>
                  <a:gd name="T21" fmla="*/ 18 h 26"/>
                  <a:gd name="T22" fmla="*/ 14 w 36"/>
                  <a:gd name="T23" fmla="*/ 24 h 26"/>
                  <a:gd name="T24" fmla="*/ 14 w 36"/>
                  <a:gd name="T25" fmla="*/ 24 h 26"/>
                  <a:gd name="T26" fmla="*/ 16 w 36"/>
                  <a:gd name="T27" fmla="*/ 26 h 26"/>
                  <a:gd name="T28" fmla="*/ 16 w 36"/>
                  <a:gd name="T29" fmla="*/ 26 h 26"/>
                  <a:gd name="T30" fmla="*/ 16 w 36"/>
                  <a:gd name="T31" fmla="*/ 26 h 26"/>
                  <a:gd name="T32" fmla="*/ 16 w 36"/>
                  <a:gd name="T33" fmla="*/ 26 h 26"/>
                  <a:gd name="T34" fmla="*/ 20 w 36"/>
                  <a:gd name="T35" fmla="*/ 24 h 26"/>
                  <a:gd name="T36" fmla="*/ 22 w 36"/>
                  <a:gd name="T37" fmla="*/ 22 h 26"/>
                  <a:gd name="T38" fmla="*/ 26 w 36"/>
                  <a:gd name="T39" fmla="*/ 22 h 26"/>
                  <a:gd name="T40" fmla="*/ 26 w 36"/>
                  <a:gd name="T41" fmla="*/ 22 h 26"/>
                  <a:gd name="T42" fmla="*/ 28 w 36"/>
                  <a:gd name="T43" fmla="*/ 22 h 26"/>
                  <a:gd name="T44" fmla="*/ 34 w 36"/>
                  <a:gd name="T45" fmla="*/ 18 h 26"/>
                  <a:gd name="T46" fmla="*/ 34 w 36"/>
                  <a:gd name="T47" fmla="*/ 18 h 26"/>
                  <a:gd name="T48" fmla="*/ 36 w 36"/>
                  <a:gd name="T49" fmla="*/ 14 h 26"/>
                  <a:gd name="T50" fmla="*/ 36 w 36"/>
                  <a:gd name="T51" fmla="*/ 14 h 26"/>
                  <a:gd name="T52" fmla="*/ 36 w 36"/>
                  <a:gd name="T53" fmla="*/ 12 h 26"/>
                  <a:gd name="T54" fmla="*/ 32 w 36"/>
                  <a:gd name="T55" fmla="*/ 8 h 26"/>
                  <a:gd name="T56" fmla="*/ 32 w 36"/>
                  <a:gd name="T57" fmla="*/ 8 h 26"/>
                  <a:gd name="T58" fmla="*/ 30 w 36"/>
                  <a:gd name="T59" fmla="*/ 8 h 26"/>
                  <a:gd name="T60" fmla="*/ 24 w 36"/>
                  <a:gd name="T61" fmla="*/ 4 h 26"/>
                  <a:gd name="T62" fmla="*/ 24 w 36"/>
                  <a:gd name="T63" fmla="*/ 4 h 26"/>
                  <a:gd name="T64" fmla="*/ 24 w 36"/>
                  <a:gd name="T65" fmla="*/ 4 h 26"/>
                  <a:gd name="T66" fmla="*/ 18 w 36"/>
                  <a:gd name="T67" fmla="*/ 2 h 26"/>
                  <a:gd name="T68" fmla="*/ 18 w 36"/>
                  <a:gd name="T69" fmla="*/ 2 h 26"/>
                  <a:gd name="T70" fmla="*/ 16 w 36"/>
                  <a:gd name="T71" fmla="*/ 0 h 26"/>
                  <a:gd name="T72" fmla="*/ 16 w 36"/>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6">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2" name="Freeform 242"/>
              <p:cNvSpPr>
                <a:spLocks/>
              </p:cNvSpPr>
              <p:nvPr/>
            </p:nvSpPr>
            <p:spPr bwMode="auto">
              <a:xfrm>
                <a:off x="1839" y="2239"/>
                <a:ext cx="60" cy="38"/>
              </a:xfrm>
              <a:custGeom>
                <a:avLst/>
                <a:gdLst>
                  <a:gd name="T0" fmla="*/ 10 w 60"/>
                  <a:gd name="T1" fmla="*/ 38 h 38"/>
                  <a:gd name="T2" fmla="*/ 10 w 60"/>
                  <a:gd name="T3" fmla="*/ 38 h 38"/>
                  <a:gd name="T4" fmla="*/ 8 w 60"/>
                  <a:gd name="T5" fmla="*/ 36 h 38"/>
                  <a:gd name="T6" fmla="*/ 4 w 60"/>
                  <a:gd name="T7" fmla="*/ 32 h 38"/>
                  <a:gd name="T8" fmla="*/ 4 w 60"/>
                  <a:gd name="T9" fmla="*/ 32 h 38"/>
                  <a:gd name="T10" fmla="*/ 4 w 60"/>
                  <a:gd name="T11" fmla="*/ 30 h 38"/>
                  <a:gd name="T12" fmla="*/ 4 w 60"/>
                  <a:gd name="T13" fmla="*/ 22 h 38"/>
                  <a:gd name="T14" fmla="*/ 0 w 60"/>
                  <a:gd name="T15" fmla="*/ 18 h 38"/>
                  <a:gd name="T16" fmla="*/ 0 w 60"/>
                  <a:gd name="T17" fmla="*/ 18 h 38"/>
                  <a:gd name="T18" fmla="*/ 0 w 60"/>
                  <a:gd name="T19" fmla="*/ 16 h 38"/>
                  <a:gd name="T20" fmla="*/ 0 w 60"/>
                  <a:gd name="T21" fmla="*/ 16 h 38"/>
                  <a:gd name="T22" fmla="*/ 2 w 60"/>
                  <a:gd name="T23" fmla="*/ 16 h 38"/>
                  <a:gd name="T24" fmla="*/ 6 w 60"/>
                  <a:gd name="T25" fmla="*/ 14 h 38"/>
                  <a:gd name="T26" fmla="*/ 8 w 60"/>
                  <a:gd name="T27" fmla="*/ 12 h 38"/>
                  <a:gd name="T28" fmla="*/ 6 w 60"/>
                  <a:gd name="T29" fmla="*/ 2 h 38"/>
                  <a:gd name="T30" fmla="*/ 6 w 60"/>
                  <a:gd name="T31" fmla="*/ 2 h 38"/>
                  <a:gd name="T32" fmla="*/ 6 w 60"/>
                  <a:gd name="T33" fmla="*/ 0 h 38"/>
                  <a:gd name="T34" fmla="*/ 6 w 60"/>
                  <a:gd name="T35" fmla="*/ 0 h 38"/>
                  <a:gd name="T36" fmla="*/ 8 w 60"/>
                  <a:gd name="T37" fmla="*/ 0 h 38"/>
                  <a:gd name="T38" fmla="*/ 8 w 60"/>
                  <a:gd name="T39" fmla="*/ 0 h 38"/>
                  <a:gd name="T40" fmla="*/ 8 w 60"/>
                  <a:gd name="T41" fmla="*/ 0 h 38"/>
                  <a:gd name="T42" fmla="*/ 18 w 60"/>
                  <a:gd name="T43" fmla="*/ 2 h 38"/>
                  <a:gd name="T44" fmla="*/ 26 w 60"/>
                  <a:gd name="T45" fmla="*/ 2 h 38"/>
                  <a:gd name="T46" fmla="*/ 36 w 60"/>
                  <a:gd name="T47" fmla="*/ 4 h 38"/>
                  <a:gd name="T48" fmla="*/ 42 w 60"/>
                  <a:gd name="T49" fmla="*/ 6 h 38"/>
                  <a:gd name="T50" fmla="*/ 48 w 60"/>
                  <a:gd name="T51" fmla="*/ 10 h 38"/>
                  <a:gd name="T52" fmla="*/ 58 w 60"/>
                  <a:gd name="T53" fmla="*/ 16 h 38"/>
                  <a:gd name="T54" fmla="*/ 58 w 60"/>
                  <a:gd name="T55" fmla="*/ 16 h 38"/>
                  <a:gd name="T56" fmla="*/ 58 w 60"/>
                  <a:gd name="T57" fmla="*/ 16 h 38"/>
                  <a:gd name="T58" fmla="*/ 60 w 60"/>
                  <a:gd name="T59" fmla="*/ 20 h 38"/>
                  <a:gd name="T60" fmla="*/ 60 w 60"/>
                  <a:gd name="T61" fmla="*/ 20 h 38"/>
                  <a:gd name="T62" fmla="*/ 60 w 60"/>
                  <a:gd name="T63" fmla="*/ 22 h 38"/>
                  <a:gd name="T64" fmla="*/ 56 w 60"/>
                  <a:gd name="T65" fmla="*/ 26 h 38"/>
                  <a:gd name="T66" fmla="*/ 56 w 60"/>
                  <a:gd name="T67" fmla="*/ 26 h 38"/>
                  <a:gd name="T68" fmla="*/ 54 w 60"/>
                  <a:gd name="T69" fmla="*/ 26 h 38"/>
                  <a:gd name="T70" fmla="*/ 54 w 60"/>
                  <a:gd name="T71" fmla="*/ 26 h 38"/>
                  <a:gd name="T72" fmla="*/ 54 w 60"/>
                  <a:gd name="T73" fmla="*/ 26 h 38"/>
                  <a:gd name="T74" fmla="*/ 44 w 60"/>
                  <a:gd name="T75" fmla="*/ 24 h 38"/>
                  <a:gd name="T76" fmla="*/ 40 w 60"/>
                  <a:gd name="T77" fmla="*/ 24 h 38"/>
                  <a:gd name="T78" fmla="*/ 32 w 60"/>
                  <a:gd name="T79" fmla="*/ 26 h 38"/>
                  <a:gd name="T80" fmla="*/ 26 w 60"/>
                  <a:gd name="T81" fmla="*/ 26 h 38"/>
                  <a:gd name="T82" fmla="*/ 26 w 60"/>
                  <a:gd name="T83" fmla="*/ 26 h 38"/>
                  <a:gd name="T84" fmla="*/ 24 w 60"/>
                  <a:gd name="T85" fmla="*/ 26 h 38"/>
                  <a:gd name="T86" fmla="*/ 22 w 60"/>
                  <a:gd name="T87" fmla="*/ 24 h 38"/>
                  <a:gd name="T88" fmla="*/ 18 w 60"/>
                  <a:gd name="T89" fmla="*/ 24 h 38"/>
                  <a:gd name="T90" fmla="*/ 16 w 60"/>
                  <a:gd name="T91" fmla="*/ 28 h 38"/>
                  <a:gd name="T92" fmla="*/ 16 w 60"/>
                  <a:gd name="T93" fmla="*/ 34 h 38"/>
                  <a:gd name="T94" fmla="*/ 16 w 60"/>
                  <a:gd name="T95" fmla="*/ 34 h 38"/>
                  <a:gd name="T96" fmla="*/ 14 w 60"/>
                  <a:gd name="T97" fmla="*/ 36 h 38"/>
                  <a:gd name="T98" fmla="*/ 10 w 60"/>
                  <a:gd name="T99" fmla="*/ 38 h 38"/>
                  <a:gd name="T100" fmla="*/ 10 w 60"/>
                  <a:gd name="T101" fmla="*/ 38 h 38"/>
                  <a:gd name="T102" fmla="*/ 10 w 60"/>
                  <a:gd name="T103" fmla="*/ 38 h 38"/>
                  <a:gd name="T104" fmla="*/ 10 w 60"/>
                  <a:gd name="T10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38">
                    <a:moveTo>
                      <a:pt x="10" y="38"/>
                    </a:moveTo>
                    <a:lnTo>
                      <a:pt x="10" y="38"/>
                    </a:lnTo>
                    <a:lnTo>
                      <a:pt x="8" y="36"/>
                    </a:lnTo>
                    <a:lnTo>
                      <a:pt x="4" y="32"/>
                    </a:lnTo>
                    <a:lnTo>
                      <a:pt x="4" y="32"/>
                    </a:lnTo>
                    <a:lnTo>
                      <a:pt x="4" y="30"/>
                    </a:lnTo>
                    <a:lnTo>
                      <a:pt x="4" y="22"/>
                    </a:lnTo>
                    <a:lnTo>
                      <a:pt x="0" y="18"/>
                    </a:lnTo>
                    <a:lnTo>
                      <a:pt x="0" y="18"/>
                    </a:lnTo>
                    <a:lnTo>
                      <a:pt x="0" y="16"/>
                    </a:lnTo>
                    <a:lnTo>
                      <a:pt x="0" y="16"/>
                    </a:lnTo>
                    <a:lnTo>
                      <a:pt x="2" y="16"/>
                    </a:lnTo>
                    <a:lnTo>
                      <a:pt x="6" y="14"/>
                    </a:lnTo>
                    <a:lnTo>
                      <a:pt x="8" y="12"/>
                    </a:lnTo>
                    <a:lnTo>
                      <a:pt x="6" y="2"/>
                    </a:lnTo>
                    <a:lnTo>
                      <a:pt x="6" y="2"/>
                    </a:lnTo>
                    <a:lnTo>
                      <a:pt x="6" y="0"/>
                    </a:lnTo>
                    <a:lnTo>
                      <a:pt x="6" y="0"/>
                    </a:lnTo>
                    <a:lnTo>
                      <a:pt x="8" y="0"/>
                    </a:lnTo>
                    <a:lnTo>
                      <a:pt x="8" y="0"/>
                    </a:lnTo>
                    <a:lnTo>
                      <a:pt x="8" y="0"/>
                    </a:lnTo>
                    <a:lnTo>
                      <a:pt x="18" y="2"/>
                    </a:lnTo>
                    <a:lnTo>
                      <a:pt x="26" y="2"/>
                    </a:lnTo>
                    <a:lnTo>
                      <a:pt x="36" y="4"/>
                    </a:lnTo>
                    <a:lnTo>
                      <a:pt x="42" y="6"/>
                    </a:lnTo>
                    <a:lnTo>
                      <a:pt x="48" y="10"/>
                    </a:lnTo>
                    <a:lnTo>
                      <a:pt x="58" y="16"/>
                    </a:lnTo>
                    <a:lnTo>
                      <a:pt x="58" y="16"/>
                    </a:lnTo>
                    <a:lnTo>
                      <a:pt x="58" y="16"/>
                    </a:lnTo>
                    <a:lnTo>
                      <a:pt x="60" y="20"/>
                    </a:lnTo>
                    <a:lnTo>
                      <a:pt x="60" y="20"/>
                    </a:lnTo>
                    <a:lnTo>
                      <a:pt x="60" y="22"/>
                    </a:lnTo>
                    <a:lnTo>
                      <a:pt x="56" y="26"/>
                    </a:lnTo>
                    <a:lnTo>
                      <a:pt x="56" y="26"/>
                    </a:lnTo>
                    <a:lnTo>
                      <a:pt x="54" y="26"/>
                    </a:lnTo>
                    <a:lnTo>
                      <a:pt x="54" y="26"/>
                    </a:lnTo>
                    <a:lnTo>
                      <a:pt x="54" y="26"/>
                    </a:lnTo>
                    <a:lnTo>
                      <a:pt x="44" y="24"/>
                    </a:lnTo>
                    <a:lnTo>
                      <a:pt x="40" y="24"/>
                    </a:lnTo>
                    <a:lnTo>
                      <a:pt x="32" y="26"/>
                    </a:lnTo>
                    <a:lnTo>
                      <a:pt x="26" y="26"/>
                    </a:lnTo>
                    <a:lnTo>
                      <a:pt x="26" y="26"/>
                    </a:lnTo>
                    <a:lnTo>
                      <a:pt x="24" y="26"/>
                    </a:lnTo>
                    <a:lnTo>
                      <a:pt x="22" y="24"/>
                    </a:lnTo>
                    <a:lnTo>
                      <a:pt x="18" y="24"/>
                    </a:lnTo>
                    <a:lnTo>
                      <a:pt x="16" y="28"/>
                    </a:lnTo>
                    <a:lnTo>
                      <a:pt x="16" y="34"/>
                    </a:lnTo>
                    <a:lnTo>
                      <a:pt x="16" y="34"/>
                    </a:lnTo>
                    <a:lnTo>
                      <a:pt x="14" y="36"/>
                    </a:lnTo>
                    <a:lnTo>
                      <a:pt x="10" y="38"/>
                    </a:lnTo>
                    <a:lnTo>
                      <a:pt x="10" y="38"/>
                    </a:lnTo>
                    <a:lnTo>
                      <a:pt x="10" y="38"/>
                    </a:lnTo>
                    <a:lnTo>
                      <a:pt x="1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3" name="Freeform 243"/>
              <p:cNvSpPr>
                <a:spLocks noEditPoints="1"/>
              </p:cNvSpPr>
              <p:nvPr/>
            </p:nvSpPr>
            <p:spPr bwMode="auto">
              <a:xfrm>
                <a:off x="1837" y="2237"/>
                <a:ext cx="64" cy="42"/>
              </a:xfrm>
              <a:custGeom>
                <a:avLst/>
                <a:gdLst>
                  <a:gd name="T0" fmla="*/ 20 w 64"/>
                  <a:gd name="T1" fmla="*/ 6 h 42"/>
                  <a:gd name="T2" fmla="*/ 38 w 64"/>
                  <a:gd name="T3" fmla="*/ 8 h 42"/>
                  <a:gd name="T4" fmla="*/ 48 w 64"/>
                  <a:gd name="T5" fmla="*/ 14 h 42"/>
                  <a:gd name="T6" fmla="*/ 60 w 64"/>
                  <a:gd name="T7" fmla="*/ 22 h 42"/>
                  <a:gd name="T8" fmla="*/ 46 w 64"/>
                  <a:gd name="T9" fmla="*/ 24 h 42"/>
                  <a:gd name="T10" fmla="*/ 34 w 64"/>
                  <a:gd name="T11" fmla="*/ 26 h 42"/>
                  <a:gd name="T12" fmla="*/ 24 w 64"/>
                  <a:gd name="T13" fmla="*/ 22 h 42"/>
                  <a:gd name="T14" fmla="*/ 16 w 64"/>
                  <a:gd name="T15" fmla="*/ 30 h 42"/>
                  <a:gd name="T16" fmla="*/ 12 w 64"/>
                  <a:gd name="T17" fmla="*/ 38 h 42"/>
                  <a:gd name="T18" fmla="*/ 8 w 64"/>
                  <a:gd name="T19" fmla="*/ 28 h 42"/>
                  <a:gd name="T20" fmla="*/ 4 w 64"/>
                  <a:gd name="T21" fmla="*/ 20 h 42"/>
                  <a:gd name="T22" fmla="*/ 12 w 64"/>
                  <a:gd name="T23" fmla="*/ 14 h 42"/>
                  <a:gd name="T24" fmla="*/ 10 w 64"/>
                  <a:gd name="T25" fmla="*/ 0 h 42"/>
                  <a:gd name="T26" fmla="*/ 8 w 64"/>
                  <a:gd name="T27" fmla="*/ 2 h 42"/>
                  <a:gd name="T28" fmla="*/ 6 w 64"/>
                  <a:gd name="T29" fmla="*/ 4 h 42"/>
                  <a:gd name="T30" fmla="*/ 8 w 64"/>
                  <a:gd name="T31" fmla="*/ 14 h 42"/>
                  <a:gd name="T32" fmla="*/ 4 w 64"/>
                  <a:gd name="T33" fmla="*/ 16 h 42"/>
                  <a:gd name="T34" fmla="*/ 0 w 64"/>
                  <a:gd name="T35" fmla="*/ 18 h 42"/>
                  <a:gd name="T36" fmla="*/ 4 w 64"/>
                  <a:gd name="T37" fmla="*/ 24 h 42"/>
                  <a:gd name="T38" fmla="*/ 4 w 64"/>
                  <a:gd name="T39" fmla="*/ 32 h 42"/>
                  <a:gd name="T40" fmla="*/ 4 w 64"/>
                  <a:gd name="T41" fmla="*/ 34 h 42"/>
                  <a:gd name="T42" fmla="*/ 8 w 64"/>
                  <a:gd name="T43" fmla="*/ 40 h 42"/>
                  <a:gd name="T44" fmla="*/ 12 w 64"/>
                  <a:gd name="T45" fmla="*/ 42 h 42"/>
                  <a:gd name="T46" fmla="*/ 18 w 64"/>
                  <a:gd name="T47" fmla="*/ 40 h 42"/>
                  <a:gd name="T48" fmla="*/ 20 w 64"/>
                  <a:gd name="T49" fmla="*/ 38 h 42"/>
                  <a:gd name="T50" fmla="*/ 20 w 64"/>
                  <a:gd name="T51" fmla="*/ 30 h 42"/>
                  <a:gd name="T52" fmla="*/ 22 w 64"/>
                  <a:gd name="T53" fmla="*/ 28 h 42"/>
                  <a:gd name="T54" fmla="*/ 24 w 64"/>
                  <a:gd name="T55" fmla="*/ 30 h 42"/>
                  <a:gd name="T56" fmla="*/ 34 w 64"/>
                  <a:gd name="T57" fmla="*/ 30 h 42"/>
                  <a:gd name="T58" fmla="*/ 34 w 64"/>
                  <a:gd name="T59" fmla="*/ 30 h 42"/>
                  <a:gd name="T60" fmla="*/ 46 w 64"/>
                  <a:gd name="T61" fmla="*/ 28 h 42"/>
                  <a:gd name="T62" fmla="*/ 56 w 64"/>
                  <a:gd name="T63" fmla="*/ 30 h 42"/>
                  <a:gd name="T64" fmla="*/ 56 w 64"/>
                  <a:gd name="T65" fmla="*/ 30 h 42"/>
                  <a:gd name="T66" fmla="*/ 64 w 64"/>
                  <a:gd name="T67" fmla="*/ 26 h 42"/>
                  <a:gd name="T68" fmla="*/ 64 w 64"/>
                  <a:gd name="T69" fmla="*/ 24 h 42"/>
                  <a:gd name="T70" fmla="*/ 62 w 64"/>
                  <a:gd name="T71" fmla="*/ 18 h 42"/>
                  <a:gd name="T72" fmla="*/ 60 w 64"/>
                  <a:gd name="T73" fmla="*/ 16 h 42"/>
                  <a:gd name="T74" fmla="*/ 46 w 64"/>
                  <a:gd name="T75" fmla="*/ 6 h 42"/>
                  <a:gd name="T76" fmla="*/ 44 w 64"/>
                  <a:gd name="T77" fmla="*/ 6 h 42"/>
                  <a:gd name="T78" fmla="*/ 38 w 64"/>
                  <a:gd name="T79" fmla="*/ 4 h 42"/>
                  <a:gd name="T80" fmla="*/ 28 w 64"/>
                  <a:gd name="T81" fmla="*/ 2 h 42"/>
                  <a:gd name="T82" fmla="*/ 28 w 64"/>
                  <a:gd name="T83" fmla="*/ 2 h 42"/>
                  <a:gd name="T84" fmla="*/ 10 w 64"/>
                  <a:gd name="T85" fmla="*/ 0 h 42"/>
                  <a:gd name="T86" fmla="*/ 10 w 64"/>
                  <a:gd name="T8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2">
                    <a:moveTo>
                      <a:pt x="10" y="4"/>
                    </a:moveTo>
                    <a:lnTo>
                      <a:pt x="20" y="6"/>
                    </a:lnTo>
                    <a:lnTo>
                      <a:pt x="28" y="6"/>
                    </a:lnTo>
                    <a:lnTo>
                      <a:pt x="38" y="8"/>
                    </a:lnTo>
                    <a:lnTo>
                      <a:pt x="42" y="10"/>
                    </a:lnTo>
                    <a:lnTo>
                      <a:pt x="48" y="14"/>
                    </a:lnTo>
                    <a:lnTo>
                      <a:pt x="58" y="20"/>
                    </a:lnTo>
                    <a:lnTo>
                      <a:pt x="60" y="22"/>
                    </a:lnTo>
                    <a:lnTo>
                      <a:pt x="56" y="26"/>
                    </a:lnTo>
                    <a:lnTo>
                      <a:pt x="46" y="24"/>
                    </a:lnTo>
                    <a:lnTo>
                      <a:pt x="42" y="24"/>
                    </a:lnTo>
                    <a:lnTo>
                      <a:pt x="34" y="26"/>
                    </a:lnTo>
                    <a:lnTo>
                      <a:pt x="28" y="26"/>
                    </a:lnTo>
                    <a:lnTo>
                      <a:pt x="24" y="22"/>
                    </a:lnTo>
                    <a:lnTo>
                      <a:pt x="18" y="24"/>
                    </a:lnTo>
                    <a:lnTo>
                      <a:pt x="16" y="30"/>
                    </a:lnTo>
                    <a:lnTo>
                      <a:pt x="16" y="36"/>
                    </a:lnTo>
                    <a:lnTo>
                      <a:pt x="12" y="38"/>
                    </a:lnTo>
                    <a:lnTo>
                      <a:pt x="8" y="32"/>
                    </a:lnTo>
                    <a:lnTo>
                      <a:pt x="8" y="28"/>
                    </a:lnTo>
                    <a:lnTo>
                      <a:pt x="8" y="22"/>
                    </a:lnTo>
                    <a:lnTo>
                      <a:pt x="4" y="20"/>
                    </a:lnTo>
                    <a:lnTo>
                      <a:pt x="10" y="18"/>
                    </a:lnTo>
                    <a:lnTo>
                      <a:pt x="12" y="14"/>
                    </a:lnTo>
                    <a:lnTo>
                      <a:pt x="10" y="4"/>
                    </a:lnTo>
                    <a:close/>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4" name="Freeform 244"/>
              <p:cNvSpPr>
                <a:spLocks/>
              </p:cNvSpPr>
              <p:nvPr/>
            </p:nvSpPr>
            <p:spPr bwMode="auto">
              <a:xfrm>
                <a:off x="1841" y="2241"/>
                <a:ext cx="56" cy="34"/>
              </a:xfrm>
              <a:custGeom>
                <a:avLst/>
                <a:gdLst>
                  <a:gd name="T0" fmla="*/ 6 w 56"/>
                  <a:gd name="T1" fmla="*/ 0 h 34"/>
                  <a:gd name="T2" fmla="*/ 16 w 56"/>
                  <a:gd name="T3" fmla="*/ 2 h 34"/>
                  <a:gd name="T4" fmla="*/ 24 w 56"/>
                  <a:gd name="T5" fmla="*/ 2 h 34"/>
                  <a:gd name="T6" fmla="*/ 34 w 56"/>
                  <a:gd name="T7" fmla="*/ 4 h 34"/>
                  <a:gd name="T8" fmla="*/ 38 w 56"/>
                  <a:gd name="T9" fmla="*/ 6 h 34"/>
                  <a:gd name="T10" fmla="*/ 44 w 56"/>
                  <a:gd name="T11" fmla="*/ 10 h 34"/>
                  <a:gd name="T12" fmla="*/ 54 w 56"/>
                  <a:gd name="T13" fmla="*/ 16 h 34"/>
                  <a:gd name="T14" fmla="*/ 56 w 56"/>
                  <a:gd name="T15" fmla="*/ 18 h 34"/>
                  <a:gd name="T16" fmla="*/ 52 w 56"/>
                  <a:gd name="T17" fmla="*/ 22 h 34"/>
                  <a:gd name="T18" fmla="*/ 42 w 56"/>
                  <a:gd name="T19" fmla="*/ 20 h 34"/>
                  <a:gd name="T20" fmla="*/ 38 w 56"/>
                  <a:gd name="T21" fmla="*/ 20 h 34"/>
                  <a:gd name="T22" fmla="*/ 30 w 56"/>
                  <a:gd name="T23" fmla="*/ 22 h 34"/>
                  <a:gd name="T24" fmla="*/ 24 w 56"/>
                  <a:gd name="T25" fmla="*/ 22 h 34"/>
                  <a:gd name="T26" fmla="*/ 20 w 56"/>
                  <a:gd name="T27" fmla="*/ 18 h 34"/>
                  <a:gd name="T28" fmla="*/ 14 w 56"/>
                  <a:gd name="T29" fmla="*/ 20 h 34"/>
                  <a:gd name="T30" fmla="*/ 12 w 56"/>
                  <a:gd name="T31" fmla="*/ 26 h 34"/>
                  <a:gd name="T32" fmla="*/ 12 w 56"/>
                  <a:gd name="T33" fmla="*/ 32 h 34"/>
                  <a:gd name="T34" fmla="*/ 8 w 56"/>
                  <a:gd name="T35" fmla="*/ 34 h 34"/>
                  <a:gd name="T36" fmla="*/ 4 w 56"/>
                  <a:gd name="T37" fmla="*/ 28 h 34"/>
                  <a:gd name="T38" fmla="*/ 4 w 56"/>
                  <a:gd name="T39" fmla="*/ 24 h 34"/>
                  <a:gd name="T40" fmla="*/ 4 w 56"/>
                  <a:gd name="T41" fmla="*/ 18 h 34"/>
                  <a:gd name="T42" fmla="*/ 0 w 56"/>
                  <a:gd name="T43" fmla="*/ 16 h 34"/>
                  <a:gd name="T44" fmla="*/ 6 w 56"/>
                  <a:gd name="T45" fmla="*/ 14 h 34"/>
                  <a:gd name="T46" fmla="*/ 8 w 56"/>
                  <a:gd name="T47" fmla="*/ 10 h 34"/>
                  <a:gd name="T48" fmla="*/ 6 w 56"/>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34">
                    <a:moveTo>
                      <a:pt x="6" y="0"/>
                    </a:moveTo>
                    <a:lnTo>
                      <a:pt x="16" y="2"/>
                    </a:lnTo>
                    <a:lnTo>
                      <a:pt x="24" y="2"/>
                    </a:lnTo>
                    <a:lnTo>
                      <a:pt x="34" y="4"/>
                    </a:lnTo>
                    <a:lnTo>
                      <a:pt x="38" y="6"/>
                    </a:lnTo>
                    <a:lnTo>
                      <a:pt x="44" y="10"/>
                    </a:lnTo>
                    <a:lnTo>
                      <a:pt x="54" y="16"/>
                    </a:lnTo>
                    <a:lnTo>
                      <a:pt x="56" y="18"/>
                    </a:lnTo>
                    <a:lnTo>
                      <a:pt x="52" y="22"/>
                    </a:lnTo>
                    <a:lnTo>
                      <a:pt x="42" y="20"/>
                    </a:lnTo>
                    <a:lnTo>
                      <a:pt x="38" y="20"/>
                    </a:lnTo>
                    <a:lnTo>
                      <a:pt x="30" y="22"/>
                    </a:lnTo>
                    <a:lnTo>
                      <a:pt x="24" y="22"/>
                    </a:lnTo>
                    <a:lnTo>
                      <a:pt x="20" y="18"/>
                    </a:lnTo>
                    <a:lnTo>
                      <a:pt x="14" y="20"/>
                    </a:lnTo>
                    <a:lnTo>
                      <a:pt x="12" y="26"/>
                    </a:lnTo>
                    <a:lnTo>
                      <a:pt x="12" y="32"/>
                    </a:lnTo>
                    <a:lnTo>
                      <a:pt x="8" y="34"/>
                    </a:lnTo>
                    <a:lnTo>
                      <a:pt x="4" y="28"/>
                    </a:lnTo>
                    <a:lnTo>
                      <a:pt x="4" y="24"/>
                    </a:lnTo>
                    <a:lnTo>
                      <a:pt x="4" y="18"/>
                    </a:lnTo>
                    <a:lnTo>
                      <a:pt x="0" y="16"/>
                    </a:lnTo>
                    <a:lnTo>
                      <a:pt x="6" y="14"/>
                    </a:lnTo>
                    <a:lnTo>
                      <a:pt x="8"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5" name="Freeform 245"/>
              <p:cNvSpPr>
                <a:spLocks/>
              </p:cNvSpPr>
              <p:nvPr/>
            </p:nvSpPr>
            <p:spPr bwMode="auto">
              <a:xfrm>
                <a:off x="1837" y="2237"/>
                <a:ext cx="64" cy="42"/>
              </a:xfrm>
              <a:custGeom>
                <a:avLst/>
                <a:gdLst>
                  <a:gd name="T0" fmla="*/ 10 w 64"/>
                  <a:gd name="T1" fmla="*/ 0 h 42"/>
                  <a:gd name="T2" fmla="*/ 8 w 64"/>
                  <a:gd name="T3" fmla="*/ 2 h 42"/>
                  <a:gd name="T4" fmla="*/ 8 w 64"/>
                  <a:gd name="T5" fmla="*/ 12 h 42"/>
                  <a:gd name="T6" fmla="*/ 4 w 64"/>
                  <a:gd name="T7" fmla="*/ 16 h 42"/>
                  <a:gd name="T8" fmla="*/ 0 w 64"/>
                  <a:gd name="T9" fmla="*/ 18 h 42"/>
                  <a:gd name="T10" fmla="*/ 2 w 64"/>
                  <a:gd name="T11" fmla="*/ 22 h 42"/>
                  <a:gd name="T12" fmla="*/ 4 w 64"/>
                  <a:gd name="T13" fmla="*/ 28 h 42"/>
                  <a:gd name="T14" fmla="*/ 4 w 64"/>
                  <a:gd name="T15" fmla="*/ 32 h 42"/>
                  <a:gd name="T16" fmla="*/ 8 w 64"/>
                  <a:gd name="T17" fmla="*/ 40 h 42"/>
                  <a:gd name="T18" fmla="*/ 12 w 64"/>
                  <a:gd name="T19" fmla="*/ 42 h 42"/>
                  <a:gd name="T20" fmla="*/ 14 w 64"/>
                  <a:gd name="T21" fmla="*/ 42 h 42"/>
                  <a:gd name="T22" fmla="*/ 18 w 64"/>
                  <a:gd name="T23" fmla="*/ 40 h 42"/>
                  <a:gd name="T24" fmla="*/ 20 w 64"/>
                  <a:gd name="T25" fmla="*/ 36 h 42"/>
                  <a:gd name="T26" fmla="*/ 22 w 64"/>
                  <a:gd name="T27" fmla="*/ 28 h 42"/>
                  <a:gd name="T28" fmla="*/ 24 w 64"/>
                  <a:gd name="T29" fmla="*/ 30 h 42"/>
                  <a:gd name="T30" fmla="*/ 28 w 64"/>
                  <a:gd name="T31" fmla="*/ 30 h 42"/>
                  <a:gd name="T32" fmla="*/ 34 w 64"/>
                  <a:gd name="T33" fmla="*/ 30 h 42"/>
                  <a:gd name="T34" fmla="*/ 42 w 64"/>
                  <a:gd name="T35" fmla="*/ 28 h 42"/>
                  <a:gd name="T36" fmla="*/ 56 w 64"/>
                  <a:gd name="T37" fmla="*/ 30 h 42"/>
                  <a:gd name="T38" fmla="*/ 56 w 64"/>
                  <a:gd name="T39" fmla="*/ 30 h 42"/>
                  <a:gd name="T40" fmla="*/ 60 w 64"/>
                  <a:gd name="T41" fmla="*/ 30 h 42"/>
                  <a:gd name="T42" fmla="*/ 64 w 64"/>
                  <a:gd name="T43" fmla="*/ 26 h 42"/>
                  <a:gd name="T44" fmla="*/ 64 w 64"/>
                  <a:gd name="T45" fmla="*/ 20 h 42"/>
                  <a:gd name="T46" fmla="*/ 62 w 64"/>
                  <a:gd name="T47" fmla="*/ 18 h 42"/>
                  <a:gd name="T48" fmla="*/ 50 w 64"/>
                  <a:gd name="T49" fmla="*/ 10 h 42"/>
                  <a:gd name="T50" fmla="*/ 46 w 64"/>
                  <a:gd name="T51" fmla="*/ 6 h 42"/>
                  <a:gd name="T52" fmla="*/ 38 w 64"/>
                  <a:gd name="T53" fmla="*/ 4 h 42"/>
                  <a:gd name="T54" fmla="*/ 38 w 64"/>
                  <a:gd name="T55" fmla="*/ 4 h 42"/>
                  <a:gd name="T56" fmla="*/ 28 w 64"/>
                  <a:gd name="T57" fmla="*/ 2 h 42"/>
                  <a:gd name="T58" fmla="*/ 20 w 64"/>
                  <a:gd name="T59" fmla="*/ 2 h 42"/>
                  <a:gd name="T60" fmla="*/ 10 w 64"/>
                  <a:gd name="T61" fmla="*/ 0 h 42"/>
                  <a:gd name="T62" fmla="*/ 1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6" name="Freeform 246"/>
              <p:cNvSpPr>
                <a:spLocks/>
              </p:cNvSpPr>
              <p:nvPr/>
            </p:nvSpPr>
            <p:spPr bwMode="auto">
              <a:xfrm>
                <a:off x="1913" y="2255"/>
                <a:ext cx="26" cy="16"/>
              </a:xfrm>
              <a:custGeom>
                <a:avLst/>
                <a:gdLst>
                  <a:gd name="T0" fmla="*/ 4 w 26"/>
                  <a:gd name="T1" fmla="*/ 16 h 16"/>
                  <a:gd name="T2" fmla="*/ 4 w 26"/>
                  <a:gd name="T3" fmla="*/ 16 h 16"/>
                  <a:gd name="T4" fmla="*/ 2 w 26"/>
                  <a:gd name="T5" fmla="*/ 16 h 16"/>
                  <a:gd name="T6" fmla="*/ 0 w 26"/>
                  <a:gd name="T7" fmla="*/ 8 h 16"/>
                  <a:gd name="T8" fmla="*/ 0 w 26"/>
                  <a:gd name="T9" fmla="*/ 8 h 16"/>
                  <a:gd name="T10" fmla="*/ 0 w 26"/>
                  <a:gd name="T11" fmla="*/ 6 h 16"/>
                  <a:gd name="T12" fmla="*/ 6 w 26"/>
                  <a:gd name="T13" fmla="*/ 2 h 16"/>
                  <a:gd name="T14" fmla="*/ 6 w 26"/>
                  <a:gd name="T15" fmla="*/ 2 h 16"/>
                  <a:gd name="T16" fmla="*/ 8 w 26"/>
                  <a:gd name="T17" fmla="*/ 0 h 16"/>
                  <a:gd name="T18" fmla="*/ 20 w 26"/>
                  <a:gd name="T19" fmla="*/ 0 h 16"/>
                  <a:gd name="T20" fmla="*/ 20 w 26"/>
                  <a:gd name="T21" fmla="*/ 0 h 16"/>
                  <a:gd name="T22" fmla="*/ 22 w 26"/>
                  <a:gd name="T23" fmla="*/ 2 h 16"/>
                  <a:gd name="T24" fmla="*/ 26 w 26"/>
                  <a:gd name="T25" fmla="*/ 6 h 16"/>
                  <a:gd name="T26" fmla="*/ 26 w 26"/>
                  <a:gd name="T27" fmla="*/ 6 h 16"/>
                  <a:gd name="T28" fmla="*/ 26 w 26"/>
                  <a:gd name="T29" fmla="*/ 8 h 16"/>
                  <a:gd name="T30" fmla="*/ 26 w 26"/>
                  <a:gd name="T31" fmla="*/ 12 h 16"/>
                  <a:gd name="T32" fmla="*/ 26 w 26"/>
                  <a:gd name="T33" fmla="*/ 12 h 16"/>
                  <a:gd name="T34" fmla="*/ 24 w 26"/>
                  <a:gd name="T35" fmla="*/ 14 h 16"/>
                  <a:gd name="T36" fmla="*/ 22 w 26"/>
                  <a:gd name="T37" fmla="*/ 16 h 16"/>
                  <a:gd name="T38" fmla="*/ 22 w 26"/>
                  <a:gd name="T39" fmla="*/ 16 h 16"/>
                  <a:gd name="T40" fmla="*/ 20 w 26"/>
                  <a:gd name="T41" fmla="*/ 16 h 16"/>
                  <a:gd name="T42" fmla="*/ 4 w 2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6">
                    <a:moveTo>
                      <a:pt x="4" y="16"/>
                    </a:moveTo>
                    <a:lnTo>
                      <a:pt x="4" y="16"/>
                    </a:lnTo>
                    <a:lnTo>
                      <a:pt x="2" y="16"/>
                    </a:lnTo>
                    <a:lnTo>
                      <a:pt x="0" y="8"/>
                    </a:lnTo>
                    <a:lnTo>
                      <a:pt x="0" y="8"/>
                    </a:lnTo>
                    <a:lnTo>
                      <a:pt x="0" y="6"/>
                    </a:lnTo>
                    <a:lnTo>
                      <a:pt x="6" y="2"/>
                    </a:lnTo>
                    <a:lnTo>
                      <a:pt x="6" y="2"/>
                    </a:lnTo>
                    <a:lnTo>
                      <a:pt x="8" y="0"/>
                    </a:lnTo>
                    <a:lnTo>
                      <a:pt x="20" y="0"/>
                    </a:lnTo>
                    <a:lnTo>
                      <a:pt x="20" y="0"/>
                    </a:lnTo>
                    <a:lnTo>
                      <a:pt x="22" y="2"/>
                    </a:lnTo>
                    <a:lnTo>
                      <a:pt x="26" y="6"/>
                    </a:lnTo>
                    <a:lnTo>
                      <a:pt x="26" y="6"/>
                    </a:lnTo>
                    <a:lnTo>
                      <a:pt x="26" y="8"/>
                    </a:lnTo>
                    <a:lnTo>
                      <a:pt x="26" y="12"/>
                    </a:lnTo>
                    <a:lnTo>
                      <a:pt x="26" y="12"/>
                    </a:lnTo>
                    <a:lnTo>
                      <a:pt x="24" y="14"/>
                    </a:lnTo>
                    <a:lnTo>
                      <a:pt x="22" y="16"/>
                    </a:lnTo>
                    <a:lnTo>
                      <a:pt x="22" y="16"/>
                    </a:lnTo>
                    <a:lnTo>
                      <a:pt x="20"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7" name="Freeform 247"/>
              <p:cNvSpPr>
                <a:spLocks noEditPoints="1"/>
              </p:cNvSpPr>
              <p:nvPr/>
            </p:nvSpPr>
            <p:spPr bwMode="auto">
              <a:xfrm>
                <a:off x="1911" y="2253"/>
                <a:ext cx="30" cy="20"/>
              </a:xfrm>
              <a:custGeom>
                <a:avLst/>
                <a:gdLst>
                  <a:gd name="T0" fmla="*/ 22 w 30"/>
                  <a:gd name="T1" fmla="*/ 4 h 20"/>
                  <a:gd name="T2" fmla="*/ 26 w 30"/>
                  <a:gd name="T3" fmla="*/ 10 h 20"/>
                  <a:gd name="T4" fmla="*/ 26 w 30"/>
                  <a:gd name="T5" fmla="*/ 14 h 20"/>
                  <a:gd name="T6" fmla="*/ 22 w 30"/>
                  <a:gd name="T7" fmla="*/ 16 h 20"/>
                  <a:gd name="T8" fmla="*/ 14 w 30"/>
                  <a:gd name="T9" fmla="*/ 16 h 20"/>
                  <a:gd name="T10" fmla="*/ 6 w 30"/>
                  <a:gd name="T11" fmla="*/ 16 h 20"/>
                  <a:gd name="T12" fmla="*/ 4 w 30"/>
                  <a:gd name="T13" fmla="*/ 10 h 20"/>
                  <a:gd name="T14" fmla="*/ 10 w 30"/>
                  <a:gd name="T15" fmla="*/ 4 h 20"/>
                  <a:gd name="T16" fmla="*/ 18 w 30"/>
                  <a:gd name="T17" fmla="*/ 4 h 20"/>
                  <a:gd name="T18" fmla="*/ 22 w 30"/>
                  <a:gd name="T19" fmla="*/ 4 h 20"/>
                  <a:gd name="T20" fmla="*/ 22 w 30"/>
                  <a:gd name="T21" fmla="*/ 0 h 20"/>
                  <a:gd name="T22" fmla="*/ 18 w 30"/>
                  <a:gd name="T23" fmla="*/ 0 h 20"/>
                  <a:gd name="T24" fmla="*/ 10 w 30"/>
                  <a:gd name="T25" fmla="*/ 0 h 20"/>
                  <a:gd name="T26" fmla="*/ 10 w 30"/>
                  <a:gd name="T27" fmla="*/ 0 h 20"/>
                  <a:gd name="T28" fmla="*/ 8 w 30"/>
                  <a:gd name="T29" fmla="*/ 2 h 20"/>
                  <a:gd name="T30" fmla="*/ 0 w 30"/>
                  <a:gd name="T31" fmla="*/ 6 h 20"/>
                  <a:gd name="T32" fmla="*/ 0 w 30"/>
                  <a:gd name="T33" fmla="*/ 6 h 20"/>
                  <a:gd name="T34" fmla="*/ 0 w 30"/>
                  <a:gd name="T35" fmla="*/ 8 h 20"/>
                  <a:gd name="T36" fmla="*/ 0 w 30"/>
                  <a:gd name="T37" fmla="*/ 12 h 20"/>
                  <a:gd name="T38" fmla="*/ 2 w 30"/>
                  <a:gd name="T39" fmla="*/ 18 h 20"/>
                  <a:gd name="T40" fmla="*/ 2 w 30"/>
                  <a:gd name="T41" fmla="*/ 18 h 20"/>
                  <a:gd name="T42" fmla="*/ 6 w 30"/>
                  <a:gd name="T43" fmla="*/ 20 h 20"/>
                  <a:gd name="T44" fmla="*/ 14 w 30"/>
                  <a:gd name="T45" fmla="*/ 20 h 20"/>
                  <a:gd name="T46" fmla="*/ 22 w 30"/>
                  <a:gd name="T47" fmla="*/ 20 h 20"/>
                  <a:gd name="T48" fmla="*/ 22 w 30"/>
                  <a:gd name="T49" fmla="*/ 20 h 20"/>
                  <a:gd name="T50" fmla="*/ 24 w 30"/>
                  <a:gd name="T51" fmla="*/ 20 h 20"/>
                  <a:gd name="T52" fmla="*/ 28 w 30"/>
                  <a:gd name="T53" fmla="*/ 18 h 20"/>
                  <a:gd name="T54" fmla="*/ 28 w 30"/>
                  <a:gd name="T55" fmla="*/ 18 h 20"/>
                  <a:gd name="T56" fmla="*/ 30 w 30"/>
                  <a:gd name="T57" fmla="*/ 14 h 20"/>
                  <a:gd name="T58" fmla="*/ 30 w 30"/>
                  <a:gd name="T59" fmla="*/ 10 h 20"/>
                  <a:gd name="T60" fmla="*/ 30 w 30"/>
                  <a:gd name="T61" fmla="*/ 10 h 20"/>
                  <a:gd name="T62" fmla="*/ 28 w 30"/>
                  <a:gd name="T63" fmla="*/ 8 h 20"/>
                  <a:gd name="T64" fmla="*/ 26 w 30"/>
                  <a:gd name="T65" fmla="*/ 2 h 20"/>
                  <a:gd name="T66" fmla="*/ 26 w 30"/>
                  <a:gd name="T67" fmla="*/ 2 h 20"/>
                  <a:gd name="T68" fmla="*/ 22 w 30"/>
                  <a:gd name="T69" fmla="*/ 0 h 20"/>
                  <a:gd name="T70" fmla="*/ 22 w 30"/>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0">
                    <a:moveTo>
                      <a:pt x="22" y="4"/>
                    </a:moveTo>
                    <a:lnTo>
                      <a:pt x="26" y="10"/>
                    </a:lnTo>
                    <a:lnTo>
                      <a:pt x="26" y="14"/>
                    </a:lnTo>
                    <a:lnTo>
                      <a:pt x="22" y="16"/>
                    </a:lnTo>
                    <a:lnTo>
                      <a:pt x="14" y="16"/>
                    </a:lnTo>
                    <a:lnTo>
                      <a:pt x="6" y="16"/>
                    </a:lnTo>
                    <a:lnTo>
                      <a:pt x="4" y="10"/>
                    </a:lnTo>
                    <a:lnTo>
                      <a:pt x="10" y="4"/>
                    </a:lnTo>
                    <a:lnTo>
                      <a:pt x="18" y="4"/>
                    </a:lnTo>
                    <a:lnTo>
                      <a:pt x="22" y="4"/>
                    </a:lnTo>
                    <a:close/>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8" name="Freeform 248"/>
              <p:cNvSpPr>
                <a:spLocks/>
              </p:cNvSpPr>
              <p:nvPr/>
            </p:nvSpPr>
            <p:spPr bwMode="auto">
              <a:xfrm>
                <a:off x="1915" y="2257"/>
                <a:ext cx="22" cy="12"/>
              </a:xfrm>
              <a:custGeom>
                <a:avLst/>
                <a:gdLst>
                  <a:gd name="T0" fmla="*/ 18 w 22"/>
                  <a:gd name="T1" fmla="*/ 0 h 12"/>
                  <a:gd name="T2" fmla="*/ 22 w 22"/>
                  <a:gd name="T3" fmla="*/ 6 h 12"/>
                  <a:gd name="T4" fmla="*/ 22 w 22"/>
                  <a:gd name="T5" fmla="*/ 10 h 12"/>
                  <a:gd name="T6" fmla="*/ 18 w 22"/>
                  <a:gd name="T7" fmla="*/ 12 h 12"/>
                  <a:gd name="T8" fmla="*/ 10 w 22"/>
                  <a:gd name="T9" fmla="*/ 12 h 12"/>
                  <a:gd name="T10" fmla="*/ 2 w 22"/>
                  <a:gd name="T11" fmla="*/ 12 h 12"/>
                  <a:gd name="T12" fmla="*/ 0 w 22"/>
                  <a:gd name="T13" fmla="*/ 6 h 12"/>
                  <a:gd name="T14" fmla="*/ 6 w 22"/>
                  <a:gd name="T15" fmla="*/ 0 h 12"/>
                  <a:gd name="T16" fmla="*/ 14 w 22"/>
                  <a:gd name="T17" fmla="*/ 0 h 12"/>
                  <a:gd name="T18" fmla="*/ 18 w 2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2">
                    <a:moveTo>
                      <a:pt x="18" y="0"/>
                    </a:moveTo>
                    <a:lnTo>
                      <a:pt x="22" y="6"/>
                    </a:lnTo>
                    <a:lnTo>
                      <a:pt x="22" y="10"/>
                    </a:lnTo>
                    <a:lnTo>
                      <a:pt x="18" y="12"/>
                    </a:lnTo>
                    <a:lnTo>
                      <a:pt x="10" y="12"/>
                    </a:lnTo>
                    <a:lnTo>
                      <a:pt x="2" y="12"/>
                    </a:lnTo>
                    <a:lnTo>
                      <a:pt x="0" y="6"/>
                    </a:lnTo>
                    <a:lnTo>
                      <a:pt x="6" y="0"/>
                    </a:lnTo>
                    <a:lnTo>
                      <a:pt x="14"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9" name="Freeform 249"/>
              <p:cNvSpPr>
                <a:spLocks/>
              </p:cNvSpPr>
              <p:nvPr/>
            </p:nvSpPr>
            <p:spPr bwMode="auto">
              <a:xfrm>
                <a:off x="1911" y="2253"/>
                <a:ext cx="30" cy="20"/>
              </a:xfrm>
              <a:custGeom>
                <a:avLst/>
                <a:gdLst>
                  <a:gd name="T0" fmla="*/ 22 w 30"/>
                  <a:gd name="T1" fmla="*/ 0 h 20"/>
                  <a:gd name="T2" fmla="*/ 18 w 30"/>
                  <a:gd name="T3" fmla="*/ 0 h 20"/>
                  <a:gd name="T4" fmla="*/ 10 w 30"/>
                  <a:gd name="T5" fmla="*/ 0 h 20"/>
                  <a:gd name="T6" fmla="*/ 10 w 30"/>
                  <a:gd name="T7" fmla="*/ 0 h 20"/>
                  <a:gd name="T8" fmla="*/ 8 w 30"/>
                  <a:gd name="T9" fmla="*/ 2 h 20"/>
                  <a:gd name="T10" fmla="*/ 0 w 30"/>
                  <a:gd name="T11" fmla="*/ 6 h 20"/>
                  <a:gd name="T12" fmla="*/ 0 w 30"/>
                  <a:gd name="T13" fmla="*/ 6 h 20"/>
                  <a:gd name="T14" fmla="*/ 0 w 30"/>
                  <a:gd name="T15" fmla="*/ 8 h 20"/>
                  <a:gd name="T16" fmla="*/ 0 w 30"/>
                  <a:gd name="T17" fmla="*/ 12 h 20"/>
                  <a:gd name="T18" fmla="*/ 2 w 30"/>
                  <a:gd name="T19" fmla="*/ 18 h 20"/>
                  <a:gd name="T20" fmla="*/ 2 w 30"/>
                  <a:gd name="T21" fmla="*/ 18 h 20"/>
                  <a:gd name="T22" fmla="*/ 6 w 30"/>
                  <a:gd name="T23" fmla="*/ 20 h 20"/>
                  <a:gd name="T24" fmla="*/ 14 w 30"/>
                  <a:gd name="T25" fmla="*/ 20 h 20"/>
                  <a:gd name="T26" fmla="*/ 22 w 30"/>
                  <a:gd name="T27" fmla="*/ 20 h 20"/>
                  <a:gd name="T28" fmla="*/ 22 w 30"/>
                  <a:gd name="T29" fmla="*/ 20 h 20"/>
                  <a:gd name="T30" fmla="*/ 24 w 30"/>
                  <a:gd name="T31" fmla="*/ 20 h 20"/>
                  <a:gd name="T32" fmla="*/ 28 w 30"/>
                  <a:gd name="T33" fmla="*/ 18 h 20"/>
                  <a:gd name="T34" fmla="*/ 28 w 30"/>
                  <a:gd name="T35" fmla="*/ 18 h 20"/>
                  <a:gd name="T36" fmla="*/ 30 w 30"/>
                  <a:gd name="T37" fmla="*/ 14 h 20"/>
                  <a:gd name="T38" fmla="*/ 30 w 30"/>
                  <a:gd name="T39" fmla="*/ 10 h 20"/>
                  <a:gd name="T40" fmla="*/ 30 w 30"/>
                  <a:gd name="T41" fmla="*/ 10 h 20"/>
                  <a:gd name="T42" fmla="*/ 28 w 30"/>
                  <a:gd name="T43" fmla="*/ 8 h 20"/>
                  <a:gd name="T44" fmla="*/ 26 w 30"/>
                  <a:gd name="T45" fmla="*/ 2 h 20"/>
                  <a:gd name="T46" fmla="*/ 26 w 30"/>
                  <a:gd name="T47" fmla="*/ 2 h 20"/>
                  <a:gd name="T48" fmla="*/ 22 w 30"/>
                  <a:gd name="T49" fmla="*/ 0 h 20"/>
                  <a:gd name="T50" fmla="*/ 22 w 3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0" name="Freeform 250"/>
              <p:cNvSpPr>
                <a:spLocks/>
              </p:cNvSpPr>
              <p:nvPr/>
            </p:nvSpPr>
            <p:spPr bwMode="auto">
              <a:xfrm>
                <a:off x="1941" y="2043"/>
                <a:ext cx="14" cy="10"/>
              </a:xfrm>
              <a:custGeom>
                <a:avLst/>
                <a:gdLst>
                  <a:gd name="T0" fmla="*/ 2 w 14"/>
                  <a:gd name="T1" fmla="*/ 10 h 10"/>
                  <a:gd name="T2" fmla="*/ 2 w 14"/>
                  <a:gd name="T3" fmla="*/ 10 h 10"/>
                  <a:gd name="T4" fmla="*/ 0 w 14"/>
                  <a:gd name="T5" fmla="*/ 8 h 10"/>
                  <a:gd name="T6" fmla="*/ 0 w 14"/>
                  <a:gd name="T7" fmla="*/ 8 h 10"/>
                  <a:gd name="T8" fmla="*/ 0 w 14"/>
                  <a:gd name="T9" fmla="*/ 6 h 10"/>
                  <a:gd name="T10" fmla="*/ 2 w 14"/>
                  <a:gd name="T11" fmla="*/ 2 h 10"/>
                  <a:gd name="T12" fmla="*/ 2 w 14"/>
                  <a:gd name="T13" fmla="*/ 2 h 10"/>
                  <a:gd name="T14" fmla="*/ 2 w 14"/>
                  <a:gd name="T15" fmla="*/ 2 h 10"/>
                  <a:gd name="T16" fmla="*/ 6 w 14"/>
                  <a:gd name="T17" fmla="*/ 0 h 10"/>
                  <a:gd name="T18" fmla="*/ 6 w 14"/>
                  <a:gd name="T19" fmla="*/ 0 h 10"/>
                  <a:gd name="T20" fmla="*/ 6 w 14"/>
                  <a:gd name="T21" fmla="*/ 0 h 10"/>
                  <a:gd name="T22" fmla="*/ 6 w 14"/>
                  <a:gd name="T23" fmla="*/ 0 h 10"/>
                  <a:gd name="T24" fmla="*/ 8 w 14"/>
                  <a:gd name="T25" fmla="*/ 0 h 10"/>
                  <a:gd name="T26" fmla="*/ 14 w 14"/>
                  <a:gd name="T27" fmla="*/ 6 h 10"/>
                  <a:gd name="T28" fmla="*/ 14 w 14"/>
                  <a:gd name="T29" fmla="*/ 6 h 10"/>
                  <a:gd name="T30" fmla="*/ 14 w 14"/>
                  <a:gd name="T31" fmla="*/ 8 h 10"/>
                  <a:gd name="T32" fmla="*/ 14 w 14"/>
                  <a:gd name="T33" fmla="*/ 8 h 10"/>
                  <a:gd name="T34" fmla="*/ 12 w 14"/>
                  <a:gd name="T35" fmla="*/ 10 h 10"/>
                  <a:gd name="T36" fmla="*/ 2 w 14"/>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0">
                    <a:moveTo>
                      <a:pt x="2" y="10"/>
                    </a:moveTo>
                    <a:lnTo>
                      <a:pt x="2" y="10"/>
                    </a:lnTo>
                    <a:lnTo>
                      <a:pt x="0" y="8"/>
                    </a:lnTo>
                    <a:lnTo>
                      <a:pt x="0" y="8"/>
                    </a:lnTo>
                    <a:lnTo>
                      <a:pt x="0" y="6"/>
                    </a:lnTo>
                    <a:lnTo>
                      <a:pt x="2" y="2"/>
                    </a:lnTo>
                    <a:lnTo>
                      <a:pt x="2" y="2"/>
                    </a:lnTo>
                    <a:lnTo>
                      <a:pt x="2" y="2"/>
                    </a:lnTo>
                    <a:lnTo>
                      <a:pt x="6" y="0"/>
                    </a:lnTo>
                    <a:lnTo>
                      <a:pt x="6" y="0"/>
                    </a:lnTo>
                    <a:lnTo>
                      <a:pt x="6" y="0"/>
                    </a:lnTo>
                    <a:lnTo>
                      <a:pt x="6" y="0"/>
                    </a:lnTo>
                    <a:lnTo>
                      <a:pt x="8" y="0"/>
                    </a:lnTo>
                    <a:lnTo>
                      <a:pt x="14" y="6"/>
                    </a:lnTo>
                    <a:lnTo>
                      <a:pt x="14" y="6"/>
                    </a:lnTo>
                    <a:lnTo>
                      <a:pt x="14" y="8"/>
                    </a:lnTo>
                    <a:lnTo>
                      <a:pt x="14" y="8"/>
                    </a:lnTo>
                    <a:lnTo>
                      <a:pt x="12" y="10"/>
                    </a:lnTo>
                    <a:lnTo>
                      <a:pt x="2"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1" name="Freeform 251"/>
              <p:cNvSpPr>
                <a:spLocks noEditPoints="1"/>
              </p:cNvSpPr>
              <p:nvPr/>
            </p:nvSpPr>
            <p:spPr bwMode="auto">
              <a:xfrm>
                <a:off x="1939" y="2041"/>
                <a:ext cx="18" cy="14"/>
              </a:xfrm>
              <a:custGeom>
                <a:avLst/>
                <a:gdLst>
                  <a:gd name="T0" fmla="*/ 8 w 18"/>
                  <a:gd name="T1" fmla="*/ 4 h 14"/>
                  <a:gd name="T2" fmla="*/ 14 w 18"/>
                  <a:gd name="T3" fmla="*/ 10 h 14"/>
                  <a:gd name="T4" fmla="*/ 10 w 18"/>
                  <a:gd name="T5" fmla="*/ 10 h 14"/>
                  <a:gd name="T6" fmla="*/ 4 w 18"/>
                  <a:gd name="T7" fmla="*/ 10 h 14"/>
                  <a:gd name="T8" fmla="*/ 4 w 18"/>
                  <a:gd name="T9" fmla="*/ 6 h 14"/>
                  <a:gd name="T10" fmla="*/ 8 w 18"/>
                  <a:gd name="T11" fmla="*/ 4 h 14"/>
                  <a:gd name="T12" fmla="*/ 8 w 18"/>
                  <a:gd name="T13" fmla="*/ 0 h 14"/>
                  <a:gd name="T14" fmla="*/ 8 w 18"/>
                  <a:gd name="T15" fmla="*/ 0 h 14"/>
                  <a:gd name="T16" fmla="*/ 8 w 18"/>
                  <a:gd name="T17" fmla="*/ 0 h 14"/>
                  <a:gd name="T18" fmla="*/ 4 w 18"/>
                  <a:gd name="T19" fmla="*/ 2 h 14"/>
                  <a:gd name="T20" fmla="*/ 4 w 18"/>
                  <a:gd name="T21" fmla="*/ 2 h 14"/>
                  <a:gd name="T22" fmla="*/ 2 w 18"/>
                  <a:gd name="T23" fmla="*/ 4 h 14"/>
                  <a:gd name="T24" fmla="*/ 0 w 18"/>
                  <a:gd name="T25" fmla="*/ 8 h 14"/>
                  <a:gd name="T26" fmla="*/ 0 w 18"/>
                  <a:gd name="T27" fmla="*/ 8 h 14"/>
                  <a:gd name="T28" fmla="*/ 0 w 18"/>
                  <a:gd name="T29" fmla="*/ 12 h 14"/>
                  <a:gd name="T30" fmla="*/ 0 w 18"/>
                  <a:gd name="T31" fmla="*/ 12 h 14"/>
                  <a:gd name="T32" fmla="*/ 4 w 18"/>
                  <a:gd name="T33" fmla="*/ 14 h 14"/>
                  <a:gd name="T34" fmla="*/ 10 w 18"/>
                  <a:gd name="T35" fmla="*/ 14 h 14"/>
                  <a:gd name="T36" fmla="*/ 14 w 18"/>
                  <a:gd name="T37" fmla="*/ 14 h 14"/>
                  <a:gd name="T38" fmla="*/ 14 w 18"/>
                  <a:gd name="T39" fmla="*/ 14 h 14"/>
                  <a:gd name="T40" fmla="*/ 16 w 18"/>
                  <a:gd name="T41" fmla="*/ 12 h 14"/>
                  <a:gd name="T42" fmla="*/ 18 w 18"/>
                  <a:gd name="T43" fmla="*/ 10 h 14"/>
                  <a:gd name="T44" fmla="*/ 18 w 18"/>
                  <a:gd name="T45" fmla="*/ 10 h 14"/>
                  <a:gd name="T46" fmla="*/ 18 w 18"/>
                  <a:gd name="T47" fmla="*/ 8 h 14"/>
                  <a:gd name="T48" fmla="*/ 18 w 18"/>
                  <a:gd name="T49" fmla="*/ 6 h 14"/>
                  <a:gd name="T50" fmla="*/ 12 w 18"/>
                  <a:gd name="T51" fmla="*/ 0 h 14"/>
                  <a:gd name="T52" fmla="*/ 12 w 18"/>
                  <a:gd name="T53" fmla="*/ 0 h 14"/>
                  <a:gd name="T54" fmla="*/ 8 w 18"/>
                  <a:gd name="T55" fmla="*/ 0 h 14"/>
                  <a:gd name="T56" fmla="*/ 8 w 18"/>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4">
                    <a:moveTo>
                      <a:pt x="8" y="4"/>
                    </a:moveTo>
                    <a:lnTo>
                      <a:pt x="14" y="10"/>
                    </a:lnTo>
                    <a:lnTo>
                      <a:pt x="10" y="10"/>
                    </a:lnTo>
                    <a:lnTo>
                      <a:pt x="4" y="10"/>
                    </a:lnTo>
                    <a:lnTo>
                      <a:pt x="4" y="6"/>
                    </a:lnTo>
                    <a:lnTo>
                      <a:pt x="8" y="4"/>
                    </a:lnTo>
                    <a:close/>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2" name="Freeform 252"/>
              <p:cNvSpPr>
                <a:spLocks/>
              </p:cNvSpPr>
              <p:nvPr/>
            </p:nvSpPr>
            <p:spPr bwMode="auto">
              <a:xfrm>
                <a:off x="1943" y="2045"/>
                <a:ext cx="10" cy="6"/>
              </a:xfrm>
              <a:custGeom>
                <a:avLst/>
                <a:gdLst>
                  <a:gd name="T0" fmla="*/ 4 w 10"/>
                  <a:gd name="T1" fmla="*/ 0 h 6"/>
                  <a:gd name="T2" fmla="*/ 10 w 10"/>
                  <a:gd name="T3" fmla="*/ 6 h 6"/>
                  <a:gd name="T4" fmla="*/ 6 w 10"/>
                  <a:gd name="T5" fmla="*/ 6 h 6"/>
                  <a:gd name="T6" fmla="*/ 0 w 10"/>
                  <a:gd name="T7" fmla="*/ 6 h 6"/>
                  <a:gd name="T8" fmla="*/ 0 w 10"/>
                  <a:gd name="T9" fmla="*/ 2 h 6"/>
                  <a:gd name="T10" fmla="*/ 4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4" y="0"/>
                    </a:moveTo>
                    <a:lnTo>
                      <a:pt x="10" y="6"/>
                    </a:lnTo>
                    <a:lnTo>
                      <a:pt x="6" y="6"/>
                    </a:lnTo>
                    <a:lnTo>
                      <a:pt x="0" y="6"/>
                    </a:lnTo>
                    <a:lnTo>
                      <a:pt x="0" y="2"/>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3" name="Freeform 253"/>
              <p:cNvSpPr>
                <a:spLocks/>
              </p:cNvSpPr>
              <p:nvPr/>
            </p:nvSpPr>
            <p:spPr bwMode="auto">
              <a:xfrm>
                <a:off x="1939" y="2041"/>
                <a:ext cx="18" cy="14"/>
              </a:xfrm>
              <a:custGeom>
                <a:avLst/>
                <a:gdLst>
                  <a:gd name="T0" fmla="*/ 8 w 18"/>
                  <a:gd name="T1" fmla="*/ 0 h 14"/>
                  <a:gd name="T2" fmla="*/ 8 w 18"/>
                  <a:gd name="T3" fmla="*/ 0 h 14"/>
                  <a:gd name="T4" fmla="*/ 8 w 18"/>
                  <a:gd name="T5" fmla="*/ 0 h 14"/>
                  <a:gd name="T6" fmla="*/ 4 w 18"/>
                  <a:gd name="T7" fmla="*/ 2 h 14"/>
                  <a:gd name="T8" fmla="*/ 4 w 18"/>
                  <a:gd name="T9" fmla="*/ 2 h 14"/>
                  <a:gd name="T10" fmla="*/ 2 w 18"/>
                  <a:gd name="T11" fmla="*/ 4 h 14"/>
                  <a:gd name="T12" fmla="*/ 0 w 18"/>
                  <a:gd name="T13" fmla="*/ 8 h 14"/>
                  <a:gd name="T14" fmla="*/ 0 w 18"/>
                  <a:gd name="T15" fmla="*/ 8 h 14"/>
                  <a:gd name="T16" fmla="*/ 0 w 18"/>
                  <a:gd name="T17" fmla="*/ 12 h 14"/>
                  <a:gd name="T18" fmla="*/ 0 w 18"/>
                  <a:gd name="T19" fmla="*/ 12 h 14"/>
                  <a:gd name="T20" fmla="*/ 4 w 18"/>
                  <a:gd name="T21" fmla="*/ 14 h 14"/>
                  <a:gd name="T22" fmla="*/ 10 w 18"/>
                  <a:gd name="T23" fmla="*/ 14 h 14"/>
                  <a:gd name="T24" fmla="*/ 14 w 18"/>
                  <a:gd name="T25" fmla="*/ 14 h 14"/>
                  <a:gd name="T26" fmla="*/ 14 w 18"/>
                  <a:gd name="T27" fmla="*/ 14 h 14"/>
                  <a:gd name="T28" fmla="*/ 16 w 18"/>
                  <a:gd name="T29" fmla="*/ 12 h 14"/>
                  <a:gd name="T30" fmla="*/ 18 w 18"/>
                  <a:gd name="T31" fmla="*/ 10 h 14"/>
                  <a:gd name="T32" fmla="*/ 18 w 18"/>
                  <a:gd name="T33" fmla="*/ 10 h 14"/>
                  <a:gd name="T34" fmla="*/ 18 w 18"/>
                  <a:gd name="T35" fmla="*/ 8 h 14"/>
                  <a:gd name="T36" fmla="*/ 18 w 18"/>
                  <a:gd name="T37" fmla="*/ 6 h 14"/>
                  <a:gd name="T38" fmla="*/ 12 w 18"/>
                  <a:gd name="T39" fmla="*/ 0 h 14"/>
                  <a:gd name="T40" fmla="*/ 12 w 18"/>
                  <a:gd name="T41" fmla="*/ 0 h 14"/>
                  <a:gd name="T42" fmla="*/ 8 w 18"/>
                  <a:gd name="T43" fmla="*/ 0 h 14"/>
                  <a:gd name="T44" fmla="*/ 8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4" name="Freeform 254"/>
              <p:cNvSpPr>
                <a:spLocks/>
              </p:cNvSpPr>
              <p:nvPr/>
            </p:nvSpPr>
            <p:spPr bwMode="auto">
              <a:xfrm>
                <a:off x="1711" y="2519"/>
                <a:ext cx="182" cy="268"/>
              </a:xfrm>
              <a:custGeom>
                <a:avLst/>
                <a:gdLst>
                  <a:gd name="T0" fmla="*/ 160 w 182"/>
                  <a:gd name="T1" fmla="*/ 268 h 268"/>
                  <a:gd name="T2" fmla="*/ 144 w 182"/>
                  <a:gd name="T3" fmla="*/ 256 h 268"/>
                  <a:gd name="T4" fmla="*/ 108 w 182"/>
                  <a:gd name="T5" fmla="*/ 238 h 268"/>
                  <a:gd name="T6" fmla="*/ 82 w 182"/>
                  <a:gd name="T7" fmla="*/ 218 h 268"/>
                  <a:gd name="T8" fmla="*/ 68 w 182"/>
                  <a:gd name="T9" fmla="*/ 204 h 268"/>
                  <a:gd name="T10" fmla="*/ 74 w 182"/>
                  <a:gd name="T11" fmla="*/ 196 h 268"/>
                  <a:gd name="T12" fmla="*/ 58 w 182"/>
                  <a:gd name="T13" fmla="*/ 172 h 268"/>
                  <a:gd name="T14" fmla="*/ 44 w 182"/>
                  <a:gd name="T15" fmla="*/ 140 h 268"/>
                  <a:gd name="T16" fmla="*/ 24 w 182"/>
                  <a:gd name="T17" fmla="*/ 104 h 268"/>
                  <a:gd name="T18" fmla="*/ 4 w 182"/>
                  <a:gd name="T19" fmla="*/ 92 h 268"/>
                  <a:gd name="T20" fmla="*/ 4 w 182"/>
                  <a:gd name="T21" fmla="*/ 90 h 268"/>
                  <a:gd name="T22" fmla="*/ 0 w 182"/>
                  <a:gd name="T23" fmla="*/ 74 h 268"/>
                  <a:gd name="T24" fmla="*/ 0 w 182"/>
                  <a:gd name="T25" fmla="*/ 72 h 268"/>
                  <a:gd name="T26" fmla="*/ 6 w 182"/>
                  <a:gd name="T27" fmla="*/ 56 h 268"/>
                  <a:gd name="T28" fmla="*/ 10 w 182"/>
                  <a:gd name="T29" fmla="*/ 50 h 268"/>
                  <a:gd name="T30" fmla="*/ 16 w 182"/>
                  <a:gd name="T31" fmla="*/ 50 h 268"/>
                  <a:gd name="T32" fmla="*/ 18 w 182"/>
                  <a:gd name="T33" fmla="*/ 52 h 268"/>
                  <a:gd name="T34" fmla="*/ 24 w 182"/>
                  <a:gd name="T35" fmla="*/ 62 h 268"/>
                  <a:gd name="T36" fmla="*/ 24 w 182"/>
                  <a:gd name="T37" fmla="*/ 62 h 268"/>
                  <a:gd name="T38" fmla="*/ 40 w 182"/>
                  <a:gd name="T39" fmla="*/ 64 h 268"/>
                  <a:gd name="T40" fmla="*/ 48 w 182"/>
                  <a:gd name="T41" fmla="*/ 48 h 268"/>
                  <a:gd name="T42" fmla="*/ 66 w 182"/>
                  <a:gd name="T43" fmla="*/ 36 h 268"/>
                  <a:gd name="T44" fmla="*/ 82 w 182"/>
                  <a:gd name="T45" fmla="*/ 24 h 268"/>
                  <a:gd name="T46" fmla="*/ 86 w 182"/>
                  <a:gd name="T47" fmla="*/ 2 h 268"/>
                  <a:gd name="T48" fmla="*/ 88 w 182"/>
                  <a:gd name="T49" fmla="*/ 2 h 268"/>
                  <a:gd name="T50" fmla="*/ 88 w 182"/>
                  <a:gd name="T51" fmla="*/ 0 h 268"/>
                  <a:gd name="T52" fmla="*/ 88 w 182"/>
                  <a:gd name="T53" fmla="*/ 0 h 268"/>
                  <a:gd name="T54" fmla="*/ 96 w 182"/>
                  <a:gd name="T55" fmla="*/ 2 h 268"/>
                  <a:gd name="T56" fmla="*/ 102 w 182"/>
                  <a:gd name="T57" fmla="*/ 10 h 268"/>
                  <a:gd name="T58" fmla="*/ 120 w 182"/>
                  <a:gd name="T59" fmla="*/ 32 h 268"/>
                  <a:gd name="T60" fmla="*/ 158 w 182"/>
                  <a:gd name="T61" fmla="*/ 34 h 268"/>
                  <a:gd name="T62" fmla="*/ 162 w 182"/>
                  <a:gd name="T63" fmla="*/ 46 h 268"/>
                  <a:gd name="T64" fmla="*/ 162 w 182"/>
                  <a:gd name="T65" fmla="*/ 48 h 268"/>
                  <a:gd name="T66" fmla="*/ 160 w 182"/>
                  <a:gd name="T67" fmla="*/ 60 h 268"/>
                  <a:gd name="T68" fmla="*/ 164 w 182"/>
                  <a:gd name="T69" fmla="*/ 62 h 268"/>
                  <a:gd name="T70" fmla="*/ 164 w 182"/>
                  <a:gd name="T71" fmla="*/ 64 h 268"/>
                  <a:gd name="T72" fmla="*/ 158 w 182"/>
                  <a:gd name="T73" fmla="*/ 66 h 268"/>
                  <a:gd name="T74" fmla="*/ 132 w 182"/>
                  <a:gd name="T75" fmla="*/ 72 h 268"/>
                  <a:gd name="T76" fmla="*/ 122 w 182"/>
                  <a:gd name="T77" fmla="*/ 92 h 268"/>
                  <a:gd name="T78" fmla="*/ 120 w 182"/>
                  <a:gd name="T79" fmla="*/ 92 h 268"/>
                  <a:gd name="T80" fmla="*/ 108 w 182"/>
                  <a:gd name="T81" fmla="*/ 108 h 268"/>
                  <a:gd name="T82" fmla="*/ 116 w 182"/>
                  <a:gd name="T83" fmla="*/ 126 h 268"/>
                  <a:gd name="T84" fmla="*/ 138 w 182"/>
                  <a:gd name="T85" fmla="*/ 146 h 268"/>
                  <a:gd name="T86" fmla="*/ 154 w 182"/>
                  <a:gd name="T87" fmla="*/ 134 h 268"/>
                  <a:gd name="T88" fmla="*/ 156 w 182"/>
                  <a:gd name="T89" fmla="*/ 134 h 268"/>
                  <a:gd name="T90" fmla="*/ 156 w 182"/>
                  <a:gd name="T91" fmla="*/ 134 h 268"/>
                  <a:gd name="T92" fmla="*/ 158 w 182"/>
                  <a:gd name="T93" fmla="*/ 136 h 268"/>
                  <a:gd name="T94" fmla="*/ 160 w 182"/>
                  <a:gd name="T95" fmla="*/ 142 h 268"/>
                  <a:gd name="T96" fmla="*/ 156 w 182"/>
                  <a:gd name="T97" fmla="*/ 152 h 268"/>
                  <a:gd name="T98" fmla="*/ 160 w 182"/>
                  <a:gd name="T99" fmla="*/ 156 h 268"/>
                  <a:gd name="T100" fmla="*/ 172 w 182"/>
                  <a:gd name="T101" fmla="*/ 158 h 268"/>
                  <a:gd name="T102" fmla="*/ 182 w 182"/>
                  <a:gd name="T103" fmla="*/ 182 h 268"/>
                  <a:gd name="T104" fmla="*/ 180 w 182"/>
                  <a:gd name="T105" fmla="*/ 204 h 268"/>
                  <a:gd name="T106" fmla="*/ 180 w 182"/>
                  <a:gd name="T107" fmla="*/ 208 h 268"/>
                  <a:gd name="T108" fmla="*/ 178 w 182"/>
                  <a:gd name="T109" fmla="*/ 212 h 268"/>
                  <a:gd name="T110" fmla="*/ 174 w 182"/>
                  <a:gd name="T111" fmla="*/ 228 h 268"/>
                  <a:gd name="T112" fmla="*/ 182 w 182"/>
                  <a:gd name="T113" fmla="*/ 238 h 268"/>
                  <a:gd name="T114" fmla="*/ 182 w 182"/>
                  <a:gd name="T115" fmla="*/ 240 h 268"/>
                  <a:gd name="T116" fmla="*/ 172 w 182"/>
                  <a:gd name="T117" fmla="*/ 252 h 268"/>
                  <a:gd name="T118" fmla="*/ 166 w 182"/>
                  <a:gd name="T119" fmla="*/ 266 h 268"/>
                  <a:gd name="T120" fmla="*/ 166 w 182"/>
                  <a:gd name="T121" fmla="*/ 266 h 268"/>
                  <a:gd name="T122" fmla="*/ 160 w 182"/>
                  <a:gd name="T123" fmla="*/ 268 h 268"/>
                  <a:gd name="T124" fmla="*/ 160 w 182"/>
                  <a:gd name="T125"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68">
                    <a:moveTo>
                      <a:pt x="160" y="268"/>
                    </a:moveTo>
                    <a:lnTo>
                      <a:pt x="160" y="268"/>
                    </a:lnTo>
                    <a:lnTo>
                      <a:pt x="158" y="268"/>
                    </a:lnTo>
                    <a:lnTo>
                      <a:pt x="144" y="256"/>
                    </a:lnTo>
                    <a:lnTo>
                      <a:pt x="128" y="246"/>
                    </a:lnTo>
                    <a:lnTo>
                      <a:pt x="108" y="238"/>
                    </a:lnTo>
                    <a:lnTo>
                      <a:pt x="92" y="228"/>
                    </a:lnTo>
                    <a:lnTo>
                      <a:pt x="82" y="218"/>
                    </a:lnTo>
                    <a:lnTo>
                      <a:pt x="68" y="204"/>
                    </a:lnTo>
                    <a:lnTo>
                      <a:pt x="68" y="204"/>
                    </a:lnTo>
                    <a:lnTo>
                      <a:pt x="68" y="202"/>
                    </a:lnTo>
                    <a:lnTo>
                      <a:pt x="74" y="196"/>
                    </a:lnTo>
                    <a:lnTo>
                      <a:pt x="66" y="182"/>
                    </a:lnTo>
                    <a:lnTo>
                      <a:pt x="58" y="172"/>
                    </a:lnTo>
                    <a:lnTo>
                      <a:pt x="50" y="158"/>
                    </a:lnTo>
                    <a:lnTo>
                      <a:pt x="44" y="140"/>
                    </a:lnTo>
                    <a:lnTo>
                      <a:pt x="32" y="122"/>
                    </a:lnTo>
                    <a:lnTo>
                      <a:pt x="24" y="104"/>
                    </a:lnTo>
                    <a:lnTo>
                      <a:pt x="14" y="96"/>
                    </a:lnTo>
                    <a:lnTo>
                      <a:pt x="4" y="92"/>
                    </a:lnTo>
                    <a:lnTo>
                      <a:pt x="4" y="92"/>
                    </a:lnTo>
                    <a:lnTo>
                      <a:pt x="4" y="90"/>
                    </a:lnTo>
                    <a:lnTo>
                      <a:pt x="4" y="80"/>
                    </a:lnTo>
                    <a:lnTo>
                      <a:pt x="0" y="74"/>
                    </a:lnTo>
                    <a:lnTo>
                      <a:pt x="0" y="74"/>
                    </a:lnTo>
                    <a:lnTo>
                      <a:pt x="0" y="72"/>
                    </a:lnTo>
                    <a:lnTo>
                      <a:pt x="2" y="64"/>
                    </a:lnTo>
                    <a:lnTo>
                      <a:pt x="6" y="56"/>
                    </a:lnTo>
                    <a:lnTo>
                      <a:pt x="10" y="50"/>
                    </a:lnTo>
                    <a:lnTo>
                      <a:pt x="10" y="50"/>
                    </a:lnTo>
                    <a:lnTo>
                      <a:pt x="10" y="50"/>
                    </a:lnTo>
                    <a:lnTo>
                      <a:pt x="16" y="50"/>
                    </a:lnTo>
                    <a:lnTo>
                      <a:pt x="16" y="50"/>
                    </a:lnTo>
                    <a:lnTo>
                      <a:pt x="18" y="52"/>
                    </a:lnTo>
                    <a:lnTo>
                      <a:pt x="18" y="60"/>
                    </a:lnTo>
                    <a:lnTo>
                      <a:pt x="24" y="62"/>
                    </a:lnTo>
                    <a:lnTo>
                      <a:pt x="24" y="62"/>
                    </a:lnTo>
                    <a:lnTo>
                      <a:pt x="24" y="62"/>
                    </a:lnTo>
                    <a:lnTo>
                      <a:pt x="32" y="70"/>
                    </a:lnTo>
                    <a:lnTo>
                      <a:pt x="40" y="64"/>
                    </a:lnTo>
                    <a:lnTo>
                      <a:pt x="44" y="56"/>
                    </a:lnTo>
                    <a:lnTo>
                      <a:pt x="48" y="48"/>
                    </a:lnTo>
                    <a:lnTo>
                      <a:pt x="54" y="42"/>
                    </a:lnTo>
                    <a:lnTo>
                      <a:pt x="66" y="36"/>
                    </a:lnTo>
                    <a:lnTo>
                      <a:pt x="76" y="32"/>
                    </a:lnTo>
                    <a:lnTo>
                      <a:pt x="82" y="24"/>
                    </a:lnTo>
                    <a:lnTo>
                      <a:pt x="84" y="18"/>
                    </a:lnTo>
                    <a:lnTo>
                      <a:pt x="86" y="2"/>
                    </a:lnTo>
                    <a:lnTo>
                      <a:pt x="86" y="2"/>
                    </a:lnTo>
                    <a:lnTo>
                      <a:pt x="88" y="2"/>
                    </a:lnTo>
                    <a:lnTo>
                      <a:pt x="88" y="2"/>
                    </a:lnTo>
                    <a:lnTo>
                      <a:pt x="88" y="0"/>
                    </a:lnTo>
                    <a:lnTo>
                      <a:pt x="88" y="0"/>
                    </a:lnTo>
                    <a:lnTo>
                      <a:pt x="88" y="0"/>
                    </a:lnTo>
                    <a:lnTo>
                      <a:pt x="96" y="2"/>
                    </a:lnTo>
                    <a:lnTo>
                      <a:pt x="96" y="2"/>
                    </a:lnTo>
                    <a:lnTo>
                      <a:pt x="98" y="4"/>
                    </a:lnTo>
                    <a:lnTo>
                      <a:pt x="102" y="10"/>
                    </a:lnTo>
                    <a:lnTo>
                      <a:pt x="118" y="24"/>
                    </a:lnTo>
                    <a:lnTo>
                      <a:pt x="120" y="32"/>
                    </a:lnTo>
                    <a:lnTo>
                      <a:pt x="158" y="34"/>
                    </a:lnTo>
                    <a:lnTo>
                      <a:pt x="158" y="34"/>
                    </a:lnTo>
                    <a:lnTo>
                      <a:pt x="160" y="34"/>
                    </a:lnTo>
                    <a:lnTo>
                      <a:pt x="162" y="46"/>
                    </a:lnTo>
                    <a:lnTo>
                      <a:pt x="162" y="46"/>
                    </a:lnTo>
                    <a:lnTo>
                      <a:pt x="162" y="48"/>
                    </a:lnTo>
                    <a:lnTo>
                      <a:pt x="160" y="52"/>
                    </a:lnTo>
                    <a:lnTo>
                      <a:pt x="160" y="60"/>
                    </a:lnTo>
                    <a:lnTo>
                      <a:pt x="164" y="62"/>
                    </a:lnTo>
                    <a:lnTo>
                      <a:pt x="164" y="62"/>
                    </a:lnTo>
                    <a:lnTo>
                      <a:pt x="164" y="64"/>
                    </a:lnTo>
                    <a:lnTo>
                      <a:pt x="164" y="64"/>
                    </a:lnTo>
                    <a:lnTo>
                      <a:pt x="162" y="66"/>
                    </a:lnTo>
                    <a:lnTo>
                      <a:pt x="158" y="66"/>
                    </a:lnTo>
                    <a:lnTo>
                      <a:pt x="142" y="68"/>
                    </a:lnTo>
                    <a:lnTo>
                      <a:pt x="132" y="72"/>
                    </a:lnTo>
                    <a:lnTo>
                      <a:pt x="122" y="84"/>
                    </a:lnTo>
                    <a:lnTo>
                      <a:pt x="122" y="92"/>
                    </a:lnTo>
                    <a:lnTo>
                      <a:pt x="122" y="92"/>
                    </a:lnTo>
                    <a:lnTo>
                      <a:pt x="120" y="92"/>
                    </a:lnTo>
                    <a:lnTo>
                      <a:pt x="116" y="98"/>
                    </a:lnTo>
                    <a:lnTo>
                      <a:pt x="108" y="108"/>
                    </a:lnTo>
                    <a:lnTo>
                      <a:pt x="112" y="116"/>
                    </a:lnTo>
                    <a:lnTo>
                      <a:pt x="116" y="126"/>
                    </a:lnTo>
                    <a:lnTo>
                      <a:pt x="132" y="144"/>
                    </a:lnTo>
                    <a:lnTo>
                      <a:pt x="138" y="146"/>
                    </a:lnTo>
                    <a:lnTo>
                      <a:pt x="148" y="142"/>
                    </a:lnTo>
                    <a:lnTo>
                      <a:pt x="154" y="134"/>
                    </a:lnTo>
                    <a:lnTo>
                      <a:pt x="154" y="134"/>
                    </a:lnTo>
                    <a:lnTo>
                      <a:pt x="156" y="134"/>
                    </a:lnTo>
                    <a:lnTo>
                      <a:pt x="156" y="134"/>
                    </a:lnTo>
                    <a:lnTo>
                      <a:pt x="156" y="134"/>
                    </a:lnTo>
                    <a:lnTo>
                      <a:pt x="156" y="134"/>
                    </a:lnTo>
                    <a:lnTo>
                      <a:pt x="158" y="136"/>
                    </a:lnTo>
                    <a:lnTo>
                      <a:pt x="160" y="142"/>
                    </a:lnTo>
                    <a:lnTo>
                      <a:pt x="160" y="142"/>
                    </a:lnTo>
                    <a:lnTo>
                      <a:pt x="160" y="142"/>
                    </a:lnTo>
                    <a:lnTo>
                      <a:pt x="156" y="152"/>
                    </a:lnTo>
                    <a:lnTo>
                      <a:pt x="156" y="156"/>
                    </a:lnTo>
                    <a:lnTo>
                      <a:pt x="160" y="156"/>
                    </a:lnTo>
                    <a:lnTo>
                      <a:pt x="172" y="158"/>
                    </a:lnTo>
                    <a:lnTo>
                      <a:pt x="172" y="158"/>
                    </a:lnTo>
                    <a:lnTo>
                      <a:pt x="174" y="160"/>
                    </a:lnTo>
                    <a:lnTo>
                      <a:pt x="182" y="182"/>
                    </a:lnTo>
                    <a:lnTo>
                      <a:pt x="182" y="190"/>
                    </a:lnTo>
                    <a:lnTo>
                      <a:pt x="180" y="204"/>
                    </a:lnTo>
                    <a:lnTo>
                      <a:pt x="180" y="208"/>
                    </a:lnTo>
                    <a:lnTo>
                      <a:pt x="180" y="208"/>
                    </a:lnTo>
                    <a:lnTo>
                      <a:pt x="180" y="210"/>
                    </a:lnTo>
                    <a:lnTo>
                      <a:pt x="178" y="212"/>
                    </a:lnTo>
                    <a:lnTo>
                      <a:pt x="176" y="220"/>
                    </a:lnTo>
                    <a:lnTo>
                      <a:pt x="174" y="228"/>
                    </a:lnTo>
                    <a:lnTo>
                      <a:pt x="176" y="232"/>
                    </a:lnTo>
                    <a:lnTo>
                      <a:pt x="182" y="238"/>
                    </a:lnTo>
                    <a:lnTo>
                      <a:pt x="182" y="238"/>
                    </a:lnTo>
                    <a:lnTo>
                      <a:pt x="182" y="240"/>
                    </a:lnTo>
                    <a:lnTo>
                      <a:pt x="178" y="246"/>
                    </a:lnTo>
                    <a:lnTo>
                      <a:pt x="172" y="252"/>
                    </a:lnTo>
                    <a:lnTo>
                      <a:pt x="170" y="258"/>
                    </a:lnTo>
                    <a:lnTo>
                      <a:pt x="166" y="266"/>
                    </a:lnTo>
                    <a:lnTo>
                      <a:pt x="166" y="266"/>
                    </a:lnTo>
                    <a:lnTo>
                      <a:pt x="166" y="266"/>
                    </a:lnTo>
                    <a:lnTo>
                      <a:pt x="160" y="268"/>
                    </a:lnTo>
                    <a:lnTo>
                      <a:pt x="160" y="268"/>
                    </a:lnTo>
                    <a:lnTo>
                      <a:pt x="160" y="268"/>
                    </a:lnTo>
                    <a:lnTo>
                      <a:pt x="160" y="2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5" name="Freeform 255"/>
              <p:cNvSpPr>
                <a:spLocks noEditPoints="1"/>
              </p:cNvSpPr>
              <p:nvPr/>
            </p:nvSpPr>
            <p:spPr bwMode="auto">
              <a:xfrm>
                <a:off x="1709" y="2517"/>
                <a:ext cx="186" cy="272"/>
              </a:xfrm>
              <a:custGeom>
                <a:avLst/>
                <a:gdLst>
                  <a:gd name="T0" fmla="*/ 106 w 186"/>
                  <a:gd name="T1" fmla="*/ 18 h 272"/>
                  <a:gd name="T2" fmla="*/ 160 w 186"/>
                  <a:gd name="T3" fmla="*/ 38 h 272"/>
                  <a:gd name="T4" fmla="*/ 160 w 186"/>
                  <a:gd name="T5" fmla="*/ 62 h 272"/>
                  <a:gd name="T6" fmla="*/ 132 w 186"/>
                  <a:gd name="T7" fmla="*/ 74 h 272"/>
                  <a:gd name="T8" fmla="*/ 108 w 186"/>
                  <a:gd name="T9" fmla="*/ 110 h 272"/>
                  <a:gd name="T10" fmla="*/ 134 w 186"/>
                  <a:gd name="T11" fmla="*/ 148 h 272"/>
                  <a:gd name="T12" fmla="*/ 160 w 186"/>
                  <a:gd name="T13" fmla="*/ 144 h 272"/>
                  <a:gd name="T14" fmla="*/ 174 w 186"/>
                  <a:gd name="T15" fmla="*/ 162 h 272"/>
                  <a:gd name="T16" fmla="*/ 180 w 186"/>
                  <a:gd name="T17" fmla="*/ 210 h 272"/>
                  <a:gd name="T18" fmla="*/ 178 w 186"/>
                  <a:gd name="T19" fmla="*/ 236 h 272"/>
                  <a:gd name="T20" fmla="*/ 170 w 186"/>
                  <a:gd name="T21" fmla="*/ 260 h 272"/>
                  <a:gd name="T22" fmla="*/ 130 w 186"/>
                  <a:gd name="T23" fmla="*/ 246 h 272"/>
                  <a:gd name="T24" fmla="*/ 72 w 186"/>
                  <a:gd name="T25" fmla="*/ 206 h 272"/>
                  <a:gd name="T26" fmla="*/ 54 w 186"/>
                  <a:gd name="T27" fmla="*/ 160 h 272"/>
                  <a:gd name="T28" fmla="*/ 18 w 186"/>
                  <a:gd name="T29" fmla="*/ 96 h 272"/>
                  <a:gd name="T30" fmla="*/ 6 w 186"/>
                  <a:gd name="T31" fmla="*/ 66 h 272"/>
                  <a:gd name="T32" fmla="*/ 18 w 186"/>
                  <a:gd name="T33" fmla="*/ 64 h 272"/>
                  <a:gd name="T34" fmla="*/ 48 w 186"/>
                  <a:gd name="T35" fmla="*/ 58 h 272"/>
                  <a:gd name="T36" fmla="*/ 76 w 186"/>
                  <a:gd name="T37" fmla="*/ 38 h 272"/>
                  <a:gd name="T38" fmla="*/ 90 w 186"/>
                  <a:gd name="T39" fmla="*/ 4 h 272"/>
                  <a:gd name="T40" fmla="*/ 88 w 186"/>
                  <a:gd name="T41" fmla="*/ 2 h 272"/>
                  <a:gd name="T42" fmla="*/ 78 w 186"/>
                  <a:gd name="T43" fmla="*/ 32 h 272"/>
                  <a:gd name="T44" fmla="*/ 56 w 186"/>
                  <a:gd name="T45" fmla="*/ 42 h 272"/>
                  <a:gd name="T46" fmla="*/ 50 w 186"/>
                  <a:gd name="T47" fmla="*/ 50 h 272"/>
                  <a:gd name="T48" fmla="*/ 40 w 186"/>
                  <a:gd name="T49" fmla="*/ 66 h 272"/>
                  <a:gd name="T50" fmla="*/ 26 w 186"/>
                  <a:gd name="T51" fmla="*/ 62 h 272"/>
                  <a:gd name="T52" fmla="*/ 20 w 186"/>
                  <a:gd name="T53" fmla="*/ 50 h 272"/>
                  <a:gd name="T54" fmla="*/ 10 w 186"/>
                  <a:gd name="T55" fmla="*/ 52 h 272"/>
                  <a:gd name="T56" fmla="*/ 2 w 186"/>
                  <a:gd name="T57" fmla="*/ 64 h 272"/>
                  <a:gd name="T58" fmla="*/ 0 w 186"/>
                  <a:gd name="T59" fmla="*/ 74 h 272"/>
                  <a:gd name="T60" fmla="*/ 4 w 186"/>
                  <a:gd name="T61" fmla="*/ 90 h 272"/>
                  <a:gd name="T62" fmla="*/ 24 w 186"/>
                  <a:gd name="T63" fmla="*/ 108 h 272"/>
                  <a:gd name="T64" fmla="*/ 50 w 186"/>
                  <a:gd name="T65" fmla="*/ 162 h 272"/>
                  <a:gd name="T66" fmla="*/ 72 w 186"/>
                  <a:gd name="T67" fmla="*/ 198 h 272"/>
                  <a:gd name="T68" fmla="*/ 70 w 186"/>
                  <a:gd name="T69" fmla="*/ 208 h 272"/>
                  <a:gd name="T70" fmla="*/ 92 w 186"/>
                  <a:gd name="T71" fmla="*/ 232 h 272"/>
                  <a:gd name="T72" fmla="*/ 158 w 186"/>
                  <a:gd name="T73" fmla="*/ 272 h 272"/>
                  <a:gd name="T74" fmla="*/ 162 w 186"/>
                  <a:gd name="T75" fmla="*/ 272 h 272"/>
                  <a:gd name="T76" fmla="*/ 174 w 186"/>
                  <a:gd name="T77" fmla="*/ 262 h 272"/>
                  <a:gd name="T78" fmla="*/ 182 w 186"/>
                  <a:gd name="T79" fmla="*/ 250 h 272"/>
                  <a:gd name="T80" fmla="*/ 186 w 186"/>
                  <a:gd name="T81" fmla="*/ 244 h 272"/>
                  <a:gd name="T82" fmla="*/ 178 w 186"/>
                  <a:gd name="T83" fmla="*/ 230 h 272"/>
                  <a:gd name="T84" fmla="*/ 184 w 186"/>
                  <a:gd name="T85" fmla="*/ 214 h 272"/>
                  <a:gd name="T86" fmla="*/ 186 w 186"/>
                  <a:gd name="T87" fmla="*/ 194 h 272"/>
                  <a:gd name="T88" fmla="*/ 186 w 186"/>
                  <a:gd name="T89" fmla="*/ 184 h 272"/>
                  <a:gd name="T90" fmla="*/ 164 w 186"/>
                  <a:gd name="T91" fmla="*/ 156 h 272"/>
                  <a:gd name="T92" fmla="*/ 160 w 186"/>
                  <a:gd name="T93" fmla="*/ 154 h 272"/>
                  <a:gd name="T94" fmla="*/ 162 w 186"/>
                  <a:gd name="T95" fmla="*/ 138 h 272"/>
                  <a:gd name="T96" fmla="*/ 158 w 186"/>
                  <a:gd name="T97" fmla="*/ 134 h 272"/>
                  <a:gd name="T98" fmla="*/ 140 w 186"/>
                  <a:gd name="T99" fmla="*/ 144 h 272"/>
                  <a:gd name="T100" fmla="*/ 116 w 186"/>
                  <a:gd name="T101" fmla="*/ 118 h 272"/>
                  <a:gd name="T102" fmla="*/ 124 w 186"/>
                  <a:gd name="T103" fmla="*/ 96 h 272"/>
                  <a:gd name="T104" fmla="*/ 146 w 186"/>
                  <a:gd name="T105" fmla="*/ 72 h 272"/>
                  <a:gd name="T106" fmla="*/ 168 w 186"/>
                  <a:gd name="T107" fmla="*/ 70 h 272"/>
                  <a:gd name="T108" fmla="*/ 166 w 186"/>
                  <a:gd name="T109" fmla="*/ 62 h 272"/>
                  <a:gd name="T110" fmla="*/ 166 w 186"/>
                  <a:gd name="T111" fmla="*/ 50 h 272"/>
                  <a:gd name="T112" fmla="*/ 164 w 186"/>
                  <a:gd name="T113" fmla="*/ 36 h 272"/>
                  <a:gd name="T114" fmla="*/ 122 w 186"/>
                  <a:gd name="T115" fmla="*/ 26 h 272"/>
                  <a:gd name="T116" fmla="*/ 110 w 186"/>
                  <a:gd name="T117" fmla="*/ 14 h 272"/>
                  <a:gd name="T118" fmla="*/ 98 w 186"/>
                  <a:gd name="T119" fmla="*/ 2 h 272"/>
                  <a:gd name="T120" fmla="*/ 90 w 186"/>
                  <a:gd name="T12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272">
                    <a:moveTo>
                      <a:pt x="90" y="4"/>
                    </a:moveTo>
                    <a:lnTo>
                      <a:pt x="98" y="6"/>
                    </a:lnTo>
                    <a:lnTo>
                      <a:pt x="104" y="14"/>
                    </a:lnTo>
                    <a:lnTo>
                      <a:pt x="106" y="18"/>
                    </a:lnTo>
                    <a:lnTo>
                      <a:pt x="112" y="22"/>
                    </a:lnTo>
                    <a:lnTo>
                      <a:pt x="118" y="28"/>
                    </a:lnTo>
                    <a:lnTo>
                      <a:pt x="122" y="36"/>
                    </a:lnTo>
                    <a:lnTo>
                      <a:pt x="160" y="38"/>
                    </a:lnTo>
                    <a:lnTo>
                      <a:pt x="162" y="42"/>
                    </a:lnTo>
                    <a:lnTo>
                      <a:pt x="162" y="48"/>
                    </a:lnTo>
                    <a:lnTo>
                      <a:pt x="160" y="54"/>
                    </a:lnTo>
                    <a:lnTo>
                      <a:pt x="160" y="62"/>
                    </a:lnTo>
                    <a:lnTo>
                      <a:pt x="164" y="66"/>
                    </a:lnTo>
                    <a:lnTo>
                      <a:pt x="160" y="66"/>
                    </a:lnTo>
                    <a:lnTo>
                      <a:pt x="144" y="68"/>
                    </a:lnTo>
                    <a:lnTo>
                      <a:pt x="132" y="74"/>
                    </a:lnTo>
                    <a:lnTo>
                      <a:pt x="124" y="84"/>
                    </a:lnTo>
                    <a:lnTo>
                      <a:pt x="122" y="94"/>
                    </a:lnTo>
                    <a:lnTo>
                      <a:pt x="116" y="98"/>
                    </a:lnTo>
                    <a:lnTo>
                      <a:pt x="108" y="110"/>
                    </a:lnTo>
                    <a:lnTo>
                      <a:pt x="112" y="118"/>
                    </a:lnTo>
                    <a:lnTo>
                      <a:pt x="116" y="130"/>
                    </a:lnTo>
                    <a:lnTo>
                      <a:pt x="124" y="138"/>
                    </a:lnTo>
                    <a:lnTo>
                      <a:pt x="134" y="148"/>
                    </a:lnTo>
                    <a:lnTo>
                      <a:pt x="142" y="150"/>
                    </a:lnTo>
                    <a:lnTo>
                      <a:pt x="150" y="146"/>
                    </a:lnTo>
                    <a:lnTo>
                      <a:pt x="158" y="138"/>
                    </a:lnTo>
                    <a:lnTo>
                      <a:pt x="160" y="144"/>
                    </a:lnTo>
                    <a:lnTo>
                      <a:pt x="156" y="154"/>
                    </a:lnTo>
                    <a:lnTo>
                      <a:pt x="158" y="160"/>
                    </a:lnTo>
                    <a:lnTo>
                      <a:pt x="162" y="160"/>
                    </a:lnTo>
                    <a:lnTo>
                      <a:pt x="174" y="162"/>
                    </a:lnTo>
                    <a:lnTo>
                      <a:pt x="182" y="186"/>
                    </a:lnTo>
                    <a:lnTo>
                      <a:pt x="182" y="192"/>
                    </a:lnTo>
                    <a:lnTo>
                      <a:pt x="180" y="206"/>
                    </a:lnTo>
                    <a:lnTo>
                      <a:pt x="180" y="210"/>
                    </a:lnTo>
                    <a:lnTo>
                      <a:pt x="180" y="212"/>
                    </a:lnTo>
                    <a:lnTo>
                      <a:pt x="176" y="222"/>
                    </a:lnTo>
                    <a:lnTo>
                      <a:pt x="174" y="230"/>
                    </a:lnTo>
                    <a:lnTo>
                      <a:pt x="178" y="236"/>
                    </a:lnTo>
                    <a:lnTo>
                      <a:pt x="182" y="242"/>
                    </a:lnTo>
                    <a:lnTo>
                      <a:pt x="180" y="246"/>
                    </a:lnTo>
                    <a:lnTo>
                      <a:pt x="172" y="254"/>
                    </a:lnTo>
                    <a:lnTo>
                      <a:pt x="170" y="260"/>
                    </a:lnTo>
                    <a:lnTo>
                      <a:pt x="166" y="266"/>
                    </a:lnTo>
                    <a:lnTo>
                      <a:pt x="162" y="268"/>
                    </a:lnTo>
                    <a:lnTo>
                      <a:pt x="146" y="256"/>
                    </a:lnTo>
                    <a:lnTo>
                      <a:pt x="130" y="246"/>
                    </a:lnTo>
                    <a:lnTo>
                      <a:pt x="110" y="238"/>
                    </a:lnTo>
                    <a:lnTo>
                      <a:pt x="94" y="228"/>
                    </a:lnTo>
                    <a:lnTo>
                      <a:pt x="86" y="218"/>
                    </a:lnTo>
                    <a:lnTo>
                      <a:pt x="72" y="206"/>
                    </a:lnTo>
                    <a:lnTo>
                      <a:pt x="78" y="198"/>
                    </a:lnTo>
                    <a:lnTo>
                      <a:pt x="68" y="184"/>
                    </a:lnTo>
                    <a:lnTo>
                      <a:pt x="62" y="172"/>
                    </a:lnTo>
                    <a:lnTo>
                      <a:pt x="54" y="160"/>
                    </a:lnTo>
                    <a:lnTo>
                      <a:pt x="48" y="142"/>
                    </a:lnTo>
                    <a:lnTo>
                      <a:pt x="36" y="124"/>
                    </a:lnTo>
                    <a:lnTo>
                      <a:pt x="28" y="106"/>
                    </a:lnTo>
                    <a:lnTo>
                      <a:pt x="18" y="96"/>
                    </a:lnTo>
                    <a:lnTo>
                      <a:pt x="8" y="92"/>
                    </a:lnTo>
                    <a:lnTo>
                      <a:pt x="10" y="80"/>
                    </a:lnTo>
                    <a:lnTo>
                      <a:pt x="4" y="76"/>
                    </a:lnTo>
                    <a:lnTo>
                      <a:pt x="6" y="66"/>
                    </a:lnTo>
                    <a:lnTo>
                      <a:pt x="10" y="58"/>
                    </a:lnTo>
                    <a:lnTo>
                      <a:pt x="12" y="54"/>
                    </a:lnTo>
                    <a:lnTo>
                      <a:pt x="18" y="54"/>
                    </a:lnTo>
                    <a:lnTo>
                      <a:pt x="18" y="64"/>
                    </a:lnTo>
                    <a:lnTo>
                      <a:pt x="26" y="66"/>
                    </a:lnTo>
                    <a:lnTo>
                      <a:pt x="34" y="76"/>
                    </a:lnTo>
                    <a:lnTo>
                      <a:pt x="44" y="68"/>
                    </a:lnTo>
                    <a:lnTo>
                      <a:pt x="48" y="58"/>
                    </a:lnTo>
                    <a:lnTo>
                      <a:pt x="52" y="52"/>
                    </a:lnTo>
                    <a:lnTo>
                      <a:pt x="58" y="46"/>
                    </a:lnTo>
                    <a:lnTo>
                      <a:pt x="68" y="40"/>
                    </a:lnTo>
                    <a:lnTo>
                      <a:pt x="76" y="38"/>
                    </a:lnTo>
                    <a:lnTo>
                      <a:pt x="80" y="36"/>
                    </a:lnTo>
                    <a:lnTo>
                      <a:pt x="86" y="28"/>
                    </a:lnTo>
                    <a:lnTo>
                      <a:pt x="88" y="20"/>
                    </a:lnTo>
                    <a:lnTo>
                      <a:pt x="90" y="4"/>
                    </a:lnTo>
                    <a:close/>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6" name="Freeform 256"/>
              <p:cNvSpPr>
                <a:spLocks/>
              </p:cNvSpPr>
              <p:nvPr/>
            </p:nvSpPr>
            <p:spPr bwMode="auto">
              <a:xfrm>
                <a:off x="1713" y="2521"/>
                <a:ext cx="178" cy="264"/>
              </a:xfrm>
              <a:custGeom>
                <a:avLst/>
                <a:gdLst>
                  <a:gd name="T0" fmla="*/ 94 w 178"/>
                  <a:gd name="T1" fmla="*/ 2 h 264"/>
                  <a:gd name="T2" fmla="*/ 102 w 178"/>
                  <a:gd name="T3" fmla="*/ 14 h 264"/>
                  <a:gd name="T4" fmla="*/ 114 w 178"/>
                  <a:gd name="T5" fmla="*/ 24 h 264"/>
                  <a:gd name="T6" fmla="*/ 156 w 178"/>
                  <a:gd name="T7" fmla="*/ 34 h 264"/>
                  <a:gd name="T8" fmla="*/ 158 w 178"/>
                  <a:gd name="T9" fmla="*/ 44 h 264"/>
                  <a:gd name="T10" fmla="*/ 156 w 178"/>
                  <a:gd name="T11" fmla="*/ 58 h 264"/>
                  <a:gd name="T12" fmla="*/ 156 w 178"/>
                  <a:gd name="T13" fmla="*/ 62 h 264"/>
                  <a:gd name="T14" fmla="*/ 128 w 178"/>
                  <a:gd name="T15" fmla="*/ 70 h 264"/>
                  <a:gd name="T16" fmla="*/ 118 w 178"/>
                  <a:gd name="T17" fmla="*/ 90 h 264"/>
                  <a:gd name="T18" fmla="*/ 104 w 178"/>
                  <a:gd name="T19" fmla="*/ 106 h 264"/>
                  <a:gd name="T20" fmla="*/ 112 w 178"/>
                  <a:gd name="T21" fmla="*/ 126 h 264"/>
                  <a:gd name="T22" fmla="*/ 130 w 178"/>
                  <a:gd name="T23" fmla="*/ 144 h 264"/>
                  <a:gd name="T24" fmla="*/ 146 w 178"/>
                  <a:gd name="T25" fmla="*/ 142 h 264"/>
                  <a:gd name="T26" fmla="*/ 156 w 178"/>
                  <a:gd name="T27" fmla="*/ 140 h 264"/>
                  <a:gd name="T28" fmla="*/ 154 w 178"/>
                  <a:gd name="T29" fmla="*/ 156 h 264"/>
                  <a:gd name="T30" fmla="*/ 170 w 178"/>
                  <a:gd name="T31" fmla="*/ 158 h 264"/>
                  <a:gd name="T32" fmla="*/ 178 w 178"/>
                  <a:gd name="T33" fmla="*/ 188 h 264"/>
                  <a:gd name="T34" fmla="*/ 176 w 178"/>
                  <a:gd name="T35" fmla="*/ 206 h 264"/>
                  <a:gd name="T36" fmla="*/ 172 w 178"/>
                  <a:gd name="T37" fmla="*/ 218 h 264"/>
                  <a:gd name="T38" fmla="*/ 174 w 178"/>
                  <a:gd name="T39" fmla="*/ 232 h 264"/>
                  <a:gd name="T40" fmla="*/ 176 w 178"/>
                  <a:gd name="T41" fmla="*/ 242 h 264"/>
                  <a:gd name="T42" fmla="*/ 166 w 178"/>
                  <a:gd name="T43" fmla="*/ 256 h 264"/>
                  <a:gd name="T44" fmla="*/ 158 w 178"/>
                  <a:gd name="T45" fmla="*/ 264 h 264"/>
                  <a:gd name="T46" fmla="*/ 126 w 178"/>
                  <a:gd name="T47" fmla="*/ 242 h 264"/>
                  <a:gd name="T48" fmla="*/ 90 w 178"/>
                  <a:gd name="T49" fmla="*/ 224 h 264"/>
                  <a:gd name="T50" fmla="*/ 68 w 178"/>
                  <a:gd name="T51" fmla="*/ 202 h 264"/>
                  <a:gd name="T52" fmla="*/ 64 w 178"/>
                  <a:gd name="T53" fmla="*/ 180 h 264"/>
                  <a:gd name="T54" fmla="*/ 50 w 178"/>
                  <a:gd name="T55" fmla="*/ 156 h 264"/>
                  <a:gd name="T56" fmla="*/ 32 w 178"/>
                  <a:gd name="T57" fmla="*/ 120 h 264"/>
                  <a:gd name="T58" fmla="*/ 14 w 178"/>
                  <a:gd name="T59" fmla="*/ 92 h 264"/>
                  <a:gd name="T60" fmla="*/ 6 w 178"/>
                  <a:gd name="T61" fmla="*/ 76 h 264"/>
                  <a:gd name="T62" fmla="*/ 2 w 178"/>
                  <a:gd name="T63" fmla="*/ 62 h 264"/>
                  <a:gd name="T64" fmla="*/ 8 w 178"/>
                  <a:gd name="T65" fmla="*/ 50 h 264"/>
                  <a:gd name="T66" fmla="*/ 14 w 178"/>
                  <a:gd name="T67" fmla="*/ 60 h 264"/>
                  <a:gd name="T68" fmla="*/ 30 w 178"/>
                  <a:gd name="T69" fmla="*/ 72 h 264"/>
                  <a:gd name="T70" fmla="*/ 44 w 178"/>
                  <a:gd name="T71" fmla="*/ 54 h 264"/>
                  <a:gd name="T72" fmla="*/ 54 w 178"/>
                  <a:gd name="T73" fmla="*/ 42 h 264"/>
                  <a:gd name="T74" fmla="*/ 72 w 178"/>
                  <a:gd name="T75" fmla="*/ 34 h 264"/>
                  <a:gd name="T76" fmla="*/ 82 w 178"/>
                  <a:gd name="T77" fmla="*/ 24 h 264"/>
                  <a:gd name="T78" fmla="*/ 86 w 178"/>
                  <a:gd name="T7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264">
                    <a:moveTo>
                      <a:pt x="86" y="0"/>
                    </a:moveTo>
                    <a:lnTo>
                      <a:pt x="94" y="2"/>
                    </a:lnTo>
                    <a:lnTo>
                      <a:pt x="100" y="10"/>
                    </a:lnTo>
                    <a:lnTo>
                      <a:pt x="102" y="14"/>
                    </a:lnTo>
                    <a:lnTo>
                      <a:pt x="108" y="18"/>
                    </a:lnTo>
                    <a:lnTo>
                      <a:pt x="114" y="24"/>
                    </a:lnTo>
                    <a:lnTo>
                      <a:pt x="118" y="32"/>
                    </a:lnTo>
                    <a:lnTo>
                      <a:pt x="156" y="34"/>
                    </a:lnTo>
                    <a:lnTo>
                      <a:pt x="158" y="38"/>
                    </a:lnTo>
                    <a:lnTo>
                      <a:pt x="158" y="44"/>
                    </a:lnTo>
                    <a:lnTo>
                      <a:pt x="156" y="50"/>
                    </a:lnTo>
                    <a:lnTo>
                      <a:pt x="156" y="58"/>
                    </a:lnTo>
                    <a:lnTo>
                      <a:pt x="160" y="62"/>
                    </a:lnTo>
                    <a:lnTo>
                      <a:pt x="156" y="62"/>
                    </a:lnTo>
                    <a:lnTo>
                      <a:pt x="140" y="64"/>
                    </a:lnTo>
                    <a:lnTo>
                      <a:pt x="128" y="70"/>
                    </a:lnTo>
                    <a:lnTo>
                      <a:pt x="120" y="80"/>
                    </a:lnTo>
                    <a:lnTo>
                      <a:pt x="118" y="90"/>
                    </a:lnTo>
                    <a:lnTo>
                      <a:pt x="112" y="94"/>
                    </a:lnTo>
                    <a:lnTo>
                      <a:pt x="104" y="106"/>
                    </a:lnTo>
                    <a:lnTo>
                      <a:pt x="108" y="114"/>
                    </a:lnTo>
                    <a:lnTo>
                      <a:pt x="112" y="126"/>
                    </a:lnTo>
                    <a:lnTo>
                      <a:pt x="120" y="134"/>
                    </a:lnTo>
                    <a:lnTo>
                      <a:pt x="130" y="144"/>
                    </a:lnTo>
                    <a:lnTo>
                      <a:pt x="138" y="146"/>
                    </a:lnTo>
                    <a:lnTo>
                      <a:pt x="146" y="142"/>
                    </a:lnTo>
                    <a:lnTo>
                      <a:pt x="154" y="134"/>
                    </a:lnTo>
                    <a:lnTo>
                      <a:pt x="156" y="140"/>
                    </a:lnTo>
                    <a:lnTo>
                      <a:pt x="152" y="150"/>
                    </a:lnTo>
                    <a:lnTo>
                      <a:pt x="154" y="156"/>
                    </a:lnTo>
                    <a:lnTo>
                      <a:pt x="158" y="156"/>
                    </a:lnTo>
                    <a:lnTo>
                      <a:pt x="170" y="158"/>
                    </a:lnTo>
                    <a:lnTo>
                      <a:pt x="178" y="182"/>
                    </a:lnTo>
                    <a:lnTo>
                      <a:pt x="178" y="188"/>
                    </a:lnTo>
                    <a:lnTo>
                      <a:pt x="176" y="202"/>
                    </a:lnTo>
                    <a:lnTo>
                      <a:pt x="176" y="206"/>
                    </a:lnTo>
                    <a:lnTo>
                      <a:pt x="176" y="208"/>
                    </a:lnTo>
                    <a:lnTo>
                      <a:pt x="172" y="218"/>
                    </a:lnTo>
                    <a:lnTo>
                      <a:pt x="170" y="226"/>
                    </a:lnTo>
                    <a:lnTo>
                      <a:pt x="174" y="232"/>
                    </a:lnTo>
                    <a:lnTo>
                      <a:pt x="178" y="238"/>
                    </a:lnTo>
                    <a:lnTo>
                      <a:pt x="176" y="242"/>
                    </a:lnTo>
                    <a:lnTo>
                      <a:pt x="168" y="250"/>
                    </a:lnTo>
                    <a:lnTo>
                      <a:pt x="166" y="256"/>
                    </a:lnTo>
                    <a:lnTo>
                      <a:pt x="162" y="262"/>
                    </a:lnTo>
                    <a:lnTo>
                      <a:pt x="158" y="264"/>
                    </a:lnTo>
                    <a:lnTo>
                      <a:pt x="142" y="252"/>
                    </a:lnTo>
                    <a:lnTo>
                      <a:pt x="126" y="242"/>
                    </a:lnTo>
                    <a:lnTo>
                      <a:pt x="106" y="234"/>
                    </a:lnTo>
                    <a:lnTo>
                      <a:pt x="90" y="224"/>
                    </a:lnTo>
                    <a:lnTo>
                      <a:pt x="82" y="214"/>
                    </a:lnTo>
                    <a:lnTo>
                      <a:pt x="68" y="202"/>
                    </a:lnTo>
                    <a:lnTo>
                      <a:pt x="74" y="194"/>
                    </a:lnTo>
                    <a:lnTo>
                      <a:pt x="64" y="180"/>
                    </a:lnTo>
                    <a:lnTo>
                      <a:pt x="58" y="168"/>
                    </a:lnTo>
                    <a:lnTo>
                      <a:pt x="50" y="156"/>
                    </a:lnTo>
                    <a:lnTo>
                      <a:pt x="44" y="138"/>
                    </a:lnTo>
                    <a:lnTo>
                      <a:pt x="32" y="120"/>
                    </a:lnTo>
                    <a:lnTo>
                      <a:pt x="24" y="102"/>
                    </a:lnTo>
                    <a:lnTo>
                      <a:pt x="14" y="92"/>
                    </a:lnTo>
                    <a:lnTo>
                      <a:pt x="4" y="88"/>
                    </a:lnTo>
                    <a:lnTo>
                      <a:pt x="6" y="76"/>
                    </a:lnTo>
                    <a:lnTo>
                      <a:pt x="0" y="72"/>
                    </a:lnTo>
                    <a:lnTo>
                      <a:pt x="2" y="62"/>
                    </a:lnTo>
                    <a:lnTo>
                      <a:pt x="6" y="54"/>
                    </a:lnTo>
                    <a:lnTo>
                      <a:pt x="8" y="50"/>
                    </a:lnTo>
                    <a:lnTo>
                      <a:pt x="14" y="50"/>
                    </a:lnTo>
                    <a:lnTo>
                      <a:pt x="14" y="60"/>
                    </a:lnTo>
                    <a:lnTo>
                      <a:pt x="22" y="62"/>
                    </a:lnTo>
                    <a:lnTo>
                      <a:pt x="30" y="72"/>
                    </a:lnTo>
                    <a:lnTo>
                      <a:pt x="40" y="64"/>
                    </a:lnTo>
                    <a:lnTo>
                      <a:pt x="44" y="54"/>
                    </a:lnTo>
                    <a:lnTo>
                      <a:pt x="48" y="48"/>
                    </a:lnTo>
                    <a:lnTo>
                      <a:pt x="54" y="42"/>
                    </a:lnTo>
                    <a:lnTo>
                      <a:pt x="64" y="36"/>
                    </a:lnTo>
                    <a:lnTo>
                      <a:pt x="72" y="34"/>
                    </a:lnTo>
                    <a:lnTo>
                      <a:pt x="76" y="32"/>
                    </a:lnTo>
                    <a:lnTo>
                      <a:pt x="82" y="24"/>
                    </a:lnTo>
                    <a:lnTo>
                      <a:pt x="84" y="16"/>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7" name="Freeform 257"/>
              <p:cNvSpPr>
                <a:spLocks/>
              </p:cNvSpPr>
              <p:nvPr/>
            </p:nvSpPr>
            <p:spPr bwMode="auto">
              <a:xfrm>
                <a:off x="1709" y="2517"/>
                <a:ext cx="186" cy="272"/>
              </a:xfrm>
              <a:custGeom>
                <a:avLst/>
                <a:gdLst>
                  <a:gd name="T0" fmla="*/ 88 w 186"/>
                  <a:gd name="T1" fmla="*/ 2 h 272"/>
                  <a:gd name="T2" fmla="*/ 84 w 186"/>
                  <a:gd name="T3" fmla="*/ 20 h 272"/>
                  <a:gd name="T4" fmla="*/ 74 w 186"/>
                  <a:gd name="T5" fmla="*/ 34 h 272"/>
                  <a:gd name="T6" fmla="*/ 56 w 186"/>
                  <a:gd name="T7" fmla="*/ 42 h 272"/>
                  <a:gd name="T8" fmla="*/ 50 w 186"/>
                  <a:gd name="T9" fmla="*/ 48 h 272"/>
                  <a:gd name="T10" fmla="*/ 44 w 186"/>
                  <a:gd name="T11" fmla="*/ 56 h 272"/>
                  <a:gd name="T12" fmla="*/ 34 w 186"/>
                  <a:gd name="T13" fmla="*/ 70 h 272"/>
                  <a:gd name="T14" fmla="*/ 26 w 186"/>
                  <a:gd name="T15" fmla="*/ 62 h 272"/>
                  <a:gd name="T16" fmla="*/ 22 w 186"/>
                  <a:gd name="T17" fmla="*/ 54 h 272"/>
                  <a:gd name="T18" fmla="*/ 12 w 186"/>
                  <a:gd name="T19" fmla="*/ 50 h 272"/>
                  <a:gd name="T20" fmla="*/ 6 w 186"/>
                  <a:gd name="T21" fmla="*/ 56 h 272"/>
                  <a:gd name="T22" fmla="*/ 2 w 186"/>
                  <a:gd name="T23" fmla="*/ 64 h 272"/>
                  <a:gd name="T24" fmla="*/ 0 w 186"/>
                  <a:gd name="T25" fmla="*/ 74 h 272"/>
                  <a:gd name="T26" fmla="*/ 4 w 186"/>
                  <a:gd name="T27" fmla="*/ 82 h 272"/>
                  <a:gd name="T28" fmla="*/ 4 w 186"/>
                  <a:gd name="T29" fmla="*/ 94 h 272"/>
                  <a:gd name="T30" fmla="*/ 24 w 186"/>
                  <a:gd name="T31" fmla="*/ 108 h 272"/>
                  <a:gd name="T32" fmla="*/ 50 w 186"/>
                  <a:gd name="T33" fmla="*/ 162 h 272"/>
                  <a:gd name="T34" fmla="*/ 58 w 186"/>
                  <a:gd name="T35" fmla="*/ 174 h 272"/>
                  <a:gd name="T36" fmla="*/ 70 w 186"/>
                  <a:gd name="T37" fmla="*/ 202 h 272"/>
                  <a:gd name="T38" fmla="*/ 70 w 186"/>
                  <a:gd name="T39" fmla="*/ 208 h 272"/>
                  <a:gd name="T40" fmla="*/ 92 w 186"/>
                  <a:gd name="T41" fmla="*/ 232 h 272"/>
                  <a:gd name="T42" fmla="*/ 128 w 186"/>
                  <a:gd name="T43" fmla="*/ 250 h 272"/>
                  <a:gd name="T44" fmla="*/ 158 w 186"/>
                  <a:gd name="T45" fmla="*/ 272 h 272"/>
                  <a:gd name="T46" fmla="*/ 162 w 186"/>
                  <a:gd name="T47" fmla="*/ 272 h 272"/>
                  <a:gd name="T48" fmla="*/ 170 w 186"/>
                  <a:gd name="T49" fmla="*/ 268 h 272"/>
                  <a:gd name="T50" fmla="*/ 174 w 186"/>
                  <a:gd name="T51" fmla="*/ 260 h 272"/>
                  <a:gd name="T52" fmla="*/ 182 w 186"/>
                  <a:gd name="T53" fmla="*/ 250 h 272"/>
                  <a:gd name="T54" fmla="*/ 186 w 186"/>
                  <a:gd name="T55" fmla="*/ 244 h 272"/>
                  <a:gd name="T56" fmla="*/ 180 w 186"/>
                  <a:gd name="T57" fmla="*/ 234 h 272"/>
                  <a:gd name="T58" fmla="*/ 182 w 186"/>
                  <a:gd name="T59" fmla="*/ 214 h 272"/>
                  <a:gd name="T60" fmla="*/ 184 w 186"/>
                  <a:gd name="T61" fmla="*/ 210 h 272"/>
                  <a:gd name="T62" fmla="*/ 186 w 186"/>
                  <a:gd name="T63" fmla="*/ 194 h 272"/>
                  <a:gd name="T64" fmla="*/ 186 w 186"/>
                  <a:gd name="T65" fmla="*/ 186 h 272"/>
                  <a:gd name="T66" fmla="*/ 178 w 186"/>
                  <a:gd name="T67" fmla="*/ 160 h 272"/>
                  <a:gd name="T68" fmla="*/ 164 w 186"/>
                  <a:gd name="T69" fmla="*/ 156 h 272"/>
                  <a:gd name="T70" fmla="*/ 160 w 186"/>
                  <a:gd name="T71" fmla="*/ 154 h 272"/>
                  <a:gd name="T72" fmla="*/ 164 w 186"/>
                  <a:gd name="T73" fmla="*/ 142 h 272"/>
                  <a:gd name="T74" fmla="*/ 158 w 186"/>
                  <a:gd name="T75" fmla="*/ 134 h 272"/>
                  <a:gd name="T76" fmla="*/ 158 w 186"/>
                  <a:gd name="T77" fmla="*/ 134 h 272"/>
                  <a:gd name="T78" fmla="*/ 140 w 186"/>
                  <a:gd name="T79" fmla="*/ 144 h 272"/>
                  <a:gd name="T80" fmla="*/ 120 w 186"/>
                  <a:gd name="T81" fmla="*/ 128 h 272"/>
                  <a:gd name="T82" fmla="*/ 118 w 186"/>
                  <a:gd name="T83" fmla="*/ 102 h 272"/>
                  <a:gd name="T84" fmla="*/ 126 w 186"/>
                  <a:gd name="T85" fmla="*/ 94 h 272"/>
                  <a:gd name="T86" fmla="*/ 146 w 186"/>
                  <a:gd name="T87" fmla="*/ 72 h 272"/>
                  <a:gd name="T88" fmla="*/ 164 w 186"/>
                  <a:gd name="T89" fmla="*/ 70 h 272"/>
                  <a:gd name="T90" fmla="*/ 168 w 186"/>
                  <a:gd name="T91" fmla="*/ 68 h 272"/>
                  <a:gd name="T92" fmla="*/ 164 w 186"/>
                  <a:gd name="T93" fmla="*/ 60 h 272"/>
                  <a:gd name="T94" fmla="*/ 166 w 186"/>
                  <a:gd name="T95" fmla="*/ 50 h 272"/>
                  <a:gd name="T96" fmla="*/ 164 w 186"/>
                  <a:gd name="T97" fmla="*/ 36 h 272"/>
                  <a:gd name="T98" fmla="*/ 160 w 186"/>
                  <a:gd name="T99" fmla="*/ 34 h 272"/>
                  <a:gd name="T100" fmla="*/ 122 w 186"/>
                  <a:gd name="T101" fmla="*/ 26 h 272"/>
                  <a:gd name="T102" fmla="*/ 110 w 186"/>
                  <a:gd name="T103" fmla="*/ 14 h 272"/>
                  <a:gd name="T104" fmla="*/ 100 w 186"/>
                  <a:gd name="T105" fmla="*/ 4 h 272"/>
                  <a:gd name="T106" fmla="*/ 92 w 186"/>
                  <a:gd name="T10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 h="272">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8" name="Freeform 258"/>
              <p:cNvSpPr>
                <a:spLocks/>
              </p:cNvSpPr>
              <p:nvPr/>
            </p:nvSpPr>
            <p:spPr bwMode="auto">
              <a:xfrm>
                <a:off x="1751" y="2345"/>
                <a:ext cx="166" cy="240"/>
              </a:xfrm>
              <a:custGeom>
                <a:avLst/>
                <a:gdLst>
                  <a:gd name="T0" fmla="*/ 120 w 166"/>
                  <a:gd name="T1" fmla="*/ 240 h 240"/>
                  <a:gd name="T2" fmla="*/ 114 w 166"/>
                  <a:gd name="T3" fmla="*/ 234 h 240"/>
                  <a:gd name="T4" fmla="*/ 114 w 166"/>
                  <a:gd name="T5" fmla="*/ 224 h 240"/>
                  <a:gd name="T6" fmla="*/ 80 w 166"/>
                  <a:gd name="T7" fmla="*/ 210 h 240"/>
                  <a:gd name="T8" fmla="*/ 74 w 166"/>
                  <a:gd name="T9" fmla="*/ 202 h 240"/>
                  <a:gd name="T10" fmla="*/ 44 w 166"/>
                  <a:gd name="T11" fmla="*/ 178 h 240"/>
                  <a:gd name="T12" fmla="*/ 24 w 166"/>
                  <a:gd name="T13" fmla="*/ 174 h 240"/>
                  <a:gd name="T14" fmla="*/ 0 w 166"/>
                  <a:gd name="T15" fmla="*/ 160 h 240"/>
                  <a:gd name="T16" fmla="*/ 2 w 166"/>
                  <a:gd name="T17" fmla="*/ 152 h 240"/>
                  <a:gd name="T18" fmla="*/ 4 w 166"/>
                  <a:gd name="T19" fmla="*/ 140 h 240"/>
                  <a:gd name="T20" fmla="*/ 20 w 166"/>
                  <a:gd name="T21" fmla="*/ 124 h 240"/>
                  <a:gd name="T22" fmla="*/ 18 w 166"/>
                  <a:gd name="T23" fmla="*/ 88 h 240"/>
                  <a:gd name="T24" fmla="*/ 12 w 166"/>
                  <a:gd name="T25" fmla="*/ 74 h 240"/>
                  <a:gd name="T26" fmla="*/ 24 w 166"/>
                  <a:gd name="T27" fmla="*/ 60 h 240"/>
                  <a:gd name="T28" fmla="*/ 26 w 166"/>
                  <a:gd name="T29" fmla="*/ 60 h 240"/>
                  <a:gd name="T30" fmla="*/ 28 w 166"/>
                  <a:gd name="T31" fmla="*/ 62 h 240"/>
                  <a:gd name="T32" fmla="*/ 28 w 166"/>
                  <a:gd name="T33" fmla="*/ 54 h 240"/>
                  <a:gd name="T34" fmla="*/ 42 w 166"/>
                  <a:gd name="T35" fmla="*/ 38 h 240"/>
                  <a:gd name="T36" fmla="*/ 46 w 166"/>
                  <a:gd name="T37" fmla="*/ 28 h 240"/>
                  <a:gd name="T38" fmla="*/ 60 w 166"/>
                  <a:gd name="T39" fmla="*/ 18 h 240"/>
                  <a:gd name="T40" fmla="*/ 68 w 166"/>
                  <a:gd name="T41" fmla="*/ 16 h 240"/>
                  <a:gd name="T42" fmla="*/ 78 w 166"/>
                  <a:gd name="T43" fmla="*/ 14 h 240"/>
                  <a:gd name="T44" fmla="*/ 96 w 166"/>
                  <a:gd name="T45" fmla="*/ 2 h 240"/>
                  <a:gd name="T46" fmla="*/ 102 w 166"/>
                  <a:gd name="T47" fmla="*/ 0 h 240"/>
                  <a:gd name="T48" fmla="*/ 106 w 166"/>
                  <a:gd name="T49" fmla="*/ 2 h 240"/>
                  <a:gd name="T50" fmla="*/ 106 w 166"/>
                  <a:gd name="T51" fmla="*/ 12 h 240"/>
                  <a:gd name="T52" fmla="*/ 94 w 166"/>
                  <a:gd name="T53" fmla="*/ 20 h 240"/>
                  <a:gd name="T54" fmla="*/ 82 w 166"/>
                  <a:gd name="T55" fmla="*/ 46 h 240"/>
                  <a:gd name="T56" fmla="*/ 90 w 166"/>
                  <a:gd name="T57" fmla="*/ 58 h 240"/>
                  <a:gd name="T58" fmla="*/ 92 w 166"/>
                  <a:gd name="T59" fmla="*/ 62 h 240"/>
                  <a:gd name="T60" fmla="*/ 96 w 166"/>
                  <a:gd name="T61" fmla="*/ 76 h 240"/>
                  <a:gd name="T62" fmla="*/ 122 w 166"/>
                  <a:gd name="T63" fmla="*/ 76 h 240"/>
                  <a:gd name="T64" fmla="*/ 154 w 166"/>
                  <a:gd name="T65" fmla="*/ 86 h 240"/>
                  <a:gd name="T66" fmla="*/ 162 w 166"/>
                  <a:gd name="T67" fmla="*/ 92 h 240"/>
                  <a:gd name="T68" fmla="*/ 156 w 166"/>
                  <a:gd name="T69" fmla="*/ 100 h 240"/>
                  <a:gd name="T70" fmla="*/ 158 w 166"/>
                  <a:gd name="T71" fmla="*/ 122 h 240"/>
                  <a:gd name="T72" fmla="*/ 160 w 166"/>
                  <a:gd name="T73" fmla="*/ 124 h 240"/>
                  <a:gd name="T74" fmla="*/ 162 w 166"/>
                  <a:gd name="T75" fmla="*/ 144 h 240"/>
                  <a:gd name="T76" fmla="*/ 166 w 166"/>
                  <a:gd name="T77" fmla="*/ 154 h 240"/>
                  <a:gd name="T78" fmla="*/ 164 w 166"/>
                  <a:gd name="T79" fmla="*/ 158 h 240"/>
                  <a:gd name="T80" fmla="*/ 156 w 166"/>
                  <a:gd name="T81" fmla="*/ 154 h 240"/>
                  <a:gd name="T82" fmla="*/ 132 w 166"/>
                  <a:gd name="T83" fmla="*/ 156 h 240"/>
                  <a:gd name="T84" fmla="*/ 124 w 166"/>
                  <a:gd name="T85" fmla="*/ 156 h 240"/>
                  <a:gd name="T86" fmla="*/ 134 w 166"/>
                  <a:gd name="T87" fmla="*/ 162 h 240"/>
                  <a:gd name="T88" fmla="*/ 136 w 166"/>
                  <a:gd name="T89" fmla="*/ 170 h 240"/>
                  <a:gd name="T90" fmla="*/ 134 w 166"/>
                  <a:gd name="T91" fmla="*/ 170 h 240"/>
                  <a:gd name="T92" fmla="*/ 132 w 166"/>
                  <a:gd name="T93" fmla="*/ 172 h 240"/>
                  <a:gd name="T94" fmla="*/ 124 w 166"/>
                  <a:gd name="T95" fmla="*/ 170 h 240"/>
                  <a:gd name="T96" fmla="*/ 130 w 166"/>
                  <a:gd name="T97" fmla="*/ 186 h 240"/>
                  <a:gd name="T98" fmla="*/ 130 w 166"/>
                  <a:gd name="T99" fmla="*/ 210 h 240"/>
                  <a:gd name="T100" fmla="*/ 124 w 166"/>
                  <a:gd name="T101" fmla="*/ 240 h 240"/>
                  <a:gd name="T102" fmla="*/ 122 w 166"/>
                  <a:gd name="T10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240">
                    <a:moveTo>
                      <a:pt x="122" y="240"/>
                    </a:moveTo>
                    <a:lnTo>
                      <a:pt x="122" y="240"/>
                    </a:lnTo>
                    <a:lnTo>
                      <a:pt x="120" y="240"/>
                    </a:lnTo>
                    <a:lnTo>
                      <a:pt x="114" y="236"/>
                    </a:lnTo>
                    <a:lnTo>
                      <a:pt x="114" y="236"/>
                    </a:lnTo>
                    <a:lnTo>
                      <a:pt x="114" y="234"/>
                    </a:lnTo>
                    <a:lnTo>
                      <a:pt x="114" y="226"/>
                    </a:lnTo>
                    <a:lnTo>
                      <a:pt x="114" y="226"/>
                    </a:lnTo>
                    <a:lnTo>
                      <a:pt x="114" y="224"/>
                    </a:lnTo>
                    <a:lnTo>
                      <a:pt x="118" y="220"/>
                    </a:lnTo>
                    <a:lnTo>
                      <a:pt x="114" y="212"/>
                    </a:lnTo>
                    <a:lnTo>
                      <a:pt x="80" y="210"/>
                    </a:lnTo>
                    <a:lnTo>
                      <a:pt x="80" y="210"/>
                    </a:lnTo>
                    <a:lnTo>
                      <a:pt x="78" y="210"/>
                    </a:lnTo>
                    <a:lnTo>
                      <a:pt x="74" y="202"/>
                    </a:lnTo>
                    <a:lnTo>
                      <a:pt x="64" y="192"/>
                    </a:lnTo>
                    <a:lnTo>
                      <a:pt x="56" y="182"/>
                    </a:lnTo>
                    <a:lnTo>
                      <a:pt x="44" y="178"/>
                    </a:lnTo>
                    <a:lnTo>
                      <a:pt x="34" y="174"/>
                    </a:lnTo>
                    <a:lnTo>
                      <a:pt x="24" y="174"/>
                    </a:lnTo>
                    <a:lnTo>
                      <a:pt x="24" y="174"/>
                    </a:lnTo>
                    <a:lnTo>
                      <a:pt x="22" y="174"/>
                    </a:lnTo>
                    <a:lnTo>
                      <a:pt x="14" y="170"/>
                    </a:lnTo>
                    <a:lnTo>
                      <a:pt x="0" y="160"/>
                    </a:lnTo>
                    <a:lnTo>
                      <a:pt x="0" y="160"/>
                    </a:lnTo>
                    <a:lnTo>
                      <a:pt x="0" y="158"/>
                    </a:lnTo>
                    <a:lnTo>
                      <a:pt x="2" y="152"/>
                    </a:lnTo>
                    <a:lnTo>
                      <a:pt x="2" y="142"/>
                    </a:lnTo>
                    <a:lnTo>
                      <a:pt x="2" y="142"/>
                    </a:lnTo>
                    <a:lnTo>
                      <a:pt x="4" y="140"/>
                    </a:lnTo>
                    <a:lnTo>
                      <a:pt x="10" y="140"/>
                    </a:lnTo>
                    <a:lnTo>
                      <a:pt x="16" y="136"/>
                    </a:lnTo>
                    <a:lnTo>
                      <a:pt x="20" y="124"/>
                    </a:lnTo>
                    <a:lnTo>
                      <a:pt x="20" y="112"/>
                    </a:lnTo>
                    <a:lnTo>
                      <a:pt x="20" y="100"/>
                    </a:lnTo>
                    <a:lnTo>
                      <a:pt x="18" y="88"/>
                    </a:lnTo>
                    <a:lnTo>
                      <a:pt x="16" y="84"/>
                    </a:lnTo>
                    <a:lnTo>
                      <a:pt x="12" y="74"/>
                    </a:lnTo>
                    <a:lnTo>
                      <a:pt x="12" y="74"/>
                    </a:lnTo>
                    <a:lnTo>
                      <a:pt x="12" y="72"/>
                    </a:lnTo>
                    <a:lnTo>
                      <a:pt x="22" y="66"/>
                    </a:lnTo>
                    <a:lnTo>
                      <a:pt x="24" y="60"/>
                    </a:lnTo>
                    <a:lnTo>
                      <a:pt x="24" y="60"/>
                    </a:lnTo>
                    <a:lnTo>
                      <a:pt x="26" y="60"/>
                    </a:lnTo>
                    <a:lnTo>
                      <a:pt x="26" y="60"/>
                    </a:lnTo>
                    <a:lnTo>
                      <a:pt x="26" y="60"/>
                    </a:lnTo>
                    <a:lnTo>
                      <a:pt x="28" y="60"/>
                    </a:lnTo>
                    <a:lnTo>
                      <a:pt x="28" y="62"/>
                    </a:lnTo>
                    <a:lnTo>
                      <a:pt x="28" y="62"/>
                    </a:lnTo>
                    <a:lnTo>
                      <a:pt x="28" y="54"/>
                    </a:lnTo>
                    <a:lnTo>
                      <a:pt x="28" y="54"/>
                    </a:lnTo>
                    <a:lnTo>
                      <a:pt x="30" y="52"/>
                    </a:lnTo>
                    <a:lnTo>
                      <a:pt x="38" y="46"/>
                    </a:lnTo>
                    <a:lnTo>
                      <a:pt x="42" y="38"/>
                    </a:lnTo>
                    <a:lnTo>
                      <a:pt x="44" y="34"/>
                    </a:lnTo>
                    <a:lnTo>
                      <a:pt x="46" y="28"/>
                    </a:lnTo>
                    <a:lnTo>
                      <a:pt x="46" y="28"/>
                    </a:lnTo>
                    <a:lnTo>
                      <a:pt x="46" y="26"/>
                    </a:lnTo>
                    <a:lnTo>
                      <a:pt x="60" y="18"/>
                    </a:lnTo>
                    <a:lnTo>
                      <a:pt x="60" y="18"/>
                    </a:lnTo>
                    <a:lnTo>
                      <a:pt x="60" y="18"/>
                    </a:lnTo>
                    <a:lnTo>
                      <a:pt x="64" y="18"/>
                    </a:lnTo>
                    <a:lnTo>
                      <a:pt x="68" y="16"/>
                    </a:lnTo>
                    <a:lnTo>
                      <a:pt x="68" y="16"/>
                    </a:lnTo>
                    <a:lnTo>
                      <a:pt x="68" y="14"/>
                    </a:lnTo>
                    <a:lnTo>
                      <a:pt x="78" y="14"/>
                    </a:lnTo>
                    <a:lnTo>
                      <a:pt x="84" y="12"/>
                    </a:lnTo>
                    <a:lnTo>
                      <a:pt x="90" y="6"/>
                    </a:lnTo>
                    <a:lnTo>
                      <a:pt x="96" y="2"/>
                    </a:lnTo>
                    <a:lnTo>
                      <a:pt x="96" y="2"/>
                    </a:lnTo>
                    <a:lnTo>
                      <a:pt x="96" y="0"/>
                    </a:lnTo>
                    <a:lnTo>
                      <a:pt x="102" y="0"/>
                    </a:lnTo>
                    <a:lnTo>
                      <a:pt x="102" y="0"/>
                    </a:lnTo>
                    <a:lnTo>
                      <a:pt x="102" y="0"/>
                    </a:lnTo>
                    <a:lnTo>
                      <a:pt x="106" y="2"/>
                    </a:lnTo>
                    <a:lnTo>
                      <a:pt x="106" y="2"/>
                    </a:lnTo>
                    <a:lnTo>
                      <a:pt x="108" y="4"/>
                    </a:lnTo>
                    <a:lnTo>
                      <a:pt x="106" y="12"/>
                    </a:lnTo>
                    <a:lnTo>
                      <a:pt x="106" y="12"/>
                    </a:lnTo>
                    <a:lnTo>
                      <a:pt x="104" y="14"/>
                    </a:lnTo>
                    <a:lnTo>
                      <a:pt x="94" y="20"/>
                    </a:lnTo>
                    <a:lnTo>
                      <a:pt x="86" y="28"/>
                    </a:lnTo>
                    <a:lnTo>
                      <a:pt x="82" y="34"/>
                    </a:lnTo>
                    <a:lnTo>
                      <a:pt x="82" y="46"/>
                    </a:lnTo>
                    <a:lnTo>
                      <a:pt x="84" y="50"/>
                    </a:lnTo>
                    <a:lnTo>
                      <a:pt x="86" y="54"/>
                    </a:lnTo>
                    <a:lnTo>
                      <a:pt x="90" y="58"/>
                    </a:lnTo>
                    <a:lnTo>
                      <a:pt x="92" y="62"/>
                    </a:lnTo>
                    <a:lnTo>
                      <a:pt x="92" y="62"/>
                    </a:lnTo>
                    <a:lnTo>
                      <a:pt x="92" y="62"/>
                    </a:lnTo>
                    <a:lnTo>
                      <a:pt x="92" y="74"/>
                    </a:lnTo>
                    <a:lnTo>
                      <a:pt x="96" y="76"/>
                    </a:lnTo>
                    <a:lnTo>
                      <a:pt x="96" y="76"/>
                    </a:lnTo>
                    <a:lnTo>
                      <a:pt x="120" y="76"/>
                    </a:lnTo>
                    <a:lnTo>
                      <a:pt x="120" y="76"/>
                    </a:lnTo>
                    <a:lnTo>
                      <a:pt x="122" y="76"/>
                    </a:lnTo>
                    <a:lnTo>
                      <a:pt x="130" y="88"/>
                    </a:lnTo>
                    <a:lnTo>
                      <a:pt x="130" y="88"/>
                    </a:lnTo>
                    <a:lnTo>
                      <a:pt x="154" y="86"/>
                    </a:lnTo>
                    <a:lnTo>
                      <a:pt x="154" y="86"/>
                    </a:lnTo>
                    <a:lnTo>
                      <a:pt x="156" y="86"/>
                    </a:lnTo>
                    <a:lnTo>
                      <a:pt x="162" y="92"/>
                    </a:lnTo>
                    <a:lnTo>
                      <a:pt x="162" y="92"/>
                    </a:lnTo>
                    <a:lnTo>
                      <a:pt x="162" y="94"/>
                    </a:lnTo>
                    <a:lnTo>
                      <a:pt x="156" y="100"/>
                    </a:lnTo>
                    <a:lnTo>
                      <a:pt x="156" y="122"/>
                    </a:lnTo>
                    <a:lnTo>
                      <a:pt x="156" y="122"/>
                    </a:lnTo>
                    <a:lnTo>
                      <a:pt x="158" y="122"/>
                    </a:lnTo>
                    <a:lnTo>
                      <a:pt x="160" y="124"/>
                    </a:lnTo>
                    <a:lnTo>
                      <a:pt x="160" y="124"/>
                    </a:lnTo>
                    <a:lnTo>
                      <a:pt x="160" y="124"/>
                    </a:lnTo>
                    <a:lnTo>
                      <a:pt x="160" y="144"/>
                    </a:lnTo>
                    <a:lnTo>
                      <a:pt x="162" y="144"/>
                    </a:lnTo>
                    <a:lnTo>
                      <a:pt x="162" y="144"/>
                    </a:lnTo>
                    <a:lnTo>
                      <a:pt x="164" y="146"/>
                    </a:lnTo>
                    <a:lnTo>
                      <a:pt x="166" y="154"/>
                    </a:lnTo>
                    <a:lnTo>
                      <a:pt x="166" y="154"/>
                    </a:lnTo>
                    <a:lnTo>
                      <a:pt x="164" y="156"/>
                    </a:lnTo>
                    <a:lnTo>
                      <a:pt x="164" y="156"/>
                    </a:lnTo>
                    <a:lnTo>
                      <a:pt x="164" y="158"/>
                    </a:lnTo>
                    <a:lnTo>
                      <a:pt x="164" y="158"/>
                    </a:lnTo>
                    <a:lnTo>
                      <a:pt x="162" y="156"/>
                    </a:lnTo>
                    <a:lnTo>
                      <a:pt x="156" y="154"/>
                    </a:lnTo>
                    <a:lnTo>
                      <a:pt x="152" y="154"/>
                    </a:lnTo>
                    <a:lnTo>
                      <a:pt x="148" y="156"/>
                    </a:lnTo>
                    <a:lnTo>
                      <a:pt x="132" y="156"/>
                    </a:lnTo>
                    <a:lnTo>
                      <a:pt x="124" y="156"/>
                    </a:lnTo>
                    <a:lnTo>
                      <a:pt x="124" y="156"/>
                    </a:lnTo>
                    <a:lnTo>
                      <a:pt x="124" y="156"/>
                    </a:lnTo>
                    <a:lnTo>
                      <a:pt x="124" y="158"/>
                    </a:lnTo>
                    <a:lnTo>
                      <a:pt x="124" y="158"/>
                    </a:lnTo>
                    <a:lnTo>
                      <a:pt x="134" y="162"/>
                    </a:lnTo>
                    <a:lnTo>
                      <a:pt x="134" y="162"/>
                    </a:lnTo>
                    <a:lnTo>
                      <a:pt x="136" y="164"/>
                    </a:lnTo>
                    <a:lnTo>
                      <a:pt x="136" y="170"/>
                    </a:lnTo>
                    <a:lnTo>
                      <a:pt x="136" y="170"/>
                    </a:lnTo>
                    <a:lnTo>
                      <a:pt x="134" y="170"/>
                    </a:lnTo>
                    <a:lnTo>
                      <a:pt x="134" y="170"/>
                    </a:lnTo>
                    <a:lnTo>
                      <a:pt x="134" y="172"/>
                    </a:lnTo>
                    <a:lnTo>
                      <a:pt x="134" y="172"/>
                    </a:lnTo>
                    <a:lnTo>
                      <a:pt x="132" y="172"/>
                    </a:lnTo>
                    <a:lnTo>
                      <a:pt x="128" y="170"/>
                    </a:lnTo>
                    <a:lnTo>
                      <a:pt x="126" y="170"/>
                    </a:lnTo>
                    <a:lnTo>
                      <a:pt x="124" y="170"/>
                    </a:lnTo>
                    <a:lnTo>
                      <a:pt x="124" y="180"/>
                    </a:lnTo>
                    <a:lnTo>
                      <a:pt x="130" y="186"/>
                    </a:lnTo>
                    <a:lnTo>
                      <a:pt x="130" y="186"/>
                    </a:lnTo>
                    <a:lnTo>
                      <a:pt x="130" y="186"/>
                    </a:lnTo>
                    <a:lnTo>
                      <a:pt x="132" y="198"/>
                    </a:lnTo>
                    <a:lnTo>
                      <a:pt x="130" y="210"/>
                    </a:lnTo>
                    <a:lnTo>
                      <a:pt x="128" y="226"/>
                    </a:lnTo>
                    <a:lnTo>
                      <a:pt x="124" y="240"/>
                    </a:lnTo>
                    <a:lnTo>
                      <a:pt x="124" y="240"/>
                    </a:lnTo>
                    <a:lnTo>
                      <a:pt x="122" y="240"/>
                    </a:lnTo>
                    <a:lnTo>
                      <a:pt x="122" y="240"/>
                    </a:lnTo>
                    <a:lnTo>
                      <a:pt x="122" y="240"/>
                    </a:lnTo>
                    <a:lnTo>
                      <a:pt x="122"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9" name="Freeform 259"/>
              <p:cNvSpPr>
                <a:spLocks noEditPoints="1"/>
              </p:cNvSpPr>
              <p:nvPr/>
            </p:nvSpPr>
            <p:spPr bwMode="auto">
              <a:xfrm>
                <a:off x="1749" y="2343"/>
                <a:ext cx="170" cy="244"/>
              </a:xfrm>
              <a:custGeom>
                <a:avLst/>
                <a:gdLst>
                  <a:gd name="T0" fmla="*/ 96 w 170"/>
                  <a:gd name="T1" fmla="*/ 20 h 244"/>
                  <a:gd name="T2" fmla="*/ 86 w 170"/>
                  <a:gd name="T3" fmla="*/ 58 h 244"/>
                  <a:gd name="T4" fmla="*/ 122 w 170"/>
                  <a:gd name="T5" fmla="*/ 80 h 244"/>
                  <a:gd name="T6" fmla="*/ 156 w 170"/>
                  <a:gd name="T7" fmla="*/ 112 h 244"/>
                  <a:gd name="T8" fmla="*/ 160 w 170"/>
                  <a:gd name="T9" fmla="*/ 138 h 244"/>
                  <a:gd name="T10" fmla="*/ 154 w 170"/>
                  <a:gd name="T11" fmla="*/ 154 h 244"/>
                  <a:gd name="T12" fmla="*/ 124 w 170"/>
                  <a:gd name="T13" fmla="*/ 160 h 244"/>
                  <a:gd name="T14" fmla="*/ 130 w 170"/>
                  <a:gd name="T15" fmla="*/ 170 h 244"/>
                  <a:gd name="T16" fmla="*/ 132 w 170"/>
                  <a:gd name="T17" fmla="*/ 200 h 244"/>
                  <a:gd name="T18" fmla="*/ 118 w 170"/>
                  <a:gd name="T19" fmla="*/ 228 h 244"/>
                  <a:gd name="T20" fmla="*/ 78 w 170"/>
                  <a:gd name="T21" fmla="*/ 204 h 244"/>
                  <a:gd name="T22" fmla="*/ 26 w 170"/>
                  <a:gd name="T23" fmla="*/ 174 h 244"/>
                  <a:gd name="T24" fmla="*/ 14 w 170"/>
                  <a:gd name="T25" fmla="*/ 144 h 244"/>
                  <a:gd name="T26" fmla="*/ 22 w 170"/>
                  <a:gd name="T27" fmla="*/ 90 h 244"/>
                  <a:gd name="T28" fmla="*/ 30 w 170"/>
                  <a:gd name="T29" fmla="*/ 68 h 244"/>
                  <a:gd name="T30" fmla="*/ 48 w 170"/>
                  <a:gd name="T31" fmla="*/ 36 h 244"/>
                  <a:gd name="T32" fmla="*/ 80 w 170"/>
                  <a:gd name="T33" fmla="*/ 18 h 244"/>
                  <a:gd name="T34" fmla="*/ 104 w 170"/>
                  <a:gd name="T35" fmla="*/ 0 h 244"/>
                  <a:gd name="T36" fmla="*/ 84 w 170"/>
                  <a:gd name="T37" fmla="*/ 12 h 244"/>
                  <a:gd name="T38" fmla="*/ 66 w 170"/>
                  <a:gd name="T39" fmla="*/ 18 h 244"/>
                  <a:gd name="T40" fmla="*/ 48 w 170"/>
                  <a:gd name="T41" fmla="*/ 26 h 244"/>
                  <a:gd name="T42" fmla="*/ 30 w 170"/>
                  <a:gd name="T43" fmla="*/ 54 h 244"/>
                  <a:gd name="T44" fmla="*/ 28 w 170"/>
                  <a:gd name="T45" fmla="*/ 60 h 244"/>
                  <a:gd name="T46" fmla="*/ 24 w 170"/>
                  <a:gd name="T47" fmla="*/ 62 h 244"/>
                  <a:gd name="T48" fmla="*/ 12 w 170"/>
                  <a:gd name="T49" fmla="*/ 78 h 244"/>
                  <a:gd name="T50" fmla="*/ 20 w 170"/>
                  <a:gd name="T51" fmla="*/ 126 h 244"/>
                  <a:gd name="T52" fmla="*/ 4 w 170"/>
                  <a:gd name="T53" fmla="*/ 142 h 244"/>
                  <a:gd name="T54" fmla="*/ 0 w 170"/>
                  <a:gd name="T55" fmla="*/ 162 h 244"/>
                  <a:gd name="T56" fmla="*/ 26 w 170"/>
                  <a:gd name="T57" fmla="*/ 178 h 244"/>
                  <a:gd name="T58" fmla="*/ 74 w 170"/>
                  <a:gd name="T59" fmla="*/ 206 h 244"/>
                  <a:gd name="T60" fmla="*/ 116 w 170"/>
                  <a:gd name="T61" fmla="*/ 218 h 244"/>
                  <a:gd name="T62" fmla="*/ 114 w 170"/>
                  <a:gd name="T63" fmla="*/ 236 h 244"/>
                  <a:gd name="T64" fmla="*/ 124 w 170"/>
                  <a:gd name="T65" fmla="*/ 244 h 244"/>
                  <a:gd name="T66" fmla="*/ 132 w 170"/>
                  <a:gd name="T67" fmla="*/ 230 h 244"/>
                  <a:gd name="T68" fmla="*/ 136 w 170"/>
                  <a:gd name="T69" fmla="*/ 200 h 244"/>
                  <a:gd name="T70" fmla="*/ 128 w 170"/>
                  <a:gd name="T71" fmla="*/ 180 h 244"/>
                  <a:gd name="T72" fmla="*/ 136 w 170"/>
                  <a:gd name="T73" fmla="*/ 176 h 244"/>
                  <a:gd name="T74" fmla="*/ 140 w 170"/>
                  <a:gd name="T75" fmla="*/ 166 h 244"/>
                  <a:gd name="T76" fmla="*/ 130 w 170"/>
                  <a:gd name="T77" fmla="*/ 160 h 244"/>
                  <a:gd name="T78" fmla="*/ 156 w 170"/>
                  <a:gd name="T79" fmla="*/ 158 h 244"/>
                  <a:gd name="T80" fmla="*/ 166 w 170"/>
                  <a:gd name="T81" fmla="*/ 162 h 244"/>
                  <a:gd name="T82" fmla="*/ 168 w 170"/>
                  <a:gd name="T83" fmla="*/ 148 h 244"/>
                  <a:gd name="T84" fmla="*/ 164 w 170"/>
                  <a:gd name="T85" fmla="*/ 126 h 244"/>
                  <a:gd name="T86" fmla="*/ 160 w 170"/>
                  <a:gd name="T87" fmla="*/ 122 h 244"/>
                  <a:gd name="T88" fmla="*/ 164 w 170"/>
                  <a:gd name="T89" fmla="*/ 98 h 244"/>
                  <a:gd name="T90" fmla="*/ 156 w 170"/>
                  <a:gd name="T91" fmla="*/ 86 h 244"/>
                  <a:gd name="T92" fmla="*/ 124 w 170"/>
                  <a:gd name="T93" fmla="*/ 76 h 244"/>
                  <a:gd name="T94" fmla="*/ 96 w 170"/>
                  <a:gd name="T95" fmla="*/ 76 h 244"/>
                  <a:gd name="T96" fmla="*/ 94 w 170"/>
                  <a:gd name="T97" fmla="*/ 60 h 244"/>
                  <a:gd name="T98" fmla="*/ 86 w 170"/>
                  <a:gd name="T99" fmla="*/ 36 h 244"/>
                  <a:gd name="T100" fmla="*/ 108 w 170"/>
                  <a:gd name="T101" fmla="*/ 16 h 244"/>
                  <a:gd name="T102" fmla="*/ 110 w 170"/>
                  <a:gd name="T103" fmla="*/ 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 h="244">
                    <a:moveTo>
                      <a:pt x="104" y="4"/>
                    </a:moveTo>
                    <a:lnTo>
                      <a:pt x="108" y="6"/>
                    </a:lnTo>
                    <a:lnTo>
                      <a:pt x="106" y="14"/>
                    </a:lnTo>
                    <a:lnTo>
                      <a:pt x="100" y="18"/>
                    </a:lnTo>
                    <a:lnTo>
                      <a:pt x="96" y="20"/>
                    </a:lnTo>
                    <a:lnTo>
                      <a:pt x="86" y="28"/>
                    </a:lnTo>
                    <a:lnTo>
                      <a:pt x="84" y="34"/>
                    </a:lnTo>
                    <a:lnTo>
                      <a:pt x="82" y="48"/>
                    </a:lnTo>
                    <a:lnTo>
                      <a:pt x="84" y="52"/>
                    </a:lnTo>
                    <a:lnTo>
                      <a:pt x="86" y="58"/>
                    </a:lnTo>
                    <a:lnTo>
                      <a:pt x="90" y="62"/>
                    </a:lnTo>
                    <a:lnTo>
                      <a:pt x="92" y="64"/>
                    </a:lnTo>
                    <a:lnTo>
                      <a:pt x="92" y="78"/>
                    </a:lnTo>
                    <a:lnTo>
                      <a:pt x="98" y="80"/>
                    </a:lnTo>
                    <a:lnTo>
                      <a:pt x="122" y="80"/>
                    </a:lnTo>
                    <a:lnTo>
                      <a:pt x="132" y="92"/>
                    </a:lnTo>
                    <a:lnTo>
                      <a:pt x="156" y="90"/>
                    </a:lnTo>
                    <a:lnTo>
                      <a:pt x="162" y="96"/>
                    </a:lnTo>
                    <a:lnTo>
                      <a:pt x="156" y="102"/>
                    </a:lnTo>
                    <a:lnTo>
                      <a:pt x="156" y="112"/>
                    </a:lnTo>
                    <a:lnTo>
                      <a:pt x="156" y="118"/>
                    </a:lnTo>
                    <a:lnTo>
                      <a:pt x="156" y="126"/>
                    </a:lnTo>
                    <a:lnTo>
                      <a:pt x="158" y="126"/>
                    </a:lnTo>
                    <a:lnTo>
                      <a:pt x="160" y="126"/>
                    </a:lnTo>
                    <a:lnTo>
                      <a:pt x="160" y="138"/>
                    </a:lnTo>
                    <a:lnTo>
                      <a:pt x="160" y="146"/>
                    </a:lnTo>
                    <a:lnTo>
                      <a:pt x="164" y="148"/>
                    </a:lnTo>
                    <a:lnTo>
                      <a:pt x="166" y="158"/>
                    </a:lnTo>
                    <a:lnTo>
                      <a:pt x="158" y="154"/>
                    </a:lnTo>
                    <a:lnTo>
                      <a:pt x="154" y="154"/>
                    </a:lnTo>
                    <a:lnTo>
                      <a:pt x="150" y="156"/>
                    </a:lnTo>
                    <a:lnTo>
                      <a:pt x="134" y="156"/>
                    </a:lnTo>
                    <a:lnTo>
                      <a:pt x="124" y="158"/>
                    </a:lnTo>
                    <a:lnTo>
                      <a:pt x="124" y="158"/>
                    </a:lnTo>
                    <a:lnTo>
                      <a:pt x="124" y="160"/>
                    </a:lnTo>
                    <a:lnTo>
                      <a:pt x="124" y="162"/>
                    </a:lnTo>
                    <a:lnTo>
                      <a:pt x="130" y="164"/>
                    </a:lnTo>
                    <a:lnTo>
                      <a:pt x="136" y="166"/>
                    </a:lnTo>
                    <a:lnTo>
                      <a:pt x="136" y="172"/>
                    </a:lnTo>
                    <a:lnTo>
                      <a:pt x="130" y="170"/>
                    </a:lnTo>
                    <a:lnTo>
                      <a:pt x="126" y="170"/>
                    </a:lnTo>
                    <a:lnTo>
                      <a:pt x="124" y="172"/>
                    </a:lnTo>
                    <a:lnTo>
                      <a:pt x="124" y="182"/>
                    </a:lnTo>
                    <a:lnTo>
                      <a:pt x="130" y="188"/>
                    </a:lnTo>
                    <a:lnTo>
                      <a:pt x="132" y="200"/>
                    </a:lnTo>
                    <a:lnTo>
                      <a:pt x="130" y="212"/>
                    </a:lnTo>
                    <a:lnTo>
                      <a:pt x="128" y="228"/>
                    </a:lnTo>
                    <a:lnTo>
                      <a:pt x="124" y="240"/>
                    </a:lnTo>
                    <a:lnTo>
                      <a:pt x="118" y="236"/>
                    </a:lnTo>
                    <a:lnTo>
                      <a:pt x="118" y="228"/>
                    </a:lnTo>
                    <a:lnTo>
                      <a:pt x="122" y="222"/>
                    </a:lnTo>
                    <a:lnTo>
                      <a:pt x="120" y="218"/>
                    </a:lnTo>
                    <a:lnTo>
                      <a:pt x="118" y="212"/>
                    </a:lnTo>
                    <a:lnTo>
                      <a:pt x="82" y="210"/>
                    </a:lnTo>
                    <a:lnTo>
                      <a:pt x="78" y="204"/>
                    </a:lnTo>
                    <a:lnTo>
                      <a:pt x="68" y="192"/>
                    </a:lnTo>
                    <a:lnTo>
                      <a:pt x="58" y="182"/>
                    </a:lnTo>
                    <a:lnTo>
                      <a:pt x="46" y="178"/>
                    </a:lnTo>
                    <a:lnTo>
                      <a:pt x="36" y="174"/>
                    </a:lnTo>
                    <a:lnTo>
                      <a:pt x="26" y="174"/>
                    </a:lnTo>
                    <a:lnTo>
                      <a:pt x="16" y="170"/>
                    </a:lnTo>
                    <a:lnTo>
                      <a:pt x="2" y="160"/>
                    </a:lnTo>
                    <a:lnTo>
                      <a:pt x="6" y="154"/>
                    </a:lnTo>
                    <a:lnTo>
                      <a:pt x="6" y="144"/>
                    </a:lnTo>
                    <a:lnTo>
                      <a:pt x="14" y="144"/>
                    </a:lnTo>
                    <a:lnTo>
                      <a:pt x="20" y="140"/>
                    </a:lnTo>
                    <a:lnTo>
                      <a:pt x="24" y="126"/>
                    </a:lnTo>
                    <a:lnTo>
                      <a:pt x="24" y="114"/>
                    </a:lnTo>
                    <a:lnTo>
                      <a:pt x="24" y="102"/>
                    </a:lnTo>
                    <a:lnTo>
                      <a:pt x="22" y="90"/>
                    </a:lnTo>
                    <a:lnTo>
                      <a:pt x="20" y="84"/>
                    </a:lnTo>
                    <a:lnTo>
                      <a:pt x="16" y="76"/>
                    </a:lnTo>
                    <a:lnTo>
                      <a:pt x="26" y="68"/>
                    </a:lnTo>
                    <a:lnTo>
                      <a:pt x="28" y="64"/>
                    </a:lnTo>
                    <a:lnTo>
                      <a:pt x="30" y="68"/>
                    </a:lnTo>
                    <a:lnTo>
                      <a:pt x="32" y="64"/>
                    </a:lnTo>
                    <a:lnTo>
                      <a:pt x="32" y="56"/>
                    </a:lnTo>
                    <a:lnTo>
                      <a:pt x="42" y="50"/>
                    </a:lnTo>
                    <a:lnTo>
                      <a:pt x="46" y="42"/>
                    </a:lnTo>
                    <a:lnTo>
                      <a:pt x="48" y="36"/>
                    </a:lnTo>
                    <a:lnTo>
                      <a:pt x="50" y="30"/>
                    </a:lnTo>
                    <a:lnTo>
                      <a:pt x="62" y="22"/>
                    </a:lnTo>
                    <a:lnTo>
                      <a:pt x="68" y="22"/>
                    </a:lnTo>
                    <a:lnTo>
                      <a:pt x="70" y="18"/>
                    </a:lnTo>
                    <a:lnTo>
                      <a:pt x="80" y="18"/>
                    </a:lnTo>
                    <a:lnTo>
                      <a:pt x="86" y="16"/>
                    </a:lnTo>
                    <a:lnTo>
                      <a:pt x="94" y="10"/>
                    </a:lnTo>
                    <a:lnTo>
                      <a:pt x="98" y="4"/>
                    </a:lnTo>
                    <a:lnTo>
                      <a:pt x="104" y="4"/>
                    </a:lnTo>
                    <a:close/>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0" name="Freeform 260"/>
              <p:cNvSpPr>
                <a:spLocks/>
              </p:cNvSpPr>
              <p:nvPr/>
            </p:nvSpPr>
            <p:spPr bwMode="auto">
              <a:xfrm>
                <a:off x="1751" y="2347"/>
                <a:ext cx="164" cy="236"/>
              </a:xfrm>
              <a:custGeom>
                <a:avLst/>
                <a:gdLst>
                  <a:gd name="T0" fmla="*/ 106 w 164"/>
                  <a:gd name="T1" fmla="*/ 2 h 236"/>
                  <a:gd name="T2" fmla="*/ 98 w 164"/>
                  <a:gd name="T3" fmla="*/ 14 h 236"/>
                  <a:gd name="T4" fmla="*/ 84 w 164"/>
                  <a:gd name="T5" fmla="*/ 24 h 236"/>
                  <a:gd name="T6" fmla="*/ 80 w 164"/>
                  <a:gd name="T7" fmla="*/ 44 h 236"/>
                  <a:gd name="T8" fmla="*/ 84 w 164"/>
                  <a:gd name="T9" fmla="*/ 54 h 236"/>
                  <a:gd name="T10" fmla="*/ 90 w 164"/>
                  <a:gd name="T11" fmla="*/ 60 h 236"/>
                  <a:gd name="T12" fmla="*/ 96 w 164"/>
                  <a:gd name="T13" fmla="*/ 76 h 236"/>
                  <a:gd name="T14" fmla="*/ 130 w 164"/>
                  <a:gd name="T15" fmla="*/ 88 h 236"/>
                  <a:gd name="T16" fmla="*/ 160 w 164"/>
                  <a:gd name="T17" fmla="*/ 92 h 236"/>
                  <a:gd name="T18" fmla="*/ 154 w 164"/>
                  <a:gd name="T19" fmla="*/ 108 h 236"/>
                  <a:gd name="T20" fmla="*/ 154 w 164"/>
                  <a:gd name="T21" fmla="*/ 122 h 236"/>
                  <a:gd name="T22" fmla="*/ 158 w 164"/>
                  <a:gd name="T23" fmla="*/ 122 h 236"/>
                  <a:gd name="T24" fmla="*/ 158 w 164"/>
                  <a:gd name="T25" fmla="*/ 142 h 236"/>
                  <a:gd name="T26" fmla="*/ 164 w 164"/>
                  <a:gd name="T27" fmla="*/ 154 h 236"/>
                  <a:gd name="T28" fmla="*/ 152 w 164"/>
                  <a:gd name="T29" fmla="*/ 150 h 236"/>
                  <a:gd name="T30" fmla="*/ 132 w 164"/>
                  <a:gd name="T31" fmla="*/ 152 h 236"/>
                  <a:gd name="T32" fmla="*/ 122 w 164"/>
                  <a:gd name="T33" fmla="*/ 154 h 236"/>
                  <a:gd name="T34" fmla="*/ 122 w 164"/>
                  <a:gd name="T35" fmla="*/ 158 h 236"/>
                  <a:gd name="T36" fmla="*/ 134 w 164"/>
                  <a:gd name="T37" fmla="*/ 162 h 236"/>
                  <a:gd name="T38" fmla="*/ 128 w 164"/>
                  <a:gd name="T39" fmla="*/ 166 h 236"/>
                  <a:gd name="T40" fmla="*/ 122 w 164"/>
                  <a:gd name="T41" fmla="*/ 168 h 236"/>
                  <a:gd name="T42" fmla="*/ 128 w 164"/>
                  <a:gd name="T43" fmla="*/ 184 h 236"/>
                  <a:gd name="T44" fmla="*/ 128 w 164"/>
                  <a:gd name="T45" fmla="*/ 208 h 236"/>
                  <a:gd name="T46" fmla="*/ 122 w 164"/>
                  <a:gd name="T47" fmla="*/ 236 h 236"/>
                  <a:gd name="T48" fmla="*/ 116 w 164"/>
                  <a:gd name="T49" fmla="*/ 224 h 236"/>
                  <a:gd name="T50" fmla="*/ 118 w 164"/>
                  <a:gd name="T51" fmla="*/ 214 h 236"/>
                  <a:gd name="T52" fmla="*/ 80 w 164"/>
                  <a:gd name="T53" fmla="*/ 206 h 236"/>
                  <a:gd name="T54" fmla="*/ 66 w 164"/>
                  <a:gd name="T55" fmla="*/ 188 h 236"/>
                  <a:gd name="T56" fmla="*/ 44 w 164"/>
                  <a:gd name="T57" fmla="*/ 174 h 236"/>
                  <a:gd name="T58" fmla="*/ 24 w 164"/>
                  <a:gd name="T59" fmla="*/ 170 h 236"/>
                  <a:gd name="T60" fmla="*/ 0 w 164"/>
                  <a:gd name="T61" fmla="*/ 156 h 236"/>
                  <a:gd name="T62" fmla="*/ 4 w 164"/>
                  <a:gd name="T63" fmla="*/ 140 h 236"/>
                  <a:gd name="T64" fmla="*/ 18 w 164"/>
                  <a:gd name="T65" fmla="*/ 136 h 236"/>
                  <a:gd name="T66" fmla="*/ 22 w 164"/>
                  <a:gd name="T67" fmla="*/ 110 h 236"/>
                  <a:gd name="T68" fmla="*/ 20 w 164"/>
                  <a:gd name="T69" fmla="*/ 86 h 236"/>
                  <a:gd name="T70" fmla="*/ 14 w 164"/>
                  <a:gd name="T71" fmla="*/ 72 h 236"/>
                  <a:gd name="T72" fmla="*/ 26 w 164"/>
                  <a:gd name="T73" fmla="*/ 60 h 236"/>
                  <a:gd name="T74" fmla="*/ 30 w 164"/>
                  <a:gd name="T75" fmla="*/ 60 h 236"/>
                  <a:gd name="T76" fmla="*/ 40 w 164"/>
                  <a:gd name="T77" fmla="*/ 46 h 236"/>
                  <a:gd name="T78" fmla="*/ 46 w 164"/>
                  <a:gd name="T79" fmla="*/ 32 h 236"/>
                  <a:gd name="T80" fmla="*/ 60 w 164"/>
                  <a:gd name="T81" fmla="*/ 18 h 236"/>
                  <a:gd name="T82" fmla="*/ 68 w 164"/>
                  <a:gd name="T83" fmla="*/ 14 h 236"/>
                  <a:gd name="T84" fmla="*/ 84 w 164"/>
                  <a:gd name="T85" fmla="*/ 12 h 236"/>
                  <a:gd name="T86" fmla="*/ 96 w 164"/>
                  <a:gd name="T8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236">
                    <a:moveTo>
                      <a:pt x="102" y="0"/>
                    </a:moveTo>
                    <a:lnTo>
                      <a:pt x="106" y="2"/>
                    </a:lnTo>
                    <a:lnTo>
                      <a:pt x="104" y="10"/>
                    </a:lnTo>
                    <a:lnTo>
                      <a:pt x="98" y="14"/>
                    </a:lnTo>
                    <a:lnTo>
                      <a:pt x="94" y="16"/>
                    </a:lnTo>
                    <a:lnTo>
                      <a:pt x="84" y="24"/>
                    </a:lnTo>
                    <a:lnTo>
                      <a:pt x="82" y="30"/>
                    </a:lnTo>
                    <a:lnTo>
                      <a:pt x="80" y="44"/>
                    </a:lnTo>
                    <a:lnTo>
                      <a:pt x="82" y="48"/>
                    </a:lnTo>
                    <a:lnTo>
                      <a:pt x="84" y="54"/>
                    </a:lnTo>
                    <a:lnTo>
                      <a:pt x="88" y="58"/>
                    </a:lnTo>
                    <a:lnTo>
                      <a:pt x="90" y="60"/>
                    </a:lnTo>
                    <a:lnTo>
                      <a:pt x="90" y="74"/>
                    </a:lnTo>
                    <a:lnTo>
                      <a:pt x="96" y="76"/>
                    </a:lnTo>
                    <a:lnTo>
                      <a:pt x="120" y="76"/>
                    </a:lnTo>
                    <a:lnTo>
                      <a:pt x="130" y="88"/>
                    </a:lnTo>
                    <a:lnTo>
                      <a:pt x="154" y="86"/>
                    </a:lnTo>
                    <a:lnTo>
                      <a:pt x="160" y="92"/>
                    </a:lnTo>
                    <a:lnTo>
                      <a:pt x="154" y="98"/>
                    </a:lnTo>
                    <a:lnTo>
                      <a:pt x="154" y="108"/>
                    </a:lnTo>
                    <a:lnTo>
                      <a:pt x="154" y="114"/>
                    </a:lnTo>
                    <a:lnTo>
                      <a:pt x="154" y="122"/>
                    </a:lnTo>
                    <a:lnTo>
                      <a:pt x="156" y="122"/>
                    </a:lnTo>
                    <a:lnTo>
                      <a:pt x="158" y="122"/>
                    </a:lnTo>
                    <a:lnTo>
                      <a:pt x="158" y="134"/>
                    </a:lnTo>
                    <a:lnTo>
                      <a:pt x="158" y="142"/>
                    </a:lnTo>
                    <a:lnTo>
                      <a:pt x="162" y="144"/>
                    </a:lnTo>
                    <a:lnTo>
                      <a:pt x="164" y="154"/>
                    </a:lnTo>
                    <a:lnTo>
                      <a:pt x="156" y="150"/>
                    </a:lnTo>
                    <a:lnTo>
                      <a:pt x="152" y="150"/>
                    </a:lnTo>
                    <a:lnTo>
                      <a:pt x="148" y="152"/>
                    </a:lnTo>
                    <a:lnTo>
                      <a:pt x="132" y="152"/>
                    </a:lnTo>
                    <a:lnTo>
                      <a:pt x="122" y="154"/>
                    </a:lnTo>
                    <a:lnTo>
                      <a:pt x="122" y="154"/>
                    </a:lnTo>
                    <a:lnTo>
                      <a:pt x="122" y="156"/>
                    </a:lnTo>
                    <a:lnTo>
                      <a:pt x="122" y="158"/>
                    </a:lnTo>
                    <a:lnTo>
                      <a:pt x="128" y="160"/>
                    </a:lnTo>
                    <a:lnTo>
                      <a:pt x="134" y="162"/>
                    </a:lnTo>
                    <a:lnTo>
                      <a:pt x="134" y="168"/>
                    </a:lnTo>
                    <a:lnTo>
                      <a:pt x="128" y="166"/>
                    </a:lnTo>
                    <a:lnTo>
                      <a:pt x="124" y="166"/>
                    </a:lnTo>
                    <a:lnTo>
                      <a:pt x="122" y="168"/>
                    </a:lnTo>
                    <a:lnTo>
                      <a:pt x="122" y="178"/>
                    </a:lnTo>
                    <a:lnTo>
                      <a:pt x="128" y="184"/>
                    </a:lnTo>
                    <a:lnTo>
                      <a:pt x="130" y="196"/>
                    </a:lnTo>
                    <a:lnTo>
                      <a:pt x="128" y="208"/>
                    </a:lnTo>
                    <a:lnTo>
                      <a:pt x="126" y="224"/>
                    </a:lnTo>
                    <a:lnTo>
                      <a:pt x="122" y="236"/>
                    </a:lnTo>
                    <a:lnTo>
                      <a:pt x="116" y="232"/>
                    </a:lnTo>
                    <a:lnTo>
                      <a:pt x="116" y="224"/>
                    </a:lnTo>
                    <a:lnTo>
                      <a:pt x="120" y="218"/>
                    </a:lnTo>
                    <a:lnTo>
                      <a:pt x="118" y="214"/>
                    </a:lnTo>
                    <a:lnTo>
                      <a:pt x="116" y="208"/>
                    </a:lnTo>
                    <a:lnTo>
                      <a:pt x="80" y="206"/>
                    </a:lnTo>
                    <a:lnTo>
                      <a:pt x="76" y="200"/>
                    </a:lnTo>
                    <a:lnTo>
                      <a:pt x="66" y="188"/>
                    </a:lnTo>
                    <a:lnTo>
                      <a:pt x="56" y="178"/>
                    </a:lnTo>
                    <a:lnTo>
                      <a:pt x="44" y="174"/>
                    </a:lnTo>
                    <a:lnTo>
                      <a:pt x="34" y="170"/>
                    </a:lnTo>
                    <a:lnTo>
                      <a:pt x="24" y="170"/>
                    </a:lnTo>
                    <a:lnTo>
                      <a:pt x="14" y="166"/>
                    </a:lnTo>
                    <a:lnTo>
                      <a:pt x="0" y="156"/>
                    </a:lnTo>
                    <a:lnTo>
                      <a:pt x="4" y="150"/>
                    </a:lnTo>
                    <a:lnTo>
                      <a:pt x="4" y="140"/>
                    </a:lnTo>
                    <a:lnTo>
                      <a:pt x="12" y="140"/>
                    </a:lnTo>
                    <a:lnTo>
                      <a:pt x="18" y="136"/>
                    </a:lnTo>
                    <a:lnTo>
                      <a:pt x="22" y="122"/>
                    </a:lnTo>
                    <a:lnTo>
                      <a:pt x="22" y="110"/>
                    </a:lnTo>
                    <a:lnTo>
                      <a:pt x="22" y="98"/>
                    </a:lnTo>
                    <a:lnTo>
                      <a:pt x="20" y="86"/>
                    </a:lnTo>
                    <a:lnTo>
                      <a:pt x="18" y="80"/>
                    </a:lnTo>
                    <a:lnTo>
                      <a:pt x="14" y="72"/>
                    </a:lnTo>
                    <a:lnTo>
                      <a:pt x="24" y="64"/>
                    </a:lnTo>
                    <a:lnTo>
                      <a:pt x="26" y="60"/>
                    </a:lnTo>
                    <a:lnTo>
                      <a:pt x="28" y="64"/>
                    </a:lnTo>
                    <a:lnTo>
                      <a:pt x="30" y="60"/>
                    </a:lnTo>
                    <a:lnTo>
                      <a:pt x="30" y="52"/>
                    </a:lnTo>
                    <a:lnTo>
                      <a:pt x="40" y="46"/>
                    </a:lnTo>
                    <a:lnTo>
                      <a:pt x="44" y="38"/>
                    </a:lnTo>
                    <a:lnTo>
                      <a:pt x="46" y="32"/>
                    </a:lnTo>
                    <a:lnTo>
                      <a:pt x="48" y="26"/>
                    </a:lnTo>
                    <a:lnTo>
                      <a:pt x="60" y="18"/>
                    </a:lnTo>
                    <a:lnTo>
                      <a:pt x="66" y="18"/>
                    </a:lnTo>
                    <a:lnTo>
                      <a:pt x="68" y="14"/>
                    </a:lnTo>
                    <a:lnTo>
                      <a:pt x="78" y="14"/>
                    </a:lnTo>
                    <a:lnTo>
                      <a:pt x="84" y="12"/>
                    </a:lnTo>
                    <a:lnTo>
                      <a:pt x="92" y="6"/>
                    </a:lnTo>
                    <a:lnTo>
                      <a:pt x="96" y="0"/>
                    </a:lnTo>
                    <a:lnTo>
                      <a:pt x="10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1" name="Freeform 261"/>
              <p:cNvSpPr>
                <a:spLocks/>
              </p:cNvSpPr>
              <p:nvPr/>
            </p:nvSpPr>
            <p:spPr bwMode="auto">
              <a:xfrm>
                <a:off x="1749" y="2343"/>
                <a:ext cx="170" cy="244"/>
              </a:xfrm>
              <a:custGeom>
                <a:avLst/>
                <a:gdLst>
                  <a:gd name="T0" fmla="*/ 98 w 170"/>
                  <a:gd name="T1" fmla="*/ 0 h 244"/>
                  <a:gd name="T2" fmla="*/ 84 w 170"/>
                  <a:gd name="T3" fmla="*/ 12 h 244"/>
                  <a:gd name="T4" fmla="*/ 70 w 170"/>
                  <a:gd name="T5" fmla="*/ 14 h 244"/>
                  <a:gd name="T6" fmla="*/ 62 w 170"/>
                  <a:gd name="T7" fmla="*/ 18 h 244"/>
                  <a:gd name="T8" fmla="*/ 48 w 170"/>
                  <a:gd name="T9" fmla="*/ 26 h 244"/>
                  <a:gd name="T10" fmla="*/ 44 w 170"/>
                  <a:gd name="T11" fmla="*/ 36 h 244"/>
                  <a:gd name="T12" fmla="*/ 30 w 170"/>
                  <a:gd name="T13" fmla="*/ 54 h 244"/>
                  <a:gd name="T14" fmla="*/ 28 w 170"/>
                  <a:gd name="T15" fmla="*/ 60 h 244"/>
                  <a:gd name="T16" fmla="*/ 28 w 170"/>
                  <a:gd name="T17" fmla="*/ 60 h 244"/>
                  <a:gd name="T18" fmla="*/ 24 w 170"/>
                  <a:gd name="T19" fmla="*/ 60 h 244"/>
                  <a:gd name="T20" fmla="*/ 12 w 170"/>
                  <a:gd name="T21" fmla="*/ 72 h 244"/>
                  <a:gd name="T22" fmla="*/ 12 w 170"/>
                  <a:gd name="T23" fmla="*/ 78 h 244"/>
                  <a:gd name="T24" fmla="*/ 20 w 170"/>
                  <a:gd name="T25" fmla="*/ 102 h 244"/>
                  <a:gd name="T26" fmla="*/ 16 w 170"/>
                  <a:gd name="T27" fmla="*/ 138 h 244"/>
                  <a:gd name="T28" fmla="*/ 6 w 170"/>
                  <a:gd name="T29" fmla="*/ 140 h 244"/>
                  <a:gd name="T30" fmla="*/ 2 w 170"/>
                  <a:gd name="T31" fmla="*/ 152 h 244"/>
                  <a:gd name="T32" fmla="*/ 0 w 170"/>
                  <a:gd name="T33" fmla="*/ 162 h 244"/>
                  <a:gd name="T34" fmla="*/ 24 w 170"/>
                  <a:gd name="T35" fmla="*/ 178 h 244"/>
                  <a:gd name="T36" fmla="*/ 36 w 170"/>
                  <a:gd name="T37" fmla="*/ 178 h 244"/>
                  <a:gd name="T38" fmla="*/ 64 w 170"/>
                  <a:gd name="T39" fmla="*/ 196 h 244"/>
                  <a:gd name="T40" fmla="*/ 78 w 170"/>
                  <a:gd name="T41" fmla="*/ 212 h 244"/>
                  <a:gd name="T42" fmla="*/ 116 w 170"/>
                  <a:gd name="T43" fmla="*/ 218 h 244"/>
                  <a:gd name="T44" fmla="*/ 114 w 170"/>
                  <a:gd name="T45" fmla="*/ 226 h 244"/>
                  <a:gd name="T46" fmla="*/ 114 w 170"/>
                  <a:gd name="T47" fmla="*/ 236 h 244"/>
                  <a:gd name="T48" fmla="*/ 120 w 170"/>
                  <a:gd name="T49" fmla="*/ 244 h 244"/>
                  <a:gd name="T50" fmla="*/ 124 w 170"/>
                  <a:gd name="T51" fmla="*/ 244 h 244"/>
                  <a:gd name="T52" fmla="*/ 132 w 170"/>
                  <a:gd name="T53" fmla="*/ 230 h 244"/>
                  <a:gd name="T54" fmla="*/ 134 w 170"/>
                  <a:gd name="T55" fmla="*/ 212 h 244"/>
                  <a:gd name="T56" fmla="*/ 136 w 170"/>
                  <a:gd name="T57" fmla="*/ 198 h 244"/>
                  <a:gd name="T58" fmla="*/ 134 w 170"/>
                  <a:gd name="T59" fmla="*/ 186 h 244"/>
                  <a:gd name="T60" fmla="*/ 130 w 170"/>
                  <a:gd name="T61" fmla="*/ 174 h 244"/>
                  <a:gd name="T62" fmla="*/ 136 w 170"/>
                  <a:gd name="T63" fmla="*/ 176 h 244"/>
                  <a:gd name="T64" fmla="*/ 138 w 170"/>
                  <a:gd name="T65" fmla="*/ 174 h 244"/>
                  <a:gd name="T66" fmla="*/ 140 w 170"/>
                  <a:gd name="T67" fmla="*/ 166 h 244"/>
                  <a:gd name="T68" fmla="*/ 132 w 170"/>
                  <a:gd name="T69" fmla="*/ 160 h 244"/>
                  <a:gd name="T70" fmla="*/ 150 w 170"/>
                  <a:gd name="T71" fmla="*/ 160 h 244"/>
                  <a:gd name="T72" fmla="*/ 156 w 170"/>
                  <a:gd name="T73" fmla="*/ 158 h 244"/>
                  <a:gd name="T74" fmla="*/ 164 w 170"/>
                  <a:gd name="T75" fmla="*/ 160 h 244"/>
                  <a:gd name="T76" fmla="*/ 168 w 170"/>
                  <a:gd name="T77" fmla="*/ 160 h 244"/>
                  <a:gd name="T78" fmla="*/ 170 w 170"/>
                  <a:gd name="T79" fmla="*/ 156 h 244"/>
                  <a:gd name="T80" fmla="*/ 166 w 170"/>
                  <a:gd name="T81" fmla="*/ 144 h 244"/>
                  <a:gd name="T82" fmla="*/ 164 w 170"/>
                  <a:gd name="T83" fmla="*/ 126 h 244"/>
                  <a:gd name="T84" fmla="*/ 160 w 170"/>
                  <a:gd name="T85" fmla="*/ 122 h 244"/>
                  <a:gd name="T86" fmla="*/ 160 w 170"/>
                  <a:gd name="T87" fmla="*/ 118 h 244"/>
                  <a:gd name="T88" fmla="*/ 164 w 170"/>
                  <a:gd name="T89" fmla="*/ 98 h 244"/>
                  <a:gd name="T90" fmla="*/ 164 w 170"/>
                  <a:gd name="T91" fmla="*/ 92 h 244"/>
                  <a:gd name="T92" fmla="*/ 156 w 170"/>
                  <a:gd name="T93" fmla="*/ 86 h 244"/>
                  <a:gd name="T94" fmla="*/ 134 w 170"/>
                  <a:gd name="T95" fmla="*/ 88 h 244"/>
                  <a:gd name="T96" fmla="*/ 122 w 170"/>
                  <a:gd name="T97" fmla="*/ 76 h 244"/>
                  <a:gd name="T98" fmla="*/ 98 w 170"/>
                  <a:gd name="T99" fmla="*/ 76 h 244"/>
                  <a:gd name="T100" fmla="*/ 96 w 170"/>
                  <a:gd name="T101" fmla="*/ 64 h 244"/>
                  <a:gd name="T102" fmla="*/ 94 w 170"/>
                  <a:gd name="T103" fmla="*/ 60 h 244"/>
                  <a:gd name="T104" fmla="*/ 86 w 170"/>
                  <a:gd name="T105" fmla="*/ 50 h 244"/>
                  <a:gd name="T106" fmla="*/ 90 w 170"/>
                  <a:gd name="T107" fmla="*/ 30 h 244"/>
                  <a:gd name="T108" fmla="*/ 108 w 170"/>
                  <a:gd name="T109" fmla="*/ 16 h 244"/>
                  <a:gd name="T110" fmla="*/ 112 w 170"/>
                  <a:gd name="T111" fmla="*/ 8 h 244"/>
                  <a:gd name="T112" fmla="*/ 110 w 170"/>
                  <a:gd name="T113" fmla="*/ 2 h 244"/>
                  <a:gd name="T114" fmla="*/ 104 w 170"/>
                  <a:gd name="T11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 h="244">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2" name="Freeform 262"/>
              <p:cNvSpPr>
                <a:spLocks/>
              </p:cNvSpPr>
              <p:nvPr/>
            </p:nvSpPr>
            <p:spPr bwMode="auto">
              <a:xfrm>
                <a:off x="1721" y="2503"/>
                <a:ext cx="84" cy="94"/>
              </a:xfrm>
              <a:custGeom>
                <a:avLst/>
                <a:gdLst>
                  <a:gd name="T0" fmla="*/ 26 w 84"/>
                  <a:gd name="T1" fmla="*/ 94 h 94"/>
                  <a:gd name="T2" fmla="*/ 26 w 84"/>
                  <a:gd name="T3" fmla="*/ 94 h 94"/>
                  <a:gd name="T4" fmla="*/ 24 w 84"/>
                  <a:gd name="T5" fmla="*/ 92 h 94"/>
                  <a:gd name="T6" fmla="*/ 20 w 84"/>
                  <a:gd name="T7" fmla="*/ 88 h 94"/>
                  <a:gd name="T8" fmla="*/ 10 w 84"/>
                  <a:gd name="T9" fmla="*/ 82 h 94"/>
                  <a:gd name="T10" fmla="*/ 10 w 84"/>
                  <a:gd name="T11" fmla="*/ 82 h 94"/>
                  <a:gd name="T12" fmla="*/ 8 w 84"/>
                  <a:gd name="T13" fmla="*/ 80 h 94"/>
                  <a:gd name="T14" fmla="*/ 8 w 84"/>
                  <a:gd name="T15" fmla="*/ 70 h 94"/>
                  <a:gd name="T16" fmla="*/ 8 w 84"/>
                  <a:gd name="T17" fmla="*/ 70 h 94"/>
                  <a:gd name="T18" fmla="*/ 8 w 84"/>
                  <a:gd name="T19" fmla="*/ 68 h 94"/>
                  <a:gd name="T20" fmla="*/ 14 w 84"/>
                  <a:gd name="T21" fmla="*/ 66 h 94"/>
                  <a:gd name="T22" fmla="*/ 16 w 84"/>
                  <a:gd name="T23" fmla="*/ 58 h 94"/>
                  <a:gd name="T24" fmla="*/ 16 w 84"/>
                  <a:gd name="T25" fmla="*/ 56 h 94"/>
                  <a:gd name="T26" fmla="*/ 16 w 84"/>
                  <a:gd name="T27" fmla="*/ 56 h 94"/>
                  <a:gd name="T28" fmla="*/ 14 w 84"/>
                  <a:gd name="T29" fmla="*/ 58 h 94"/>
                  <a:gd name="T30" fmla="*/ 14 w 84"/>
                  <a:gd name="T31" fmla="*/ 58 h 94"/>
                  <a:gd name="T32" fmla="*/ 12 w 84"/>
                  <a:gd name="T33" fmla="*/ 60 h 94"/>
                  <a:gd name="T34" fmla="*/ 8 w 84"/>
                  <a:gd name="T35" fmla="*/ 60 h 94"/>
                  <a:gd name="T36" fmla="*/ 8 w 84"/>
                  <a:gd name="T37" fmla="*/ 60 h 94"/>
                  <a:gd name="T38" fmla="*/ 8 w 84"/>
                  <a:gd name="T39" fmla="*/ 60 h 94"/>
                  <a:gd name="T40" fmla="*/ 2 w 84"/>
                  <a:gd name="T41" fmla="*/ 56 h 94"/>
                  <a:gd name="T42" fmla="*/ 2 w 84"/>
                  <a:gd name="T43" fmla="*/ 56 h 94"/>
                  <a:gd name="T44" fmla="*/ 0 w 84"/>
                  <a:gd name="T45" fmla="*/ 54 h 94"/>
                  <a:gd name="T46" fmla="*/ 0 w 84"/>
                  <a:gd name="T47" fmla="*/ 44 h 94"/>
                  <a:gd name="T48" fmla="*/ 2 w 84"/>
                  <a:gd name="T49" fmla="*/ 36 h 94"/>
                  <a:gd name="T50" fmla="*/ 6 w 84"/>
                  <a:gd name="T51" fmla="*/ 24 h 94"/>
                  <a:gd name="T52" fmla="*/ 10 w 84"/>
                  <a:gd name="T53" fmla="*/ 18 h 94"/>
                  <a:gd name="T54" fmla="*/ 14 w 84"/>
                  <a:gd name="T55" fmla="*/ 12 h 94"/>
                  <a:gd name="T56" fmla="*/ 22 w 84"/>
                  <a:gd name="T57" fmla="*/ 6 h 94"/>
                  <a:gd name="T58" fmla="*/ 30 w 84"/>
                  <a:gd name="T59" fmla="*/ 0 h 94"/>
                  <a:gd name="T60" fmla="*/ 30 w 84"/>
                  <a:gd name="T61" fmla="*/ 0 h 94"/>
                  <a:gd name="T62" fmla="*/ 32 w 84"/>
                  <a:gd name="T63" fmla="*/ 0 h 94"/>
                  <a:gd name="T64" fmla="*/ 32 w 84"/>
                  <a:gd name="T65" fmla="*/ 0 h 94"/>
                  <a:gd name="T66" fmla="*/ 32 w 84"/>
                  <a:gd name="T67" fmla="*/ 0 h 94"/>
                  <a:gd name="T68" fmla="*/ 56 w 84"/>
                  <a:gd name="T69" fmla="*/ 14 h 94"/>
                  <a:gd name="T70" fmla="*/ 66 w 84"/>
                  <a:gd name="T71" fmla="*/ 14 h 94"/>
                  <a:gd name="T72" fmla="*/ 82 w 84"/>
                  <a:gd name="T73" fmla="*/ 20 h 94"/>
                  <a:gd name="T74" fmla="*/ 82 w 84"/>
                  <a:gd name="T75" fmla="*/ 20 h 94"/>
                  <a:gd name="T76" fmla="*/ 84 w 84"/>
                  <a:gd name="T77" fmla="*/ 22 h 94"/>
                  <a:gd name="T78" fmla="*/ 82 w 84"/>
                  <a:gd name="T79" fmla="*/ 30 h 94"/>
                  <a:gd name="T80" fmla="*/ 82 w 84"/>
                  <a:gd name="T81" fmla="*/ 38 h 94"/>
                  <a:gd name="T82" fmla="*/ 82 w 84"/>
                  <a:gd name="T83" fmla="*/ 38 h 94"/>
                  <a:gd name="T84" fmla="*/ 82 w 84"/>
                  <a:gd name="T85" fmla="*/ 38 h 94"/>
                  <a:gd name="T86" fmla="*/ 78 w 84"/>
                  <a:gd name="T87" fmla="*/ 46 h 94"/>
                  <a:gd name="T88" fmla="*/ 72 w 84"/>
                  <a:gd name="T89" fmla="*/ 54 h 94"/>
                  <a:gd name="T90" fmla="*/ 64 w 84"/>
                  <a:gd name="T91" fmla="*/ 60 h 94"/>
                  <a:gd name="T92" fmla="*/ 50 w 84"/>
                  <a:gd name="T93" fmla="*/ 64 h 94"/>
                  <a:gd name="T94" fmla="*/ 46 w 84"/>
                  <a:gd name="T95" fmla="*/ 70 h 94"/>
                  <a:gd name="T96" fmla="*/ 40 w 84"/>
                  <a:gd name="T97" fmla="*/ 76 h 94"/>
                  <a:gd name="T98" fmla="*/ 36 w 84"/>
                  <a:gd name="T99" fmla="*/ 86 h 94"/>
                  <a:gd name="T100" fmla="*/ 36 w 84"/>
                  <a:gd name="T101" fmla="*/ 86 h 94"/>
                  <a:gd name="T102" fmla="*/ 36 w 84"/>
                  <a:gd name="T103" fmla="*/ 86 h 94"/>
                  <a:gd name="T104" fmla="*/ 28 w 84"/>
                  <a:gd name="T105" fmla="*/ 94 h 94"/>
                  <a:gd name="T106" fmla="*/ 28 w 84"/>
                  <a:gd name="T107" fmla="*/ 94 h 94"/>
                  <a:gd name="T108" fmla="*/ 26 w 84"/>
                  <a:gd name="T109" fmla="*/ 94 h 94"/>
                  <a:gd name="T110" fmla="*/ 26 w 84"/>
                  <a:gd name="T11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94">
                    <a:moveTo>
                      <a:pt x="26" y="94"/>
                    </a:moveTo>
                    <a:lnTo>
                      <a:pt x="26" y="94"/>
                    </a:lnTo>
                    <a:lnTo>
                      <a:pt x="24" y="92"/>
                    </a:lnTo>
                    <a:lnTo>
                      <a:pt x="20" y="88"/>
                    </a:lnTo>
                    <a:lnTo>
                      <a:pt x="10" y="82"/>
                    </a:lnTo>
                    <a:lnTo>
                      <a:pt x="10" y="82"/>
                    </a:lnTo>
                    <a:lnTo>
                      <a:pt x="8" y="80"/>
                    </a:lnTo>
                    <a:lnTo>
                      <a:pt x="8" y="70"/>
                    </a:lnTo>
                    <a:lnTo>
                      <a:pt x="8" y="70"/>
                    </a:lnTo>
                    <a:lnTo>
                      <a:pt x="8" y="68"/>
                    </a:lnTo>
                    <a:lnTo>
                      <a:pt x="14" y="66"/>
                    </a:lnTo>
                    <a:lnTo>
                      <a:pt x="16" y="58"/>
                    </a:lnTo>
                    <a:lnTo>
                      <a:pt x="16" y="56"/>
                    </a:lnTo>
                    <a:lnTo>
                      <a:pt x="16" y="56"/>
                    </a:lnTo>
                    <a:lnTo>
                      <a:pt x="14" y="58"/>
                    </a:lnTo>
                    <a:lnTo>
                      <a:pt x="14" y="58"/>
                    </a:lnTo>
                    <a:lnTo>
                      <a:pt x="12" y="60"/>
                    </a:lnTo>
                    <a:lnTo>
                      <a:pt x="8" y="60"/>
                    </a:lnTo>
                    <a:lnTo>
                      <a:pt x="8" y="60"/>
                    </a:lnTo>
                    <a:lnTo>
                      <a:pt x="8" y="60"/>
                    </a:lnTo>
                    <a:lnTo>
                      <a:pt x="2" y="56"/>
                    </a:lnTo>
                    <a:lnTo>
                      <a:pt x="2" y="56"/>
                    </a:lnTo>
                    <a:lnTo>
                      <a:pt x="0" y="54"/>
                    </a:lnTo>
                    <a:lnTo>
                      <a:pt x="0" y="44"/>
                    </a:lnTo>
                    <a:lnTo>
                      <a:pt x="2" y="36"/>
                    </a:lnTo>
                    <a:lnTo>
                      <a:pt x="6" y="24"/>
                    </a:lnTo>
                    <a:lnTo>
                      <a:pt x="10" y="18"/>
                    </a:lnTo>
                    <a:lnTo>
                      <a:pt x="14" y="12"/>
                    </a:lnTo>
                    <a:lnTo>
                      <a:pt x="22" y="6"/>
                    </a:lnTo>
                    <a:lnTo>
                      <a:pt x="30" y="0"/>
                    </a:lnTo>
                    <a:lnTo>
                      <a:pt x="30" y="0"/>
                    </a:lnTo>
                    <a:lnTo>
                      <a:pt x="32" y="0"/>
                    </a:lnTo>
                    <a:lnTo>
                      <a:pt x="32" y="0"/>
                    </a:lnTo>
                    <a:lnTo>
                      <a:pt x="32" y="0"/>
                    </a:lnTo>
                    <a:lnTo>
                      <a:pt x="56" y="14"/>
                    </a:lnTo>
                    <a:lnTo>
                      <a:pt x="66" y="14"/>
                    </a:lnTo>
                    <a:lnTo>
                      <a:pt x="82" y="20"/>
                    </a:lnTo>
                    <a:lnTo>
                      <a:pt x="82" y="20"/>
                    </a:lnTo>
                    <a:lnTo>
                      <a:pt x="84" y="22"/>
                    </a:lnTo>
                    <a:lnTo>
                      <a:pt x="82" y="30"/>
                    </a:lnTo>
                    <a:lnTo>
                      <a:pt x="82" y="38"/>
                    </a:lnTo>
                    <a:lnTo>
                      <a:pt x="82" y="38"/>
                    </a:lnTo>
                    <a:lnTo>
                      <a:pt x="82" y="38"/>
                    </a:lnTo>
                    <a:lnTo>
                      <a:pt x="78" y="46"/>
                    </a:lnTo>
                    <a:lnTo>
                      <a:pt x="72" y="54"/>
                    </a:lnTo>
                    <a:lnTo>
                      <a:pt x="64" y="60"/>
                    </a:lnTo>
                    <a:lnTo>
                      <a:pt x="50" y="64"/>
                    </a:lnTo>
                    <a:lnTo>
                      <a:pt x="46" y="70"/>
                    </a:lnTo>
                    <a:lnTo>
                      <a:pt x="40" y="76"/>
                    </a:lnTo>
                    <a:lnTo>
                      <a:pt x="36" y="86"/>
                    </a:lnTo>
                    <a:lnTo>
                      <a:pt x="36" y="86"/>
                    </a:lnTo>
                    <a:lnTo>
                      <a:pt x="36" y="86"/>
                    </a:lnTo>
                    <a:lnTo>
                      <a:pt x="28" y="94"/>
                    </a:lnTo>
                    <a:lnTo>
                      <a:pt x="28" y="94"/>
                    </a:lnTo>
                    <a:lnTo>
                      <a:pt x="26" y="94"/>
                    </a:lnTo>
                    <a:lnTo>
                      <a:pt x="2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3" name="Freeform 263"/>
              <p:cNvSpPr>
                <a:spLocks noEditPoints="1"/>
              </p:cNvSpPr>
              <p:nvPr/>
            </p:nvSpPr>
            <p:spPr bwMode="auto">
              <a:xfrm>
                <a:off x="1719" y="2501"/>
                <a:ext cx="88" cy="98"/>
              </a:xfrm>
              <a:custGeom>
                <a:avLst/>
                <a:gdLst>
                  <a:gd name="T0" fmla="*/ 56 w 88"/>
                  <a:gd name="T1" fmla="*/ 18 h 98"/>
                  <a:gd name="T2" fmla="*/ 84 w 88"/>
                  <a:gd name="T3" fmla="*/ 24 h 98"/>
                  <a:gd name="T4" fmla="*/ 82 w 88"/>
                  <a:gd name="T5" fmla="*/ 40 h 98"/>
                  <a:gd name="T6" fmla="*/ 72 w 88"/>
                  <a:gd name="T7" fmla="*/ 54 h 98"/>
                  <a:gd name="T8" fmla="*/ 52 w 88"/>
                  <a:gd name="T9" fmla="*/ 64 h 98"/>
                  <a:gd name="T10" fmla="*/ 40 w 88"/>
                  <a:gd name="T11" fmla="*/ 78 h 98"/>
                  <a:gd name="T12" fmla="*/ 28 w 88"/>
                  <a:gd name="T13" fmla="*/ 94 h 98"/>
                  <a:gd name="T14" fmla="*/ 12 w 88"/>
                  <a:gd name="T15" fmla="*/ 82 h 98"/>
                  <a:gd name="T16" fmla="*/ 18 w 88"/>
                  <a:gd name="T17" fmla="*/ 68 h 98"/>
                  <a:gd name="T18" fmla="*/ 20 w 88"/>
                  <a:gd name="T19" fmla="*/ 56 h 98"/>
                  <a:gd name="T20" fmla="*/ 14 w 88"/>
                  <a:gd name="T21" fmla="*/ 60 h 98"/>
                  <a:gd name="T22" fmla="*/ 4 w 88"/>
                  <a:gd name="T23" fmla="*/ 56 h 98"/>
                  <a:gd name="T24" fmla="*/ 6 w 88"/>
                  <a:gd name="T25" fmla="*/ 38 h 98"/>
                  <a:gd name="T26" fmla="*/ 14 w 88"/>
                  <a:gd name="T27" fmla="*/ 20 h 98"/>
                  <a:gd name="T28" fmla="*/ 24 w 88"/>
                  <a:gd name="T29" fmla="*/ 10 h 98"/>
                  <a:gd name="T30" fmla="*/ 34 w 88"/>
                  <a:gd name="T31" fmla="*/ 0 h 98"/>
                  <a:gd name="T32" fmla="*/ 32 w 88"/>
                  <a:gd name="T33" fmla="*/ 0 h 98"/>
                  <a:gd name="T34" fmla="*/ 22 w 88"/>
                  <a:gd name="T35" fmla="*/ 6 h 98"/>
                  <a:gd name="T36" fmla="*/ 14 w 88"/>
                  <a:gd name="T37" fmla="*/ 12 h 98"/>
                  <a:gd name="T38" fmla="*/ 14 w 88"/>
                  <a:gd name="T39" fmla="*/ 12 h 98"/>
                  <a:gd name="T40" fmla="*/ 10 w 88"/>
                  <a:gd name="T41" fmla="*/ 18 h 98"/>
                  <a:gd name="T42" fmla="*/ 6 w 88"/>
                  <a:gd name="T43" fmla="*/ 26 h 98"/>
                  <a:gd name="T44" fmla="*/ 6 w 88"/>
                  <a:gd name="T45" fmla="*/ 26 h 98"/>
                  <a:gd name="T46" fmla="*/ 2 w 88"/>
                  <a:gd name="T47" fmla="*/ 36 h 98"/>
                  <a:gd name="T48" fmla="*/ 0 w 88"/>
                  <a:gd name="T49" fmla="*/ 46 h 98"/>
                  <a:gd name="T50" fmla="*/ 0 w 88"/>
                  <a:gd name="T51" fmla="*/ 46 h 98"/>
                  <a:gd name="T52" fmla="*/ 0 w 88"/>
                  <a:gd name="T53" fmla="*/ 56 h 98"/>
                  <a:gd name="T54" fmla="*/ 8 w 88"/>
                  <a:gd name="T55" fmla="*/ 62 h 98"/>
                  <a:gd name="T56" fmla="*/ 10 w 88"/>
                  <a:gd name="T57" fmla="*/ 64 h 98"/>
                  <a:gd name="T58" fmla="*/ 14 w 88"/>
                  <a:gd name="T59" fmla="*/ 64 h 98"/>
                  <a:gd name="T60" fmla="*/ 14 w 88"/>
                  <a:gd name="T61" fmla="*/ 66 h 98"/>
                  <a:gd name="T62" fmla="*/ 10 w 88"/>
                  <a:gd name="T63" fmla="*/ 68 h 98"/>
                  <a:gd name="T64" fmla="*/ 8 w 88"/>
                  <a:gd name="T65" fmla="*/ 82 h 98"/>
                  <a:gd name="T66" fmla="*/ 10 w 88"/>
                  <a:gd name="T67" fmla="*/ 86 h 98"/>
                  <a:gd name="T68" fmla="*/ 26 w 88"/>
                  <a:gd name="T69" fmla="*/ 96 h 98"/>
                  <a:gd name="T70" fmla="*/ 28 w 88"/>
                  <a:gd name="T71" fmla="*/ 98 h 98"/>
                  <a:gd name="T72" fmla="*/ 30 w 88"/>
                  <a:gd name="T73" fmla="*/ 96 h 98"/>
                  <a:gd name="T74" fmla="*/ 40 w 88"/>
                  <a:gd name="T75" fmla="*/ 90 h 98"/>
                  <a:gd name="T76" fmla="*/ 44 w 88"/>
                  <a:gd name="T77" fmla="*/ 80 h 98"/>
                  <a:gd name="T78" fmla="*/ 54 w 88"/>
                  <a:gd name="T79" fmla="*/ 68 h 98"/>
                  <a:gd name="T80" fmla="*/ 66 w 88"/>
                  <a:gd name="T81" fmla="*/ 64 h 98"/>
                  <a:gd name="T82" fmla="*/ 74 w 88"/>
                  <a:gd name="T83" fmla="*/ 58 h 98"/>
                  <a:gd name="T84" fmla="*/ 76 w 88"/>
                  <a:gd name="T85" fmla="*/ 56 h 98"/>
                  <a:gd name="T86" fmla="*/ 82 w 88"/>
                  <a:gd name="T87" fmla="*/ 50 h 98"/>
                  <a:gd name="T88" fmla="*/ 86 w 88"/>
                  <a:gd name="T89" fmla="*/ 42 h 98"/>
                  <a:gd name="T90" fmla="*/ 86 w 88"/>
                  <a:gd name="T91" fmla="*/ 40 h 98"/>
                  <a:gd name="T92" fmla="*/ 88 w 88"/>
                  <a:gd name="T93" fmla="*/ 24 h 98"/>
                  <a:gd name="T94" fmla="*/ 86 w 88"/>
                  <a:gd name="T95" fmla="*/ 22 h 98"/>
                  <a:gd name="T96" fmla="*/ 68 w 88"/>
                  <a:gd name="T97" fmla="*/ 14 h 98"/>
                  <a:gd name="T98" fmla="*/ 68 w 88"/>
                  <a:gd name="T99" fmla="*/ 14 h 98"/>
                  <a:gd name="T100" fmla="*/ 36 w 88"/>
                  <a:gd name="T101" fmla="*/ 0 h 98"/>
                  <a:gd name="T102" fmla="*/ 34 w 88"/>
                  <a:gd name="T10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98">
                    <a:moveTo>
                      <a:pt x="34" y="4"/>
                    </a:moveTo>
                    <a:lnTo>
                      <a:pt x="56" y="18"/>
                    </a:lnTo>
                    <a:lnTo>
                      <a:pt x="68" y="18"/>
                    </a:lnTo>
                    <a:lnTo>
                      <a:pt x="84" y="24"/>
                    </a:lnTo>
                    <a:lnTo>
                      <a:pt x="82" y="30"/>
                    </a:lnTo>
                    <a:lnTo>
                      <a:pt x="82" y="40"/>
                    </a:lnTo>
                    <a:lnTo>
                      <a:pt x="78" y="46"/>
                    </a:lnTo>
                    <a:lnTo>
                      <a:pt x="72" y="54"/>
                    </a:lnTo>
                    <a:lnTo>
                      <a:pt x="66" y="60"/>
                    </a:lnTo>
                    <a:lnTo>
                      <a:pt x="52" y="64"/>
                    </a:lnTo>
                    <a:lnTo>
                      <a:pt x="46" y="70"/>
                    </a:lnTo>
                    <a:lnTo>
                      <a:pt x="40" y="78"/>
                    </a:lnTo>
                    <a:lnTo>
                      <a:pt x="36" y="86"/>
                    </a:lnTo>
                    <a:lnTo>
                      <a:pt x="28" y="94"/>
                    </a:lnTo>
                    <a:lnTo>
                      <a:pt x="22" y="88"/>
                    </a:lnTo>
                    <a:lnTo>
                      <a:pt x="12" y="82"/>
                    </a:lnTo>
                    <a:lnTo>
                      <a:pt x="12" y="72"/>
                    </a:lnTo>
                    <a:lnTo>
                      <a:pt x="18" y="68"/>
                    </a:lnTo>
                    <a:lnTo>
                      <a:pt x="20" y="62"/>
                    </a:lnTo>
                    <a:lnTo>
                      <a:pt x="20" y="56"/>
                    </a:lnTo>
                    <a:lnTo>
                      <a:pt x="18" y="56"/>
                    </a:lnTo>
                    <a:lnTo>
                      <a:pt x="14" y="60"/>
                    </a:lnTo>
                    <a:lnTo>
                      <a:pt x="10" y="60"/>
                    </a:lnTo>
                    <a:lnTo>
                      <a:pt x="4" y="56"/>
                    </a:lnTo>
                    <a:lnTo>
                      <a:pt x="4" y="46"/>
                    </a:lnTo>
                    <a:lnTo>
                      <a:pt x="6" y="38"/>
                    </a:lnTo>
                    <a:lnTo>
                      <a:pt x="10" y="28"/>
                    </a:lnTo>
                    <a:lnTo>
                      <a:pt x="14" y="20"/>
                    </a:lnTo>
                    <a:lnTo>
                      <a:pt x="18" y="14"/>
                    </a:lnTo>
                    <a:lnTo>
                      <a:pt x="24" y="10"/>
                    </a:lnTo>
                    <a:lnTo>
                      <a:pt x="34" y="4"/>
                    </a:lnTo>
                    <a:close/>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4" name="Freeform 264"/>
              <p:cNvSpPr>
                <a:spLocks/>
              </p:cNvSpPr>
              <p:nvPr/>
            </p:nvSpPr>
            <p:spPr bwMode="auto">
              <a:xfrm>
                <a:off x="1723" y="2505"/>
                <a:ext cx="80" cy="90"/>
              </a:xfrm>
              <a:custGeom>
                <a:avLst/>
                <a:gdLst>
                  <a:gd name="T0" fmla="*/ 30 w 80"/>
                  <a:gd name="T1" fmla="*/ 0 h 90"/>
                  <a:gd name="T2" fmla="*/ 52 w 80"/>
                  <a:gd name="T3" fmla="*/ 14 h 90"/>
                  <a:gd name="T4" fmla="*/ 64 w 80"/>
                  <a:gd name="T5" fmla="*/ 14 h 90"/>
                  <a:gd name="T6" fmla="*/ 80 w 80"/>
                  <a:gd name="T7" fmla="*/ 20 h 90"/>
                  <a:gd name="T8" fmla="*/ 78 w 80"/>
                  <a:gd name="T9" fmla="*/ 26 h 90"/>
                  <a:gd name="T10" fmla="*/ 78 w 80"/>
                  <a:gd name="T11" fmla="*/ 36 h 90"/>
                  <a:gd name="T12" fmla="*/ 74 w 80"/>
                  <a:gd name="T13" fmla="*/ 42 h 90"/>
                  <a:gd name="T14" fmla="*/ 68 w 80"/>
                  <a:gd name="T15" fmla="*/ 50 h 90"/>
                  <a:gd name="T16" fmla="*/ 62 w 80"/>
                  <a:gd name="T17" fmla="*/ 56 h 90"/>
                  <a:gd name="T18" fmla="*/ 48 w 80"/>
                  <a:gd name="T19" fmla="*/ 60 h 90"/>
                  <a:gd name="T20" fmla="*/ 42 w 80"/>
                  <a:gd name="T21" fmla="*/ 66 h 90"/>
                  <a:gd name="T22" fmla="*/ 36 w 80"/>
                  <a:gd name="T23" fmla="*/ 74 h 90"/>
                  <a:gd name="T24" fmla="*/ 32 w 80"/>
                  <a:gd name="T25" fmla="*/ 82 h 90"/>
                  <a:gd name="T26" fmla="*/ 24 w 80"/>
                  <a:gd name="T27" fmla="*/ 90 h 90"/>
                  <a:gd name="T28" fmla="*/ 18 w 80"/>
                  <a:gd name="T29" fmla="*/ 84 h 90"/>
                  <a:gd name="T30" fmla="*/ 8 w 80"/>
                  <a:gd name="T31" fmla="*/ 78 h 90"/>
                  <a:gd name="T32" fmla="*/ 8 w 80"/>
                  <a:gd name="T33" fmla="*/ 68 h 90"/>
                  <a:gd name="T34" fmla="*/ 14 w 80"/>
                  <a:gd name="T35" fmla="*/ 64 h 90"/>
                  <a:gd name="T36" fmla="*/ 16 w 80"/>
                  <a:gd name="T37" fmla="*/ 58 h 90"/>
                  <a:gd name="T38" fmla="*/ 16 w 80"/>
                  <a:gd name="T39" fmla="*/ 52 h 90"/>
                  <a:gd name="T40" fmla="*/ 14 w 80"/>
                  <a:gd name="T41" fmla="*/ 52 h 90"/>
                  <a:gd name="T42" fmla="*/ 10 w 80"/>
                  <a:gd name="T43" fmla="*/ 56 h 90"/>
                  <a:gd name="T44" fmla="*/ 6 w 80"/>
                  <a:gd name="T45" fmla="*/ 56 h 90"/>
                  <a:gd name="T46" fmla="*/ 0 w 80"/>
                  <a:gd name="T47" fmla="*/ 52 h 90"/>
                  <a:gd name="T48" fmla="*/ 0 w 80"/>
                  <a:gd name="T49" fmla="*/ 42 h 90"/>
                  <a:gd name="T50" fmla="*/ 2 w 80"/>
                  <a:gd name="T51" fmla="*/ 34 h 90"/>
                  <a:gd name="T52" fmla="*/ 6 w 80"/>
                  <a:gd name="T53" fmla="*/ 24 h 90"/>
                  <a:gd name="T54" fmla="*/ 10 w 80"/>
                  <a:gd name="T55" fmla="*/ 16 h 90"/>
                  <a:gd name="T56" fmla="*/ 14 w 80"/>
                  <a:gd name="T57" fmla="*/ 10 h 90"/>
                  <a:gd name="T58" fmla="*/ 20 w 80"/>
                  <a:gd name="T59" fmla="*/ 6 h 90"/>
                  <a:gd name="T60" fmla="*/ 30 w 80"/>
                  <a:gd name="T6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90">
                    <a:moveTo>
                      <a:pt x="30" y="0"/>
                    </a:moveTo>
                    <a:lnTo>
                      <a:pt x="52" y="14"/>
                    </a:lnTo>
                    <a:lnTo>
                      <a:pt x="64" y="14"/>
                    </a:lnTo>
                    <a:lnTo>
                      <a:pt x="80" y="20"/>
                    </a:lnTo>
                    <a:lnTo>
                      <a:pt x="78" y="26"/>
                    </a:lnTo>
                    <a:lnTo>
                      <a:pt x="78" y="36"/>
                    </a:lnTo>
                    <a:lnTo>
                      <a:pt x="74" y="42"/>
                    </a:lnTo>
                    <a:lnTo>
                      <a:pt x="68" y="50"/>
                    </a:lnTo>
                    <a:lnTo>
                      <a:pt x="62" y="56"/>
                    </a:lnTo>
                    <a:lnTo>
                      <a:pt x="48" y="60"/>
                    </a:lnTo>
                    <a:lnTo>
                      <a:pt x="42" y="66"/>
                    </a:lnTo>
                    <a:lnTo>
                      <a:pt x="36" y="74"/>
                    </a:lnTo>
                    <a:lnTo>
                      <a:pt x="32" y="82"/>
                    </a:lnTo>
                    <a:lnTo>
                      <a:pt x="24" y="90"/>
                    </a:lnTo>
                    <a:lnTo>
                      <a:pt x="18" y="84"/>
                    </a:lnTo>
                    <a:lnTo>
                      <a:pt x="8" y="78"/>
                    </a:lnTo>
                    <a:lnTo>
                      <a:pt x="8" y="68"/>
                    </a:lnTo>
                    <a:lnTo>
                      <a:pt x="14" y="64"/>
                    </a:lnTo>
                    <a:lnTo>
                      <a:pt x="16" y="58"/>
                    </a:lnTo>
                    <a:lnTo>
                      <a:pt x="16" y="52"/>
                    </a:lnTo>
                    <a:lnTo>
                      <a:pt x="14" y="52"/>
                    </a:lnTo>
                    <a:lnTo>
                      <a:pt x="10" y="56"/>
                    </a:lnTo>
                    <a:lnTo>
                      <a:pt x="6" y="56"/>
                    </a:lnTo>
                    <a:lnTo>
                      <a:pt x="0" y="52"/>
                    </a:lnTo>
                    <a:lnTo>
                      <a:pt x="0" y="42"/>
                    </a:lnTo>
                    <a:lnTo>
                      <a:pt x="2" y="34"/>
                    </a:lnTo>
                    <a:lnTo>
                      <a:pt x="6" y="24"/>
                    </a:lnTo>
                    <a:lnTo>
                      <a:pt x="10" y="16"/>
                    </a:lnTo>
                    <a:lnTo>
                      <a:pt x="14" y="10"/>
                    </a:lnTo>
                    <a:lnTo>
                      <a:pt x="20"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5" name="Freeform 265"/>
              <p:cNvSpPr>
                <a:spLocks/>
              </p:cNvSpPr>
              <p:nvPr/>
            </p:nvSpPr>
            <p:spPr bwMode="auto">
              <a:xfrm>
                <a:off x="1719" y="2501"/>
                <a:ext cx="88" cy="98"/>
              </a:xfrm>
              <a:custGeom>
                <a:avLst/>
                <a:gdLst>
                  <a:gd name="T0" fmla="*/ 34 w 88"/>
                  <a:gd name="T1" fmla="*/ 0 h 98"/>
                  <a:gd name="T2" fmla="*/ 22 w 88"/>
                  <a:gd name="T3" fmla="*/ 6 h 98"/>
                  <a:gd name="T4" fmla="*/ 22 w 88"/>
                  <a:gd name="T5" fmla="*/ 6 h 98"/>
                  <a:gd name="T6" fmla="*/ 14 w 88"/>
                  <a:gd name="T7" fmla="*/ 12 h 98"/>
                  <a:gd name="T8" fmla="*/ 10 w 88"/>
                  <a:gd name="T9" fmla="*/ 18 h 98"/>
                  <a:gd name="T10" fmla="*/ 10 w 88"/>
                  <a:gd name="T11" fmla="*/ 18 h 98"/>
                  <a:gd name="T12" fmla="*/ 6 w 88"/>
                  <a:gd name="T13" fmla="*/ 26 h 98"/>
                  <a:gd name="T14" fmla="*/ 2 w 88"/>
                  <a:gd name="T15" fmla="*/ 36 h 98"/>
                  <a:gd name="T16" fmla="*/ 2 w 88"/>
                  <a:gd name="T17" fmla="*/ 38 h 98"/>
                  <a:gd name="T18" fmla="*/ 0 w 88"/>
                  <a:gd name="T19" fmla="*/ 46 h 98"/>
                  <a:gd name="T20" fmla="*/ 0 w 88"/>
                  <a:gd name="T21" fmla="*/ 56 h 98"/>
                  <a:gd name="T22" fmla="*/ 2 w 88"/>
                  <a:gd name="T23" fmla="*/ 60 h 98"/>
                  <a:gd name="T24" fmla="*/ 8 w 88"/>
                  <a:gd name="T25" fmla="*/ 62 h 98"/>
                  <a:gd name="T26" fmla="*/ 14 w 88"/>
                  <a:gd name="T27" fmla="*/ 64 h 98"/>
                  <a:gd name="T28" fmla="*/ 16 w 88"/>
                  <a:gd name="T29" fmla="*/ 64 h 98"/>
                  <a:gd name="T30" fmla="*/ 10 w 88"/>
                  <a:gd name="T31" fmla="*/ 68 h 98"/>
                  <a:gd name="T32" fmla="*/ 8 w 88"/>
                  <a:gd name="T33" fmla="*/ 72 h 98"/>
                  <a:gd name="T34" fmla="*/ 8 w 88"/>
                  <a:gd name="T35" fmla="*/ 82 h 98"/>
                  <a:gd name="T36" fmla="*/ 20 w 88"/>
                  <a:gd name="T37" fmla="*/ 92 h 98"/>
                  <a:gd name="T38" fmla="*/ 26 w 88"/>
                  <a:gd name="T39" fmla="*/ 96 h 98"/>
                  <a:gd name="T40" fmla="*/ 28 w 88"/>
                  <a:gd name="T41" fmla="*/ 98 h 98"/>
                  <a:gd name="T42" fmla="*/ 40 w 88"/>
                  <a:gd name="T43" fmla="*/ 90 h 98"/>
                  <a:gd name="T44" fmla="*/ 40 w 88"/>
                  <a:gd name="T45" fmla="*/ 88 h 98"/>
                  <a:gd name="T46" fmla="*/ 48 w 88"/>
                  <a:gd name="T47" fmla="*/ 72 h 98"/>
                  <a:gd name="T48" fmla="*/ 66 w 88"/>
                  <a:gd name="T49" fmla="*/ 64 h 98"/>
                  <a:gd name="T50" fmla="*/ 68 w 88"/>
                  <a:gd name="T51" fmla="*/ 62 h 98"/>
                  <a:gd name="T52" fmla="*/ 74 w 88"/>
                  <a:gd name="T53" fmla="*/ 58 h 98"/>
                  <a:gd name="T54" fmla="*/ 82 w 88"/>
                  <a:gd name="T55" fmla="*/ 50 h 98"/>
                  <a:gd name="T56" fmla="*/ 82 w 88"/>
                  <a:gd name="T57" fmla="*/ 48 h 98"/>
                  <a:gd name="T58" fmla="*/ 86 w 88"/>
                  <a:gd name="T59" fmla="*/ 42 h 98"/>
                  <a:gd name="T60" fmla="*/ 86 w 88"/>
                  <a:gd name="T61" fmla="*/ 32 h 98"/>
                  <a:gd name="T62" fmla="*/ 88 w 88"/>
                  <a:gd name="T63" fmla="*/ 24 h 98"/>
                  <a:gd name="T64" fmla="*/ 84 w 88"/>
                  <a:gd name="T65" fmla="*/ 20 h 98"/>
                  <a:gd name="T66" fmla="*/ 68 w 88"/>
                  <a:gd name="T67" fmla="*/ 14 h 98"/>
                  <a:gd name="T68" fmla="*/ 58 w 88"/>
                  <a:gd name="T69" fmla="*/ 14 h 98"/>
                  <a:gd name="T70" fmla="*/ 36 w 88"/>
                  <a:gd name="T71" fmla="*/ 0 h 98"/>
                  <a:gd name="T72" fmla="*/ 34 w 88"/>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 h="98">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6" name="Freeform 266"/>
              <p:cNvSpPr>
                <a:spLocks/>
              </p:cNvSpPr>
              <p:nvPr/>
            </p:nvSpPr>
            <p:spPr bwMode="auto">
              <a:xfrm>
                <a:off x="1985" y="2369"/>
                <a:ext cx="20" cy="14"/>
              </a:xfrm>
              <a:custGeom>
                <a:avLst/>
                <a:gdLst>
                  <a:gd name="T0" fmla="*/ 2 w 20"/>
                  <a:gd name="T1" fmla="*/ 12 h 14"/>
                  <a:gd name="T2" fmla="*/ 2 w 20"/>
                  <a:gd name="T3" fmla="*/ 12 h 14"/>
                  <a:gd name="T4" fmla="*/ 0 w 20"/>
                  <a:gd name="T5" fmla="*/ 12 h 14"/>
                  <a:gd name="T6" fmla="*/ 0 w 20"/>
                  <a:gd name="T7" fmla="*/ 12 h 14"/>
                  <a:gd name="T8" fmla="*/ 0 w 20"/>
                  <a:gd name="T9" fmla="*/ 10 h 14"/>
                  <a:gd name="T10" fmla="*/ 6 w 20"/>
                  <a:gd name="T11" fmla="*/ 4 h 14"/>
                  <a:gd name="T12" fmla="*/ 6 w 20"/>
                  <a:gd name="T13" fmla="*/ 4 h 14"/>
                  <a:gd name="T14" fmla="*/ 6 w 20"/>
                  <a:gd name="T15" fmla="*/ 4 h 14"/>
                  <a:gd name="T16" fmla="*/ 8 w 20"/>
                  <a:gd name="T17" fmla="*/ 4 h 14"/>
                  <a:gd name="T18" fmla="*/ 10 w 20"/>
                  <a:gd name="T19" fmla="*/ 0 h 14"/>
                  <a:gd name="T20" fmla="*/ 10 w 20"/>
                  <a:gd name="T21" fmla="*/ 0 h 14"/>
                  <a:gd name="T22" fmla="*/ 12 w 20"/>
                  <a:gd name="T23" fmla="*/ 0 h 14"/>
                  <a:gd name="T24" fmla="*/ 18 w 20"/>
                  <a:gd name="T25" fmla="*/ 0 h 14"/>
                  <a:gd name="T26" fmla="*/ 18 w 20"/>
                  <a:gd name="T27" fmla="*/ 0 h 14"/>
                  <a:gd name="T28" fmla="*/ 20 w 20"/>
                  <a:gd name="T29" fmla="*/ 0 h 14"/>
                  <a:gd name="T30" fmla="*/ 20 w 20"/>
                  <a:gd name="T31" fmla="*/ 0 h 14"/>
                  <a:gd name="T32" fmla="*/ 20 w 20"/>
                  <a:gd name="T33" fmla="*/ 2 h 14"/>
                  <a:gd name="T34" fmla="*/ 18 w 20"/>
                  <a:gd name="T35" fmla="*/ 8 h 14"/>
                  <a:gd name="T36" fmla="*/ 18 w 20"/>
                  <a:gd name="T37" fmla="*/ 8 h 14"/>
                  <a:gd name="T38" fmla="*/ 18 w 20"/>
                  <a:gd name="T39" fmla="*/ 10 h 14"/>
                  <a:gd name="T40" fmla="*/ 16 w 20"/>
                  <a:gd name="T41" fmla="*/ 14 h 14"/>
                  <a:gd name="T42" fmla="*/ 16 w 20"/>
                  <a:gd name="T43" fmla="*/ 14 h 14"/>
                  <a:gd name="T44" fmla="*/ 14 w 20"/>
                  <a:gd name="T45" fmla="*/ 14 h 14"/>
                  <a:gd name="T46" fmla="*/ 14 w 20"/>
                  <a:gd name="T47" fmla="*/ 14 h 14"/>
                  <a:gd name="T48" fmla="*/ 2 w 20"/>
                  <a:gd name="T49" fmla="*/ 12 h 14"/>
                  <a:gd name="T50" fmla="*/ 2 w 20"/>
                  <a:gd name="T5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4">
                    <a:moveTo>
                      <a:pt x="2" y="12"/>
                    </a:moveTo>
                    <a:lnTo>
                      <a:pt x="2" y="12"/>
                    </a:lnTo>
                    <a:lnTo>
                      <a:pt x="0" y="12"/>
                    </a:lnTo>
                    <a:lnTo>
                      <a:pt x="0" y="12"/>
                    </a:lnTo>
                    <a:lnTo>
                      <a:pt x="0" y="10"/>
                    </a:lnTo>
                    <a:lnTo>
                      <a:pt x="6" y="4"/>
                    </a:lnTo>
                    <a:lnTo>
                      <a:pt x="6" y="4"/>
                    </a:lnTo>
                    <a:lnTo>
                      <a:pt x="6" y="4"/>
                    </a:lnTo>
                    <a:lnTo>
                      <a:pt x="8" y="4"/>
                    </a:lnTo>
                    <a:lnTo>
                      <a:pt x="10" y="0"/>
                    </a:lnTo>
                    <a:lnTo>
                      <a:pt x="10" y="0"/>
                    </a:lnTo>
                    <a:lnTo>
                      <a:pt x="12" y="0"/>
                    </a:lnTo>
                    <a:lnTo>
                      <a:pt x="18" y="0"/>
                    </a:lnTo>
                    <a:lnTo>
                      <a:pt x="18" y="0"/>
                    </a:lnTo>
                    <a:lnTo>
                      <a:pt x="20" y="0"/>
                    </a:lnTo>
                    <a:lnTo>
                      <a:pt x="20" y="0"/>
                    </a:lnTo>
                    <a:lnTo>
                      <a:pt x="20" y="2"/>
                    </a:lnTo>
                    <a:lnTo>
                      <a:pt x="18" y="8"/>
                    </a:lnTo>
                    <a:lnTo>
                      <a:pt x="18" y="8"/>
                    </a:lnTo>
                    <a:lnTo>
                      <a:pt x="18" y="10"/>
                    </a:lnTo>
                    <a:lnTo>
                      <a:pt x="16" y="14"/>
                    </a:lnTo>
                    <a:lnTo>
                      <a:pt x="16" y="14"/>
                    </a:lnTo>
                    <a:lnTo>
                      <a:pt x="14" y="14"/>
                    </a:lnTo>
                    <a:lnTo>
                      <a:pt x="14" y="14"/>
                    </a:lnTo>
                    <a:lnTo>
                      <a:pt x="2" y="12"/>
                    </a:lnTo>
                    <a:lnTo>
                      <a:pt x="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7" name="Freeform 267"/>
              <p:cNvSpPr>
                <a:spLocks noEditPoints="1"/>
              </p:cNvSpPr>
              <p:nvPr/>
            </p:nvSpPr>
            <p:spPr bwMode="auto">
              <a:xfrm>
                <a:off x="1983" y="2367"/>
                <a:ext cx="24" cy="18"/>
              </a:xfrm>
              <a:custGeom>
                <a:avLst/>
                <a:gdLst>
                  <a:gd name="T0" fmla="*/ 20 w 24"/>
                  <a:gd name="T1" fmla="*/ 4 h 18"/>
                  <a:gd name="T2" fmla="*/ 18 w 24"/>
                  <a:gd name="T3" fmla="*/ 10 h 18"/>
                  <a:gd name="T4" fmla="*/ 16 w 24"/>
                  <a:gd name="T5" fmla="*/ 14 h 18"/>
                  <a:gd name="T6" fmla="*/ 4 w 24"/>
                  <a:gd name="T7" fmla="*/ 12 h 18"/>
                  <a:gd name="T8" fmla="*/ 8 w 24"/>
                  <a:gd name="T9" fmla="*/ 8 h 18"/>
                  <a:gd name="T10" fmla="*/ 12 w 24"/>
                  <a:gd name="T11" fmla="*/ 8 h 18"/>
                  <a:gd name="T12" fmla="*/ 14 w 24"/>
                  <a:gd name="T13" fmla="*/ 4 h 18"/>
                  <a:gd name="T14" fmla="*/ 20 w 24"/>
                  <a:gd name="T15" fmla="*/ 4 h 18"/>
                  <a:gd name="T16" fmla="*/ 20 w 24"/>
                  <a:gd name="T17" fmla="*/ 0 h 18"/>
                  <a:gd name="T18" fmla="*/ 14 w 24"/>
                  <a:gd name="T19" fmla="*/ 0 h 18"/>
                  <a:gd name="T20" fmla="*/ 14 w 24"/>
                  <a:gd name="T21" fmla="*/ 0 h 18"/>
                  <a:gd name="T22" fmla="*/ 12 w 24"/>
                  <a:gd name="T23" fmla="*/ 0 h 18"/>
                  <a:gd name="T24" fmla="*/ 10 w 24"/>
                  <a:gd name="T25" fmla="*/ 2 h 18"/>
                  <a:gd name="T26" fmla="*/ 10 w 24"/>
                  <a:gd name="T27" fmla="*/ 4 h 18"/>
                  <a:gd name="T28" fmla="*/ 8 w 24"/>
                  <a:gd name="T29" fmla="*/ 4 h 18"/>
                  <a:gd name="T30" fmla="*/ 8 w 24"/>
                  <a:gd name="T31" fmla="*/ 4 h 18"/>
                  <a:gd name="T32" fmla="*/ 6 w 24"/>
                  <a:gd name="T33" fmla="*/ 4 h 18"/>
                  <a:gd name="T34" fmla="*/ 0 w 24"/>
                  <a:gd name="T35" fmla="*/ 10 h 18"/>
                  <a:gd name="T36" fmla="*/ 0 w 24"/>
                  <a:gd name="T37" fmla="*/ 10 h 18"/>
                  <a:gd name="T38" fmla="*/ 0 w 24"/>
                  <a:gd name="T39" fmla="*/ 14 h 18"/>
                  <a:gd name="T40" fmla="*/ 0 w 24"/>
                  <a:gd name="T41" fmla="*/ 14 h 18"/>
                  <a:gd name="T42" fmla="*/ 4 w 24"/>
                  <a:gd name="T43" fmla="*/ 16 h 18"/>
                  <a:gd name="T44" fmla="*/ 16 w 24"/>
                  <a:gd name="T45" fmla="*/ 18 h 18"/>
                  <a:gd name="T46" fmla="*/ 16 w 24"/>
                  <a:gd name="T47" fmla="*/ 18 h 18"/>
                  <a:gd name="T48" fmla="*/ 16 w 24"/>
                  <a:gd name="T49" fmla="*/ 18 h 18"/>
                  <a:gd name="T50" fmla="*/ 16 w 24"/>
                  <a:gd name="T51" fmla="*/ 18 h 18"/>
                  <a:gd name="T52" fmla="*/ 18 w 24"/>
                  <a:gd name="T53" fmla="*/ 16 h 18"/>
                  <a:gd name="T54" fmla="*/ 22 w 24"/>
                  <a:gd name="T55" fmla="*/ 12 h 18"/>
                  <a:gd name="T56" fmla="*/ 22 w 24"/>
                  <a:gd name="T57" fmla="*/ 12 h 18"/>
                  <a:gd name="T58" fmla="*/ 22 w 24"/>
                  <a:gd name="T59" fmla="*/ 12 h 18"/>
                  <a:gd name="T60" fmla="*/ 24 w 24"/>
                  <a:gd name="T61" fmla="*/ 4 h 18"/>
                  <a:gd name="T62" fmla="*/ 24 w 24"/>
                  <a:gd name="T63" fmla="*/ 4 h 18"/>
                  <a:gd name="T64" fmla="*/ 24 w 24"/>
                  <a:gd name="T65" fmla="*/ 0 h 18"/>
                  <a:gd name="T66" fmla="*/ 24 w 24"/>
                  <a:gd name="T67" fmla="*/ 0 h 18"/>
                  <a:gd name="T68" fmla="*/ 20 w 24"/>
                  <a:gd name="T69" fmla="*/ 0 h 18"/>
                  <a:gd name="T70" fmla="*/ 20 w 24"/>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18">
                    <a:moveTo>
                      <a:pt x="20" y="4"/>
                    </a:moveTo>
                    <a:lnTo>
                      <a:pt x="18" y="10"/>
                    </a:lnTo>
                    <a:lnTo>
                      <a:pt x="16" y="14"/>
                    </a:lnTo>
                    <a:lnTo>
                      <a:pt x="4" y="12"/>
                    </a:lnTo>
                    <a:lnTo>
                      <a:pt x="8" y="8"/>
                    </a:lnTo>
                    <a:lnTo>
                      <a:pt x="12" y="8"/>
                    </a:lnTo>
                    <a:lnTo>
                      <a:pt x="14" y="4"/>
                    </a:lnTo>
                    <a:lnTo>
                      <a:pt x="20" y="4"/>
                    </a:lnTo>
                    <a:close/>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8" name="Freeform 268"/>
              <p:cNvSpPr>
                <a:spLocks/>
              </p:cNvSpPr>
              <p:nvPr/>
            </p:nvSpPr>
            <p:spPr bwMode="auto">
              <a:xfrm>
                <a:off x="1987" y="2371"/>
                <a:ext cx="16" cy="10"/>
              </a:xfrm>
              <a:custGeom>
                <a:avLst/>
                <a:gdLst>
                  <a:gd name="T0" fmla="*/ 16 w 16"/>
                  <a:gd name="T1" fmla="*/ 0 h 10"/>
                  <a:gd name="T2" fmla="*/ 14 w 16"/>
                  <a:gd name="T3" fmla="*/ 6 h 10"/>
                  <a:gd name="T4" fmla="*/ 12 w 16"/>
                  <a:gd name="T5" fmla="*/ 10 h 10"/>
                  <a:gd name="T6" fmla="*/ 0 w 16"/>
                  <a:gd name="T7" fmla="*/ 8 h 10"/>
                  <a:gd name="T8" fmla="*/ 4 w 16"/>
                  <a:gd name="T9" fmla="*/ 4 h 10"/>
                  <a:gd name="T10" fmla="*/ 8 w 16"/>
                  <a:gd name="T11" fmla="*/ 4 h 10"/>
                  <a:gd name="T12" fmla="*/ 10 w 16"/>
                  <a:gd name="T13" fmla="*/ 0 h 10"/>
                  <a:gd name="T14" fmla="*/ 16 w 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0">
                    <a:moveTo>
                      <a:pt x="16" y="0"/>
                    </a:moveTo>
                    <a:lnTo>
                      <a:pt x="14" y="6"/>
                    </a:lnTo>
                    <a:lnTo>
                      <a:pt x="12" y="10"/>
                    </a:lnTo>
                    <a:lnTo>
                      <a:pt x="0" y="8"/>
                    </a:lnTo>
                    <a:lnTo>
                      <a:pt x="4" y="4"/>
                    </a:lnTo>
                    <a:lnTo>
                      <a:pt x="8" y="4"/>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9" name="Freeform 269"/>
              <p:cNvSpPr>
                <a:spLocks/>
              </p:cNvSpPr>
              <p:nvPr/>
            </p:nvSpPr>
            <p:spPr bwMode="auto">
              <a:xfrm>
                <a:off x="1983" y="2367"/>
                <a:ext cx="24" cy="18"/>
              </a:xfrm>
              <a:custGeom>
                <a:avLst/>
                <a:gdLst>
                  <a:gd name="T0" fmla="*/ 20 w 24"/>
                  <a:gd name="T1" fmla="*/ 0 h 18"/>
                  <a:gd name="T2" fmla="*/ 14 w 24"/>
                  <a:gd name="T3" fmla="*/ 0 h 18"/>
                  <a:gd name="T4" fmla="*/ 14 w 24"/>
                  <a:gd name="T5" fmla="*/ 0 h 18"/>
                  <a:gd name="T6" fmla="*/ 12 w 24"/>
                  <a:gd name="T7" fmla="*/ 0 h 18"/>
                  <a:gd name="T8" fmla="*/ 10 w 24"/>
                  <a:gd name="T9" fmla="*/ 2 h 18"/>
                  <a:gd name="T10" fmla="*/ 10 w 24"/>
                  <a:gd name="T11" fmla="*/ 4 h 18"/>
                  <a:gd name="T12" fmla="*/ 8 w 24"/>
                  <a:gd name="T13" fmla="*/ 4 h 18"/>
                  <a:gd name="T14" fmla="*/ 8 w 24"/>
                  <a:gd name="T15" fmla="*/ 4 h 18"/>
                  <a:gd name="T16" fmla="*/ 6 w 24"/>
                  <a:gd name="T17" fmla="*/ 4 h 18"/>
                  <a:gd name="T18" fmla="*/ 0 w 24"/>
                  <a:gd name="T19" fmla="*/ 10 h 18"/>
                  <a:gd name="T20" fmla="*/ 0 w 24"/>
                  <a:gd name="T21" fmla="*/ 10 h 18"/>
                  <a:gd name="T22" fmla="*/ 0 w 24"/>
                  <a:gd name="T23" fmla="*/ 14 h 18"/>
                  <a:gd name="T24" fmla="*/ 0 w 24"/>
                  <a:gd name="T25" fmla="*/ 14 h 18"/>
                  <a:gd name="T26" fmla="*/ 4 w 24"/>
                  <a:gd name="T27" fmla="*/ 16 h 18"/>
                  <a:gd name="T28" fmla="*/ 16 w 24"/>
                  <a:gd name="T29" fmla="*/ 18 h 18"/>
                  <a:gd name="T30" fmla="*/ 16 w 24"/>
                  <a:gd name="T31" fmla="*/ 18 h 18"/>
                  <a:gd name="T32" fmla="*/ 16 w 24"/>
                  <a:gd name="T33" fmla="*/ 18 h 18"/>
                  <a:gd name="T34" fmla="*/ 16 w 24"/>
                  <a:gd name="T35" fmla="*/ 18 h 18"/>
                  <a:gd name="T36" fmla="*/ 18 w 24"/>
                  <a:gd name="T37" fmla="*/ 16 h 18"/>
                  <a:gd name="T38" fmla="*/ 22 w 24"/>
                  <a:gd name="T39" fmla="*/ 12 h 18"/>
                  <a:gd name="T40" fmla="*/ 22 w 24"/>
                  <a:gd name="T41" fmla="*/ 12 h 18"/>
                  <a:gd name="T42" fmla="*/ 22 w 24"/>
                  <a:gd name="T43" fmla="*/ 12 h 18"/>
                  <a:gd name="T44" fmla="*/ 24 w 24"/>
                  <a:gd name="T45" fmla="*/ 4 h 18"/>
                  <a:gd name="T46" fmla="*/ 24 w 24"/>
                  <a:gd name="T47" fmla="*/ 4 h 18"/>
                  <a:gd name="T48" fmla="*/ 24 w 24"/>
                  <a:gd name="T49" fmla="*/ 0 h 18"/>
                  <a:gd name="T50" fmla="*/ 24 w 24"/>
                  <a:gd name="T51" fmla="*/ 0 h 18"/>
                  <a:gd name="T52" fmla="*/ 20 w 24"/>
                  <a:gd name="T53" fmla="*/ 0 h 18"/>
                  <a:gd name="T54" fmla="*/ 20 w 24"/>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18">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0" name="Freeform 270"/>
              <p:cNvSpPr>
                <a:spLocks/>
              </p:cNvSpPr>
              <p:nvPr/>
            </p:nvSpPr>
            <p:spPr bwMode="auto">
              <a:xfrm>
                <a:off x="1829" y="2345"/>
                <a:ext cx="194" cy="168"/>
              </a:xfrm>
              <a:custGeom>
                <a:avLst/>
                <a:gdLst>
                  <a:gd name="T0" fmla="*/ 96 w 194"/>
                  <a:gd name="T1" fmla="*/ 166 h 168"/>
                  <a:gd name="T2" fmla="*/ 86 w 194"/>
                  <a:gd name="T3" fmla="*/ 154 h 168"/>
                  <a:gd name="T4" fmla="*/ 82 w 194"/>
                  <a:gd name="T5" fmla="*/ 144 h 168"/>
                  <a:gd name="T6" fmla="*/ 78 w 194"/>
                  <a:gd name="T7" fmla="*/ 124 h 168"/>
                  <a:gd name="T8" fmla="*/ 78 w 194"/>
                  <a:gd name="T9" fmla="*/ 98 h 168"/>
                  <a:gd name="T10" fmla="*/ 82 w 194"/>
                  <a:gd name="T11" fmla="*/ 92 h 168"/>
                  <a:gd name="T12" fmla="*/ 54 w 194"/>
                  <a:gd name="T13" fmla="*/ 90 h 168"/>
                  <a:gd name="T14" fmla="*/ 42 w 194"/>
                  <a:gd name="T15" fmla="*/ 78 h 168"/>
                  <a:gd name="T16" fmla="*/ 18 w 194"/>
                  <a:gd name="T17" fmla="*/ 80 h 168"/>
                  <a:gd name="T18" fmla="*/ 10 w 194"/>
                  <a:gd name="T19" fmla="*/ 76 h 168"/>
                  <a:gd name="T20" fmla="*/ 0 w 194"/>
                  <a:gd name="T21" fmla="*/ 44 h 168"/>
                  <a:gd name="T22" fmla="*/ 2 w 194"/>
                  <a:gd name="T23" fmla="*/ 30 h 168"/>
                  <a:gd name="T24" fmla="*/ 6 w 194"/>
                  <a:gd name="T25" fmla="*/ 22 h 168"/>
                  <a:gd name="T26" fmla="*/ 18 w 194"/>
                  <a:gd name="T27" fmla="*/ 14 h 168"/>
                  <a:gd name="T28" fmla="*/ 22 w 194"/>
                  <a:gd name="T29" fmla="*/ 16 h 168"/>
                  <a:gd name="T30" fmla="*/ 24 w 194"/>
                  <a:gd name="T31" fmla="*/ 30 h 168"/>
                  <a:gd name="T32" fmla="*/ 18 w 194"/>
                  <a:gd name="T33" fmla="*/ 34 h 168"/>
                  <a:gd name="T34" fmla="*/ 26 w 194"/>
                  <a:gd name="T35" fmla="*/ 44 h 168"/>
                  <a:gd name="T36" fmla="*/ 24 w 194"/>
                  <a:gd name="T37" fmla="*/ 26 h 168"/>
                  <a:gd name="T38" fmla="*/ 28 w 194"/>
                  <a:gd name="T39" fmla="*/ 20 h 168"/>
                  <a:gd name="T40" fmla="*/ 34 w 194"/>
                  <a:gd name="T41" fmla="*/ 16 h 168"/>
                  <a:gd name="T42" fmla="*/ 40 w 194"/>
                  <a:gd name="T43" fmla="*/ 4 h 168"/>
                  <a:gd name="T44" fmla="*/ 46 w 194"/>
                  <a:gd name="T45" fmla="*/ 0 h 168"/>
                  <a:gd name="T46" fmla="*/ 46 w 194"/>
                  <a:gd name="T47" fmla="*/ 0 h 168"/>
                  <a:gd name="T48" fmla="*/ 50 w 194"/>
                  <a:gd name="T49" fmla="*/ 6 h 168"/>
                  <a:gd name="T50" fmla="*/ 56 w 194"/>
                  <a:gd name="T51" fmla="*/ 14 h 168"/>
                  <a:gd name="T52" fmla="*/ 66 w 194"/>
                  <a:gd name="T53" fmla="*/ 16 h 168"/>
                  <a:gd name="T54" fmla="*/ 90 w 194"/>
                  <a:gd name="T55" fmla="*/ 26 h 168"/>
                  <a:gd name="T56" fmla="*/ 100 w 194"/>
                  <a:gd name="T57" fmla="*/ 26 h 168"/>
                  <a:gd name="T58" fmla="*/ 132 w 194"/>
                  <a:gd name="T59" fmla="*/ 26 h 168"/>
                  <a:gd name="T60" fmla="*/ 142 w 194"/>
                  <a:gd name="T61" fmla="*/ 24 h 168"/>
                  <a:gd name="T62" fmla="*/ 150 w 194"/>
                  <a:gd name="T63" fmla="*/ 26 h 168"/>
                  <a:gd name="T64" fmla="*/ 160 w 194"/>
                  <a:gd name="T65" fmla="*/ 28 h 168"/>
                  <a:gd name="T66" fmla="*/ 156 w 194"/>
                  <a:gd name="T67" fmla="*/ 32 h 168"/>
                  <a:gd name="T68" fmla="*/ 160 w 194"/>
                  <a:gd name="T69" fmla="*/ 36 h 168"/>
                  <a:gd name="T70" fmla="*/ 172 w 194"/>
                  <a:gd name="T71" fmla="*/ 38 h 168"/>
                  <a:gd name="T72" fmla="*/ 178 w 194"/>
                  <a:gd name="T73" fmla="*/ 44 h 168"/>
                  <a:gd name="T74" fmla="*/ 176 w 194"/>
                  <a:gd name="T75" fmla="*/ 50 h 168"/>
                  <a:gd name="T76" fmla="*/ 178 w 194"/>
                  <a:gd name="T77" fmla="*/ 54 h 168"/>
                  <a:gd name="T78" fmla="*/ 184 w 194"/>
                  <a:gd name="T79" fmla="*/ 52 h 168"/>
                  <a:gd name="T80" fmla="*/ 192 w 194"/>
                  <a:gd name="T81" fmla="*/ 56 h 168"/>
                  <a:gd name="T82" fmla="*/ 194 w 194"/>
                  <a:gd name="T83" fmla="*/ 58 h 168"/>
                  <a:gd name="T84" fmla="*/ 184 w 194"/>
                  <a:gd name="T85" fmla="*/ 70 h 168"/>
                  <a:gd name="T86" fmla="*/ 186 w 194"/>
                  <a:gd name="T87" fmla="*/ 78 h 168"/>
                  <a:gd name="T88" fmla="*/ 176 w 194"/>
                  <a:gd name="T89" fmla="*/ 94 h 168"/>
                  <a:gd name="T90" fmla="*/ 180 w 194"/>
                  <a:gd name="T91" fmla="*/ 104 h 168"/>
                  <a:gd name="T92" fmla="*/ 176 w 194"/>
                  <a:gd name="T93" fmla="*/ 114 h 168"/>
                  <a:gd name="T94" fmla="*/ 156 w 194"/>
                  <a:gd name="T95" fmla="*/ 122 h 168"/>
                  <a:gd name="T96" fmla="*/ 150 w 194"/>
                  <a:gd name="T97" fmla="*/ 124 h 168"/>
                  <a:gd name="T98" fmla="*/ 128 w 194"/>
                  <a:gd name="T99" fmla="*/ 120 h 168"/>
                  <a:gd name="T100" fmla="*/ 130 w 194"/>
                  <a:gd name="T101" fmla="*/ 124 h 168"/>
                  <a:gd name="T102" fmla="*/ 136 w 194"/>
                  <a:gd name="T103" fmla="*/ 138 h 168"/>
                  <a:gd name="T104" fmla="*/ 142 w 194"/>
                  <a:gd name="T105" fmla="*/ 140 h 168"/>
                  <a:gd name="T106" fmla="*/ 140 w 194"/>
                  <a:gd name="T107" fmla="*/ 150 h 168"/>
                  <a:gd name="T108" fmla="*/ 130 w 194"/>
                  <a:gd name="T109" fmla="*/ 152 h 168"/>
                  <a:gd name="T110" fmla="*/ 120 w 194"/>
                  <a:gd name="T111" fmla="*/ 164 h 168"/>
                  <a:gd name="T112" fmla="*/ 106 w 194"/>
                  <a:gd name="T113" fmla="*/ 168 h 168"/>
                  <a:gd name="T114" fmla="*/ 106 w 194"/>
                  <a:gd name="T11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68">
                    <a:moveTo>
                      <a:pt x="106" y="168"/>
                    </a:moveTo>
                    <a:lnTo>
                      <a:pt x="96" y="166"/>
                    </a:lnTo>
                    <a:lnTo>
                      <a:pt x="96" y="166"/>
                    </a:lnTo>
                    <a:lnTo>
                      <a:pt x="96" y="166"/>
                    </a:lnTo>
                    <a:lnTo>
                      <a:pt x="88" y="158"/>
                    </a:lnTo>
                    <a:lnTo>
                      <a:pt x="86" y="154"/>
                    </a:lnTo>
                    <a:lnTo>
                      <a:pt x="84" y="146"/>
                    </a:lnTo>
                    <a:lnTo>
                      <a:pt x="82" y="144"/>
                    </a:lnTo>
                    <a:lnTo>
                      <a:pt x="82" y="144"/>
                    </a:lnTo>
                    <a:lnTo>
                      <a:pt x="80" y="142"/>
                    </a:lnTo>
                    <a:lnTo>
                      <a:pt x="80" y="124"/>
                    </a:lnTo>
                    <a:lnTo>
                      <a:pt x="78" y="124"/>
                    </a:lnTo>
                    <a:lnTo>
                      <a:pt x="78" y="124"/>
                    </a:lnTo>
                    <a:lnTo>
                      <a:pt x="78" y="122"/>
                    </a:lnTo>
                    <a:lnTo>
                      <a:pt x="78" y="98"/>
                    </a:lnTo>
                    <a:lnTo>
                      <a:pt x="78" y="98"/>
                    </a:lnTo>
                    <a:lnTo>
                      <a:pt x="78" y="98"/>
                    </a:lnTo>
                    <a:lnTo>
                      <a:pt x="82" y="92"/>
                    </a:lnTo>
                    <a:lnTo>
                      <a:pt x="78" y="88"/>
                    </a:lnTo>
                    <a:lnTo>
                      <a:pt x="78" y="88"/>
                    </a:lnTo>
                    <a:lnTo>
                      <a:pt x="54" y="90"/>
                    </a:lnTo>
                    <a:lnTo>
                      <a:pt x="54" y="90"/>
                    </a:lnTo>
                    <a:lnTo>
                      <a:pt x="52" y="88"/>
                    </a:lnTo>
                    <a:lnTo>
                      <a:pt x="42" y="78"/>
                    </a:lnTo>
                    <a:lnTo>
                      <a:pt x="42" y="78"/>
                    </a:lnTo>
                    <a:lnTo>
                      <a:pt x="18" y="80"/>
                    </a:lnTo>
                    <a:lnTo>
                      <a:pt x="18" y="80"/>
                    </a:lnTo>
                    <a:lnTo>
                      <a:pt x="16" y="78"/>
                    </a:lnTo>
                    <a:lnTo>
                      <a:pt x="10" y="76"/>
                    </a:lnTo>
                    <a:lnTo>
                      <a:pt x="10" y="76"/>
                    </a:lnTo>
                    <a:lnTo>
                      <a:pt x="10" y="74"/>
                    </a:lnTo>
                    <a:lnTo>
                      <a:pt x="10" y="62"/>
                    </a:lnTo>
                    <a:lnTo>
                      <a:pt x="0" y="44"/>
                    </a:lnTo>
                    <a:lnTo>
                      <a:pt x="0" y="44"/>
                    </a:lnTo>
                    <a:lnTo>
                      <a:pt x="0" y="44"/>
                    </a:lnTo>
                    <a:lnTo>
                      <a:pt x="2" y="30"/>
                    </a:lnTo>
                    <a:lnTo>
                      <a:pt x="2" y="30"/>
                    </a:lnTo>
                    <a:lnTo>
                      <a:pt x="2" y="30"/>
                    </a:lnTo>
                    <a:lnTo>
                      <a:pt x="6" y="22"/>
                    </a:lnTo>
                    <a:lnTo>
                      <a:pt x="16" y="14"/>
                    </a:lnTo>
                    <a:lnTo>
                      <a:pt x="16" y="14"/>
                    </a:lnTo>
                    <a:lnTo>
                      <a:pt x="18" y="14"/>
                    </a:lnTo>
                    <a:lnTo>
                      <a:pt x="18" y="14"/>
                    </a:lnTo>
                    <a:lnTo>
                      <a:pt x="18" y="14"/>
                    </a:lnTo>
                    <a:lnTo>
                      <a:pt x="22" y="16"/>
                    </a:lnTo>
                    <a:lnTo>
                      <a:pt x="22" y="16"/>
                    </a:lnTo>
                    <a:lnTo>
                      <a:pt x="24" y="16"/>
                    </a:lnTo>
                    <a:lnTo>
                      <a:pt x="24" y="30"/>
                    </a:lnTo>
                    <a:lnTo>
                      <a:pt x="24" y="30"/>
                    </a:lnTo>
                    <a:lnTo>
                      <a:pt x="22" y="30"/>
                    </a:lnTo>
                    <a:lnTo>
                      <a:pt x="18" y="34"/>
                    </a:lnTo>
                    <a:lnTo>
                      <a:pt x="20" y="42"/>
                    </a:lnTo>
                    <a:lnTo>
                      <a:pt x="22" y="46"/>
                    </a:lnTo>
                    <a:lnTo>
                      <a:pt x="26" y="44"/>
                    </a:lnTo>
                    <a:lnTo>
                      <a:pt x="30" y="38"/>
                    </a:lnTo>
                    <a:lnTo>
                      <a:pt x="26" y="32"/>
                    </a:lnTo>
                    <a:lnTo>
                      <a:pt x="24" y="26"/>
                    </a:lnTo>
                    <a:lnTo>
                      <a:pt x="24" y="26"/>
                    </a:lnTo>
                    <a:lnTo>
                      <a:pt x="24" y="24"/>
                    </a:lnTo>
                    <a:lnTo>
                      <a:pt x="28" y="20"/>
                    </a:lnTo>
                    <a:lnTo>
                      <a:pt x="28" y="20"/>
                    </a:lnTo>
                    <a:lnTo>
                      <a:pt x="30" y="18"/>
                    </a:lnTo>
                    <a:lnTo>
                      <a:pt x="34" y="16"/>
                    </a:lnTo>
                    <a:lnTo>
                      <a:pt x="40" y="14"/>
                    </a:lnTo>
                    <a:lnTo>
                      <a:pt x="40" y="10"/>
                    </a:lnTo>
                    <a:lnTo>
                      <a:pt x="40" y="4"/>
                    </a:lnTo>
                    <a:lnTo>
                      <a:pt x="40" y="4"/>
                    </a:lnTo>
                    <a:lnTo>
                      <a:pt x="42" y="2"/>
                    </a:lnTo>
                    <a:lnTo>
                      <a:pt x="46" y="0"/>
                    </a:lnTo>
                    <a:lnTo>
                      <a:pt x="46" y="0"/>
                    </a:lnTo>
                    <a:lnTo>
                      <a:pt x="46" y="0"/>
                    </a:lnTo>
                    <a:lnTo>
                      <a:pt x="46" y="0"/>
                    </a:lnTo>
                    <a:lnTo>
                      <a:pt x="48" y="2"/>
                    </a:lnTo>
                    <a:lnTo>
                      <a:pt x="50" y="6"/>
                    </a:lnTo>
                    <a:lnTo>
                      <a:pt x="50" y="6"/>
                    </a:lnTo>
                    <a:lnTo>
                      <a:pt x="50" y="6"/>
                    </a:lnTo>
                    <a:lnTo>
                      <a:pt x="50" y="12"/>
                    </a:lnTo>
                    <a:lnTo>
                      <a:pt x="56" y="14"/>
                    </a:lnTo>
                    <a:lnTo>
                      <a:pt x="64" y="14"/>
                    </a:lnTo>
                    <a:lnTo>
                      <a:pt x="64" y="14"/>
                    </a:lnTo>
                    <a:lnTo>
                      <a:pt x="66" y="16"/>
                    </a:lnTo>
                    <a:lnTo>
                      <a:pt x="72" y="20"/>
                    </a:lnTo>
                    <a:lnTo>
                      <a:pt x="74" y="22"/>
                    </a:lnTo>
                    <a:lnTo>
                      <a:pt x="90" y="26"/>
                    </a:lnTo>
                    <a:lnTo>
                      <a:pt x="98" y="26"/>
                    </a:lnTo>
                    <a:lnTo>
                      <a:pt x="98" y="26"/>
                    </a:lnTo>
                    <a:lnTo>
                      <a:pt x="100" y="26"/>
                    </a:lnTo>
                    <a:lnTo>
                      <a:pt x="116" y="32"/>
                    </a:lnTo>
                    <a:lnTo>
                      <a:pt x="126" y="30"/>
                    </a:lnTo>
                    <a:lnTo>
                      <a:pt x="132" y="26"/>
                    </a:lnTo>
                    <a:lnTo>
                      <a:pt x="142" y="24"/>
                    </a:lnTo>
                    <a:lnTo>
                      <a:pt x="142" y="24"/>
                    </a:lnTo>
                    <a:lnTo>
                      <a:pt x="142" y="24"/>
                    </a:lnTo>
                    <a:lnTo>
                      <a:pt x="142" y="24"/>
                    </a:lnTo>
                    <a:lnTo>
                      <a:pt x="142" y="24"/>
                    </a:lnTo>
                    <a:lnTo>
                      <a:pt x="150" y="26"/>
                    </a:lnTo>
                    <a:lnTo>
                      <a:pt x="158" y="26"/>
                    </a:lnTo>
                    <a:lnTo>
                      <a:pt x="158" y="26"/>
                    </a:lnTo>
                    <a:lnTo>
                      <a:pt x="160" y="28"/>
                    </a:lnTo>
                    <a:lnTo>
                      <a:pt x="160" y="28"/>
                    </a:lnTo>
                    <a:lnTo>
                      <a:pt x="160" y="30"/>
                    </a:lnTo>
                    <a:lnTo>
                      <a:pt x="156" y="32"/>
                    </a:lnTo>
                    <a:lnTo>
                      <a:pt x="150" y="32"/>
                    </a:lnTo>
                    <a:lnTo>
                      <a:pt x="152" y="36"/>
                    </a:lnTo>
                    <a:lnTo>
                      <a:pt x="160" y="36"/>
                    </a:lnTo>
                    <a:lnTo>
                      <a:pt x="172" y="38"/>
                    </a:lnTo>
                    <a:lnTo>
                      <a:pt x="172" y="38"/>
                    </a:lnTo>
                    <a:lnTo>
                      <a:pt x="172" y="38"/>
                    </a:lnTo>
                    <a:lnTo>
                      <a:pt x="176" y="42"/>
                    </a:lnTo>
                    <a:lnTo>
                      <a:pt x="176" y="42"/>
                    </a:lnTo>
                    <a:lnTo>
                      <a:pt x="178" y="44"/>
                    </a:lnTo>
                    <a:lnTo>
                      <a:pt x="178" y="48"/>
                    </a:lnTo>
                    <a:lnTo>
                      <a:pt x="178" y="48"/>
                    </a:lnTo>
                    <a:lnTo>
                      <a:pt x="176" y="50"/>
                    </a:lnTo>
                    <a:lnTo>
                      <a:pt x="174" y="54"/>
                    </a:lnTo>
                    <a:lnTo>
                      <a:pt x="174" y="56"/>
                    </a:lnTo>
                    <a:lnTo>
                      <a:pt x="178" y="54"/>
                    </a:lnTo>
                    <a:lnTo>
                      <a:pt x="184" y="52"/>
                    </a:lnTo>
                    <a:lnTo>
                      <a:pt x="184" y="52"/>
                    </a:lnTo>
                    <a:lnTo>
                      <a:pt x="184" y="52"/>
                    </a:lnTo>
                    <a:lnTo>
                      <a:pt x="184" y="52"/>
                    </a:lnTo>
                    <a:lnTo>
                      <a:pt x="186" y="52"/>
                    </a:lnTo>
                    <a:lnTo>
                      <a:pt x="192" y="56"/>
                    </a:lnTo>
                    <a:lnTo>
                      <a:pt x="192" y="56"/>
                    </a:lnTo>
                    <a:lnTo>
                      <a:pt x="194" y="58"/>
                    </a:lnTo>
                    <a:lnTo>
                      <a:pt x="194" y="58"/>
                    </a:lnTo>
                    <a:lnTo>
                      <a:pt x="192" y="58"/>
                    </a:lnTo>
                    <a:lnTo>
                      <a:pt x="188" y="66"/>
                    </a:lnTo>
                    <a:lnTo>
                      <a:pt x="184" y="70"/>
                    </a:lnTo>
                    <a:lnTo>
                      <a:pt x="186" y="76"/>
                    </a:lnTo>
                    <a:lnTo>
                      <a:pt x="186" y="76"/>
                    </a:lnTo>
                    <a:lnTo>
                      <a:pt x="186" y="78"/>
                    </a:lnTo>
                    <a:lnTo>
                      <a:pt x="176" y="84"/>
                    </a:lnTo>
                    <a:lnTo>
                      <a:pt x="174" y="88"/>
                    </a:lnTo>
                    <a:lnTo>
                      <a:pt x="176" y="94"/>
                    </a:lnTo>
                    <a:lnTo>
                      <a:pt x="178" y="98"/>
                    </a:lnTo>
                    <a:lnTo>
                      <a:pt x="180" y="104"/>
                    </a:lnTo>
                    <a:lnTo>
                      <a:pt x="180" y="104"/>
                    </a:lnTo>
                    <a:lnTo>
                      <a:pt x="180" y="106"/>
                    </a:lnTo>
                    <a:lnTo>
                      <a:pt x="176" y="114"/>
                    </a:lnTo>
                    <a:lnTo>
                      <a:pt x="176" y="114"/>
                    </a:lnTo>
                    <a:lnTo>
                      <a:pt x="176" y="116"/>
                    </a:lnTo>
                    <a:lnTo>
                      <a:pt x="164" y="120"/>
                    </a:lnTo>
                    <a:lnTo>
                      <a:pt x="156" y="122"/>
                    </a:lnTo>
                    <a:lnTo>
                      <a:pt x="150" y="124"/>
                    </a:lnTo>
                    <a:lnTo>
                      <a:pt x="150" y="124"/>
                    </a:lnTo>
                    <a:lnTo>
                      <a:pt x="150" y="124"/>
                    </a:lnTo>
                    <a:lnTo>
                      <a:pt x="144" y="124"/>
                    </a:lnTo>
                    <a:lnTo>
                      <a:pt x="134" y="124"/>
                    </a:lnTo>
                    <a:lnTo>
                      <a:pt x="128" y="120"/>
                    </a:lnTo>
                    <a:lnTo>
                      <a:pt x="126" y="120"/>
                    </a:lnTo>
                    <a:lnTo>
                      <a:pt x="130" y="124"/>
                    </a:lnTo>
                    <a:lnTo>
                      <a:pt x="130" y="124"/>
                    </a:lnTo>
                    <a:lnTo>
                      <a:pt x="130" y="124"/>
                    </a:lnTo>
                    <a:lnTo>
                      <a:pt x="132" y="132"/>
                    </a:lnTo>
                    <a:lnTo>
                      <a:pt x="136" y="138"/>
                    </a:lnTo>
                    <a:lnTo>
                      <a:pt x="140" y="138"/>
                    </a:lnTo>
                    <a:lnTo>
                      <a:pt x="140" y="138"/>
                    </a:lnTo>
                    <a:lnTo>
                      <a:pt x="142" y="140"/>
                    </a:lnTo>
                    <a:lnTo>
                      <a:pt x="142" y="144"/>
                    </a:lnTo>
                    <a:lnTo>
                      <a:pt x="140" y="150"/>
                    </a:lnTo>
                    <a:lnTo>
                      <a:pt x="140" y="150"/>
                    </a:lnTo>
                    <a:lnTo>
                      <a:pt x="138" y="152"/>
                    </a:lnTo>
                    <a:lnTo>
                      <a:pt x="134" y="152"/>
                    </a:lnTo>
                    <a:lnTo>
                      <a:pt x="130" y="152"/>
                    </a:lnTo>
                    <a:lnTo>
                      <a:pt x="120" y="164"/>
                    </a:lnTo>
                    <a:lnTo>
                      <a:pt x="120" y="164"/>
                    </a:lnTo>
                    <a:lnTo>
                      <a:pt x="120" y="164"/>
                    </a:lnTo>
                    <a:lnTo>
                      <a:pt x="106" y="168"/>
                    </a:lnTo>
                    <a:lnTo>
                      <a:pt x="106" y="168"/>
                    </a:lnTo>
                    <a:lnTo>
                      <a:pt x="106" y="168"/>
                    </a:lnTo>
                    <a:lnTo>
                      <a:pt x="106" y="168"/>
                    </a:lnTo>
                    <a:lnTo>
                      <a:pt x="106" y="168"/>
                    </a:lnTo>
                    <a:lnTo>
                      <a:pt x="106" y="1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1" name="Freeform 271"/>
              <p:cNvSpPr>
                <a:spLocks noEditPoints="1"/>
              </p:cNvSpPr>
              <p:nvPr/>
            </p:nvSpPr>
            <p:spPr bwMode="auto">
              <a:xfrm>
                <a:off x="1827" y="2343"/>
                <a:ext cx="198" cy="172"/>
              </a:xfrm>
              <a:custGeom>
                <a:avLst/>
                <a:gdLst>
                  <a:gd name="T0" fmla="*/ 66 w 198"/>
                  <a:gd name="T1" fmla="*/ 18 h 172"/>
                  <a:gd name="T2" fmla="*/ 118 w 198"/>
                  <a:gd name="T3" fmla="*/ 36 h 172"/>
                  <a:gd name="T4" fmla="*/ 160 w 198"/>
                  <a:gd name="T5" fmla="*/ 30 h 172"/>
                  <a:gd name="T6" fmla="*/ 174 w 198"/>
                  <a:gd name="T7" fmla="*/ 42 h 172"/>
                  <a:gd name="T8" fmla="*/ 180 w 198"/>
                  <a:gd name="T9" fmla="*/ 58 h 172"/>
                  <a:gd name="T10" fmla="*/ 186 w 198"/>
                  <a:gd name="T11" fmla="*/ 80 h 172"/>
                  <a:gd name="T12" fmla="*/ 180 w 198"/>
                  <a:gd name="T13" fmla="*/ 108 h 172"/>
                  <a:gd name="T14" fmla="*/ 146 w 198"/>
                  <a:gd name="T15" fmla="*/ 124 h 172"/>
                  <a:gd name="T16" fmla="*/ 132 w 198"/>
                  <a:gd name="T17" fmla="*/ 136 h 172"/>
                  <a:gd name="T18" fmla="*/ 136 w 198"/>
                  <a:gd name="T19" fmla="*/ 152 h 172"/>
                  <a:gd name="T20" fmla="*/ 92 w 198"/>
                  <a:gd name="T21" fmla="*/ 158 h 172"/>
                  <a:gd name="T22" fmla="*/ 82 w 198"/>
                  <a:gd name="T23" fmla="*/ 124 h 172"/>
                  <a:gd name="T24" fmla="*/ 44 w 198"/>
                  <a:gd name="T25" fmla="*/ 78 h 172"/>
                  <a:gd name="T26" fmla="*/ 4 w 198"/>
                  <a:gd name="T27" fmla="*/ 34 h 172"/>
                  <a:gd name="T28" fmla="*/ 24 w 198"/>
                  <a:gd name="T29" fmla="*/ 32 h 172"/>
                  <a:gd name="T30" fmla="*/ 34 w 198"/>
                  <a:gd name="T31" fmla="*/ 40 h 172"/>
                  <a:gd name="T32" fmla="*/ 44 w 198"/>
                  <a:gd name="T33" fmla="*/ 18 h 172"/>
                  <a:gd name="T34" fmla="*/ 160 w 198"/>
                  <a:gd name="T35" fmla="*/ 30 h 172"/>
                  <a:gd name="T36" fmla="*/ 44 w 198"/>
                  <a:gd name="T37" fmla="*/ 2 h 172"/>
                  <a:gd name="T38" fmla="*/ 36 w 198"/>
                  <a:gd name="T39" fmla="*/ 18 h 172"/>
                  <a:gd name="T40" fmla="*/ 28 w 198"/>
                  <a:gd name="T41" fmla="*/ 22 h 172"/>
                  <a:gd name="T42" fmla="*/ 22 w 198"/>
                  <a:gd name="T43" fmla="*/ 14 h 172"/>
                  <a:gd name="T44" fmla="*/ 8 w 198"/>
                  <a:gd name="T45" fmla="*/ 22 h 172"/>
                  <a:gd name="T46" fmla="*/ 2 w 198"/>
                  <a:gd name="T47" fmla="*/ 32 h 172"/>
                  <a:gd name="T48" fmla="*/ 10 w 198"/>
                  <a:gd name="T49" fmla="*/ 76 h 172"/>
                  <a:gd name="T50" fmla="*/ 20 w 198"/>
                  <a:gd name="T51" fmla="*/ 84 h 172"/>
                  <a:gd name="T52" fmla="*/ 52 w 198"/>
                  <a:gd name="T53" fmla="*/ 92 h 172"/>
                  <a:gd name="T54" fmla="*/ 82 w 198"/>
                  <a:gd name="T55" fmla="*/ 94 h 172"/>
                  <a:gd name="T56" fmla="*/ 78 w 198"/>
                  <a:gd name="T57" fmla="*/ 124 h 172"/>
                  <a:gd name="T58" fmla="*/ 80 w 198"/>
                  <a:gd name="T59" fmla="*/ 144 h 172"/>
                  <a:gd name="T60" fmla="*/ 86 w 198"/>
                  <a:gd name="T61" fmla="*/ 156 h 172"/>
                  <a:gd name="T62" fmla="*/ 96 w 198"/>
                  <a:gd name="T63" fmla="*/ 168 h 172"/>
                  <a:gd name="T64" fmla="*/ 108 w 198"/>
                  <a:gd name="T65" fmla="*/ 172 h 172"/>
                  <a:gd name="T66" fmla="*/ 124 w 198"/>
                  <a:gd name="T67" fmla="*/ 166 h 172"/>
                  <a:gd name="T68" fmla="*/ 144 w 198"/>
                  <a:gd name="T69" fmla="*/ 154 h 172"/>
                  <a:gd name="T70" fmla="*/ 146 w 198"/>
                  <a:gd name="T71" fmla="*/ 142 h 172"/>
                  <a:gd name="T72" fmla="*/ 136 w 198"/>
                  <a:gd name="T73" fmla="*/ 134 h 172"/>
                  <a:gd name="T74" fmla="*/ 146 w 198"/>
                  <a:gd name="T75" fmla="*/ 128 h 172"/>
                  <a:gd name="T76" fmla="*/ 154 w 198"/>
                  <a:gd name="T77" fmla="*/ 128 h 172"/>
                  <a:gd name="T78" fmla="*/ 178 w 198"/>
                  <a:gd name="T79" fmla="*/ 120 h 172"/>
                  <a:gd name="T80" fmla="*/ 184 w 198"/>
                  <a:gd name="T81" fmla="*/ 106 h 172"/>
                  <a:gd name="T82" fmla="*/ 178 w 198"/>
                  <a:gd name="T83" fmla="*/ 90 h 172"/>
                  <a:gd name="T84" fmla="*/ 190 w 198"/>
                  <a:gd name="T85" fmla="*/ 78 h 172"/>
                  <a:gd name="T86" fmla="*/ 198 w 198"/>
                  <a:gd name="T87" fmla="*/ 58 h 172"/>
                  <a:gd name="T88" fmla="*/ 186 w 198"/>
                  <a:gd name="T89" fmla="*/ 52 h 172"/>
                  <a:gd name="T90" fmla="*/ 180 w 198"/>
                  <a:gd name="T91" fmla="*/ 54 h 172"/>
                  <a:gd name="T92" fmla="*/ 180 w 198"/>
                  <a:gd name="T93" fmla="*/ 42 h 172"/>
                  <a:gd name="T94" fmla="*/ 164 w 198"/>
                  <a:gd name="T95" fmla="*/ 36 h 172"/>
                  <a:gd name="T96" fmla="*/ 158 w 198"/>
                  <a:gd name="T97" fmla="*/ 36 h 172"/>
                  <a:gd name="T98" fmla="*/ 164 w 198"/>
                  <a:gd name="T99" fmla="*/ 30 h 172"/>
                  <a:gd name="T100" fmla="*/ 152 w 198"/>
                  <a:gd name="T101" fmla="*/ 26 h 172"/>
                  <a:gd name="T102" fmla="*/ 144 w 198"/>
                  <a:gd name="T103" fmla="*/ 24 h 172"/>
                  <a:gd name="T104" fmla="*/ 118 w 198"/>
                  <a:gd name="T105" fmla="*/ 32 h 172"/>
                  <a:gd name="T106" fmla="*/ 76 w 198"/>
                  <a:gd name="T107" fmla="*/ 22 h 172"/>
                  <a:gd name="T108" fmla="*/ 58 w 198"/>
                  <a:gd name="T109" fmla="*/ 14 h 172"/>
                  <a:gd name="T110" fmla="*/ 52 w 198"/>
                  <a:gd name="T111" fmla="*/ 2 h 172"/>
                  <a:gd name="T112" fmla="*/ 22 w 198"/>
                  <a:gd name="T113" fmla="*/ 36 h 172"/>
                  <a:gd name="T114" fmla="*/ 26 w 198"/>
                  <a:gd name="T115" fmla="*/ 34 h 172"/>
                  <a:gd name="T116" fmla="*/ 24 w 198"/>
                  <a:gd name="T117" fmla="*/ 4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72">
                    <a:moveTo>
                      <a:pt x="48" y="4"/>
                    </a:moveTo>
                    <a:lnTo>
                      <a:pt x="50" y="8"/>
                    </a:lnTo>
                    <a:lnTo>
                      <a:pt x="50" y="16"/>
                    </a:lnTo>
                    <a:lnTo>
                      <a:pt x="58" y="18"/>
                    </a:lnTo>
                    <a:lnTo>
                      <a:pt x="66" y="18"/>
                    </a:lnTo>
                    <a:lnTo>
                      <a:pt x="72" y="24"/>
                    </a:lnTo>
                    <a:lnTo>
                      <a:pt x="76" y="26"/>
                    </a:lnTo>
                    <a:lnTo>
                      <a:pt x="92" y="30"/>
                    </a:lnTo>
                    <a:lnTo>
                      <a:pt x="100" y="30"/>
                    </a:lnTo>
                    <a:lnTo>
                      <a:pt x="118" y="36"/>
                    </a:lnTo>
                    <a:lnTo>
                      <a:pt x="128" y="34"/>
                    </a:lnTo>
                    <a:lnTo>
                      <a:pt x="136" y="30"/>
                    </a:lnTo>
                    <a:lnTo>
                      <a:pt x="144" y="28"/>
                    </a:lnTo>
                    <a:lnTo>
                      <a:pt x="152" y="30"/>
                    </a:lnTo>
                    <a:lnTo>
                      <a:pt x="160" y="30"/>
                    </a:lnTo>
                    <a:lnTo>
                      <a:pt x="158" y="32"/>
                    </a:lnTo>
                    <a:lnTo>
                      <a:pt x="150" y="34"/>
                    </a:lnTo>
                    <a:lnTo>
                      <a:pt x="152" y="40"/>
                    </a:lnTo>
                    <a:lnTo>
                      <a:pt x="162" y="40"/>
                    </a:lnTo>
                    <a:lnTo>
                      <a:pt x="174" y="42"/>
                    </a:lnTo>
                    <a:lnTo>
                      <a:pt x="178" y="46"/>
                    </a:lnTo>
                    <a:lnTo>
                      <a:pt x="178" y="50"/>
                    </a:lnTo>
                    <a:lnTo>
                      <a:pt x="174" y="54"/>
                    </a:lnTo>
                    <a:lnTo>
                      <a:pt x="174" y="60"/>
                    </a:lnTo>
                    <a:lnTo>
                      <a:pt x="180" y="58"/>
                    </a:lnTo>
                    <a:lnTo>
                      <a:pt x="186" y="56"/>
                    </a:lnTo>
                    <a:lnTo>
                      <a:pt x="194" y="60"/>
                    </a:lnTo>
                    <a:lnTo>
                      <a:pt x="188" y="66"/>
                    </a:lnTo>
                    <a:lnTo>
                      <a:pt x="184" y="72"/>
                    </a:lnTo>
                    <a:lnTo>
                      <a:pt x="186" y="80"/>
                    </a:lnTo>
                    <a:lnTo>
                      <a:pt x="178" y="84"/>
                    </a:lnTo>
                    <a:lnTo>
                      <a:pt x="174" y="90"/>
                    </a:lnTo>
                    <a:lnTo>
                      <a:pt x="176" y="96"/>
                    </a:lnTo>
                    <a:lnTo>
                      <a:pt x="178" y="102"/>
                    </a:lnTo>
                    <a:lnTo>
                      <a:pt x="180" y="108"/>
                    </a:lnTo>
                    <a:lnTo>
                      <a:pt x="178" y="116"/>
                    </a:lnTo>
                    <a:lnTo>
                      <a:pt x="166" y="120"/>
                    </a:lnTo>
                    <a:lnTo>
                      <a:pt x="158" y="122"/>
                    </a:lnTo>
                    <a:lnTo>
                      <a:pt x="152" y="124"/>
                    </a:lnTo>
                    <a:lnTo>
                      <a:pt x="146" y="124"/>
                    </a:lnTo>
                    <a:lnTo>
                      <a:pt x="138" y="124"/>
                    </a:lnTo>
                    <a:lnTo>
                      <a:pt x="130" y="120"/>
                    </a:lnTo>
                    <a:lnTo>
                      <a:pt x="124" y="122"/>
                    </a:lnTo>
                    <a:lnTo>
                      <a:pt x="130" y="126"/>
                    </a:lnTo>
                    <a:lnTo>
                      <a:pt x="132" y="136"/>
                    </a:lnTo>
                    <a:lnTo>
                      <a:pt x="138" y="142"/>
                    </a:lnTo>
                    <a:lnTo>
                      <a:pt x="142" y="142"/>
                    </a:lnTo>
                    <a:lnTo>
                      <a:pt x="142" y="146"/>
                    </a:lnTo>
                    <a:lnTo>
                      <a:pt x="140" y="152"/>
                    </a:lnTo>
                    <a:lnTo>
                      <a:pt x="136" y="152"/>
                    </a:lnTo>
                    <a:lnTo>
                      <a:pt x="130" y="154"/>
                    </a:lnTo>
                    <a:lnTo>
                      <a:pt x="120" y="164"/>
                    </a:lnTo>
                    <a:lnTo>
                      <a:pt x="108" y="168"/>
                    </a:lnTo>
                    <a:lnTo>
                      <a:pt x="100" y="166"/>
                    </a:lnTo>
                    <a:lnTo>
                      <a:pt x="92" y="158"/>
                    </a:lnTo>
                    <a:lnTo>
                      <a:pt x="90" y="156"/>
                    </a:lnTo>
                    <a:lnTo>
                      <a:pt x="88" y="146"/>
                    </a:lnTo>
                    <a:lnTo>
                      <a:pt x="84" y="144"/>
                    </a:lnTo>
                    <a:lnTo>
                      <a:pt x="84" y="124"/>
                    </a:lnTo>
                    <a:lnTo>
                      <a:pt x="82" y="124"/>
                    </a:lnTo>
                    <a:lnTo>
                      <a:pt x="82" y="100"/>
                    </a:lnTo>
                    <a:lnTo>
                      <a:pt x="86" y="94"/>
                    </a:lnTo>
                    <a:lnTo>
                      <a:pt x="82" y="88"/>
                    </a:lnTo>
                    <a:lnTo>
                      <a:pt x="56" y="90"/>
                    </a:lnTo>
                    <a:lnTo>
                      <a:pt x="44" y="78"/>
                    </a:lnTo>
                    <a:lnTo>
                      <a:pt x="20" y="80"/>
                    </a:lnTo>
                    <a:lnTo>
                      <a:pt x="14" y="76"/>
                    </a:lnTo>
                    <a:lnTo>
                      <a:pt x="14" y="64"/>
                    </a:lnTo>
                    <a:lnTo>
                      <a:pt x="4" y="46"/>
                    </a:lnTo>
                    <a:lnTo>
                      <a:pt x="4" y="34"/>
                    </a:lnTo>
                    <a:lnTo>
                      <a:pt x="10" y="24"/>
                    </a:lnTo>
                    <a:lnTo>
                      <a:pt x="20" y="18"/>
                    </a:lnTo>
                    <a:lnTo>
                      <a:pt x="24" y="18"/>
                    </a:lnTo>
                    <a:lnTo>
                      <a:pt x="24" y="22"/>
                    </a:lnTo>
                    <a:lnTo>
                      <a:pt x="24" y="32"/>
                    </a:lnTo>
                    <a:lnTo>
                      <a:pt x="18" y="34"/>
                    </a:lnTo>
                    <a:lnTo>
                      <a:pt x="20" y="46"/>
                    </a:lnTo>
                    <a:lnTo>
                      <a:pt x="24" y="50"/>
                    </a:lnTo>
                    <a:lnTo>
                      <a:pt x="30" y="48"/>
                    </a:lnTo>
                    <a:lnTo>
                      <a:pt x="34" y="40"/>
                    </a:lnTo>
                    <a:lnTo>
                      <a:pt x="30" y="34"/>
                    </a:lnTo>
                    <a:lnTo>
                      <a:pt x="28" y="28"/>
                    </a:lnTo>
                    <a:lnTo>
                      <a:pt x="32" y="22"/>
                    </a:lnTo>
                    <a:lnTo>
                      <a:pt x="38" y="20"/>
                    </a:lnTo>
                    <a:lnTo>
                      <a:pt x="44" y="18"/>
                    </a:lnTo>
                    <a:lnTo>
                      <a:pt x="44" y="12"/>
                    </a:lnTo>
                    <a:lnTo>
                      <a:pt x="44" y="6"/>
                    </a:lnTo>
                    <a:lnTo>
                      <a:pt x="48" y="4"/>
                    </a:lnTo>
                    <a:close/>
                    <a:moveTo>
                      <a:pt x="160" y="30"/>
                    </a:moveTo>
                    <a:lnTo>
                      <a:pt x="160" y="30"/>
                    </a:lnTo>
                    <a:close/>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close/>
                    <a:moveTo>
                      <a:pt x="22" y="36"/>
                    </a:moveTo>
                    <a:lnTo>
                      <a:pt x="26" y="34"/>
                    </a:lnTo>
                    <a:lnTo>
                      <a:pt x="26" y="34"/>
                    </a:lnTo>
                    <a:lnTo>
                      <a:pt x="26" y="34"/>
                    </a:lnTo>
                    <a:lnTo>
                      <a:pt x="26" y="34"/>
                    </a:lnTo>
                    <a:lnTo>
                      <a:pt x="26" y="34"/>
                    </a:lnTo>
                    <a:lnTo>
                      <a:pt x="26" y="34"/>
                    </a:lnTo>
                    <a:lnTo>
                      <a:pt x="30" y="40"/>
                    </a:lnTo>
                    <a:lnTo>
                      <a:pt x="28" y="44"/>
                    </a:lnTo>
                    <a:lnTo>
                      <a:pt x="24" y="46"/>
                    </a:lnTo>
                    <a:lnTo>
                      <a:pt x="24" y="44"/>
                    </a:lnTo>
                    <a:lnTo>
                      <a:pt x="22" y="36"/>
                    </a:lnTo>
                    <a:lnTo>
                      <a:pt x="22"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2" name="Freeform 272"/>
              <p:cNvSpPr>
                <a:spLocks/>
              </p:cNvSpPr>
              <p:nvPr/>
            </p:nvSpPr>
            <p:spPr bwMode="auto">
              <a:xfrm>
                <a:off x="1831" y="2347"/>
                <a:ext cx="190" cy="164"/>
              </a:xfrm>
              <a:custGeom>
                <a:avLst/>
                <a:gdLst>
                  <a:gd name="T0" fmla="*/ 46 w 190"/>
                  <a:gd name="T1" fmla="*/ 4 h 164"/>
                  <a:gd name="T2" fmla="*/ 54 w 190"/>
                  <a:gd name="T3" fmla="*/ 14 h 164"/>
                  <a:gd name="T4" fmla="*/ 68 w 190"/>
                  <a:gd name="T5" fmla="*/ 20 h 164"/>
                  <a:gd name="T6" fmla="*/ 88 w 190"/>
                  <a:gd name="T7" fmla="*/ 26 h 164"/>
                  <a:gd name="T8" fmla="*/ 114 w 190"/>
                  <a:gd name="T9" fmla="*/ 32 h 164"/>
                  <a:gd name="T10" fmla="*/ 132 w 190"/>
                  <a:gd name="T11" fmla="*/ 26 h 164"/>
                  <a:gd name="T12" fmla="*/ 148 w 190"/>
                  <a:gd name="T13" fmla="*/ 26 h 164"/>
                  <a:gd name="T14" fmla="*/ 154 w 190"/>
                  <a:gd name="T15" fmla="*/ 28 h 164"/>
                  <a:gd name="T16" fmla="*/ 148 w 190"/>
                  <a:gd name="T17" fmla="*/ 36 h 164"/>
                  <a:gd name="T18" fmla="*/ 170 w 190"/>
                  <a:gd name="T19" fmla="*/ 38 h 164"/>
                  <a:gd name="T20" fmla="*/ 174 w 190"/>
                  <a:gd name="T21" fmla="*/ 46 h 164"/>
                  <a:gd name="T22" fmla="*/ 170 w 190"/>
                  <a:gd name="T23" fmla="*/ 56 h 164"/>
                  <a:gd name="T24" fmla="*/ 182 w 190"/>
                  <a:gd name="T25" fmla="*/ 52 h 164"/>
                  <a:gd name="T26" fmla="*/ 184 w 190"/>
                  <a:gd name="T27" fmla="*/ 62 h 164"/>
                  <a:gd name="T28" fmla="*/ 182 w 190"/>
                  <a:gd name="T29" fmla="*/ 76 h 164"/>
                  <a:gd name="T30" fmla="*/ 170 w 190"/>
                  <a:gd name="T31" fmla="*/ 86 h 164"/>
                  <a:gd name="T32" fmla="*/ 174 w 190"/>
                  <a:gd name="T33" fmla="*/ 98 h 164"/>
                  <a:gd name="T34" fmla="*/ 174 w 190"/>
                  <a:gd name="T35" fmla="*/ 112 h 164"/>
                  <a:gd name="T36" fmla="*/ 154 w 190"/>
                  <a:gd name="T37" fmla="*/ 118 h 164"/>
                  <a:gd name="T38" fmla="*/ 142 w 190"/>
                  <a:gd name="T39" fmla="*/ 120 h 164"/>
                  <a:gd name="T40" fmla="*/ 126 w 190"/>
                  <a:gd name="T41" fmla="*/ 116 h 164"/>
                  <a:gd name="T42" fmla="*/ 126 w 190"/>
                  <a:gd name="T43" fmla="*/ 122 h 164"/>
                  <a:gd name="T44" fmla="*/ 134 w 190"/>
                  <a:gd name="T45" fmla="*/ 138 h 164"/>
                  <a:gd name="T46" fmla="*/ 138 w 190"/>
                  <a:gd name="T47" fmla="*/ 142 h 164"/>
                  <a:gd name="T48" fmla="*/ 132 w 190"/>
                  <a:gd name="T49" fmla="*/ 148 h 164"/>
                  <a:gd name="T50" fmla="*/ 116 w 190"/>
                  <a:gd name="T51" fmla="*/ 160 h 164"/>
                  <a:gd name="T52" fmla="*/ 96 w 190"/>
                  <a:gd name="T53" fmla="*/ 162 h 164"/>
                  <a:gd name="T54" fmla="*/ 86 w 190"/>
                  <a:gd name="T55" fmla="*/ 152 h 164"/>
                  <a:gd name="T56" fmla="*/ 80 w 190"/>
                  <a:gd name="T57" fmla="*/ 140 h 164"/>
                  <a:gd name="T58" fmla="*/ 78 w 190"/>
                  <a:gd name="T59" fmla="*/ 120 h 164"/>
                  <a:gd name="T60" fmla="*/ 82 w 190"/>
                  <a:gd name="T61" fmla="*/ 90 h 164"/>
                  <a:gd name="T62" fmla="*/ 52 w 190"/>
                  <a:gd name="T63" fmla="*/ 86 h 164"/>
                  <a:gd name="T64" fmla="*/ 16 w 190"/>
                  <a:gd name="T65" fmla="*/ 76 h 164"/>
                  <a:gd name="T66" fmla="*/ 10 w 190"/>
                  <a:gd name="T67" fmla="*/ 60 h 164"/>
                  <a:gd name="T68" fmla="*/ 0 w 190"/>
                  <a:gd name="T69" fmla="*/ 30 h 164"/>
                  <a:gd name="T70" fmla="*/ 16 w 190"/>
                  <a:gd name="T71" fmla="*/ 14 h 164"/>
                  <a:gd name="T72" fmla="*/ 20 w 190"/>
                  <a:gd name="T73" fmla="*/ 18 h 164"/>
                  <a:gd name="T74" fmla="*/ 14 w 190"/>
                  <a:gd name="T75" fmla="*/ 30 h 164"/>
                  <a:gd name="T76" fmla="*/ 20 w 190"/>
                  <a:gd name="T77" fmla="*/ 46 h 164"/>
                  <a:gd name="T78" fmla="*/ 30 w 190"/>
                  <a:gd name="T79" fmla="*/ 36 h 164"/>
                  <a:gd name="T80" fmla="*/ 24 w 190"/>
                  <a:gd name="T81" fmla="*/ 24 h 164"/>
                  <a:gd name="T82" fmla="*/ 34 w 190"/>
                  <a:gd name="T83" fmla="*/ 16 h 164"/>
                  <a:gd name="T84" fmla="*/ 40 w 190"/>
                  <a:gd name="T85" fmla="*/ 8 h 164"/>
                  <a:gd name="T86" fmla="*/ 44 w 190"/>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0" h="164">
                    <a:moveTo>
                      <a:pt x="44" y="0"/>
                    </a:moveTo>
                    <a:lnTo>
                      <a:pt x="46" y="4"/>
                    </a:lnTo>
                    <a:lnTo>
                      <a:pt x="46" y="12"/>
                    </a:lnTo>
                    <a:lnTo>
                      <a:pt x="54" y="14"/>
                    </a:lnTo>
                    <a:lnTo>
                      <a:pt x="62" y="14"/>
                    </a:lnTo>
                    <a:lnTo>
                      <a:pt x="68" y="20"/>
                    </a:lnTo>
                    <a:lnTo>
                      <a:pt x="72" y="22"/>
                    </a:lnTo>
                    <a:lnTo>
                      <a:pt x="88" y="26"/>
                    </a:lnTo>
                    <a:lnTo>
                      <a:pt x="96" y="26"/>
                    </a:lnTo>
                    <a:lnTo>
                      <a:pt x="114" y="32"/>
                    </a:lnTo>
                    <a:lnTo>
                      <a:pt x="124" y="30"/>
                    </a:lnTo>
                    <a:lnTo>
                      <a:pt x="132" y="26"/>
                    </a:lnTo>
                    <a:lnTo>
                      <a:pt x="140" y="24"/>
                    </a:lnTo>
                    <a:lnTo>
                      <a:pt x="148" y="26"/>
                    </a:lnTo>
                    <a:lnTo>
                      <a:pt x="156" y="26"/>
                    </a:lnTo>
                    <a:lnTo>
                      <a:pt x="154" y="28"/>
                    </a:lnTo>
                    <a:lnTo>
                      <a:pt x="146" y="30"/>
                    </a:lnTo>
                    <a:lnTo>
                      <a:pt x="148" y="36"/>
                    </a:lnTo>
                    <a:lnTo>
                      <a:pt x="158" y="36"/>
                    </a:lnTo>
                    <a:lnTo>
                      <a:pt x="170" y="38"/>
                    </a:lnTo>
                    <a:lnTo>
                      <a:pt x="174" y="42"/>
                    </a:lnTo>
                    <a:lnTo>
                      <a:pt x="174" y="46"/>
                    </a:lnTo>
                    <a:lnTo>
                      <a:pt x="170" y="50"/>
                    </a:lnTo>
                    <a:lnTo>
                      <a:pt x="170" y="56"/>
                    </a:lnTo>
                    <a:lnTo>
                      <a:pt x="176" y="54"/>
                    </a:lnTo>
                    <a:lnTo>
                      <a:pt x="182" y="52"/>
                    </a:lnTo>
                    <a:lnTo>
                      <a:pt x="190" y="56"/>
                    </a:lnTo>
                    <a:lnTo>
                      <a:pt x="184" y="62"/>
                    </a:lnTo>
                    <a:lnTo>
                      <a:pt x="180" y="68"/>
                    </a:lnTo>
                    <a:lnTo>
                      <a:pt x="182" y="76"/>
                    </a:lnTo>
                    <a:lnTo>
                      <a:pt x="174" y="80"/>
                    </a:lnTo>
                    <a:lnTo>
                      <a:pt x="170" y="86"/>
                    </a:lnTo>
                    <a:lnTo>
                      <a:pt x="172" y="92"/>
                    </a:lnTo>
                    <a:lnTo>
                      <a:pt x="174" y="98"/>
                    </a:lnTo>
                    <a:lnTo>
                      <a:pt x="176" y="104"/>
                    </a:lnTo>
                    <a:lnTo>
                      <a:pt x="174" y="112"/>
                    </a:lnTo>
                    <a:lnTo>
                      <a:pt x="162" y="116"/>
                    </a:lnTo>
                    <a:lnTo>
                      <a:pt x="154" y="118"/>
                    </a:lnTo>
                    <a:lnTo>
                      <a:pt x="148" y="120"/>
                    </a:lnTo>
                    <a:lnTo>
                      <a:pt x="142" y="120"/>
                    </a:lnTo>
                    <a:lnTo>
                      <a:pt x="134" y="120"/>
                    </a:lnTo>
                    <a:lnTo>
                      <a:pt x="126" y="116"/>
                    </a:lnTo>
                    <a:lnTo>
                      <a:pt x="120" y="118"/>
                    </a:lnTo>
                    <a:lnTo>
                      <a:pt x="126" y="122"/>
                    </a:lnTo>
                    <a:lnTo>
                      <a:pt x="128" y="132"/>
                    </a:lnTo>
                    <a:lnTo>
                      <a:pt x="134" y="138"/>
                    </a:lnTo>
                    <a:lnTo>
                      <a:pt x="138" y="138"/>
                    </a:lnTo>
                    <a:lnTo>
                      <a:pt x="138" y="142"/>
                    </a:lnTo>
                    <a:lnTo>
                      <a:pt x="136" y="148"/>
                    </a:lnTo>
                    <a:lnTo>
                      <a:pt x="132" y="148"/>
                    </a:lnTo>
                    <a:lnTo>
                      <a:pt x="126" y="150"/>
                    </a:lnTo>
                    <a:lnTo>
                      <a:pt x="116" y="160"/>
                    </a:lnTo>
                    <a:lnTo>
                      <a:pt x="104" y="164"/>
                    </a:lnTo>
                    <a:lnTo>
                      <a:pt x="96" y="162"/>
                    </a:lnTo>
                    <a:lnTo>
                      <a:pt x="88" y="154"/>
                    </a:lnTo>
                    <a:lnTo>
                      <a:pt x="86" y="152"/>
                    </a:lnTo>
                    <a:lnTo>
                      <a:pt x="84" y="142"/>
                    </a:lnTo>
                    <a:lnTo>
                      <a:pt x="80" y="140"/>
                    </a:lnTo>
                    <a:lnTo>
                      <a:pt x="80" y="120"/>
                    </a:lnTo>
                    <a:lnTo>
                      <a:pt x="78" y="120"/>
                    </a:lnTo>
                    <a:lnTo>
                      <a:pt x="78" y="96"/>
                    </a:lnTo>
                    <a:lnTo>
                      <a:pt x="82" y="90"/>
                    </a:lnTo>
                    <a:lnTo>
                      <a:pt x="78" y="84"/>
                    </a:lnTo>
                    <a:lnTo>
                      <a:pt x="52" y="86"/>
                    </a:lnTo>
                    <a:lnTo>
                      <a:pt x="40" y="74"/>
                    </a:lnTo>
                    <a:lnTo>
                      <a:pt x="16" y="76"/>
                    </a:lnTo>
                    <a:lnTo>
                      <a:pt x="10" y="72"/>
                    </a:lnTo>
                    <a:lnTo>
                      <a:pt x="10" y="60"/>
                    </a:lnTo>
                    <a:lnTo>
                      <a:pt x="0" y="42"/>
                    </a:lnTo>
                    <a:lnTo>
                      <a:pt x="0" y="30"/>
                    </a:lnTo>
                    <a:lnTo>
                      <a:pt x="6" y="20"/>
                    </a:lnTo>
                    <a:lnTo>
                      <a:pt x="16" y="14"/>
                    </a:lnTo>
                    <a:lnTo>
                      <a:pt x="20" y="14"/>
                    </a:lnTo>
                    <a:lnTo>
                      <a:pt x="20" y="18"/>
                    </a:lnTo>
                    <a:lnTo>
                      <a:pt x="20" y="28"/>
                    </a:lnTo>
                    <a:lnTo>
                      <a:pt x="14" y="30"/>
                    </a:lnTo>
                    <a:lnTo>
                      <a:pt x="16" y="42"/>
                    </a:lnTo>
                    <a:lnTo>
                      <a:pt x="20" y="46"/>
                    </a:lnTo>
                    <a:lnTo>
                      <a:pt x="26" y="44"/>
                    </a:lnTo>
                    <a:lnTo>
                      <a:pt x="30" y="36"/>
                    </a:lnTo>
                    <a:lnTo>
                      <a:pt x="26" y="30"/>
                    </a:lnTo>
                    <a:lnTo>
                      <a:pt x="24" y="24"/>
                    </a:lnTo>
                    <a:lnTo>
                      <a:pt x="28" y="18"/>
                    </a:lnTo>
                    <a:lnTo>
                      <a:pt x="34" y="16"/>
                    </a:lnTo>
                    <a:lnTo>
                      <a:pt x="40" y="14"/>
                    </a:lnTo>
                    <a:lnTo>
                      <a:pt x="40" y="8"/>
                    </a:lnTo>
                    <a:lnTo>
                      <a:pt x="40"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3" name="Line 273"/>
              <p:cNvSpPr>
                <a:spLocks noChangeShapeType="1"/>
              </p:cNvSpPr>
              <p:nvPr/>
            </p:nvSpPr>
            <p:spPr bwMode="auto">
              <a:xfrm>
                <a:off x="1987" y="237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4" name="Freeform 274"/>
              <p:cNvSpPr>
                <a:spLocks/>
              </p:cNvSpPr>
              <p:nvPr/>
            </p:nvSpPr>
            <p:spPr bwMode="auto">
              <a:xfrm>
                <a:off x="1827" y="2343"/>
                <a:ext cx="198" cy="172"/>
              </a:xfrm>
              <a:custGeom>
                <a:avLst/>
                <a:gdLst>
                  <a:gd name="T0" fmla="*/ 44 w 198"/>
                  <a:gd name="T1" fmla="*/ 2 h 172"/>
                  <a:gd name="T2" fmla="*/ 40 w 198"/>
                  <a:gd name="T3" fmla="*/ 12 h 172"/>
                  <a:gd name="T4" fmla="*/ 30 w 198"/>
                  <a:gd name="T5" fmla="*/ 18 h 172"/>
                  <a:gd name="T6" fmla="*/ 28 w 198"/>
                  <a:gd name="T7" fmla="*/ 18 h 172"/>
                  <a:gd name="T8" fmla="*/ 22 w 198"/>
                  <a:gd name="T9" fmla="*/ 14 h 172"/>
                  <a:gd name="T10" fmla="*/ 18 w 198"/>
                  <a:gd name="T11" fmla="*/ 14 h 172"/>
                  <a:gd name="T12" fmla="*/ 2 w 198"/>
                  <a:gd name="T13" fmla="*/ 30 h 172"/>
                  <a:gd name="T14" fmla="*/ 0 w 198"/>
                  <a:gd name="T15" fmla="*/ 44 h 172"/>
                  <a:gd name="T16" fmla="*/ 10 w 198"/>
                  <a:gd name="T17" fmla="*/ 76 h 172"/>
                  <a:gd name="T18" fmla="*/ 20 w 198"/>
                  <a:gd name="T19" fmla="*/ 84 h 172"/>
                  <a:gd name="T20" fmla="*/ 52 w 198"/>
                  <a:gd name="T21" fmla="*/ 92 h 172"/>
                  <a:gd name="T22" fmla="*/ 56 w 198"/>
                  <a:gd name="T23" fmla="*/ 94 h 172"/>
                  <a:gd name="T24" fmla="*/ 78 w 198"/>
                  <a:gd name="T25" fmla="*/ 98 h 172"/>
                  <a:gd name="T26" fmla="*/ 78 w 198"/>
                  <a:gd name="T27" fmla="*/ 126 h 172"/>
                  <a:gd name="T28" fmla="*/ 80 w 198"/>
                  <a:gd name="T29" fmla="*/ 144 h 172"/>
                  <a:gd name="T30" fmla="*/ 86 w 198"/>
                  <a:gd name="T31" fmla="*/ 156 h 172"/>
                  <a:gd name="T32" fmla="*/ 88 w 198"/>
                  <a:gd name="T33" fmla="*/ 160 h 172"/>
                  <a:gd name="T34" fmla="*/ 98 w 198"/>
                  <a:gd name="T35" fmla="*/ 170 h 172"/>
                  <a:gd name="T36" fmla="*/ 108 w 198"/>
                  <a:gd name="T37" fmla="*/ 172 h 172"/>
                  <a:gd name="T38" fmla="*/ 124 w 198"/>
                  <a:gd name="T39" fmla="*/ 166 h 172"/>
                  <a:gd name="T40" fmla="*/ 140 w 198"/>
                  <a:gd name="T41" fmla="*/ 156 h 172"/>
                  <a:gd name="T42" fmla="*/ 146 w 198"/>
                  <a:gd name="T43" fmla="*/ 148 h 172"/>
                  <a:gd name="T44" fmla="*/ 146 w 198"/>
                  <a:gd name="T45" fmla="*/ 140 h 172"/>
                  <a:gd name="T46" fmla="*/ 134 w 198"/>
                  <a:gd name="T47" fmla="*/ 126 h 172"/>
                  <a:gd name="T48" fmla="*/ 146 w 198"/>
                  <a:gd name="T49" fmla="*/ 128 h 172"/>
                  <a:gd name="T50" fmla="*/ 152 w 198"/>
                  <a:gd name="T51" fmla="*/ 128 h 172"/>
                  <a:gd name="T52" fmla="*/ 166 w 198"/>
                  <a:gd name="T53" fmla="*/ 124 h 172"/>
                  <a:gd name="T54" fmla="*/ 180 w 198"/>
                  <a:gd name="T55" fmla="*/ 118 h 172"/>
                  <a:gd name="T56" fmla="*/ 182 w 198"/>
                  <a:gd name="T57" fmla="*/ 100 h 172"/>
                  <a:gd name="T58" fmla="*/ 178 w 198"/>
                  <a:gd name="T59" fmla="*/ 90 h 172"/>
                  <a:gd name="T60" fmla="*/ 190 w 198"/>
                  <a:gd name="T61" fmla="*/ 80 h 172"/>
                  <a:gd name="T62" fmla="*/ 196 w 198"/>
                  <a:gd name="T63" fmla="*/ 62 h 172"/>
                  <a:gd name="T64" fmla="*/ 196 w 198"/>
                  <a:gd name="T65" fmla="*/ 56 h 172"/>
                  <a:gd name="T66" fmla="*/ 186 w 198"/>
                  <a:gd name="T67" fmla="*/ 52 h 172"/>
                  <a:gd name="T68" fmla="*/ 180 w 198"/>
                  <a:gd name="T69" fmla="*/ 54 h 172"/>
                  <a:gd name="T70" fmla="*/ 182 w 198"/>
                  <a:gd name="T71" fmla="*/ 46 h 172"/>
                  <a:gd name="T72" fmla="*/ 174 w 198"/>
                  <a:gd name="T73" fmla="*/ 38 h 172"/>
                  <a:gd name="T74" fmla="*/ 154 w 198"/>
                  <a:gd name="T75" fmla="*/ 36 h 172"/>
                  <a:gd name="T76" fmla="*/ 158 w 198"/>
                  <a:gd name="T77" fmla="*/ 34 h 172"/>
                  <a:gd name="T78" fmla="*/ 164 w 198"/>
                  <a:gd name="T79" fmla="*/ 30 h 172"/>
                  <a:gd name="T80" fmla="*/ 160 w 198"/>
                  <a:gd name="T81" fmla="*/ 26 h 172"/>
                  <a:gd name="T82" fmla="*/ 144 w 198"/>
                  <a:gd name="T83" fmla="*/ 24 h 172"/>
                  <a:gd name="T84" fmla="*/ 134 w 198"/>
                  <a:gd name="T85" fmla="*/ 26 h 172"/>
                  <a:gd name="T86" fmla="*/ 102 w 198"/>
                  <a:gd name="T87" fmla="*/ 26 h 172"/>
                  <a:gd name="T88" fmla="*/ 76 w 198"/>
                  <a:gd name="T89" fmla="*/ 22 h 172"/>
                  <a:gd name="T90" fmla="*/ 68 w 198"/>
                  <a:gd name="T91" fmla="*/ 14 h 172"/>
                  <a:gd name="T92" fmla="*/ 54 w 198"/>
                  <a:gd name="T93" fmla="*/ 8 h 172"/>
                  <a:gd name="T94" fmla="*/ 50 w 198"/>
                  <a:gd name="T95" fmla="*/ 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172">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5" name="Freeform 275"/>
              <p:cNvSpPr>
                <a:spLocks/>
              </p:cNvSpPr>
              <p:nvPr/>
            </p:nvSpPr>
            <p:spPr bwMode="auto">
              <a:xfrm>
                <a:off x="1849" y="2377"/>
                <a:ext cx="8" cy="12"/>
              </a:xfrm>
              <a:custGeom>
                <a:avLst/>
                <a:gdLst>
                  <a:gd name="T0" fmla="*/ 0 w 8"/>
                  <a:gd name="T1" fmla="*/ 2 h 12"/>
                  <a:gd name="T2" fmla="*/ 4 w 8"/>
                  <a:gd name="T3" fmla="*/ 0 h 12"/>
                  <a:gd name="T4" fmla="*/ 4 w 8"/>
                  <a:gd name="T5" fmla="*/ 0 h 12"/>
                  <a:gd name="T6" fmla="*/ 4 w 8"/>
                  <a:gd name="T7" fmla="*/ 0 h 12"/>
                  <a:gd name="T8" fmla="*/ 4 w 8"/>
                  <a:gd name="T9" fmla="*/ 0 h 12"/>
                  <a:gd name="T10" fmla="*/ 4 w 8"/>
                  <a:gd name="T11" fmla="*/ 0 h 12"/>
                  <a:gd name="T12" fmla="*/ 4 w 8"/>
                  <a:gd name="T13" fmla="*/ 0 h 12"/>
                  <a:gd name="T14" fmla="*/ 8 w 8"/>
                  <a:gd name="T15" fmla="*/ 6 h 12"/>
                  <a:gd name="T16" fmla="*/ 6 w 8"/>
                  <a:gd name="T17" fmla="*/ 10 h 12"/>
                  <a:gd name="T18" fmla="*/ 2 w 8"/>
                  <a:gd name="T19" fmla="*/ 12 h 12"/>
                  <a:gd name="T20" fmla="*/ 2 w 8"/>
                  <a:gd name="T21" fmla="*/ 10 h 12"/>
                  <a:gd name="T22" fmla="*/ 0 w 8"/>
                  <a:gd name="T23" fmla="*/ 2 h 12"/>
                  <a:gd name="T24" fmla="*/ 0 w 8"/>
                  <a:gd name="T2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0" y="2"/>
                    </a:moveTo>
                    <a:lnTo>
                      <a:pt x="4" y="0"/>
                    </a:lnTo>
                    <a:lnTo>
                      <a:pt x="4" y="0"/>
                    </a:lnTo>
                    <a:lnTo>
                      <a:pt x="4" y="0"/>
                    </a:lnTo>
                    <a:lnTo>
                      <a:pt x="4" y="0"/>
                    </a:lnTo>
                    <a:lnTo>
                      <a:pt x="4" y="0"/>
                    </a:lnTo>
                    <a:lnTo>
                      <a:pt x="4" y="0"/>
                    </a:lnTo>
                    <a:lnTo>
                      <a:pt x="8" y="6"/>
                    </a:lnTo>
                    <a:lnTo>
                      <a:pt x="6" y="10"/>
                    </a:lnTo>
                    <a:lnTo>
                      <a:pt x="2" y="12"/>
                    </a:lnTo>
                    <a:lnTo>
                      <a:pt x="2" y="10"/>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6" name="Freeform 276"/>
              <p:cNvSpPr>
                <a:spLocks/>
              </p:cNvSpPr>
              <p:nvPr/>
            </p:nvSpPr>
            <p:spPr bwMode="auto">
              <a:xfrm>
                <a:off x="1997" y="2401"/>
                <a:ext cx="64" cy="106"/>
              </a:xfrm>
              <a:custGeom>
                <a:avLst/>
                <a:gdLst>
                  <a:gd name="T0" fmla="*/ 30 w 64"/>
                  <a:gd name="T1" fmla="*/ 106 h 106"/>
                  <a:gd name="T2" fmla="*/ 22 w 64"/>
                  <a:gd name="T3" fmla="*/ 98 h 106"/>
                  <a:gd name="T4" fmla="*/ 16 w 64"/>
                  <a:gd name="T5" fmla="*/ 90 h 106"/>
                  <a:gd name="T6" fmla="*/ 16 w 64"/>
                  <a:gd name="T7" fmla="*/ 72 h 106"/>
                  <a:gd name="T8" fmla="*/ 18 w 64"/>
                  <a:gd name="T9" fmla="*/ 70 h 106"/>
                  <a:gd name="T10" fmla="*/ 18 w 64"/>
                  <a:gd name="T11" fmla="*/ 58 h 106"/>
                  <a:gd name="T12" fmla="*/ 6 w 64"/>
                  <a:gd name="T13" fmla="*/ 50 h 106"/>
                  <a:gd name="T14" fmla="*/ 4 w 64"/>
                  <a:gd name="T15" fmla="*/ 48 h 106"/>
                  <a:gd name="T16" fmla="*/ 0 w 64"/>
                  <a:gd name="T17" fmla="*/ 34 h 106"/>
                  <a:gd name="T18" fmla="*/ 0 w 64"/>
                  <a:gd name="T19" fmla="*/ 32 h 106"/>
                  <a:gd name="T20" fmla="*/ 2 w 64"/>
                  <a:gd name="T21" fmla="*/ 26 h 106"/>
                  <a:gd name="T22" fmla="*/ 12 w 64"/>
                  <a:gd name="T23" fmla="*/ 22 h 106"/>
                  <a:gd name="T24" fmla="*/ 10 w 64"/>
                  <a:gd name="T25" fmla="*/ 16 h 106"/>
                  <a:gd name="T26" fmla="*/ 14 w 64"/>
                  <a:gd name="T27" fmla="*/ 8 h 106"/>
                  <a:gd name="T28" fmla="*/ 18 w 64"/>
                  <a:gd name="T29" fmla="*/ 2 h 106"/>
                  <a:gd name="T30" fmla="*/ 20 w 64"/>
                  <a:gd name="T31" fmla="*/ 0 h 106"/>
                  <a:gd name="T32" fmla="*/ 26 w 64"/>
                  <a:gd name="T33" fmla="*/ 2 h 106"/>
                  <a:gd name="T34" fmla="*/ 40 w 64"/>
                  <a:gd name="T35" fmla="*/ 12 h 106"/>
                  <a:gd name="T36" fmla="*/ 40 w 64"/>
                  <a:gd name="T37" fmla="*/ 12 h 106"/>
                  <a:gd name="T38" fmla="*/ 42 w 64"/>
                  <a:gd name="T39" fmla="*/ 16 h 106"/>
                  <a:gd name="T40" fmla="*/ 42 w 64"/>
                  <a:gd name="T41" fmla="*/ 22 h 106"/>
                  <a:gd name="T42" fmla="*/ 44 w 64"/>
                  <a:gd name="T43" fmla="*/ 22 h 106"/>
                  <a:gd name="T44" fmla="*/ 44 w 64"/>
                  <a:gd name="T45" fmla="*/ 22 h 106"/>
                  <a:gd name="T46" fmla="*/ 46 w 64"/>
                  <a:gd name="T47" fmla="*/ 22 h 106"/>
                  <a:gd name="T48" fmla="*/ 60 w 64"/>
                  <a:gd name="T49" fmla="*/ 38 h 106"/>
                  <a:gd name="T50" fmla="*/ 60 w 64"/>
                  <a:gd name="T51" fmla="*/ 38 h 106"/>
                  <a:gd name="T52" fmla="*/ 56 w 64"/>
                  <a:gd name="T53" fmla="*/ 52 h 106"/>
                  <a:gd name="T54" fmla="*/ 48 w 64"/>
                  <a:gd name="T55" fmla="*/ 66 h 106"/>
                  <a:gd name="T56" fmla="*/ 56 w 64"/>
                  <a:gd name="T57" fmla="*/ 74 h 106"/>
                  <a:gd name="T58" fmla="*/ 60 w 64"/>
                  <a:gd name="T59" fmla="*/ 82 h 106"/>
                  <a:gd name="T60" fmla="*/ 64 w 64"/>
                  <a:gd name="T61" fmla="*/ 90 h 106"/>
                  <a:gd name="T62" fmla="*/ 60 w 64"/>
                  <a:gd name="T63" fmla="*/ 96 h 106"/>
                  <a:gd name="T64" fmla="*/ 48 w 64"/>
                  <a:gd name="T65" fmla="*/ 104 h 106"/>
                  <a:gd name="T66" fmla="*/ 38 w 64"/>
                  <a:gd name="T67" fmla="*/ 106 h 106"/>
                  <a:gd name="T68" fmla="*/ 30 w 64"/>
                  <a:gd name="T6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106">
                    <a:moveTo>
                      <a:pt x="30" y="106"/>
                    </a:moveTo>
                    <a:lnTo>
                      <a:pt x="30" y="106"/>
                    </a:lnTo>
                    <a:lnTo>
                      <a:pt x="30" y="106"/>
                    </a:lnTo>
                    <a:lnTo>
                      <a:pt x="22" y="98"/>
                    </a:lnTo>
                    <a:lnTo>
                      <a:pt x="16" y="90"/>
                    </a:lnTo>
                    <a:lnTo>
                      <a:pt x="16" y="90"/>
                    </a:lnTo>
                    <a:lnTo>
                      <a:pt x="16" y="90"/>
                    </a:lnTo>
                    <a:lnTo>
                      <a:pt x="16" y="72"/>
                    </a:lnTo>
                    <a:lnTo>
                      <a:pt x="16" y="72"/>
                    </a:lnTo>
                    <a:lnTo>
                      <a:pt x="18" y="70"/>
                    </a:lnTo>
                    <a:lnTo>
                      <a:pt x="22" y="66"/>
                    </a:lnTo>
                    <a:lnTo>
                      <a:pt x="18" y="58"/>
                    </a:lnTo>
                    <a:lnTo>
                      <a:pt x="16" y="50"/>
                    </a:lnTo>
                    <a:lnTo>
                      <a:pt x="6" y="50"/>
                    </a:lnTo>
                    <a:lnTo>
                      <a:pt x="6" y="50"/>
                    </a:lnTo>
                    <a:lnTo>
                      <a:pt x="4" y="48"/>
                    </a:lnTo>
                    <a:lnTo>
                      <a:pt x="0" y="40"/>
                    </a:lnTo>
                    <a:lnTo>
                      <a:pt x="0" y="34"/>
                    </a:lnTo>
                    <a:lnTo>
                      <a:pt x="0" y="34"/>
                    </a:lnTo>
                    <a:lnTo>
                      <a:pt x="0" y="32"/>
                    </a:lnTo>
                    <a:lnTo>
                      <a:pt x="2" y="26"/>
                    </a:lnTo>
                    <a:lnTo>
                      <a:pt x="2" y="26"/>
                    </a:lnTo>
                    <a:lnTo>
                      <a:pt x="4" y="26"/>
                    </a:lnTo>
                    <a:lnTo>
                      <a:pt x="12" y="22"/>
                    </a:lnTo>
                    <a:lnTo>
                      <a:pt x="10" y="16"/>
                    </a:lnTo>
                    <a:lnTo>
                      <a:pt x="10" y="16"/>
                    </a:lnTo>
                    <a:lnTo>
                      <a:pt x="10" y="14"/>
                    </a:lnTo>
                    <a:lnTo>
                      <a:pt x="14" y="8"/>
                    </a:lnTo>
                    <a:lnTo>
                      <a:pt x="18" y="2"/>
                    </a:lnTo>
                    <a:lnTo>
                      <a:pt x="18" y="2"/>
                    </a:lnTo>
                    <a:lnTo>
                      <a:pt x="20" y="0"/>
                    </a:lnTo>
                    <a:lnTo>
                      <a:pt x="20" y="0"/>
                    </a:lnTo>
                    <a:lnTo>
                      <a:pt x="20" y="0"/>
                    </a:lnTo>
                    <a:lnTo>
                      <a:pt x="26" y="2"/>
                    </a:lnTo>
                    <a:lnTo>
                      <a:pt x="32" y="6"/>
                    </a:lnTo>
                    <a:lnTo>
                      <a:pt x="40" y="12"/>
                    </a:lnTo>
                    <a:lnTo>
                      <a:pt x="40" y="12"/>
                    </a:lnTo>
                    <a:lnTo>
                      <a:pt x="40" y="12"/>
                    </a:lnTo>
                    <a:lnTo>
                      <a:pt x="42" y="16"/>
                    </a:lnTo>
                    <a:lnTo>
                      <a:pt x="42" y="16"/>
                    </a:lnTo>
                    <a:lnTo>
                      <a:pt x="42" y="18"/>
                    </a:lnTo>
                    <a:lnTo>
                      <a:pt x="42" y="22"/>
                    </a:lnTo>
                    <a:lnTo>
                      <a:pt x="42" y="24"/>
                    </a:lnTo>
                    <a:lnTo>
                      <a:pt x="44" y="22"/>
                    </a:lnTo>
                    <a:lnTo>
                      <a:pt x="44" y="22"/>
                    </a:lnTo>
                    <a:lnTo>
                      <a:pt x="44" y="22"/>
                    </a:lnTo>
                    <a:lnTo>
                      <a:pt x="44" y="22"/>
                    </a:lnTo>
                    <a:lnTo>
                      <a:pt x="46" y="22"/>
                    </a:lnTo>
                    <a:lnTo>
                      <a:pt x="54" y="28"/>
                    </a:lnTo>
                    <a:lnTo>
                      <a:pt x="60" y="38"/>
                    </a:lnTo>
                    <a:lnTo>
                      <a:pt x="60" y="38"/>
                    </a:lnTo>
                    <a:lnTo>
                      <a:pt x="60" y="38"/>
                    </a:lnTo>
                    <a:lnTo>
                      <a:pt x="60" y="46"/>
                    </a:lnTo>
                    <a:lnTo>
                      <a:pt x="56" y="52"/>
                    </a:lnTo>
                    <a:lnTo>
                      <a:pt x="50" y="58"/>
                    </a:lnTo>
                    <a:lnTo>
                      <a:pt x="48" y="66"/>
                    </a:lnTo>
                    <a:lnTo>
                      <a:pt x="52" y="68"/>
                    </a:lnTo>
                    <a:lnTo>
                      <a:pt x="56" y="74"/>
                    </a:lnTo>
                    <a:lnTo>
                      <a:pt x="58" y="78"/>
                    </a:lnTo>
                    <a:lnTo>
                      <a:pt x="60" y="82"/>
                    </a:lnTo>
                    <a:lnTo>
                      <a:pt x="64" y="90"/>
                    </a:lnTo>
                    <a:lnTo>
                      <a:pt x="64" y="90"/>
                    </a:lnTo>
                    <a:lnTo>
                      <a:pt x="64" y="92"/>
                    </a:lnTo>
                    <a:lnTo>
                      <a:pt x="60" y="96"/>
                    </a:lnTo>
                    <a:lnTo>
                      <a:pt x="52" y="100"/>
                    </a:lnTo>
                    <a:lnTo>
                      <a:pt x="48" y="104"/>
                    </a:lnTo>
                    <a:lnTo>
                      <a:pt x="38" y="106"/>
                    </a:lnTo>
                    <a:lnTo>
                      <a:pt x="38" y="106"/>
                    </a:lnTo>
                    <a:lnTo>
                      <a:pt x="38" y="106"/>
                    </a:lnTo>
                    <a:lnTo>
                      <a:pt x="3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7" name="Freeform 277"/>
              <p:cNvSpPr>
                <a:spLocks noEditPoints="1"/>
              </p:cNvSpPr>
              <p:nvPr/>
            </p:nvSpPr>
            <p:spPr bwMode="auto">
              <a:xfrm>
                <a:off x="1995" y="2399"/>
                <a:ext cx="68" cy="110"/>
              </a:xfrm>
              <a:custGeom>
                <a:avLst/>
                <a:gdLst>
                  <a:gd name="T0" fmla="*/ 32 w 68"/>
                  <a:gd name="T1" fmla="*/ 10 h 110"/>
                  <a:gd name="T2" fmla="*/ 42 w 68"/>
                  <a:gd name="T3" fmla="*/ 24 h 110"/>
                  <a:gd name="T4" fmla="*/ 54 w 68"/>
                  <a:gd name="T5" fmla="*/ 32 h 110"/>
                  <a:gd name="T6" fmla="*/ 56 w 68"/>
                  <a:gd name="T7" fmla="*/ 52 h 110"/>
                  <a:gd name="T8" fmla="*/ 52 w 68"/>
                  <a:gd name="T9" fmla="*/ 72 h 110"/>
                  <a:gd name="T10" fmla="*/ 62 w 68"/>
                  <a:gd name="T11" fmla="*/ 84 h 110"/>
                  <a:gd name="T12" fmla="*/ 54 w 68"/>
                  <a:gd name="T13" fmla="*/ 100 h 110"/>
                  <a:gd name="T14" fmla="*/ 32 w 68"/>
                  <a:gd name="T15" fmla="*/ 106 h 110"/>
                  <a:gd name="T16" fmla="*/ 20 w 68"/>
                  <a:gd name="T17" fmla="*/ 84 h 110"/>
                  <a:gd name="T18" fmla="*/ 22 w 68"/>
                  <a:gd name="T19" fmla="*/ 60 h 110"/>
                  <a:gd name="T20" fmla="*/ 4 w 68"/>
                  <a:gd name="T21" fmla="*/ 42 h 110"/>
                  <a:gd name="T22" fmla="*/ 16 w 68"/>
                  <a:gd name="T23" fmla="*/ 24 h 110"/>
                  <a:gd name="T24" fmla="*/ 22 w 68"/>
                  <a:gd name="T25" fmla="*/ 4 h 110"/>
                  <a:gd name="T26" fmla="*/ 20 w 68"/>
                  <a:gd name="T27" fmla="*/ 2 h 110"/>
                  <a:gd name="T28" fmla="*/ 10 w 68"/>
                  <a:gd name="T29" fmla="*/ 16 h 110"/>
                  <a:gd name="T30" fmla="*/ 4 w 68"/>
                  <a:gd name="T31" fmla="*/ 26 h 110"/>
                  <a:gd name="T32" fmla="*/ 0 w 68"/>
                  <a:gd name="T33" fmla="*/ 32 h 110"/>
                  <a:gd name="T34" fmla="*/ 0 w 68"/>
                  <a:gd name="T35" fmla="*/ 44 h 110"/>
                  <a:gd name="T36" fmla="*/ 4 w 68"/>
                  <a:gd name="T37" fmla="*/ 50 h 110"/>
                  <a:gd name="T38" fmla="*/ 8 w 68"/>
                  <a:gd name="T39" fmla="*/ 54 h 110"/>
                  <a:gd name="T40" fmla="*/ 22 w 68"/>
                  <a:gd name="T41" fmla="*/ 68 h 110"/>
                  <a:gd name="T42" fmla="*/ 16 w 68"/>
                  <a:gd name="T43" fmla="*/ 74 h 110"/>
                  <a:gd name="T44" fmla="*/ 16 w 68"/>
                  <a:gd name="T45" fmla="*/ 92 h 110"/>
                  <a:gd name="T46" fmla="*/ 22 w 68"/>
                  <a:gd name="T47" fmla="*/ 102 h 110"/>
                  <a:gd name="T48" fmla="*/ 30 w 68"/>
                  <a:gd name="T49" fmla="*/ 108 h 110"/>
                  <a:gd name="T50" fmla="*/ 40 w 68"/>
                  <a:gd name="T51" fmla="*/ 110 h 110"/>
                  <a:gd name="T52" fmla="*/ 50 w 68"/>
                  <a:gd name="T53" fmla="*/ 108 h 110"/>
                  <a:gd name="T54" fmla="*/ 62 w 68"/>
                  <a:gd name="T55" fmla="*/ 100 h 110"/>
                  <a:gd name="T56" fmla="*/ 68 w 68"/>
                  <a:gd name="T57" fmla="*/ 96 h 110"/>
                  <a:gd name="T58" fmla="*/ 68 w 68"/>
                  <a:gd name="T59" fmla="*/ 92 h 110"/>
                  <a:gd name="T60" fmla="*/ 62 w 68"/>
                  <a:gd name="T61" fmla="*/ 80 h 110"/>
                  <a:gd name="T62" fmla="*/ 56 w 68"/>
                  <a:gd name="T63" fmla="*/ 70 h 110"/>
                  <a:gd name="T64" fmla="*/ 54 w 68"/>
                  <a:gd name="T65" fmla="*/ 68 h 110"/>
                  <a:gd name="T66" fmla="*/ 62 w 68"/>
                  <a:gd name="T67" fmla="*/ 50 h 110"/>
                  <a:gd name="T68" fmla="*/ 64 w 68"/>
                  <a:gd name="T69" fmla="*/ 42 h 110"/>
                  <a:gd name="T70" fmla="*/ 58 w 68"/>
                  <a:gd name="T71" fmla="*/ 28 h 110"/>
                  <a:gd name="T72" fmla="*/ 50 w 68"/>
                  <a:gd name="T73" fmla="*/ 22 h 110"/>
                  <a:gd name="T74" fmla="*/ 46 w 68"/>
                  <a:gd name="T75" fmla="*/ 22 h 110"/>
                  <a:gd name="T76" fmla="*/ 46 w 68"/>
                  <a:gd name="T77" fmla="*/ 20 h 110"/>
                  <a:gd name="T78" fmla="*/ 44 w 68"/>
                  <a:gd name="T79" fmla="*/ 14 h 110"/>
                  <a:gd name="T80" fmla="*/ 30 w 68"/>
                  <a:gd name="T81" fmla="*/ 4 h 110"/>
                  <a:gd name="T82" fmla="*/ 24 w 68"/>
                  <a:gd name="T83" fmla="*/ 2 h 110"/>
                  <a:gd name="T84" fmla="*/ 22 w 68"/>
                  <a:gd name="T8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10">
                    <a:moveTo>
                      <a:pt x="22" y="4"/>
                    </a:moveTo>
                    <a:lnTo>
                      <a:pt x="28" y="6"/>
                    </a:lnTo>
                    <a:lnTo>
                      <a:pt x="32" y="10"/>
                    </a:lnTo>
                    <a:lnTo>
                      <a:pt x="40" y="16"/>
                    </a:lnTo>
                    <a:lnTo>
                      <a:pt x="42" y="20"/>
                    </a:lnTo>
                    <a:lnTo>
                      <a:pt x="42" y="24"/>
                    </a:lnTo>
                    <a:lnTo>
                      <a:pt x="40" y="32"/>
                    </a:lnTo>
                    <a:lnTo>
                      <a:pt x="46" y="26"/>
                    </a:lnTo>
                    <a:lnTo>
                      <a:pt x="54" y="32"/>
                    </a:lnTo>
                    <a:lnTo>
                      <a:pt x="62" y="40"/>
                    </a:lnTo>
                    <a:lnTo>
                      <a:pt x="60" y="48"/>
                    </a:lnTo>
                    <a:lnTo>
                      <a:pt x="56" y="52"/>
                    </a:lnTo>
                    <a:lnTo>
                      <a:pt x="50" y="60"/>
                    </a:lnTo>
                    <a:lnTo>
                      <a:pt x="48" y="68"/>
                    </a:lnTo>
                    <a:lnTo>
                      <a:pt x="52" y="72"/>
                    </a:lnTo>
                    <a:lnTo>
                      <a:pt x="56" y="78"/>
                    </a:lnTo>
                    <a:lnTo>
                      <a:pt x="60" y="82"/>
                    </a:lnTo>
                    <a:lnTo>
                      <a:pt x="62" y="84"/>
                    </a:lnTo>
                    <a:lnTo>
                      <a:pt x="64" y="94"/>
                    </a:lnTo>
                    <a:lnTo>
                      <a:pt x="62" y="96"/>
                    </a:lnTo>
                    <a:lnTo>
                      <a:pt x="54" y="100"/>
                    </a:lnTo>
                    <a:lnTo>
                      <a:pt x="48" y="104"/>
                    </a:lnTo>
                    <a:lnTo>
                      <a:pt x="40" y="106"/>
                    </a:lnTo>
                    <a:lnTo>
                      <a:pt x="32" y="106"/>
                    </a:lnTo>
                    <a:lnTo>
                      <a:pt x="26" y="98"/>
                    </a:lnTo>
                    <a:lnTo>
                      <a:pt x="20" y="92"/>
                    </a:lnTo>
                    <a:lnTo>
                      <a:pt x="20" y="84"/>
                    </a:lnTo>
                    <a:lnTo>
                      <a:pt x="20" y="74"/>
                    </a:lnTo>
                    <a:lnTo>
                      <a:pt x="26" y="68"/>
                    </a:lnTo>
                    <a:lnTo>
                      <a:pt x="22" y="60"/>
                    </a:lnTo>
                    <a:lnTo>
                      <a:pt x="18" y="50"/>
                    </a:lnTo>
                    <a:lnTo>
                      <a:pt x="8" y="50"/>
                    </a:lnTo>
                    <a:lnTo>
                      <a:pt x="4" y="42"/>
                    </a:lnTo>
                    <a:lnTo>
                      <a:pt x="4" y="34"/>
                    </a:lnTo>
                    <a:lnTo>
                      <a:pt x="6" y="30"/>
                    </a:lnTo>
                    <a:lnTo>
                      <a:pt x="16" y="24"/>
                    </a:lnTo>
                    <a:lnTo>
                      <a:pt x="14" y="18"/>
                    </a:lnTo>
                    <a:lnTo>
                      <a:pt x="18" y="12"/>
                    </a:lnTo>
                    <a:lnTo>
                      <a:pt x="22" y="4"/>
                    </a:lnTo>
                    <a:close/>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8" name="Freeform 278"/>
              <p:cNvSpPr>
                <a:spLocks/>
              </p:cNvSpPr>
              <p:nvPr/>
            </p:nvSpPr>
            <p:spPr bwMode="auto">
              <a:xfrm>
                <a:off x="1999" y="2403"/>
                <a:ext cx="60" cy="102"/>
              </a:xfrm>
              <a:custGeom>
                <a:avLst/>
                <a:gdLst>
                  <a:gd name="T0" fmla="*/ 18 w 60"/>
                  <a:gd name="T1" fmla="*/ 0 h 102"/>
                  <a:gd name="T2" fmla="*/ 24 w 60"/>
                  <a:gd name="T3" fmla="*/ 2 h 102"/>
                  <a:gd name="T4" fmla="*/ 28 w 60"/>
                  <a:gd name="T5" fmla="*/ 6 h 102"/>
                  <a:gd name="T6" fmla="*/ 36 w 60"/>
                  <a:gd name="T7" fmla="*/ 12 h 102"/>
                  <a:gd name="T8" fmla="*/ 38 w 60"/>
                  <a:gd name="T9" fmla="*/ 16 h 102"/>
                  <a:gd name="T10" fmla="*/ 38 w 60"/>
                  <a:gd name="T11" fmla="*/ 20 h 102"/>
                  <a:gd name="T12" fmla="*/ 36 w 60"/>
                  <a:gd name="T13" fmla="*/ 28 h 102"/>
                  <a:gd name="T14" fmla="*/ 42 w 60"/>
                  <a:gd name="T15" fmla="*/ 22 h 102"/>
                  <a:gd name="T16" fmla="*/ 50 w 60"/>
                  <a:gd name="T17" fmla="*/ 28 h 102"/>
                  <a:gd name="T18" fmla="*/ 58 w 60"/>
                  <a:gd name="T19" fmla="*/ 36 h 102"/>
                  <a:gd name="T20" fmla="*/ 56 w 60"/>
                  <a:gd name="T21" fmla="*/ 44 h 102"/>
                  <a:gd name="T22" fmla="*/ 52 w 60"/>
                  <a:gd name="T23" fmla="*/ 48 h 102"/>
                  <a:gd name="T24" fmla="*/ 46 w 60"/>
                  <a:gd name="T25" fmla="*/ 56 h 102"/>
                  <a:gd name="T26" fmla="*/ 44 w 60"/>
                  <a:gd name="T27" fmla="*/ 64 h 102"/>
                  <a:gd name="T28" fmla="*/ 48 w 60"/>
                  <a:gd name="T29" fmla="*/ 68 h 102"/>
                  <a:gd name="T30" fmla="*/ 52 w 60"/>
                  <a:gd name="T31" fmla="*/ 74 h 102"/>
                  <a:gd name="T32" fmla="*/ 56 w 60"/>
                  <a:gd name="T33" fmla="*/ 78 h 102"/>
                  <a:gd name="T34" fmla="*/ 58 w 60"/>
                  <a:gd name="T35" fmla="*/ 80 h 102"/>
                  <a:gd name="T36" fmla="*/ 60 w 60"/>
                  <a:gd name="T37" fmla="*/ 90 h 102"/>
                  <a:gd name="T38" fmla="*/ 58 w 60"/>
                  <a:gd name="T39" fmla="*/ 92 h 102"/>
                  <a:gd name="T40" fmla="*/ 50 w 60"/>
                  <a:gd name="T41" fmla="*/ 96 h 102"/>
                  <a:gd name="T42" fmla="*/ 44 w 60"/>
                  <a:gd name="T43" fmla="*/ 100 h 102"/>
                  <a:gd name="T44" fmla="*/ 36 w 60"/>
                  <a:gd name="T45" fmla="*/ 102 h 102"/>
                  <a:gd name="T46" fmla="*/ 28 w 60"/>
                  <a:gd name="T47" fmla="*/ 102 h 102"/>
                  <a:gd name="T48" fmla="*/ 22 w 60"/>
                  <a:gd name="T49" fmla="*/ 94 h 102"/>
                  <a:gd name="T50" fmla="*/ 16 w 60"/>
                  <a:gd name="T51" fmla="*/ 88 h 102"/>
                  <a:gd name="T52" fmla="*/ 16 w 60"/>
                  <a:gd name="T53" fmla="*/ 80 h 102"/>
                  <a:gd name="T54" fmla="*/ 16 w 60"/>
                  <a:gd name="T55" fmla="*/ 70 h 102"/>
                  <a:gd name="T56" fmla="*/ 22 w 60"/>
                  <a:gd name="T57" fmla="*/ 64 h 102"/>
                  <a:gd name="T58" fmla="*/ 18 w 60"/>
                  <a:gd name="T59" fmla="*/ 56 h 102"/>
                  <a:gd name="T60" fmla="*/ 14 w 60"/>
                  <a:gd name="T61" fmla="*/ 46 h 102"/>
                  <a:gd name="T62" fmla="*/ 4 w 60"/>
                  <a:gd name="T63" fmla="*/ 46 h 102"/>
                  <a:gd name="T64" fmla="*/ 0 w 60"/>
                  <a:gd name="T65" fmla="*/ 38 h 102"/>
                  <a:gd name="T66" fmla="*/ 0 w 60"/>
                  <a:gd name="T67" fmla="*/ 30 h 102"/>
                  <a:gd name="T68" fmla="*/ 2 w 60"/>
                  <a:gd name="T69" fmla="*/ 26 h 102"/>
                  <a:gd name="T70" fmla="*/ 12 w 60"/>
                  <a:gd name="T71" fmla="*/ 20 h 102"/>
                  <a:gd name="T72" fmla="*/ 10 w 60"/>
                  <a:gd name="T73" fmla="*/ 14 h 102"/>
                  <a:gd name="T74" fmla="*/ 14 w 60"/>
                  <a:gd name="T75" fmla="*/ 8 h 102"/>
                  <a:gd name="T76" fmla="*/ 18 w 60"/>
                  <a:gd name="T7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102">
                    <a:moveTo>
                      <a:pt x="18" y="0"/>
                    </a:moveTo>
                    <a:lnTo>
                      <a:pt x="24" y="2"/>
                    </a:lnTo>
                    <a:lnTo>
                      <a:pt x="28" y="6"/>
                    </a:lnTo>
                    <a:lnTo>
                      <a:pt x="36" y="12"/>
                    </a:lnTo>
                    <a:lnTo>
                      <a:pt x="38" y="16"/>
                    </a:lnTo>
                    <a:lnTo>
                      <a:pt x="38" y="20"/>
                    </a:lnTo>
                    <a:lnTo>
                      <a:pt x="36" y="28"/>
                    </a:lnTo>
                    <a:lnTo>
                      <a:pt x="42" y="22"/>
                    </a:lnTo>
                    <a:lnTo>
                      <a:pt x="50" y="28"/>
                    </a:lnTo>
                    <a:lnTo>
                      <a:pt x="58" y="36"/>
                    </a:lnTo>
                    <a:lnTo>
                      <a:pt x="56" y="44"/>
                    </a:lnTo>
                    <a:lnTo>
                      <a:pt x="52" y="48"/>
                    </a:lnTo>
                    <a:lnTo>
                      <a:pt x="46" y="56"/>
                    </a:lnTo>
                    <a:lnTo>
                      <a:pt x="44" y="64"/>
                    </a:lnTo>
                    <a:lnTo>
                      <a:pt x="48" y="68"/>
                    </a:lnTo>
                    <a:lnTo>
                      <a:pt x="52" y="74"/>
                    </a:lnTo>
                    <a:lnTo>
                      <a:pt x="56" y="78"/>
                    </a:lnTo>
                    <a:lnTo>
                      <a:pt x="58" y="80"/>
                    </a:lnTo>
                    <a:lnTo>
                      <a:pt x="60" y="90"/>
                    </a:lnTo>
                    <a:lnTo>
                      <a:pt x="58" y="92"/>
                    </a:lnTo>
                    <a:lnTo>
                      <a:pt x="50" y="96"/>
                    </a:lnTo>
                    <a:lnTo>
                      <a:pt x="44" y="100"/>
                    </a:lnTo>
                    <a:lnTo>
                      <a:pt x="36" y="102"/>
                    </a:lnTo>
                    <a:lnTo>
                      <a:pt x="28" y="102"/>
                    </a:lnTo>
                    <a:lnTo>
                      <a:pt x="22" y="94"/>
                    </a:lnTo>
                    <a:lnTo>
                      <a:pt x="16" y="88"/>
                    </a:lnTo>
                    <a:lnTo>
                      <a:pt x="16" y="80"/>
                    </a:lnTo>
                    <a:lnTo>
                      <a:pt x="16" y="70"/>
                    </a:lnTo>
                    <a:lnTo>
                      <a:pt x="22" y="64"/>
                    </a:lnTo>
                    <a:lnTo>
                      <a:pt x="18" y="56"/>
                    </a:lnTo>
                    <a:lnTo>
                      <a:pt x="14" y="46"/>
                    </a:lnTo>
                    <a:lnTo>
                      <a:pt x="4" y="46"/>
                    </a:lnTo>
                    <a:lnTo>
                      <a:pt x="0" y="38"/>
                    </a:lnTo>
                    <a:lnTo>
                      <a:pt x="0" y="30"/>
                    </a:lnTo>
                    <a:lnTo>
                      <a:pt x="2" y="26"/>
                    </a:lnTo>
                    <a:lnTo>
                      <a:pt x="12" y="20"/>
                    </a:lnTo>
                    <a:lnTo>
                      <a:pt x="10" y="14"/>
                    </a:lnTo>
                    <a:lnTo>
                      <a:pt x="14" y="8"/>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9" name="Freeform 279"/>
              <p:cNvSpPr>
                <a:spLocks/>
              </p:cNvSpPr>
              <p:nvPr/>
            </p:nvSpPr>
            <p:spPr bwMode="auto">
              <a:xfrm>
                <a:off x="1995" y="2399"/>
                <a:ext cx="68" cy="110"/>
              </a:xfrm>
              <a:custGeom>
                <a:avLst/>
                <a:gdLst>
                  <a:gd name="T0" fmla="*/ 22 w 68"/>
                  <a:gd name="T1" fmla="*/ 0 h 110"/>
                  <a:gd name="T2" fmla="*/ 14 w 68"/>
                  <a:gd name="T3" fmla="*/ 10 h 110"/>
                  <a:gd name="T4" fmla="*/ 10 w 68"/>
                  <a:gd name="T5" fmla="*/ 16 h 110"/>
                  <a:gd name="T6" fmla="*/ 10 w 68"/>
                  <a:gd name="T7" fmla="*/ 22 h 110"/>
                  <a:gd name="T8" fmla="*/ 4 w 68"/>
                  <a:gd name="T9" fmla="*/ 26 h 110"/>
                  <a:gd name="T10" fmla="*/ 0 w 68"/>
                  <a:gd name="T11" fmla="*/ 32 h 110"/>
                  <a:gd name="T12" fmla="*/ 0 w 68"/>
                  <a:gd name="T13" fmla="*/ 36 h 110"/>
                  <a:gd name="T14" fmla="*/ 0 w 68"/>
                  <a:gd name="T15" fmla="*/ 44 h 110"/>
                  <a:gd name="T16" fmla="*/ 4 w 68"/>
                  <a:gd name="T17" fmla="*/ 50 h 110"/>
                  <a:gd name="T18" fmla="*/ 6 w 68"/>
                  <a:gd name="T19" fmla="*/ 52 h 110"/>
                  <a:gd name="T20" fmla="*/ 16 w 68"/>
                  <a:gd name="T21" fmla="*/ 54 h 110"/>
                  <a:gd name="T22" fmla="*/ 22 w 68"/>
                  <a:gd name="T23" fmla="*/ 68 h 110"/>
                  <a:gd name="T24" fmla="*/ 18 w 68"/>
                  <a:gd name="T25" fmla="*/ 72 h 110"/>
                  <a:gd name="T26" fmla="*/ 16 w 68"/>
                  <a:gd name="T27" fmla="*/ 84 h 110"/>
                  <a:gd name="T28" fmla="*/ 16 w 68"/>
                  <a:gd name="T29" fmla="*/ 92 h 110"/>
                  <a:gd name="T30" fmla="*/ 22 w 68"/>
                  <a:gd name="T31" fmla="*/ 102 h 110"/>
                  <a:gd name="T32" fmla="*/ 24 w 68"/>
                  <a:gd name="T33" fmla="*/ 102 h 110"/>
                  <a:gd name="T34" fmla="*/ 30 w 68"/>
                  <a:gd name="T35" fmla="*/ 108 h 110"/>
                  <a:gd name="T36" fmla="*/ 40 w 68"/>
                  <a:gd name="T37" fmla="*/ 110 h 110"/>
                  <a:gd name="T38" fmla="*/ 40 w 68"/>
                  <a:gd name="T39" fmla="*/ 110 h 110"/>
                  <a:gd name="T40" fmla="*/ 50 w 68"/>
                  <a:gd name="T41" fmla="*/ 108 h 110"/>
                  <a:gd name="T42" fmla="*/ 56 w 68"/>
                  <a:gd name="T43" fmla="*/ 104 h 110"/>
                  <a:gd name="T44" fmla="*/ 62 w 68"/>
                  <a:gd name="T45" fmla="*/ 100 h 110"/>
                  <a:gd name="T46" fmla="*/ 68 w 68"/>
                  <a:gd name="T47" fmla="*/ 96 h 110"/>
                  <a:gd name="T48" fmla="*/ 68 w 68"/>
                  <a:gd name="T49" fmla="*/ 94 h 110"/>
                  <a:gd name="T50" fmla="*/ 64 w 68"/>
                  <a:gd name="T51" fmla="*/ 84 h 110"/>
                  <a:gd name="T52" fmla="*/ 62 w 68"/>
                  <a:gd name="T53" fmla="*/ 80 h 110"/>
                  <a:gd name="T54" fmla="*/ 58 w 68"/>
                  <a:gd name="T55" fmla="*/ 74 h 110"/>
                  <a:gd name="T56" fmla="*/ 56 w 68"/>
                  <a:gd name="T57" fmla="*/ 70 h 110"/>
                  <a:gd name="T58" fmla="*/ 54 w 68"/>
                  <a:gd name="T59" fmla="*/ 68 h 110"/>
                  <a:gd name="T60" fmla="*/ 58 w 68"/>
                  <a:gd name="T61" fmla="*/ 56 h 110"/>
                  <a:gd name="T62" fmla="*/ 62 w 68"/>
                  <a:gd name="T63" fmla="*/ 50 h 110"/>
                  <a:gd name="T64" fmla="*/ 64 w 68"/>
                  <a:gd name="T65" fmla="*/ 42 h 110"/>
                  <a:gd name="T66" fmla="*/ 64 w 68"/>
                  <a:gd name="T67" fmla="*/ 38 h 110"/>
                  <a:gd name="T68" fmla="*/ 58 w 68"/>
                  <a:gd name="T69" fmla="*/ 28 h 110"/>
                  <a:gd name="T70" fmla="*/ 50 w 68"/>
                  <a:gd name="T71" fmla="*/ 22 h 110"/>
                  <a:gd name="T72" fmla="*/ 46 w 68"/>
                  <a:gd name="T73" fmla="*/ 22 h 110"/>
                  <a:gd name="T74" fmla="*/ 46 w 68"/>
                  <a:gd name="T75" fmla="*/ 22 h 110"/>
                  <a:gd name="T76" fmla="*/ 46 w 68"/>
                  <a:gd name="T77" fmla="*/ 20 h 110"/>
                  <a:gd name="T78" fmla="*/ 44 w 68"/>
                  <a:gd name="T79" fmla="*/ 14 h 110"/>
                  <a:gd name="T80" fmla="*/ 42 w 68"/>
                  <a:gd name="T81" fmla="*/ 12 h 110"/>
                  <a:gd name="T82" fmla="*/ 30 w 68"/>
                  <a:gd name="T83" fmla="*/ 4 h 110"/>
                  <a:gd name="T84" fmla="*/ 28 w 68"/>
                  <a:gd name="T85" fmla="*/ 2 h 110"/>
                  <a:gd name="T86" fmla="*/ 24 w 68"/>
                  <a:gd name="T87" fmla="*/ 2 h 110"/>
                  <a:gd name="T88" fmla="*/ 22 w 68"/>
                  <a:gd name="T8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10">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0" name="Freeform 280"/>
              <p:cNvSpPr>
                <a:spLocks/>
              </p:cNvSpPr>
              <p:nvPr/>
            </p:nvSpPr>
            <p:spPr bwMode="auto">
              <a:xfrm>
                <a:off x="2091" y="2441"/>
                <a:ext cx="48" cy="54"/>
              </a:xfrm>
              <a:custGeom>
                <a:avLst/>
                <a:gdLst>
                  <a:gd name="T0" fmla="*/ 30 w 48"/>
                  <a:gd name="T1" fmla="*/ 54 h 54"/>
                  <a:gd name="T2" fmla="*/ 30 w 48"/>
                  <a:gd name="T3" fmla="*/ 54 h 54"/>
                  <a:gd name="T4" fmla="*/ 30 w 48"/>
                  <a:gd name="T5" fmla="*/ 54 h 54"/>
                  <a:gd name="T6" fmla="*/ 24 w 48"/>
                  <a:gd name="T7" fmla="*/ 50 h 54"/>
                  <a:gd name="T8" fmla="*/ 16 w 48"/>
                  <a:gd name="T9" fmla="*/ 50 h 54"/>
                  <a:gd name="T10" fmla="*/ 10 w 48"/>
                  <a:gd name="T11" fmla="*/ 52 h 54"/>
                  <a:gd name="T12" fmla="*/ 10 w 48"/>
                  <a:gd name="T13" fmla="*/ 52 h 54"/>
                  <a:gd name="T14" fmla="*/ 10 w 48"/>
                  <a:gd name="T15" fmla="*/ 52 h 54"/>
                  <a:gd name="T16" fmla="*/ 4 w 48"/>
                  <a:gd name="T17" fmla="*/ 52 h 54"/>
                  <a:gd name="T18" fmla="*/ 4 w 48"/>
                  <a:gd name="T19" fmla="*/ 52 h 54"/>
                  <a:gd name="T20" fmla="*/ 2 w 48"/>
                  <a:gd name="T21" fmla="*/ 50 h 54"/>
                  <a:gd name="T22" fmla="*/ 2 w 48"/>
                  <a:gd name="T23" fmla="*/ 44 h 54"/>
                  <a:gd name="T24" fmla="*/ 6 w 48"/>
                  <a:gd name="T25" fmla="*/ 32 h 54"/>
                  <a:gd name="T26" fmla="*/ 8 w 48"/>
                  <a:gd name="T27" fmla="*/ 26 h 54"/>
                  <a:gd name="T28" fmla="*/ 4 w 48"/>
                  <a:gd name="T29" fmla="*/ 24 h 54"/>
                  <a:gd name="T30" fmla="*/ 0 w 48"/>
                  <a:gd name="T31" fmla="*/ 18 h 54"/>
                  <a:gd name="T32" fmla="*/ 0 w 48"/>
                  <a:gd name="T33" fmla="*/ 18 h 54"/>
                  <a:gd name="T34" fmla="*/ 0 w 48"/>
                  <a:gd name="T35" fmla="*/ 18 h 54"/>
                  <a:gd name="T36" fmla="*/ 0 w 48"/>
                  <a:gd name="T37" fmla="*/ 12 h 54"/>
                  <a:gd name="T38" fmla="*/ 2 w 48"/>
                  <a:gd name="T39" fmla="*/ 6 h 54"/>
                  <a:gd name="T40" fmla="*/ 6 w 48"/>
                  <a:gd name="T41" fmla="*/ 0 h 54"/>
                  <a:gd name="T42" fmla="*/ 6 w 48"/>
                  <a:gd name="T43" fmla="*/ 0 h 54"/>
                  <a:gd name="T44" fmla="*/ 8 w 48"/>
                  <a:gd name="T45" fmla="*/ 0 h 54"/>
                  <a:gd name="T46" fmla="*/ 8 w 48"/>
                  <a:gd name="T47" fmla="*/ 0 h 54"/>
                  <a:gd name="T48" fmla="*/ 8 w 48"/>
                  <a:gd name="T49" fmla="*/ 0 h 54"/>
                  <a:gd name="T50" fmla="*/ 18 w 48"/>
                  <a:gd name="T51" fmla="*/ 2 h 54"/>
                  <a:gd name="T52" fmla="*/ 28 w 48"/>
                  <a:gd name="T53" fmla="*/ 6 h 54"/>
                  <a:gd name="T54" fmla="*/ 38 w 48"/>
                  <a:gd name="T55" fmla="*/ 10 h 54"/>
                  <a:gd name="T56" fmla="*/ 44 w 48"/>
                  <a:gd name="T57" fmla="*/ 18 h 54"/>
                  <a:gd name="T58" fmla="*/ 48 w 48"/>
                  <a:gd name="T59" fmla="*/ 22 h 54"/>
                  <a:gd name="T60" fmla="*/ 48 w 48"/>
                  <a:gd name="T61" fmla="*/ 22 h 54"/>
                  <a:gd name="T62" fmla="*/ 48 w 48"/>
                  <a:gd name="T63" fmla="*/ 26 h 54"/>
                  <a:gd name="T64" fmla="*/ 42 w 48"/>
                  <a:gd name="T65" fmla="*/ 32 h 54"/>
                  <a:gd name="T66" fmla="*/ 38 w 48"/>
                  <a:gd name="T67" fmla="*/ 42 h 54"/>
                  <a:gd name="T68" fmla="*/ 32 w 48"/>
                  <a:gd name="T69" fmla="*/ 54 h 54"/>
                  <a:gd name="T70" fmla="*/ 32 w 48"/>
                  <a:gd name="T71" fmla="*/ 54 h 54"/>
                  <a:gd name="T72" fmla="*/ 30 w 48"/>
                  <a:gd name="T73" fmla="*/ 54 h 54"/>
                  <a:gd name="T74" fmla="*/ 30 w 48"/>
                  <a:gd name="T75" fmla="*/ 54 h 54"/>
                  <a:gd name="T76" fmla="*/ 30 w 48"/>
                  <a:gd name="T77" fmla="*/ 54 h 54"/>
                  <a:gd name="T78" fmla="*/ 30 w 48"/>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54">
                    <a:moveTo>
                      <a:pt x="30" y="54"/>
                    </a:moveTo>
                    <a:lnTo>
                      <a:pt x="30" y="54"/>
                    </a:lnTo>
                    <a:lnTo>
                      <a:pt x="30" y="54"/>
                    </a:lnTo>
                    <a:lnTo>
                      <a:pt x="24" y="50"/>
                    </a:lnTo>
                    <a:lnTo>
                      <a:pt x="16" y="50"/>
                    </a:lnTo>
                    <a:lnTo>
                      <a:pt x="10" y="52"/>
                    </a:lnTo>
                    <a:lnTo>
                      <a:pt x="10" y="52"/>
                    </a:lnTo>
                    <a:lnTo>
                      <a:pt x="10" y="52"/>
                    </a:lnTo>
                    <a:lnTo>
                      <a:pt x="4" y="52"/>
                    </a:lnTo>
                    <a:lnTo>
                      <a:pt x="4" y="52"/>
                    </a:lnTo>
                    <a:lnTo>
                      <a:pt x="2" y="50"/>
                    </a:lnTo>
                    <a:lnTo>
                      <a:pt x="2" y="44"/>
                    </a:lnTo>
                    <a:lnTo>
                      <a:pt x="6" y="32"/>
                    </a:lnTo>
                    <a:lnTo>
                      <a:pt x="8" y="26"/>
                    </a:lnTo>
                    <a:lnTo>
                      <a:pt x="4" y="24"/>
                    </a:lnTo>
                    <a:lnTo>
                      <a:pt x="0" y="18"/>
                    </a:lnTo>
                    <a:lnTo>
                      <a:pt x="0" y="18"/>
                    </a:lnTo>
                    <a:lnTo>
                      <a:pt x="0" y="18"/>
                    </a:lnTo>
                    <a:lnTo>
                      <a:pt x="0" y="12"/>
                    </a:lnTo>
                    <a:lnTo>
                      <a:pt x="2" y="6"/>
                    </a:lnTo>
                    <a:lnTo>
                      <a:pt x="6" y="0"/>
                    </a:lnTo>
                    <a:lnTo>
                      <a:pt x="6" y="0"/>
                    </a:lnTo>
                    <a:lnTo>
                      <a:pt x="8" y="0"/>
                    </a:lnTo>
                    <a:lnTo>
                      <a:pt x="8" y="0"/>
                    </a:lnTo>
                    <a:lnTo>
                      <a:pt x="8" y="0"/>
                    </a:lnTo>
                    <a:lnTo>
                      <a:pt x="18" y="2"/>
                    </a:lnTo>
                    <a:lnTo>
                      <a:pt x="28" y="6"/>
                    </a:lnTo>
                    <a:lnTo>
                      <a:pt x="38" y="10"/>
                    </a:lnTo>
                    <a:lnTo>
                      <a:pt x="44" y="18"/>
                    </a:lnTo>
                    <a:lnTo>
                      <a:pt x="48" y="22"/>
                    </a:lnTo>
                    <a:lnTo>
                      <a:pt x="48" y="22"/>
                    </a:lnTo>
                    <a:lnTo>
                      <a:pt x="48" y="26"/>
                    </a:lnTo>
                    <a:lnTo>
                      <a:pt x="42" y="32"/>
                    </a:lnTo>
                    <a:lnTo>
                      <a:pt x="38" y="42"/>
                    </a:lnTo>
                    <a:lnTo>
                      <a:pt x="32" y="54"/>
                    </a:lnTo>
                    <a:lnTo>
                      <a:pt x="32"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1" name="Freeform 281"/>
              <p:cNvSpPr>
                <a:spLocks noEditPoints="1"/>
              </p:cNvSpPr>
              <p:nvPr/>
            </p:nvSpPr>
            <p:spPr bwMode="auto">
              <a:xfrm>
                <a:off x="2089" y="2439"/>
                <a:ext cx="52" cy="58"/>
              </a:xfrm>
              <a:custGeom>
                <a:avLst/>
                <a:gdLst>
                  <a:gd name="T0" fmla="*/ 20 w 52"/>
                  <a:gd name="T1" fmla="*/ 6 h 58"/>
                  <a:gd name="T2" fmla="*/ 40 w 52"/>
                  <a:gd name="T3" fmla="*/ 14 h 58"/>
                  <a:gd name="T4" fmla="*/ 48 w 52"/>
                  <a:gd name="T5" fmla="*/ 26 h 58"/>
                  <a:gd name="T6" fmla="*/ 38 w 52"/>
                  <a:gd name="T7" fmla="*/ 42 h 58"/>
                  <a:gd name="T8" fmla="*/ 26 w 52"/>
                  <a:gd name="T9" fmla="*/ 52 h 58"/>
                  <a:gd name="T10" fmla="*/ 12 w 52"/>
                  <a:gd name="T11" fmla="*/ 52 h 58"/>
                  <a:gd name="T12" fmla="*/ 6 w 52"/>
                  <a:gd name="T13" fmla="*/ 46 h 58"/>
                  <a:gd name="T14" fmla="*/ 14 w 52"/>
                  <a:gd name="T15" fmla="*/ 28 h 58"/>
                  <a:gd name="T16" fmla="*/ 4 w 52"/>
                  <a:gd name="T17" fmla="*/ 20 h 58"/>
                  <a:gd name="T18" fmla="*/ 6 w 52"/>
                  <a:gd name="T19" fmla="*/ 10 h 58"/>
                  <a:gd name="T20" fmla="*/ 10 w 52"/>
                  <a:gd name="T21" fmla="*/ 0 h 58"/>
                  <a:gd name="T22" fmla="*/ 6 w 52"/>
                  <a:gd name="T23" fmla="*/ 2 h 58"/>
                  <a:gd name="T24" fmla="*/ 2 w 52"/>
                  <a:gd name="T25" fmla="*/ 6 h 58"/>
                  <a:gd name="T26" fmla="*/ 0 w 52"/>
                  <a:gd name="T27" fmla="*/ 12 h 58"/>
                  <a:gd name="T28" fmla="*/ 0 w 52"/>
                  <a:gd name="T29" fmla="*/ 14 h 58"/>
                  <a:gd name="T30" fmla="*/ 0 w 52"/>
                  <a:gd name="T31" fmla="*/ 20 h 58"/>
                  <a:gd name="T32" fmla="*/ 4 w 52"/>
                  <a:gd name="T33" fmla="*/ 26 h 58"/>
                  <a:gd name="T34" fmla="*/ 6 w 52"/>
                  <a:gd name="T35" fmla="*/ 28 h 58"/>
                  <a:gd name="T36" fmla="*/ 6 w 52"/>
                  <a:gd name="T37" fmla="*/ 32 h 58"/>
                  <a:gd name="T38" fmla="*/ 6 w 52"/>
                  <a:gd name="T39" fmla="*/ 34 h 58"/>
                  <a:gd name="T40" fmla="*/ 2 w 52"/>
                  <a:gd name="T41" fmla="*/ 44 h 58"/>
                  <a:gd name="T42" fmla="*/ 2 w 52"/>
                  <a:gd name="T43" fmla="*/ 52 h 58"/>
                  <a:gd name="T44" fmla="*/ 4 w 52"/>
                  <a:gd name="T45" fmla="*/ 56 h 58"/>
                  <a:gd name="T46" fmla="*/ 12 w 52"/>
                  <a:gd name="T47" fmla="*/ 56 h 58"/>
                  <a:gd name="T48" fmla="*/ 14 w 52"/>
                  <a:gd name="T49" fmla="*/ 56 h 58"/>
                  <a:gd name="T50" fmla="*/ 26 w 52"/>
                  <a:gd name="T51" fmla="*/ 56 h 58"/>
                  <a:gd name="T52" fmla="*/ 30 w 52"/>
                  <a:gd name="T53" fmla="*/ 58 h 58"/>
                  <a:gd name="T54" fmla="*/ 32 w 52"/>
                  <a:gd name="T55" fmla="*/ 58 h 58"/>
                  <a:gd name="T56" fmla="*/ 34 w 52"/>
                  <a:gd name="T57" fmla="*/ 58 h 58"/>
                  <a:gd name="T58" fmla="*/ 42 w 52"/>
                  <a:gd name="T59" fmla="*/ 44 h 58"/>
                  <a:gd name="T60" fmla="*/ 52 w 52"/>
                  <a:gd name="T61" fmla="*/ 28 h 58"/>
                  <a:gd name="T62" fmla="*/ 52 w 52"/>
                  <a:gd name="T63" fmla="*/ 26 h 58"/>
                  <a:gd name="T64" fmla="*/ 48 w 52"/>
                  <a:gd name="T65" fmla="*/ 18 h 58"/>
                  <a:gd name="T66" fmla="*/ 42 w 52"/>
                  <a:gd name="T67" fmla="*/ 12 h 58"/>
                  <a:gd name="T68" fmla="*/ 32 w 52"/>
                  <a:gd name="T69" fmla="*/ 6 h 58"/>
                  <a:gd name="T70" fmla="*/ 32 w 52"/>
                  <a:gd name="T71" fmla="*/ 6 h 58"/>
                  <a:gd name="T72" fmla="*/ 20 w 52"/>
                  <a:gd name="T73" fmla="*/ 2 h 58"/>
                  <a:gd name="T74" fmla="*/ 10 w 52"/>
                  <a:gd name="T75" fmla="*/ 0 h 58"/>
                  <a:gd name="T76" fmla="*/ 10 w 52"/>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58">
                    <a:moveTo>
                      <a:pt x="10" y="4"/>
                    </a:moveTo>
                    <a:lnTo>
                      <a:pt x="20" y="6"/>
                    </a:lnTo>
                    <a:lnTo>
                      <a:pt x="30" y="10"/>
                    </a:lnTo>
                    <a:lnTo>
                      <a:pt x="40" y="14"/>
                    </a:lnTo>
                    <a:lnTo>
                      <a:pt x="46" y="20"/>
                    </a:lnTo>
                    <a:lnTo>
                      <a:pt x="48" y="26"/>
                    </a:lnTo>
                    <a:lnTo>
                      <a:pt x="44" y="32"/>
                    </a:lnTo>
                    <a:lnTo>
                      <a:pt x="38" y="42"/>
                    </a:lnTo>
                    <a:lnTo>
                      <a:pt x="32" y="54"/>
                    </a:lnTo>
                    <a:lnTo>
                      <a:pt x="26" y="52"/>
                    </a:lnTo>
                    <a:lnTo>
                      <a:pt x="18" y="50"/>
                    </a:lnTo>
                    <a:lnTo>
                      <a:pt x="12" y="52"/>
                    </a:lnTo>
                    <a:lnTo>
                      <a:pt x="6" y="52"/>
                    </a:lnTo>
                    <a:lnTo>
                      <a:pt x="6" y="46"/>
                    </a:lnTo>
                    <a:lnTo>
                      <a:pt x="10" y="34"/>
                    </a:lnTo>
                    <a:lnTo>
                      <a:pt x="14" y="28"/>
                    </a:lnTo>
                    <a:lnTo>
                      <a:pt x="8" y="24"/>
                    </a:lnTo>
                    <a:lnTo>
                      <a:pt x="4" y="20"/>
                    </a:lnTo>
                    <a:lnTo>
                      <a:pt x="4" y="14"/>
                    </a:lnTo>
                    <a:lnTo>
                      <a:pt x="6" y="10"/>
                    </a:lnTo>
                    <a:lnTo>
                      <a:pt x="10" y="4"/>
                    </a:lnTo>
                    <a:close/>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2" name="Freeform 282"/>
              <p:cNvSpPr>
                <a:spLocks/>
              </p:cNvSpPr>
              <p:nvPr/>
            </p:nvSpPr>
            <p:spPr bwMode="auto">
              <a:xfrm>
                <a:off x="2093" y="2443"/>
                <a:ext cx="44" cy="50"/>
              </a:xfrm>
              <a:custGeom>
                <a:avLst/>
                <a:gdLst>
                  <a:gd name="T0" fmla="*/ 6 w 44"/>
                  <a:gd name="T1" fmla="*/ 0 h 50"/>
                  <a:gd name="T2" fmla="*/ 16 w 44"/>
                  <a:gd name="T3" fmla="*/ 2 h 50"/>
                  <a:gd name="T4" fmla="*/ 26 w 44"/>
                  <a:gd name="T5" fmla="*/ 6 h 50"/>
                  <a:gd name="T6" fmla="*/ 36 w 44"/>
                  <a:gd name="T7" fmla="*/ 10 h 50"/>
                  <a:gd name="T8" fmla="*/ 42 w 44"/>
                  <a:gd name="T9" fmla="*/ 16 h 50"/>
                  <a:gd name="T10" fmla="*/ 44 w 44"/>
                  <a:gd name="T11" fmla="*/ 22 h 50"/>
                  <a:gd name="T12" fmla="*/ 40 w 44"/>
                  <a:gd name="T13" fmla="*/ 28 h 50"/>
                  <a:gd name="T14" fmla="*/ 34 w 44"/>
                  <a:gd name="T15" fmla="*/ 38 h 50"/>
                  <a:gd name="T16" fmla="*/ 28 w 44"/>
                  <a:gd name="T17" fmla="*/ 50 h 50"/>
                  <a:gd name="T18" fmla="*/ 22 w 44"/>
                  <a:gd name="T19" fmla="*/ 48 h 50"/>
                  <a:gd name="T20" fmla="*/ 14 w 44"/>
                  <a:gd name="T21" fmla="*/ 46 h 50"/>
                  <a:gd name="T22" fmla="*/ 8 w 44"/>
                  <a:gd name="T23" fmla="*/ 48 h 50"/>
                  <a:gd name="T24" fmla="*/ 2 w 44"/>
                  <a:gd name="T25" fmla="*/ 48 h 50"/>
                  <a:gd name="T26" fmla="*/ 2 w 44"/>
                  <a:gd name="T27" fmla="*/ 42 h 50"/>
                  <a:gd name="T28" fmla="*/ 6 w 44"/>
                  <a:gd name="T29" fmla="*/ 30 h 50"/>
                  <a:gd name="T30" fmla="*/ 10 w 44"/>
                  <a:gd name="T31" fmla="*/ 24 h 50"/>
                  <a:gd name="T32" fmla="*/ 4 w 44"/>
                  <a:gd name="T33" fmla="*/ 20 h 50"/>
                  <a:gd name="T34" fmla="*/ 0 w 44"/>
                  <a:gd name="T35" fmla="*/ 16 h 50"/>
                  <a:gd name="T36" fmla="*/ 0 w 44"/>
                  <a:gd name="T37" fmla="*/ 10 h 50"/>
                  <a:gd name="T38" fmla="*/ 2 w 44"/>
                  <a:gd name="T39" fmla="*/ 6 h 50"/>
                  <a:gd name="T40" fmla="*/ 6 w 44"/>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0">
                    <a:moveTo>
                      <a:pt x="6" y="0"/>
                    </a:moveTo>
                    <a:lnTo>
                      <a:pt x="16" y="2"/>
                    </a:lnTo>
                    <a:lnTo>
                      <a:pt x="26" y="6"/>
                    </a:lnTo>
                    <a:lnTo>
                      <a:pt x="36" y="10"/>
                    </a:lnTo>
                    <a:lnTo>
                      <a:pt x="42" y="16"/>
                    </a:lnTo>
                    <a:lnTo>
                      <a:pt x="44" y="22"/>
                    </a:lnTo>
                    <a:lnTo>
                      <a:pt x="40" y="28"/>
                    </a:lnTo>
                    <a:lnTo>
                      <a:pt x="34" y="38"/>
                    </a:lnTo>
                    <a:lnTo>
                      <a:pt x="28" y="50"/>
                    </a:lnTo>
                    <a:lnTo>
                      <a:pt x="22" y="48"/>
                    </a:lnTo>
                    <a:lnTo>
                      <a:pt x="14" y="46"/>
                    </a:lnTo>
                    <a:lnTo>
                      <a:pt x="8" y="48"/>
                    </a:lnTo>
                    <a:lnTo>
                      <a:pt x="2" y="48"/>
                    </a:lnTo>
                    <a:lnTo>
                      <a:pt x="2" y="42"/>
                    </a:lnTo>
                    <a:lnTo>
                      <a:pt x="6" y="30"/>
                    </a:lnTo>
                    <a:lnTo>
                      <a:pt x="10" y="24"/>
                    </a:lnTo>
                    <a:lnTo>
                      <a:pt x="4" y="20"/>
                    </a:lnTo>
                    <a:lnTo>
                      <a:pt x="0" y="16"/>
                    </a:lnTo>
                    <a:lnTo>
                      <a:pt x="0" y="10"/>
                    </a:lnTo>
                    <a:lnTo>
                      <a:pt x="2" y="6"/>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3" name="Freeform 283"/>
              <p:cNvSpPr>
                <a:spLocks/>
              </p:cNvSpPr>
              <p:nvPr/>
            </p:nvSpPr>
            <p:spPr bwMode="auto">
              <a:xfrm>
                <a:off x="2089" y="2439"/>
                <a:ext cx="52" cy="58"/>
              </a:xfrm>
              <a:custGeom>
                <a:avLst/>
                <a:gdLst>
                  <a:gd name="T0" fmla="*/ 10 w 52"/>
                  <a:gd name="T1" fmla="*/ 0 h 58"/>
                  <a:gd name="T2" fmla="*/ 10 w 52"/>
                  <a:gd name="T3" fmla="*/ 0 h 58"/>
                  <a:gd name="T4" fmla="*/ 6 w 52"/>
                  <a:gd name="T5" fmla="*/ 2 h 58"/>
                  <a:gd name="T6" fmla="*/ 2 w 52"/>
                  <a:gd name="T7" fmla="*/ 6 h 58"/>
                  <a:gd name="T8" fmla="*/ 2 w 52"/>
                  <a:gd name="T9" fmla="*/ 6 h 58"/>
                  <a:gd name="T10" fmla="*/ 2 w 52"/>
                  <a:gd name="T11" fmla="*/ 8 h 58"/>
                  <a:gd name="T12" fmla="*/ 0 w 52"/>
                  <a:gd name="T13" fmla="*/ 12 h 58"/>
                  <a:gd name="T14" fmla="*/ 0 w 52"/>
                  <a:gd name="T15" fmla="*/ 12 h 58"/>
                  <a:gd name="T16" fmla="*/ 0 w 52"/>
                  <a:gd name="T17" fmla="*/ 14 h 58"/>
                  <a:gd name="T18" fmla="*/ 0 w 52"/>
                  <a:gd name="T19" fmla="*/ 20 h 58"/>
                  <a:gd name="T20" fmla="*/ 0 w 52"/>
                  <a:gd name="T21" fmla="*/ 20 h 58"/>
                  <a:gd name="T22" fmla="*/ 0 w 52"/>
                  <a:gd name="T23" fmla="*/ 22 h 58"/>
                  <a:gd name="T24" fmla="*/ 4 w 52"/>
                  <a:gd name="T25" fmla="*/ 26 h 58"/>
                  <a:gd name="T26" fmla="*/ 4 w 52"/>
                  <a:gd name="T27" fmla="*/ 26 h 58"/>
                  <a:gd name="T28" fmla="*/ 6 w 52"/>
                  <a:gd name="T29" fmla="*/ 28 h 58"/>
                  <a:gd name="T30" fmla="*/ 8 w 52"/>
                  <a:gd name="T31" fmla="*/ 30 h 58"/>
                  <a:gd name="T32" fmla="*/ 6 w 52"/>
                  <a:gd name="T33" fmla="*/ 32 h 58"/>
                  <a:gd name="T34" fmla="*/ 6 w 52"/>
                  <a:gd name="T35" fmla="*/ 32 h 58"/>
                  <a:gd name="T36" fmla="*/ 6 w 52"/>
                  <a:gd name="T37" fmla="*/ 34 h 58"/>
                  <a:gd name="T38" fmla="*/ 2 w 52"/>
                  <a:gd name="T39" fmla="*/ 44 h 58"/>
                  <a:gd name="T40" fmla="*/ 2 w 52"/>
                  <a:gd name="T41" fmla="*/ 44 h 58"/>
                  <a:gd name="T42" fmla="*/ 2 w 52"/>
                  <a:gd name="T43" fmla="*/ 46 h 58"/>
                  <a:gd name="T44" fmla="*/ 2 w 52"/>
                  <a:gd name="T45" fmla="*/ 52 h 58"/>
                  <a:gd name="T46" fmla="*/ 2 w 52"/>
                  <a:gd name="T47" fmla="*/ 52 h 58"/>
                  <a:gd name="T48" fmla="*/ 4 w 52"/>
                  <a:gd name="T49" fmla="*/ 56 h 58"/>
                  <a:gd name="T50" fmla="*/ 6 w 52"/>
                  <a:gd name="T51" fmla="*/ 56 h 58"/>
                  <a:gd name="T52" fmla="*/ 12 w 52"/>
                  <a:gd name="T53" fmla="*/ 56 h 58"/>
                  <a:gd name="T54" fmla="*/ 12 w 52"/>
                  <a:gd name="T55" fmla="*/ 56 h 58"/>
                  <a:gd name="T56" fmla="*/ 14 w 52"/>
                  <a:gd name="T57" fmla="*/ 56 h 58"/>
                  <a:gd name="T58" fmla="*/ 18 w 52"/>
                  <a:gd name="T59" fmla="*/ 54 h 58"/>
                  <a:gd name="T60" fmla="*/ 26 w 52"/>
                  <a:gd name="T61" fmla="*/ 56 h 58"/>
                  <a:gd name="T62" fmla="*/ 30 w 52"/>
                  <a:gd name="T63" fmla="*/ 58 h 58"/>
                  <a:gd name="T64" fmla="*/ 30 w 52"/>
                  <a:gd name="T65" fmla="*/ 58 h 58"/>
                  <a:gd name="T66" fmla="*/ 32 w 52"/>
                  <a:gd name="T67" fmla="*/ 58 h 58"/>
                  <a:gd name="T68" fmla="*/ 32 w 52"/>
                  <a:gd name="T69" fmla="*/ 58 h 58"/>
                  <a:gd name="T70" fmla="*/ 34 w 52"/>
                  <a:gd name="T71" fmla="*/ 58 h 58"/>
                  <a:gd name="T72" fmla="*/ 34 w 52"/>
                  <a:gd name="T73" fmla="*/ 58 h 58"/>
                  <a:gd name="T74" fmla="*/ 36 w 52"/>
                  <a:gd name="T75" fmla="*/ 56 h 58"/>
                  <a:gd name="T76" fmla="*/ 42 w 52"/>
                  <a:gd name="T77" fmla="*/ 44 h 58"/>
                  <a:gd name="T78" fmla="*/ 46 w 52"/>
                  <a:gd name="T79" fmla="*/ 34 h 58"/>
                  <a:gd name="T80" fmla="*/ 52 w 52"/>
                  <a:gd name="T81" fmla="*/ 28 h 58"/>
                  <a:gd name="T82" fmla="*/ 52 w 52"/>
                  <a:gd name="T83" fmla="*/ 28 h 58"/>
                  <a:gd name="T84" fmla="*/ 52 w 52"/>
                  <a:gd name="T85" fmla="*/ 26 h 58"/>
                  <a:gd name="T86" fmla="*/ 52 w 52"/>
                  <a:gd name="T87" fmla="*/ 24 h 58"/>
                  <a:gd name="T88" fmla="*/ 48 w 52"/>
                  <a:gd name="T89" fmla="*/ 18 h 58"/>
                  <a:gd name="T90" fmla="*/ 42 w 52"/>
                  <a:gd name="T91" fmla="*/ 12 h 58"/>
                  <a:gd name="T92" fmla="*/ 42 w 52"/>
                  <a:gd name="T93" fmla="*/ 12 h 58"/>
                  <a:gd name="T94" fmla="*/ 42 w 52"/>
                  <a:gd name="T95" fmla="*/ 10 h 58"/>
                  <a:gd name="T96" fmla="*/ 32 w 52"/>
                  <a:gd name="T97" fmla="*/ 6 h 58"/>
                  <a:gd name="T98" fmla="*/ 32 w 52"/>
                  <a:gd name="T99" fmla="*/ 6 h 58"/>
                  <a:gd name="T100" fmla="*/ 32 w 52"/>
                  <a:gd name="T101" fmla="*/ 6 h 58"/>
                  <a:gd name="T102" fmla="*/ 20 w 52"/>
                  <a:gd name="T103" fmla="*/ 2 h 58"/>
                  <a:gd name="T104" fmla="*/ 20 w 52"/>
                  <a:gd name="T105" fmla="*/ 2 h 58"/>
                  <a:gd name="T106" fmla="*/ 20 w 52"/>
                  <a:gd name="T107" fmla="*/ 2 h 58"/>
                  <a:gd name="T108" fmla="*/ 10 w 52"/>
                  <a:gd name="T109" fmla="*/ 0 h 58"/>
                  <a:gd name="T110" fmla="*/ 10 w 52"/>
                  <a:gd name="T111" fmla="*/ 0 h 58"/>
                  <a:gd name="T112" fmla="*/ 10 w 52"/>
                  <a:gd name="T113" fmla="*/ 0 h 58"/>
                  <a:gd name="T114" fmla="*/ 10 w 52"/>
                  <a:gd name="T11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58">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4" name="Freeform 284"/>
              <p:cNvSpPr>
                <a:spLocks/>
              </p:cNvSpPr>
              <p:nvPr/>
            </p:nvSpPr>
            <p:spPr bwMode="auto">
              <a:xfrm>
                <a:off x="2041" y="2435"/>
                <a:ext cx="66" cy="66"/>
              </a:xfrm>
              <a:custGeom>
                <a:avLst/>
                <a:gdLst>
                  <a:gd name="T0" fmla="*/ 22 w 66"/>
                  <a:gd name="T1" fmla="*/ 66 h 66"/>
                  <a:gd name="T2" fmla="*/ 22 w 66"/>
                  <a:gd name="T3" fmla="*/ 66 h 66"/>
                  <a:gd name="T4" fmla="*/ 22 w 66"/>
                  <a:gd name="T5" fmla="*/ 66 h 66"/>
                  <a:gd name="T6" fmla="*/ 18 w 66"/>
                  <a:gd name="T7" fmla="*/ 62 h 66"/>
                  <a:gd name="T8" fmla="*/ 12 w 66"/>
                  <a:gd name="T9" fmla="*/ 48 h 66"/>
                  <a:gd name="T10" fmla="*/ 0 w 66"/>
                  <a:gd name="T11" fmla="*/ 34 h 66"/>
                  <a:gd name="T12" fmla="*/ 0 w 66"/>
                  <a:gd name="T13" fmla="*/ 34 h 66"/>
                  <a:gd name="T14" fmla="*/ 0 w 66"/>
                  <a:gd name="T15" fmla="*/ 32 h 66"/>
                  <a:gd name="T16" fmla="*/ 2 w 66"/>
                  <a:gd name="T17" fmla="*/ 24 h 66"/>
                  <a:gd name="T18" fmla="*/ 2 w 66"/>
                  <a:gd name="T19" fmla="*/ 24 h 66"/>
                  <a:gd name="T20" fmla="*/ 2 w 66"/>
                  <a:gd name="T21" fmla="*/ 22 h 66"/>
                  <a:gd name="T22" fmla="*/ 8 w 66"/>
                  <a:gd name="T23" fmla="*/ 14 h 66"/>
                  <a:gd name="T24" fmla="*/ 12 w 66"/>
                  <a:gd name="T25" fmla="*/ 10 h 66"/>
                  <a:gd name="T26" fmla="*/ 14 w 66"/>
                  <a:gd name="T27" fmla="*/ 2 h 66"/>
                  <a:gd name="T28" fmla="*/ 14 w 66"/>
                  <a:gd name="T29" fmla="*/ 2 h 66"/>
                  <a:gd name="T30" fmla="*/ 16 w 66"/>
                  <a:gd name="T31" fmla="*/ 0 h 66"/>
                  <a:gd name="T32" fmla="*/ 22 w 66"/>
                  <a:gd name="T33" fmla="*/ 0 h 66"/>
                  <a:gd name="T34" fmla="*/ 32 w 66"/>
                  <a:gd name="T35" fmla="*/ 2 h 66"/>
                  <a:gd name="T36" fmla="*/ 60 w 66"/>
                  <a:gd name="T37" fmla="*/ 2 h 66"/>
                  <a:gd name="T38" fmla="*/ 60 w 66"/>
                  <a:gd name="T39" fmla="*/ 2 h 66"/>
                  <a:gd name="T40" fmla="*/ 62 w 66"/>
                  <a:gd name="T41" fmla="*/ 4 h 66"/>
                  <a:gd name="T42" fmla="*/ 62 w 66"/>
                  <a:gd name="T43" fmla="*/ 4 h 66"/>
                  <a:gd name="T44" fmla="*/ 62 w 66"/>
                  <a:gd name="T45" fmla="*/ 6 h 66"/>
                  <a:gd name="T46" fmla="*/ 56 w 66"/>
                  <a:gd name="T47" fmla="*/ 16 h 66"/>
                  <a:gd name="T48" fmla="*/ 56 w 66"/>
                  <a:gd name="T49" fmla="*/ 22 h 66"/>
                  <a:gd name="T50" fmla="*/ 60 w 66"/>
                  <a:gd name="T51" fmla="*/ 26 h 66"/>
                  <a:gd name="T52" fmla="*/ 64 w 66"/>
                  <a:gd name="T53" fmla="*/ 30 h 66"/>
                  <a:gd name="T54" fmla="*/ 64 w 66"/>
                  <a:gd name="T55" fmla="*/ 30 h 66"/>
                  <a:gd name="T56" fmla="*/ 66 w 66"/>
                  <a:gd name="T57" fmla="*/ 32 h 66"/>
                  <a:gd name="T58" fmla="*/ 58 w 66"/>
                  <a:gd name="T59" fmla="*/ 54 h 66"/>
                  <a:gd name="T60" fmla="*/ 58 w 66"/>
                  <a:gd name="T61" fmla="*/ 60 h 66"/>
                  <a:gd name="T62" fmla="*/ 58 w 66"/>
                  <a:gd name="T63" fmla="*/ 60 h 66"/>
                  <a:gd name="T64" fmla="*/ 56 w 66"/>
                  <a:gd name="T65" fmla="*/ 62 h 66"/>
                  <a:gd name="T66" fmla="*/ 56 w 66"/>
                  <a:gd name="T67" fmla="*/ 62 h 66"/>
                  <a:gd name="T68" fmla="*/ 56 w 66"/>
                  <a:gd name="T69" fmla="*/ 62 h 66"/>
                  <a:gd name="T70" fmla="*/ 56 w 66"/>
                  <a:gd name="T71" fmla="*/ 62 h 66"/>
                  <a:gd name="T72" fmla="*/ 54 w 66"/>
                  <a:gd name="T73" fmla="*/ 62 h 66"/>
                  <a:gd name="T74" fmla="*/ 50 w 66"/>
                  <a:gd name="T75" fmla="*/ 60 h 66"/>
                  <a:gd name="T76" fmla="*/ 42 w 66"/>
                  <a:gd name="T77" fmla="*/ 58 h 66"/>
                  <a:gd name="T78" fmla="*/ 36 w 66"/>
                  <a:gd name="T79" fmla="*/ 56 h 66"/>
                  <a:gd name="T80" fmla="*/ 34 w 66"/>
                  <a:gd name="T81" fmla="*/ 56 h 66"/>
                  <a:gd name="T82" fmla="*/ 34 w 66"/>
                  <a:gd name="T83" fmla="*/ 60 h 66"/>
                  <a:gd name="T84" fmla="*/ 34 w 66"/>
                  <a:gd name="T85" fmla="*/ 60 h 66"/>
                  <a:gd name="T86" fmla="*/ 34 w 66"/>
                  <a:gd name="T87" fmla="*/ 62 h 66"/>
                  <a:gd name="T88" fmla="*/ 32 w 66"/>
                  <a:gd name="T89" fmla="*/ 66 h 66"/>
                  <a:gd name="T90" fmla="*/ 32 w 66"/>
                  <a:gd name="T91" fmla="*/ 66 h 66"/>
                  <a:gd name="T92" fmla="*/ 30 w 66"/>
                  <a:gd name="T93" fmla="*/ 66 h 66"/>
                  <a:gd name="T94" fmla="*/ 22 w 66"/>
                  <a:gd name="T9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66">
                    <a:moveTo>
                      <a:pt x="22" y="66"/>
                    </a:moveTo>
                    <a:lnTo>
                      <a:pt x="22" y="66"/>
                    </a:lnTo>
                    <a:lnTo>
                      <a:pt x="22" y="66"/>
                    </a:lnTo>
                    <a:lnTo>
                      <a:pt x="18" y="62"/>
                    </a:lnTo>
                    <a:lnTo>
                      <a:pt x="12" y="48"/>
                    </a:lnTo>
                    <a:lnTo>
                      <a:pt x="0" y="34"/>
                    </a:lnTo>
                    <a:lnTo>
                      <a:pt x="0" y="34"/>
                    </a:lnTo>
                    <a:lnTo>
                      <a:pt x="0" y="32"/>
                    </a:lnTo>
                    <a:lnTo>
                      <a:pt x="2" y="24"/>
                    </a:lnTo>
                    <a:lnTo>
                      <a:pt x="2" y="24"/>
                    </a:lnTo>
                    <a:lnTo>
                      <a:pt x="2" y="22"/>
                    </a:lnTo>
                    <a:lnTo>
                      <a:pt x="8" y="14"/>
                    </a:lnTo>
                    <a:lnTo>
                      <a:pt x="12" y="10"/>
                    </a:lnTo>
                    <a:lnTo>
                      <a:pt x="14" y="2"/>
                    </a:lnTo>
                    <a:lnTo>
                      <a:pt x="14" y="2"/>
                    </a:lnTo>
                    <a:lnTo>
                      <a:pt x="16" y="0"/>
                    </a:lnTo>
                    <a:lnTo>
                      <a:pt x="22" y="0"/>
                    </a:lnTo>
                    <a:lnTo>
                      <a:pt x="32" y="2"/>
                    </a:lnTo>
                    <a:lnTo>
                      <a:pt x="60" y="2"/>
                    </a:lnTo>
                    <a:lnTo>
                      <a:pt x="60" y="2"/>
                    </a:lnTo>
                    <a:lnTo>
                      <a:pt x="62" y="4"/>
                    </a:lnTo>
                    <a:lnTo>
                      <a:pt x="62" y="4"/>
                    </a:lnTo>
                    <a:lnTo>
                      <a:pt x="62" y="6"/>
                    </a:lnTo>
                    <a:lnTo>
                      <a:pt x="56" y="16"/>
                    </a:lnTo>
                    <a:lnTo>
                      <a:pt x="56" y="22"/>
                    </a:lnTo>
                    <a:lnTo>
                      <a:pt x="60" y="26"/>
                    </a:lnTo>
                    <a:lnTo>
                      <a:pt x="64" y="30"/>
                    </a:lnTo>
                    <a:lnTo>
                      <a:pt x="64" y="30"/>
                    </a:lnTo>
                    <a:lnTo>
                      <a:pt x="66" y="32"/>
                    </a:lnTo>
                    <a:lnTo>
                      <a:pt x="58" y="54"/>
                    </a:lnTo>
                    <a:lnTo>
                      <a:pt x="58" y="60"/>
                    </a:lnTo>
                    <a:lnTo>
                      <a:pt x="58" y="60"/>
                    </a:lnTo>
                    <a:lnTo>
                      <a:pt x="56" y="62"/>
                    </a:lnTo>
                    <a:lnTo>
                      <a:pt x="56" y="62"/>
                    </a:lnTo>
                    <a:lnTo>
                      <a:pt x="56" y="62"/>
                    </a:lnTo>
                    <a:lnTo>
                      <a:pt x="56" y="62"/>
                    </a:lnTo>
                    <a:lnTo>
                      <a:pt x="54" y="62"/>
                    </a:lnTo>
                    <a:lnTo>
                      <a:pt x="50" y="60"/>
                    </a:lnTo>
                    <a:lnTo>
                      <a:pt x="42" y="58"/>
                    </a:lnTo>
                    <a:lnTo>
                      <a:pt x="36" y="56"/>
                    </a:lnTo>
                    <a:lnTo>
                      <a:pt x="34" y="56"/>
                    </a:lnTo>
                    <a:lnTo>
                      <a:pt x="34" y="60"/>
                    </a:lnTo>
                    <a:lnTo>
                      <a:pt x="34" y="60"/>
                    </a:lnTo>
                    <a:lnTo>
                      <a:pt x="34" y="62"/>
                    </a:lnTo>
                    <a:lnTo>
                      <a:pt x="32" y="66"/>
                    </a:lnTo>
                    <a:lnTo>
                      <a:pt x="32" y="66"/>
                    </a:lnTo>
                    <a:lnTo>
                      <a:pt x="30" y="66"/>
                    </a:lnTo>
                    <a:lnTo>
                      <a:pt x="22"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5" name="Freeform 285"/>
              <p:cNvSpPr>
                <a:spLocks noEditPoints="1"/>
              </p:cNvSpPr>
              <p:nvPr/>
            </p:nvSpPr>
            <p:spPr bwMode="auto">
              <a:xfrm>
                <a:off x="2039" y="2433"/>
                <a:ext cx="70" cy="70"/>
              </a:xfrm>
              <a:custGeom>
                <a:avLst/>
                <a:gdLst>
                  <a:gd name="T0" fmla="*/ 34 w 70"/>
                  <a:gd name="T1" fmla="*/ 6 h 70"/>
                  <a:gd name="T2" fmla="*/ 44 w 70"/>
                  <a:gd name="T3" fmla="*/ 6 h 70"/>
                  <a:gd name="T4" fmla="*/ 56 w 70"/>
                  <a:gd name="T5" fmla="*/ 6 h 70"/>
                  <a:gd name="T6" fmla="*/ 56 w 70"/>
                  <a:gd name="T7" fmla="*/ 18 h 70"/>
                  <a:gd name="T8" fmla="*/ 60 w 70"/>
                  <a:gd name="T9" fmla="*/ 30 h 70"/>
                  <a:gd name="T10" fmla="*/ 58 w 70"/>
                  <a:gd name="T11" fmla="*/ 54 h 70"/>
                  <a:gd name="T12" fmla="*/ 52 w 70"/>
                  <a:gd name="T13" fmla="*/ 60 h 70"/>
                  <a:gd name="T14" fmla="*/ 38 w 70"/>
                  <a:gd name="T15" fmla="*/ 56 h 70"/>
                  <a:gd name="T16" fmla="*/ 34 w 70"/>
                  <a:gd name="T17" fmla="*/ 62 h 70"/>
                  <a:gd name="T18" fmla="*/ 30 w 70"/>
                  <a:gd name="T19" fmla="*/ 66 h 70"/>
                  <a:gd name="T20" fmla="*/ 22 w 70"/>
                  <a:gd name="T21" fmla="*/ 62 h 70"/>
                  <a:gd name="T22" fmla="*/ 4 w 70"/>
                  <a:gd name="T23" fmla="*/ 36 h 70"/>
                  <a:gd name="T24" fmla="*/ 12 w 70"/>
                  <a:gd name="T25" fmla="*/ 18 h 70"/>
                  <a:gd name="T26" fmla="*/ 18 w 70"/>
                  <a:gd name="T27" fmla="*/ 4 h 70"/>
                  <a:gd name="T28" fmla="*/ 62 w 70"/>
                  <a:gd name="T29" fmla="*/ 6 h 70"/>
                  <a:gd name="T30" fmla="*/ 24 w 70"/>
                  <a:gd name="T31" fmla="*/ 0 h 70"/>
                  <a:gd name="T32" fmla="*/ 18 w 70"/>
                  <a:gd name="T33" fmla="*/ 0 h 70"/>
                  <a:gd name="T34" fmla="*/ 14 w 70"/>
                  <a:gd name="T35" fmla="*/ 4 h 70"/>
                  <a:gd name="T36" fmla="*/ 8 w 70"/>
                  <a:gd name="T37" fmla="*/ 16 h 70"/>
                  <a:gd name="T38" fmla="*/ 2 w 70"/>
                  <a:gd name="T39" fmla="*/ 24 h 70"/>
                  <a:gd name="T40" fmla="*/ 0 w 70"/>
                  <a:gd name="T41" fmla="*/ 34 h 70"/>
                  <a:gd name="T42" fmla="*/ 0 w 70"/>
                  <a:gd name="T43" fmla="*/ 38 h 70"/>
                  <a:gd name="T44" fmla="*/ 18 w 70"/>
                  <a:gd name="T45" fmla="*/ 64 h 70"/>
                  <a:gd name="T46" fmla="*/ 18 w 70"/>
                  <a:gd name="T47" fmla="*/ 66 h 70"/>
                  <a:gd name="T48" fmla="*/ 22 w 70"/>
                  <a:gd name="T49" fmla="*/ 70 h 70"/>
                  <a:gd name="T50" fmla="*/ 30 w 70"/>
                  <a:gd name="T51" fmla="*/ 70 h 70"/>
                  <a:gd name="T52" fmla="*/ 32 w 70"/>
                  <a:gd name="T53" fmla="*/ 70 h 70"/>
                  <a:gd name="T54" fmla="*/ 38 w 70"/>
                  <a:gd name="T55" fmla="*/ 64 h 70"/>
                  <a:gd name="T56" fmla="*/ 38 w 70"/>
                  <a:gd name="T57" fmla="*/ 62 h 70"/>
                  <a:gd name="T58" fmla="*/ 42 w 70"/>
                  <a:gd name="T59" fmla="*/ 62 h 70"/>
                  <a:gd name="T60" fmla="*/ 56 w 70"/>
                  <a:gd name="T61" fmla="*/ 66 h 70"/>
                  <a:gd name="T62" fmla="*/ 58 w 70"/>
                  <a:gd name="T63" fmla="*/ 66 h 70"/>
                  <a:gd name="T64" fmla="*/ 60 w 70"/>
                  <a:gd name="T65" fmla="*/ 66 h 70"/>
                  <a:gd name="T66" fmla="*/ 62 w 70"/>
                  <a:gd name="T67" fmla="*/ 62 h 70"/>
                  <a:gd name="T68" fmla="*/ 70 w 70"/>
                  <a:gd name="T69" fmla="*/ 34 h 70"/>
                  <a:gd name="T70" fmla="*/ 70 w 70"/>
                  <a:gd name="T71" fmla="*/ 32 h 70"/>
                  <a:gd name="T72" fmla="*/ 62 w 70"/>
                  <a:gd name="T73" fmla="*/ 26 h 70"/>
                  <a:gd name="T74" fmla="*/ 60 w 70"/>
                  <a:gd name="T75" fmla="*/ 18 h 70"/>
                  <a:gd name="T76" fmla="*/ 64 w 70"/>
                  <a:gd name="T77" fmla="*/ 8 h 70"/>
                  <a:gd name="T78" fmla="*/ 66 w 70"/>
                  <a:gd name="T79" fmla="*/ 6 h 70"/>
                  <a:gd name="T80" fmla="*/ 62 w 70"/>
                  <a:gd name="T81" fmla="*/ 2 h 70"/>
                  <a:gd name="T82" fmla="*/ 56 w 70"/>
                  <a:gd name="T83" fmla="*/ 2 h 70"/>
                  <a:gd name="T84" fmla="*/ 44 w 70"/>
                  <a:gd name="T85" fmla="*/ 2 h 70"/>
                  <a:gd name="T86" fmla="*/ 34 w 70"/>
                  <a:gd name="T87" fmla="*/ 2 h 70"/>
                  <a:gd name="T88" fmla="*/ 26 w 70"/>
                  <a:gd name="T89" fmla="*/ 0 h 70"/>
                  <a:gd name="T90" fmla="*/ 24 w 70"/>
                  <a:gd name="T9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70">
                    <a:moveTo>
                      <a:pt x="24" y="4"/>
                    </a:moveTo>
                    <a:lnTo>
                      <a:pt x="34" y="6"/>
                    </a:lnTo>
                    <a:lnTo>
                      <a:pt x="38" y="6"/>
                    </a:lnTo>
                    <a:lnTo>
                      <a:pt x="44" y="6"/>
                    </a:lnTo>
                    <a:lnTo>
                      <a:pt x="50" y="6"/>
                    </a:lnTo>
                    <a:lnTo>
                      <a:pt x="56" y="6"/>
                    </a:lnTo>
                    <a:lnTo>
                      <a:pt x="62" y="6"/>
                    </a:lnTo>
                    <a:lnTo>
                      <a:pt x="56" y="18"/>
                    </a:lnTo>
                    <a:lnTo>
                      <a:pt x="56" y="24"/>
                    </a:lnTo>
                    <a:lnTo>
                      <a:pt x="60" y="30"/>
                    </a:lnTo>
                    <a:lnTo>
                      <a:pt x="66" y="34"/>
                    </a:lnTo>
                    <a:lnTo>
                      <a:pt x="58" y="54"/>
                    </a:lnTo>
                    <a:lnTo>
                      <a:pt x="58" y="62"/>
                    </a:lnTo>
                    <a:lnTo>
                      <a:pt x="52" y="60"/>
                    </a:lnTo>
                    <a:lnTo>
                      <a:pt x="44" y="58"/>
                    </a:lnTo>
                    <a:lnTo>
                      <a:pt x="38" y="56"/>
                    </a:lnTo>
                    <a:lnTo>
                      <a:pt x="34" y="56"/>
                    </a:lnTo>
                    <a:lnTo>
                      <a:pt x="34" y="62"/>
                    </a:lnTo>
                    <a:lnTo>
                      <a:pt x="32" y="66"/>
                    </a:lnTo>
                    <a:lnTo>
                      <a:pt x="30" y="66"/>
                    </a:lnTo>
                    <a:lnTo>
                      <a:pt x="24" y="66"/>
                    </a:lnTo>
                    <a:lnTo>
                      <a:pt x="22" y="62"/>
                    </a:lnTo>
                    <a:lnTo>
                      <a:pt x="16" y="48"/>
                    </a:lnTo>
                    <a:lnTo>
                      <a:pt x="4" y="36"/>
                    </a:lnTo>
                    <a:lnTo>
                      <a:pt x="6" y="26"/>
                    </a:lnTo>
                    <a:lnTo>
                      <a:pt x="12" y="18"/>
                    </a:lnTo>
                    <a:lnTo>
                      <a:pt x="16" y="12"/>
                    </a:lnTo>
                    <a:lnTo>
                      <a:pt x="18" y="4"/>
                    </a:lnTo>
                    <a:lnTo>
                      <a:pt x="24" y="4"/>
                    </a:lnTo>
                    <a:close/>
                    <a:moveTo>
                      <a:pt x="62" y="6"/>
                    </a:moveTo>
                    <a:lnTo>
                      <a:pt x="62" y="6"/>
                    </a:lnTo>
                    <a:close/>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6" name="Freeform 286"/>
              <p:cNvSpPr>
                <a:spLocks/>
              </p:cNvSpPr>
              <p:nvPr/>
            </p:nvSpPr>
            <p:spPr bwMode="auto">
              <a:xfrm>
                <a:off x="2043" y="2437"/>
                <a:ext cx="62" cy="62"/>
              </a:xfrm>
              <a:custGeom>
                <a:avLst/>
                <a:gdLst>
                  <a:gd name="T0" fmla="*/ 20 w 62"/>
                  <a:gd name="T1" fmla="*/ 0 h 62"/>
                  <a:gd name="T2" fmla="*/ 30 w 62"/>
                  <a:gd name="T3" fmla="*/ 2 h 62"/>
                  <a:gd name="T4" fmla="*/ 34 w 62"/>
                  <a:gd name="T5" fmla="*/ 2 h 62"/>
                  <a:gd name="T6" fmla="*/ 40 w 62"/>
                  <a:gd name="T7" fmla="*/ 2 h 62"/>
                  <a:gd name="T8" fmla="*/ 46 w 62"/>
                  <a:gd name="T9" fmla="*/ 2 h 62"/>
                  <a:gd name="T10" fmla="*/ 52 w 62"/>
                  <a:gd name="T11" fmla="*/ 2 h 62"/>
                  <a:gd name="T12" fmla="*/ 58 w 62"/>
                  <a:gd name="T13" fmla="*/ 2 h 62"/>
                  <a:gd name="T14" fmla="*/ 52 w 62"/>
                  <a:gd name="T15" fmla="*/ 14 h 62"/>
                  <a:gd name="T16" fmla="*/ 52 w 62"/>
                  <a:gd name="T17" fmla="*/ 20 h 62"/>
                  <a:gd name="T18" fmla="*/ 56 w 62"/>
                  <a:gd name="T19" fmla="*/ 26 h 62"/>
                  <a:gd name="T20" fmla="*/ 62 w 62"/>
                  <a:gd name="T21" fmla="*/ 30 h 62"/>
                  <a:gd name="T22" fmla="*/ 54 w 62"/>
                  <a:gd name="T23" fmla="*/ 50 h 62"/>
                  <a:gd name="T24" fmla="*/ 54 w 62"/>
                  <a:gd name="T25" fmla="*/ 58 h 62"/>
                  <a:gd name="T26" fmla="*/ 48 w 62"/>
                  <a:gd name="T27" fmla="*/ 56 h 62"/>
                  <a:gd name="T28" fmla="*/ 40 w 62"/>
                  <a:gd name="T29" fmla="*/ 54 h 62"/>
                  <a:gd name="T30" fmla="*/ 34 w 62"/>
                  <a:gd name="T31" fmla="*/ 52 h 62"/>
                  <a:gd name="T32" fmla="*/ 30 w 62"/>
                  <a:gd name="T33" fmla="*/ 52 h 62"/>
                  <a:gd name="T34" fmla="*/ 30 w 62"/>
                  <a:gd name="T35" fmla="*/ 58 h 62"/>
                  <a:gd name="T36" fmla="*/ 28 w 62"/>
                  <a:gd name="T37" fmla="*/ 62 h 62"/>
                  <a:gd name="T38" fmla="*/ 26 w 62"/>
                  <a:gd name="T39" fmla="*/ 62 h 62"/>
                  <a:gd name="T40" fmla="*/ 20 w 62"/>
                  <a:gd name="T41" fmla="*/ 62 h 62"/>
                  <a:gd name="T42" fmla="*/ 18 w 62"/>
                  <a:gd name="T43" fmla="*/ 58 h 62"/>
                  <a:gd name="T44" fmla="*/ 12 w 62"/>
                  <a:gd name="T45" fmla="*/ 44 h 62"/>
                  <a:gd name="T46" fmla="*/ 0 w 62"/>
                  <a:gd name="T47" fmla="*/ 32 h 62"/>
                  <a:gd name="T48" fmla="*/ 2 w 62"/>
                  <a:gd name="T49" fmla="*/ 22 h 62"/>
                  <a:gd name="T50" fmla="*/ 8 w 62"/>
                  <a:gd name="T51" fmla="*/ 14 h 62"/>
                  <a:gd name="T52" fmla="*/ 12 w 62"/>
                  <a:gd name="T53" fmla="*/ 8 h 62"/>
                  <a:gd name="T54" fmla="*/ 14 w 62"/>
                  <a:gd name="T55" fmla="*/ 0 h 62"/>
                  <a:gd name="T56" fmla="*/ 20 w 62"/>
                  <a:gd name="T5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20" y="0"/>
                    </a:moveTo>
                    <a:lnTo>
                      <a:pt x="30" y="2"/>
                    </a:lnTo>
                    <a:lnTo>
                      <a:pt x="34" y="2"/>
                    </a:lnTo>
                    <a:lnTo>
                      <a:pt x="40" y="2"/>
                    </a:lnTo>
                    <a:lnTo>
                      <a:pt x="46" y="2"/>
                    </a:lnTo>
                    <a:lnTo>
                      <a:pt x="52" y="2"/>
                    </a:lnTo>
                    <a:lnTo>
                      <a:pt x="58" y="2"/>
                    </a:lnTo>
                    <a:lnTo>
                      <a:pt x="52" y="14"/>
                    </a:lnTo>
                    <a:lnTo>
                      <a:pt x="52" y="20"/>
                    </a:lnTo>
                    <a:lnTo>
                      <a:pt x="56" y="26"/>
                    </a:lnTo>
                    <a:lnTo>
                      <a:pt x="62" y="30"/>
                    </a:lnTo>
                    <a:lnTo>
                      <a:pt x="54" y="50"/>
                    </a:lnTo>
                    <a:lnTo>
                      <a:pt x="54" y="58"/>
                    </a:lnTo>
                    <a:lnTo>
                      <a:pt x="48" y="56"/>
                    </a:lnTo>
                    <a:lnTo>
                      <a:pt x="40" y="54"/>
                    </a:lnTo>
                    <a:lnTo>
                      <a:pt x="34" y="52"/>
                    </a:lnTo>
                    <a:lnTo>
                      <a:pt x="30" y="52"/>
                    </a:lnTo>
                    <a:lnTo>
                      <a:pt x="30" y="58"/>
                    </a:lnTo>
                    <a:lnTo>
                      <a:pt x="28" y="62"/>
                    </a:lnTo>
                    <a:lnTo>
                      <a:pt x="26" y="62"/>
                    </a:lnTo>
                    <a:lnTo>
                      <a:pt x="20" y="62"/>
                    </a:lnTo>
                    <a:lnTo>
                      <a:pt x="18" y="58"/>
                    </a:lnTo>
                    <a:lnTo>
                      <a:pt x="12" y="44"/>
                    </a:lnTo>
                    <a:lnTo>
                      <a:pt x="0" y="32"/>
                    </a:lnTo>
                    <a:lnTo>
                      <a:pt x="2" y="22"/>
                    </a:lnTo>
                    <a:lnTo>
                      <a:pt x="8" y="14"/>
                    </a:lnTo>
                    <a:lnTo>
                      <a:pt x="12" y="8"/>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7" name="Line 287"/>
              <p:cNvSpPr>
                <a:spLocks noChangeShapeType="1"/>
              </p:cNvSpPr>
              <p:nvPr/>
            </p:nvSpPr>
            <p:spPr bwMode="auto">
              <a:xfrm>
                <a:off x="2101" y="2439"/>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8" name="Freeform 288"/>
              <p:cNvSpPr>
                <a:spLocks/>
              </p:cNvSpPr>
              <p:nvPr/>
            </p:nvSpPr>
            <p:spPr bwMode="auto">
              <a:xfrm>
                <a:off x="2039" y="2433"/>
                <a:ext cx="70" cy="70"/>
              </a:xfrm>
              <a:custGeom>
                <a:avLst/>
                <a:gdLst>
                  <a:gd name="T0" fmla="*/ 24 w 70"/>
                  <a:gd name="T1" fmla="*/ 0 h 70"/>
                  <a:gd name="T2" fmla="*/ 18 w 70"/>
                  <a:gd name="T3" fmla="*/ 0 h 70"/>
                  <a:gd name="T4" fmla="*/ 18 w 70"/>
                  <a:gd name="T5" fmla="*/ 0 h 70"/>
                  <a:gd name="T6" fmla="*/ 14 w 70"/>
                  <a:gd name="T7" fmla="*/ 2 h 70"/>
                  <a:gd name="T8" fmla="*/ 14 w 70"/>
                  <a:gd name="T9" fmla="*/ 4 h 70"/>
                  <a:gd name="T10" fmla="*/ 12 w 70"/>
                  <a:gd name="T11" fmla="*/ 10 h 70"/>
                  <a:gd name="T12" fmla="*/ 8 w 70"/>
                  <a:gd name="T13" fmla="*/ 16 h 70"/>
                  <a:gd name="T14" fmla="*/ 2 w 70"/>
                  <a:gd name="T15" fmla="*/ 24 h 70"/>
                  <a:gd name="T16" fmla="*/ 2 w 70"/>
                  <a:gd name="T17" fmla="*/ 24 h 70"/>
                  <a:gd name="T18" fmla="*/ 2 w 70"/>
                  <a:gd name="T19" fmla="*/ 24 h 70"/>
                  <a:gd name="T20" fmla="*/ 0 w 70"/>
                  <a:gd name="T21" fmla="*/ 34 h 70"/>
                  <a:gd name="T22" fmla="*/ 0 w 70"/>
                  <a:gd name="T23" fmla="*/ 34 h 70"/>
                  <a:gd name="T24" fmla="*/ 0 w 70"/>
                  <a:gd name="T25" fmla="*/ 38 h 70"/>
                  <a:gd name="T26" fmla="*/ 12 w 70"/>
                  <a:gd name="T27" fmla="*/ 50 h 70"/>
                  <a:gd name="T28" fmla="*/ 18 w 70"/>
                  <a:gd name="T29" fmla="*/ 64 h 70"/>
                  <a:gd name="T30" fmla="*/ 18 w 70"/>
                  <a:gd name="T31" fmla="*/ 64 h 70"/>
                  <a:gd name="T32" fmla="*/ 18 w 70"/>
                  <a:gd name="T33" fmla="*/ 66 h 70"/>
                  <a:gd name="T34" fmla="*/ 22 w 70"/>
                  <a:gd name="T35" fmla="*/ 70 h 70"/>
                  <a:gd name="T36" fmla="*/ 22 w 70"/>
                  <a:gd name="T37" fmla="*/ 70 h 70"/>
                  <a:gd name="T38" fmla="*/ 24 w 70"/>
                  <a:gd name="T39" fmla="*/ 70 h 70"/>
                  <a:gd name="T40" fmla="*/ 30 w 70"/>
                  <a:gd name="T41" fmla="*/ 70 h 70"/>
                  <a:gd name="T42" fmla="*/ 32 w 70"/>
                  <a:gd name="T43" fmla="*/ 70 h 70"/>
                  <a:gd name="T44" fmla="*/ 32 w 70"/>
                  <a:gd name="T45" fmla="*/ 70 h 70"/>
                  <a:gd name="T46" fmla="*/ 36 w 70"/>
                  <a:gd name="T47" fmla="*/ 68 h 70"/>
                  <a:gd name="T48" fmla="*/ 38 w 70"/>
                  <a:gd name="T49" fmla="*/ 64 h 70"/>
                  <a:gd name="T50" fmla="*/ 38 w 70"/>
                  <a:gd name="T51" fmla="*/ 64 h 70"/>
                  <a:gd name="T52" fmla="*/ 38 w 70"/>
                  <a:gd name="T53" fmla="*/ 62 h 70"/>
                  <a:gd name="T54" fmla="*/ 38 w 70"/>
                  <a:gd name="T55" fmla="*/ 60 h 70"/>
                  <a:gd name="T56" fmla="*/ 42 w 70"/>
                  <a:gd name="T57" fmla="*/ 62 h 70"/>
                  <a:gd name="T58" fmla="*/ 50 w 70"/>
                  <a:gd name="T59" fmla="*/ 64 h 70"/>
                  <a:gd name="T60" fmla="*/ 56 w 70"/>
                  <a:gd name="T61" fmla="*/ 66 h 70"/>
                  <a:gd name="T62" fmla="*/ 56 w 70"/>
                  <a:gd name="T63" fmla="*/ 66 h 70"/>
                  <a:gd name="T64" fmla="*/ 58 w 70"/>
                  <a:gd name="T65" fmla="*/ 66 h 70"/>
                  <a:gd name="T66" fmla="*/ 58 w 70"/>
                  <a:gd name="T67" fmla="*/ 66 h 70"/>
                  <a:gd name="T68" fmla="*/ 60 w 70"/>
                  <a:gd name="T69" fmla="*/ 66 h 70"/>
                  <a:gd name="T70" fmla="*/ 60 w 70"/>
                  <a:gd name="T71" fmla="*/ 66 h 70"/>
                  <a:gd name="T72" fmla="*/ 62 w 70"/>
                  <a:gd name="T73" fmla="*/ 62 h 70"/>
                  <a:gd name="T74" fmla="*/ 62 w 70"/>
                  <a:gd name="T75" fmla="*/ 56 h 70"/>
                  <a:gd name="T76" fmla="*/ 70 w 70"/>
                  <a:gd name="T77" fmla="*/ 34 h 70"/>
                  <a:gd name="T78" fmla="*/ 70 w 70"/>
                  <a:gd name="T79" fmla="*/ 34 h 70"/>
                  <a:gd name="T80" fmla="*/ 70 w 70"/>
                  <a:gd name="T81" fmla="*/ 32 h 70"/>
                  <a:gd name="T82" fmla="*/ 68 w 70"/>
                  <a:gd name="T83" fmla="*/ 30 h 70"/>
                  <a:gd name="T84" fmla="*/ 62 w 70"/>
                  <a:gd name="T85" fmla="*/ 26 h 70"/>
                  <a:gd name="T86" fmla="*/ 60 w 70"/>
                  <a:gd name="T87" fmla="*/ 22 h 70"/>
                  <a:gd name="T88" fmla="*/ 60 w 70"/>
                  <a:gd name="T89" fmla="*/ 18 h 70"/>
                  <a:gd name="T90" fmla="*/ 64 w 70"/>
                  <a:gd name="T91" fmla="*/ 8 h 70"/>
                  <a:gd name="T92" fmla="*/ 64 w 70"/>
                  <a:gd name="T93" fmla="*/ 8 h 70"/>
                  <a:gd name="T94" fmla="*/ 66 w 70"/>
                  <a:gd name="T95" fmla="*/ 6 h 70"/>
                  <a:gd name="T96" fmla="*/ 66 w 70"/>
                  <a:gd name="T97" fmla="*/ 6 h 70"/>
                  <a:gd name="T98" fmla="*/ 64 w 70"/>
                  <a:gd name="T99" fmla="*/ 4 h 70"/>
                  <a:gd name="T100" fmla="*/ 62 w 70"/>
                  <a:gd name="T101" fmla="*/ 2 h 70"/>
                  <a:gd name="T102" fmla="*/ 62 w 70"/>
                  <a:gd name="T103" fmla="*/ 2 h 70"/>
                  <a:gd name="T104" fmla="*/ 56 w 70"/>
                  <a:gd name="T105" fmla="*/ 2 h 70"/>
                  <a:gd name="T106" fmla="*/ 50 w 70"/>
                  <a:gd name="T107" fmla="*/ 2 h 70"/>
                  <a:gd name="T108" fmla="*/ 44 w 70"/>
                  <a:gd name="T109" fmla="*/ 2 h 70"/>
                  <a:gd name="T110" fmla="*/ 38 w 70"/>
                  <a:gd name="T111" fmla="*/ 2 h 70"/>
                  <a:gd name="T112" fmla="*/ 34 w 70"/>
                  <a:gd name="T113" fmla="*/ 2 h 70"/>
                  <a:gd name="T114" fmla="*/ 26 w 70"/>
                  <a:gd name="T115" fmla="*/ 0 h 70"/>
                  <a:gd name="T116" fmla="*/ 26 w 70"/>
                  <a:gd name="T117" fmla="*/ 0 h 70"/>
                  <a:gd name="T118" fmla="*/ 24 w 70"/>
                  <a:gd name="T119" fmla="*/ 0 h 70"/>
                  <a:gd name="T120" fmla="*/ 24 w 70"/>
                  <a:gd name="T1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 h="70">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9" name="Freeform 289"/>
              <p:cNvSpPr>
                <a:spLocks/>
              </p:cNvSpPr>
              <p:nvPr/>
            </p:nvSpPr>
            <p:spPr bwMode="auto">
              <a:xfrm>
                <a:off x="1879" y="2659"/>
                <a:ext cx="172" cy="196"/>
              </a:xfrm>
              <a:custGeom>
                <a:avLst/>
                <a:gdLst>
                  <a:gd name="T0" fmla="*/ 26 w 172"/>
                  <a:gd name="T1" fmla="*/ 196 h 196"/>
                  <a:gd name="T2" fmla="*/ 22 w 172"/>
                  <a:gd name="T3" fmla="*/ 182 h 196"/>
                  <a:gd name="T4" fmla="*/ 12 w 172"/>
                  <a:gd name="T5" fmla="*/ 160 h 196"/>
                  <a:gd name="T6" fmla="*/ 12 w 172"/>
                  <a:gd name="T7" fmla="*/ 158 h 196"/>
                  <a:gd name="T8" fmla="*/ 6 w 172"/>
                  <a:gd name="T9" fmla="*/ 132 h 196"/>
                  <a:gd name="T10" fmla="*/ 0 w 172"/>
                  <a:gd name="T11" fmla="*/ 108 h 196"/>
                  <a:gd name="T12" fmla="*/ 0 w 172"/>
                  <a:gd name="T13" fmla="*/ 106 h 196"/>
                  <a:gd name="T14" fmla="*/ 8 w 172"/>
                  <a:gd name="T15" fmla="*/ 98 h 196"/>
                  <a:gd name="T16" fmla="*/ 0 w 172"/>
                  <a:gd name="T17" fmla="*/ 88 h 196"/>
                  <a:gd name="T18" fmla="*/ 0 w 172"/>
                  <a:gd name="T19" fmla="*/ 86 h 196"/>
                  <a:gd name="T20" fmla="*/ 6 w 172"/>
                  <a:gd name="T21" fmla="*/ 68 h 196"/>
                  <a:gd name="T22" fmla="*/ 6 w 172"/>
                  <a:gd name="T23" fmla="*/ 68 h 196"/>
                  <a:gd name="T24" fmla="*/ 6 w 172"/>
                  <a:gd name="T25" fmla="*/ 62 h 196"/>
                  <a:gd name="T26" fmla="*/ 0 w 172"/>
                  <a:gd name="T27" fmla="*/ 20 h 196"/>
                  <a:gd name="T28" fmla="*/ 0 w 172"/>
                  <a:gd name="T29" fmla="*/ 18 h 196"/>
                  <a:gd name="T30" fmla="*/ 2 w 172"/>
                  <a:gd name="T31" fmla="*/ 16 h 196"/>
                  <a:gd name="T32" fmla="*/ 18 w 172"/>
                  <a:gd name="T33" fmla="*/ 16 h 196"/>
                  <a:gd name="T34" fmla="*/ 38 w 172"/>
                  <a:gd name="T35" fmla="*/ 4 h 196"/>
                  <a:gd name="T36" fmla="*/ 60 w 172"/>
                  <a:gd name="T37" fmla="*/ 0 h 196"/>
                  <a:gd name="T38" fmla="*/ 62 w 172"/>
                  <a:gd name="T39" fmla="*/ 2 h 196"/>
                  <a:gd name="T40" fmla="*/ 74 w 172"/>
                  <a:gd name="T41" fmla="*/ 36 h 196"/>
                  <a:gd name="T42" fmla="*/ 92 w 172"/>
                  <a:gd name="T43" fmla="*/ 40 h 196"/>
                  <a:gd name="T44" fmla="*/ 96 w 172"/>
                  <a:gd name="T45" fmla="*/ 46 h 196"/>
                  <a:gd name="T46" fmla="*/ 128 w 172"/>
                  <a:gd name="T47" fmla="*/ 56 h 196"/>
                  <a:gd name="T48" fmla="*/ 130 w 172"/>
                  <a:gd name="T49" fmla="*/ 58 h 196"/>
                  <a:gd name="T50" fmla="*/ 136 w 172"/>
                  <a:gd name="T51" fmla="*/ 76 h 196"/>
                  <a:gd name="T52" fmla="*/ 136 w 172"/>
                  <a:gd name="T53" fmla="*/ 76 h 196"/>
                  <a:gd name="T54" fmla="*/ 136 w 172"/>
                  <a:gd name="T55" fmla="*/ 92 h 196"/>
                  <a:gd name="T56" fmla="*/ 158 w 172"/>
                  <a:gd name="T57" fmla="*/ 92 h 196"/>
                  <a:gd name="T58" fmla="*/ 160 w 172"/>
                  <a:gd name="T59" fmla="*/ 92 h 196"/>
                  <a:gd name="T60" fmla="*/ 158 w 172"/>
                  <a:gd name="T61" fmla="*/ 102 h 196"/>
                  <a:gd name="T62" fmla="*/ 168 w 172"/>
                  <a:gd name="T63" fmla="*/ 114 h 196"/>
                  <a:gd name="T64" fmla="*/ 170 w 172"/>
                  <a:gd name="T65" fmla="*/ 114 h 196"/>
                  <a:gd name="T66" fmla="*/ 172 w 172"/>
                  <a:gd name="T67" fmla="*/ 130 h 196"/>
                  <a:gd name="T68" fmla="*/ 172 w 172"/>
                  <a:gd name="T69" fmla="*/ 130 h 196"/>
                  <a:gd name="T70" fmla="*/ 168 w 172"/>
                  <a:gd name="T71" fmla="*/ 146 h 196"/>
                  <a:gd name="T72" fmla="*/ 168 w 172"/>
                  <a:gd name="T73" fmla="*/ 148 h 196"/>
                  <a:gd name="T74" fmla="*/ 164 w 172"/>
                  <a:gd name="T75" fmla="*/ 152 h 196"/>
                  <a:gd name="T76" fmla="*/ 162 w 172"/>
                  <a:gd name="T77" fmla="*/ 152 h 196"/>
                  <a:gd name="T78" fmla="*/ 156 w 172"/>
                  <a:gd name="T79" fmla="*/ 146 h 196"/>
                  <a:gd name="T80" fmla="*/ 136 w 172"/>
                  <a:gd name="T81" fmla="*/ 140 h 196"/>
                  <a:gd name="T82" fmla="*/ 114 w 172"/>
                  <a:gd name="T83" fmla="*/ 146 h 196"/>
                  <a:gd name="T84" fmla="*/ 106 w 172"/>
                  <a:gd name="T85" fmla="*/ 158 h 196"/>
                  <a:gd name="T86" fmla="*/ 104 w 172"/>
                  <a:gd name="T87" fmla="*/ 176 h 196"/>
                  <a:gd name="T88" fmla="*/ 102 w 172"/>
                  <a:gd name="T89" fmla="*/ 178 h 196"/>
                  <a:gd name="T90" fmla="*/ 100 w 172"/>
                  <a:gd name="T91" fmla="*/ 180 h 196"/>
                  <a:gd name="T92" fmla="*/ 84 w 172"/>
                  <a:gd name="T93" fmla="*/ 182 h 196"/>
                  <a:gd name="T94" fmla="*/ 78 w 172"/>
                  <a:gd name="T95" fmla="*/ 192 h 196"/>
                  <a:gd name="T96" fmla="*/ 76 w 172"/>
                  <a:gd name="T97" fmla="*/ 194 h 196"/>
                  <a:gd name="T98" fmla="*/ 76 w 172"/>
                  <a:gd name="T99" fmla="*/ 194 h 196"/>
                  <a:gd name="T100" fmla="*/ 66 w 172"/>
                  <a:gd name="T101" fmla="*/ 184 h 196"/>
                  <a:gd name="T102" fmla="*/ 56 w 172"/>
                  <a:gd name="T103" fmla="*/ 184 h 196"/>
                  <a:gd name="T104" fmla="*/ 54 w 172"/>
                  <a:gd name="T105" fmla="*/ 184 h 196"/>
                  <a:gd name="T106" fmla="*/ 42 w 172"/>
                  <a:gd name="T107" fmla="*/ 184 h 196"/>
                  <a:gd name="T108" fmla="*/ 38 w 172"/>
                  <a:gd name="T109" fmla="*/ 194 h 196"/>
                  <a:gd name="T110" fmla="*/ 26 w 172"/>
                  <a:gd name="T11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2" h="196">
                    <a:moveTo>
                      <a:pt x="26" y="196"/>
                    </a:moveTo>
                    <a:lnTo>
                      <a:pt x="26" y="196"/>
                    </a:lnTo>
                    <a:lnTo>
                      <a:pt x="24" y="194"/>
                    </a:lnTo>
                    <a:lnTo>
                      <a:pt x="22" y="182"/>
                    </a:lnTo>
                    <a:lnTo>
                      <a:pt x="20" y="170"/>
                    </a:lnTo>
                    <a:lnTo>
                      <a:pt x="12" y="160"/>
                    </a:lnTo>
                    <a:lnTo>
                      <a:pt x="12" y="160"/>
                    </a:lnTo>
                    <a:lnTo>
                      <a:pt x="12" y="158"/>
                    </a:lnTo>
                    <a:lnTo>
                      <a:pt x="12" y="142"/>
                    </a:lnTo>
                    <a:lnTo>
                      <a:pt x="6" y="132"/>
                    </a:lnTo>
                    <a:lnTo>
                      <a:pt x="2" y="116"/>
                    </a:lnTo>
                    <a:lnTo>
                      <a:pt x="0" y="108"/>
                    </a:lnTo>
                    <a:lnTo>
                      <a:pt x="0" y="108"/>
                    </a:lnTo>
                    <a:lnTo>
                      <a:pt x="0" y="106"/>
                    </a:lnTo>
                    <a:lnTo>
                      <a:pt x="6" y="102"/>
                    </a:lnTo>
                    <a:lnTo>
                      <a:pt x="8" y="98"/>
                    </a:lnTo>
                    <a:lnTo>
                      <a:pt x="4" y="94"/>
                    </a:lnTo>
                    <a:lnTo>
                      <a:pt x="0" y="88"/>
                    </a:lnTo>
                    <a:lnTo>
                      <a:pt x="0" y="88"/>
                    </a:lnTo>
                    <a:lnTo>
                      <a:pt x="0" y="86"/>
                    </a:lnTo>
                    <a:lnTo>
                      <a:pt x="2" y="78"/>
                    </a:lnTo>
                    <a:lnTo>
                      <a:pt x="6" y="68"/>
                    </a:lnTo>
                    <a:lnTo>
                      <a:pt x="6" y="68"/>
                    </a:lnTo>
                    <a:lnTo>
                      <a:pt x="6" y="68"/>
                    </a:lnTo>
                    <a:lnTo>
                      <a:pt x="6" y="66"/>
                    </a:lnTo>
                    <a:lnTo>
                      <a:pt x="6" y="62"/>
                    </a:lnTo>
                    <a:lnTo>
                      <a:pt x="8" y="42"/>
                    </a:lnTo>
                    <a:lnTo>
                      <a:pt x="0" y="20"/>
                    </a:lnTo>
                    <a:lnTo>
                      <a:pt x="0" y="20"/>
                    </a:lnTo>
                    <a:lnTo>
                      <a:pt x="0" y="18"/>
                    </a:lnTo>
                    <a:lnTo>
                      <a:pt x="0" y="18"/>
                    </a:lnTo>
                    <a:lnTo>
                      <a:pt x="2" y="16"/>
                    </a:lnTo>
                    <a:lnTo>
                      <a:pt x="10" y="16"/>
                    </a:lnTo>
                    <a:lnTo>
                      <a:pt x="18" y="16"/>
                    </a:lnTo>
                    <a:lnTo>
                      <a:pt x="32" y="10"/>
                    </a:lnTo>
                    <a:lnTo>
                      <a:pt x="38" y="4"/>
                    </a:lnTo>
                    <a:lnTo>
                      <a:pt x="50" y="2"/>
                    </a:lnTo>
                    <a:lnTo>
                      <a:pt x="60" y="0"/>
                    </a:lnTo>
                    <a:lnTo>
                      <a:pt x="60" y="0"/>
                    </a:lnTo>
                    <a:lnTo>
                      <a:pt x="62" y="2"/>
                    </a:lnTo>
                    <a:lnTo>
                      <a:pt x="64" y="26"/>
                    </a:lnTo>
                    <a:lnTo>
                      <a:pt x="74" y="36"/>
                    </a:lnTo>
                    <a:lnTo>
                      <a:pt x="92" y="40"/>
                    </a:lnTo>
                    <a:lnTo>
                      <a:pt x="92" y="40"/>
                    </a:lnTo>
                    <a:lnTo>
                      <a:pt x="92" y="42"/>
                    </a:lnTo>
                    <a:lnTo>
                      <a:pt x="96" y="46"/>
                    </a:lnTo>
                    <a:lnTo>
                      <a:pt x="112" y="50"/>
                    </a:lnTo>
                    <a:lnTo>
                      <a:pt x="128" y="56"/>
                    </a:lnTo>
                    <a:lnTo>
                      <a:pt x="128" y="56"/>
                    </a:lnTo>
                    <a:lnTo>
                      <a:pt x="130" y="58"/>
                    </a:lnTo>
                    <a:lnTo>
                      <a:pt x="134" y="68"/>
                    </a:lnTo>
                    <a:lnTo>
                      <a:pt x="136" y="76"/>
                    </a:lnTo>
                    <a:lnTo>
                      <a:pt x="136" y="76"/>
                    </a:lnTo>
                    <a:lnTo>
                      <a:pt x="136" y="76"/>
                    </a:lnTo>
                    <a:lnTo>
                      <a:pt x="134" y="84"/>
                    </a:lnTo>
                    <a:lnTo>
                      <a:pt x="136" y="92"/>
                    </a:lnTo>
                    <a:lnTo>
                      <a:pt x="158" y="92"/>
                    </a:lnTo>
                    <a:lnTo>
                      <a:pt x="158" y="92"/>
                    </a:lnTo>
                    <a:lnTo>
                      <a:pt x="160" y="92"/>
                    </a:lnTo>
                    <a:lnTo>
                      <a:pt x="160" y="92"/>
                    </a:lnTo>
                    <a:lnTo>
                      <a:pt x="160" y="94"/>
                    </a:lnTo>
                    <a:lnTo>
                      <a:pt x="158" y="102"/>
                    </a:lnTo>
                    <a:lnTo>
                      <a:pt x="160" y="110"/>
                    </a:lnTo>
                    <a:lnTo>
                      <a:pt x="168" y="114"/>
                    </a:lnTo>
                    <a:lnTo>
                      <a:pt x="168" y="114"/>
                    </a:lnTo>
                    <a:lnTo>
                      <a:pt x="170" y="114"/>
                    </a:lnTo>
                    <a:lnTo>
                      <a:pt x="172" y="124"/>
                    </a:lnTo>
                    <a:lnTo>
                      <a:pt x="172" y="130"/>
                    </a:lnTo>
                    <a:lnTo>
                      <a:pt x="172" y="130"/>
                    </a:lnTo>
                    <a:lnTo>
                      <a:pt x="172" y="130"/>
                    </a:lnTo>
                    <a:lnTo>
                      <a:pt x="164" y="142"/>
                    </a:lnTo>
                    <a:lnTo>
                      <a:pt x="168" y="146"/>
                    </a:lnTo>
                    <a:lnTo>
                      <a:pt x="168" y="146"/>
                    </a:lnTo>
                    <a:lnTo>
                      <a:pt x="168" y="148"/>
                    </a:lnTo>
                    <a:lnTo>
                      <a:pt x="164" y="152"/>
                    </a:lnTo>
                    <a:lnTo>
                      <a:pt x="164" y="152"/>
                    </a:lnTo>
                    <a:lnTo>
                      <a:pt x="162" y="152"/>
                    </a:lnTo>
                    <a:lnTo>
                      <a:pt x="162" y="152"/>
                    </a:lnTo>
                    <a:lnTo>
                      <a:pt x="160" y="152"/>
                    </a:lnTo>
                    <a:lnTo>
                      <a:pt x="156" y="146"/>
                    </a:lnTo>
                    <a:lnTo>
                      <a:pt x="146" y="142"/>
                    </a:lnTo>
                    <a:lnTo>
                      <a:pt x="136" y="140"/>
                    </a:lnTo>
                    <a:lnTo>
                      <a:pt x="124" y="142"/>
                    </a:lnTo>
                    <a:lnTo>
                      <a:pt x="114" y="146"/>
                    </a:lnTo>
                    <a:lnTo>
                      <a:pt x="110" y="148"/>
                    </a:lnTo>
                    <a:lnTo>
                      <a:pt x="106" y="158"/>
                    </a:lnTo>
                    <a:lnTo>
                      <a:pt x="106" y="166"/>
                    </a:lnTo>
                    <a:lnTo>
                      <a:pt x="104" y="176"/>
                    </a:lnTo>
                    <a:lnTo>
                      <a:pt x="104" y="176"/>
                    </a:lnTo>
                    <a:lnTo>
                      <a:pt x="102" y="178"/>
                    </a:lnTo>
                    <a:lnTo>
                      <a:pt x="100" y="180"/>
                    </a:lnTo>
                    <a:lnTo>
                      <a:pt x="100" y="180"/>
                    </a:lnTo>
                    <a:lnTo>
                      <a:pt x="98" y="182"/>
                    </a:lnTo>
                    <a:lnTo>
                      <a:pt x="84" y="182"/>
                    </a:lnTo>
                    <a:lnTo>
                      <a:pt x="78" y="192"/>
                    </a:lnTo>
                    <a:lnTo>
                      <a:pt x="78" y="192"/>
                    </a:lnTo>
                    <a:lnTo>
                      <a:pt x="76" y="194"/>
                    </a:lnTo>
                    <a:lnTo>
                      <a:pt x="76" y="194"/>
                    </a:lnTo>
                    <a:lnTo>
                      <a:pt x="76" y="194"/>
                    </a:lnTo>
                    <a:lnTo>
                      <a:pt x="76" y="194"/>
                    </a:lnTo>
                    <a:lnTo>
                      <a:pt x="74" y="194"/>
                    </a:lnTo>
                    <a:lnTo>
                      <a:pt x="66" y="184"/>
                    </a:lnTo>
                    <a:lnTo>
                      <a:pt x="66" y="184"/>
                    </a:lnTo>
                    <a:lnTo>
                      <a:pt x="56" y="184"/>
                    </a:lnTo>
                    <a:lnTo>
                      <a:pt x="56" y="184"/>
                    </a:lnTo>
                    <a:lnTo>
                      <a:pt x="54" y="184"/>
                    </a:lnTo>
                    <a:lnTo>
                      <a:pt x="48" y="180"/>
                    </a:lnTo>
                    <a:lnTo>
                      <a:pt x="42" y="184"/>
                    </a:lnTo>
                    <a:lnTo>
                      <a:pt x="38" y="194"/>
                    </a:lnTo>
                    <a:lnTo>
                      <a:pt x="38" y="194"/>
                    </a:lnTo>
                    <a:lnTo>
                      <a:pt x="36" y="196"/>
                    </a:lnTo>
                    <a:lnTo>
                      <a:pt x="26"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0" name="Freeform 290"/>
              <p:cNvSpPr>
                <a:spLocks noEditPoints="1"/>
              </p:cNvSpPr>
              <p:nvPr/>
            </p:nvSpPr>
            <p:spPr bwMode="auto">
              <a:xfrm>
                <a:off x="1877" y="2657"/>
                <a:ext cx="176" cy="200"/>
              </a:xfrm>
              <a:custGeom>
                <a:avLst/>
                <a:gdLst>
                  <a:gd name="T0" fmla="*/ 92 w 176"/>
                  <a:gd name="T1" fmla="*/ 44 h 200"/>
                  <a:gd name="T2" fmla="*/ 134 w 176"/>
                  <a:gd name="T3" fmla="*/ 70 h 200"/>
                  <a:gd name="T4" fmla="*/ 146 w 176"/>
                  <a:gd name="T5" fmla="*/ 96 h 200"/>
                  <a:gd name="T6" fmla="*/ 170 w 176"/>
                  <a:gd name="T7" fmla="*/ 118 h 200"/>
                  <a:gd name="T8" fmla="*/ 168 w 176"/>
                  <a:gd name="T9" fmla="*/ 150 h 200"/>
                  <a:gd name="T10" fmla="*/ 140 w 176"/>
                  <a:gd name="T11" fmla="*/ 140 h 200"/>
                  <a:gd name="T12" fmla="*/ 106 w 176"/>
                  <a:gd name="T13" fmla="*/ 160 h 200"/>
                  <a:gd name="T14" fmla="*/ 84 w 176"/>
                  <a:gd name="T15" fmla="*/ 182 h 200"/>
                  <a:gd name="T16" fmla="*/ 50 w 176"/>
                  <a:gd name="T17" fmla="*/ 180 h 200"/>
                  <a:gd name="T18" fmla="*/ 32 w 176"/>
                  <a:gd name="T19" fmla="*/ 196 h 200"/>
                  <a:gd name="T20" fmla="*/ 24 w 176"/>
                  <a:gd name="T21" fmla="*/ 170 h 200"/>
                  <a:gd name="T22" fmla="*/ 6 w 176"/>
                  <a:gd name="T23" fmla="*/ 118 h 200"/>
                  <a:gd name="T24" fmla="*/ 8 w 176"/>
                  <a:gd name="T25" fmla="*/ 94 h 200"/>
                  <a:gd name="T26" fmla="*/ 10 w 176"/>
                  <a:gd name="T27" fmla="*/ 70 h 200"/>
                  <a:gd name="T28" fmla="*/ 12 w 176"/>
                  <a:gd name="T29" fmla="*/ 20 h 200"/>
                  <a:gd name="T30" fmla="*/ 52 w 176"/>
                  <a:gd name="T31" fmla="*/ 4 h 200"/>
                  <a:gd name="T32" fmla="*/ 62 w 176"/>
                  <a:gd name="T33" fmla="*/ 0 h 200"/>
                  <a:gd name="T34" fmla="*/ 40 w 176"/>
                  <a:gd name="T35" fmla="*/ 4 h 200"/>
                  <a:gd name="T36" fmla="*/ 20 w 176"/>
                  <a:gd name="T37" fmla="*/ 16 h 200"/>
                  <a:gd name="T38" fmla="*/ 0 w 176"/>
                  <a:gd name="T39" fmla="*/ 18 h 200"/>
                  <a:gd name="T40" fmla="*/ 6 w 176"/>
                  <a:gd name="T41" fmla="*/ 64 h 200"/>
                  <a:gd name="T42" fmla="*/ 6 w 176"/>
                  <a:gd name="T43" fmla="*/ 70 h 200"/>
                  <a:gd name="T44" fmla="*/ 0 w 176"/>
                  <a:gd name="T45" fmla="*/ 88 h 200"/>
                  <a:gd name="T46" fmla="*/ 4 w 176"/>
                  <a:gd name="T47" fmla="*/ 96 h 200"/>
                  <a:gd name="T48" fmla="*/ 0 w 176"/>
                  <a:gd name="T49" fmla="*/ 108 h 200"/>
                  <a:gd name="T50" fmla="*/ 6 w 176"/>
                  <a:gd name="T51" fmla="*/ 134 h 200"/>
                  <a:gd name="T52" fmla="*/ 12 w 176"/>
                  <a:gd name="T53" fmla="*/ 160 h 200"/>
                  <a:gd name="T54" fmla="*/ 22 w 176"/>
                  <a:gd name="T55" fmla="*/ 184 h 200"/>
                  <a:gd name="T56" fmla="*/ 28 w 176"/>
                  <a:gd name="T57" fmla="*/ 200 h 200"/>
                  <a:gd name="T58" fmla="*/ 38 w 176"/>
                  <a:gd name="T59" fmla="*/ 200 h 200"/>
                  <a:gd name="T60" fmla="*/ 50 w 176"/>
                  <a:gd name="T61" fmla="*/ 184 h 200"/>
                  <a:gd name="T62" fmla="*/ 58 w 176"/>
                  <a:gd name="T63" fmla="*/ 188 h 200"/>
                  <a:gd name="T64" fmla="*/ 76 w 176"/>
                  <a:gd name="T65" fmla="*/ 196 h 200"/>
                  <a:gd name="T66" fmla="*/ 80 w 176"/>
                  <a:gd name="T67" fmla="*/ 198 h 200"/>
                  <a:gd name="T68" fmla="*/ 100 w 176"/>
                  <a:gd name="T69" fmla="*/ 186 h 200"/>
                  <a:gd name="T70" fmla="*/ 108 w 176"/>
                  <a:gd name="T71" fmla="*/ 178 h 200"/>
                  <a:gd name="T72" fmla="*/ 110 w 176"/>
                  <a:gd name="T73" fmla="*/ 160 h 200"/>
                  <a:gd name="T74" fmla="*/ 140 w 176"/>
                  <a:gd name="T75" fmla="*/ 144 h 200"/>
                  <a:gd name="T76" fmla="*/ 162 w 176"/>
                  <a:gd name="T77" fmla="*/ 156 h 200"/>
                  <a:gd name="T78" fmla="*/ 170 w 176"/>
                  <a:gd name="T79" fmla="*/ 152 h 200"/>
                  <a:gd name="T80" fmla="*/ 168 w 176"/>
                  <a:gd name="T81" fmla="*/ 144 h 200"/>
                  <a:gd name="T82" fmla="*/ 176 w 176"/>
                  <a:gd name="T83" fmla="*/ 126 h 200"/>
                  <a:gd name="T84" fmla="*/ 174 w 176"/>
                  <a:gd name="T85" fmla="*/ 116 h 200"/>
                  <a:gd name="T86" fmla="*/ 164 w 176"/>
                  <a:gd name="T87" fmla="*/ 98 h 200"/>
                  <a:gd name="T88" fmla="*/ 164 w 176"/>
                  <a:gd name="T89" fmla="*/ 92 h 200"/>
                  <a:gd name="T90" fmla="*/ 140 w 176"/>
                  <a:gd name="T91" fmla="*/ 92 h 200"/>
                  <a:gd name="T92" fmla="*/ 140 w 176"/>
                  <a:gd name="T93" fmla="*/ 78 h 200"/>
                  <a:gd name="T94" fmla="*/ 132 w 176"/>
                  <a:gd name="T95" fmla="*/ 56 h 200"/>
                  <a:gd name="T96" fmla="*/ 96 w 176"/>
                  <a:gd name="T97" fmla="*/ 42 h 200"/>
                  <a:gd name="T98" fmla="*/ 66 w 176"/>
                  <a:gd name="T99" fmla="*/ 4 h 200"/>
                  <a:gd name="T100" fmla="*/ 62 w 176"/>
                  <a:gd name="T10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200">
                    <a:moveTo>
                      <a:pt x="62" y="4"/>
                    </a:moveTo>
                    <a:lnTo>
                      <a:pt x="64" y="30"/>
                    </a:lnTo>
                    <a:lnTo>
                      <a:pt x="74" y="40"/>
                    </a:lnTo>
                    <a:lnTo>
                      <a:pt x="92" y="44"/>
                    </a:lnTo>
                    <a:lnTo>
                      <a:pt x="96" y="50"/>
                    </a:lnTo>
                    <a:lnTo>
                      <a:pt x="112" y="54"/>
                    </a:lnTo>
                    <a:lnTo>
                      <a:pt x="130" y="60"/>
                    </a:lnTo>
                    <a:lnTo>
                      <a:pt x="134" y="70"/>
                    </a:lnTo>
                    <a:lnTo>
                      <a:pt x="136" y="78"/>
                    </a:lnTo>
                    <a:lnTo>
                      <a:pt x="134" y="86"/>
                    </a:lnTo>
                    <a:lnTo>
                      <a:pt x="136" y="96"/>
                    </a:lnTo>
                    <a:lnTo>
                      <a:pt x="146" y="96"/>
                    </a:lnTo>
                    <a:lnTo>
                      <a:pt x="160" y="96"/>
                    </a:lnTo>
                    <a:lnTo>
                      <a:pt x="158" y="102"/>
                    </a:lnTo>
                    <a:lnTo>
                      <a:pt x="160" y="114"/>
                    </a:lnTo>
                    <a:lnTo>
                      <a:pt x="170" y="118"/>
                    </a:lnTo>
                    <a:lnTo>
                      <a:pt x="172" y="126"/>
                    </a:lnTo>
                    <a:lnTo>
                      <a:pt x="172" y="132"/>
                    </a:lnTo>
                    <a:lnTo>
                      <a:pt x="164" y="144"/>
                    </a:lnTo>
                    <a:lnTo>
                      <a:pt x="168" y="150"/>
                    </a:lnTo>
                    <a:lnTo>
                      <a:pt x="164" y="152"/>
                    </a:lnTo>
                    <a:lnTo>
                      <a:pt x="158" y="148"/>
                    </a:lnTo>
                    <a:lnTo>
                      <a:pt x="150" y="142"/>
                    </a:lnTo>
                    <a:lnTo>
                      <a:pt x="140" y="140"/>
                    </a:lnTo>
                    <a:lnTo>
                      <a:pt x="124" y="142"/>
                    </a:lnTo>
                    <a:lnTo>
                      <a:pt x="116" y="146"/>
                    </a:lnTo>
                    <a:lnTo>
                      <a:pt x="110" y="148"/>
                    </a:lnTo>
                    <a:lnTo>
                      <a:pt x="106" y="160"/>
                    </a:lnTo>
                    <a:lnTo>
                      <a:pt x="106" y="168"/>
                    </a:lnTo>
                    <a:lnTo>
                      <a:pt x="104" y="178"/>
                    </a:lnTo>
                    <a:lnTo>
                      <a:pt x="100" y="182"/>
                    </a:lnTo>
                    <a:lnTo>
                      <a:pt x="84" y="182"/>
                    </a:lnTo>
                    <a:lnTo>
                      <a:pt x="78" y="194"/>
                    </a:lnTo>
                    <a:lnTo>
                      <a:pt x="70" y="184"/>
                    </a:lnTo>
                    <a:lnTo>
                      <a:pt x="58" y="184"/>
                    </a:lnTo>
                    <a:lnTo>
                      <a:pt x="50" y="180"/>
                    </a:lnTo>
                    <a:lnTo>
                      <a:pt x="42" y="184"/>
                    </a:lnTo>
                    <a:lnTo>
                      <a:pt x="40" y="192"/>
                    </a:lnTo>
                    <a:lnTo>
                      <a:pt x="38" y="196"/>
                    </a:lnTo>
                    <a:lnTo>
                      <a:pt x="32" y="196"/>
                    </a:lnTo>
                    <a:lnTo>
                      <a:pt x="30" y="196"/>
                    </a:lnTo>
                    <a:lnTo>
                      <a:pt x="28" y="196"/>
                    </a:lnTo>
                    <a:lnTo>
                      <a:pt x="26" y="184"/>
                    </a:lnTo>
                    <a:lnTo>
                      <a:pt x="24" y="170"/>
                    </a:lnTo>
                    <a:lnTo>
                      <a:pt x="16" y="160"/>
                    </a:lnTo>
                    <a:lnTo>
                      <a:pt x="16" y="144"/>
                    </a:lnTo>
                    <a:lnTo>
                      <a:pt x="10" y="134"/>
                    </a:lnTo>
                    <a:lnTo>
                      <a:pt x="6" y="118"/>
                    </a:lnTo>
                    <a:lnTo>
                      <a:pt x="4" y="110"/>
                    </a:lnTo>
                    <a:lnTo>
                      <a:pt x="8" y="104"/>
                    </a:lnTo>
                    <a:lnTo>
                      <a:pt x="12" y="100"/>
                    </a:lnTo>
                    <a:lnTo>
                      <a:pt x="8" y="94"/>
                    </a:lnTo>
                    <a:lnTo>
                      <a:pt x="4" y="88"/>
                    </a:lnTo>
                    <a:lnTo>
                      <a:pt x="6" y="80"/>
                    </a:lnTo>
                    <a:lnTo>
                      <a:pt x="8" y="70"/>
                    </a:lnTo>
                    <a:lnTo>
                      <a:pt x="10" y="70"/>
                    </a:lnTo>
                    <a:lnTo>
                      <a:pt x="10" y="64"/>
                    </a:lnTo>
                    <a:lnTo>
                      <a:pt x="12" y="44"/>
                    </a:lnTo>
                    <a:lnTo>
                      <a:pt x="4" y="20"/>
                    </a:lnTo>
                    <a:lnTo>
                      <a:pt x="12" y="20"/>
                    </a:lnTo>
                    <a:lnTo>
                      <a:pt x="22" y="20"/>
                    </a:lnTo>
                    <a:lnTo>
                      <a:pt x="34" y="14"/>
                    </a:lnTo>
                    <a:lnTo>
                      <a:pt x="42" y="8"/>
                    </a:lnTo>
                    <a:lnTo>
                      <a:pt x="52" y="4"/>
                    </a:lnTo>
                    <a:lnTo>
                      <a:pt x="62" y="4"/>
                    </a:lnTo>
                    <a:close/>
                    <a:moveTo>
                      <a:pt x="160" y="96"/>
                    </a:moveTo>
                    <a:lnTo>
                      <a:pt x="160" y="96"/>
                    </a:lnTo>
                    <a:close/>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1" name="Freeform 291"/>
              <p:cNvSpPr>
                <a:spLocks/>
              </p:cNvSpPr>
              <p:nvPr/>
            </p:nvSpPr>
            <p:spPr bwMode="auto">
              <a:xfrm>
                <a:off x="1881" y="2661"/>
                <a:ext cx="168" cy="192"/>
              </a:xfrm>
              <a:custGeom>
                <a:avLst/>
                <a:gdLst>
                  <a:gd name="T0" fmla="*/ 60 w 168"/>
                  <a:gd name="T1" fmla="*/ 26 h 192"/>
                  <a:gd name="T2" fmla="*/ 88 w 168"/>
                  <a:gd name="T3" fmla="*/ 40 h 192"/>
                  <a:gd name="T4" fmla="*/ 108 w 168"/>
                  <a:gd name="T5" fmla="*/ 50 h 192"/>
                  <a:gd name="T6" fmla="*/ 130 w 168"/>
                  <a:gd name="T7" fmla="*/ 66 h 192"/>
                  <a:gd name="T8" fmla="*/ 130 w 168"/>
                  <a:gd name="T9" fmla="*/ 82 h 192"/>
                  <a:gd name="T10" fmla="*/ 142 w 168"/>
                  <a:gd name="T11" fmla="*/ 92 h 192"/>
                  <a:gd name="T12" fmla="*/ 154 w 168"/>
                  <a:gd name="T13" fmla="*/ 98 h 192"/>
                  <a:gd name="T14" fmla="*/ 166 w 168"/>
                  <a:gd name="T15" fmla="*/ 114 h 192"/>
                  <a:gd name="T16" fmla="*/ 168 w 168"/>
                  <a:gd name="T17" fmla="*/ 128 h 192"/>
                  <a:gd name="T18" fmla="*/ 164 w 168"/>
                  <a:gd name="T19" fmla="*/ 146 h 192"/>
                  <a:gd name="T20" fmla="*/ 154 w 168"/>
                  <a:gd name="T21" fmla="*/ 144 h 192"/>
                  <a:gd name="T22" fmla="*/ 136 w 168"/>
                  <a:gd name="T23" fmla="*/ 136 h 192"/>
                  <a:gd name="T24" fmla="*/ 112 w 168"/>
                  <a:gd name="T25" fmla="*/ 142 h 192"/>
                  <a:gd name="T26" fmla="*/ 102 w 168"/>
                  <a:gd name="T27" fmla="*/ 156 h 192"/>
                  <a:gd name="T28" fmla="*/ 100 w 168"/>
                  <a:gd name="T29" fmla="*/ 174 h 192"/>
                  <a:gd name="T30" fmla="*/ 80 w 168"/>
                  <a:gd name="T31" fmla="*/ 178 h 192"/>
                  <a:gd name="T32" fmla="*/ 66 w 168"/>
                  <a:gd name="T33" fmla="*/ 180 h 192"/>
                  <a:gd name="T34" fmla="*/ 46 w 168"/>
                  <a:gd name="T35" fmla="*/ 176 h 192"/>
                  <a:gd name="T36" fmla="*/ 36 w 168"/>
                  <a:gd name="T37" fmla="*/ 188 h 192"/>
                  <a:gd name="T38" fmla="*/ 28 w 168"/>
                  <a:gd name="T39" fmla="*/ 192 h 192"/>
                  <a:gd name="T40" fmla="*/ 24 w 168"/>
                  <a:gd name="T41" fmla="*/ 192 h 192"/>
                  <a:gd name="T42" fmla="*/ 20 w 168"/>
                  <a:gd name="T43" fmla="*/ 166 h 192"/>
                  <a:gd name="T44" fmla="*/ 12 w 168"/>
                  <a:gd name="T45" fmla="*/ 140 h 192"/>
                  <a:gd name="T46" fmla="*/ 2 w 168"/>
                  <a:gd name="T47" fmla="*/ 114 h 192"/>
                  <a:gd name="T48" fmla="*/ 4 w 168"/>
                  <a:gd name="T49" fmla="*/ 100 h 192"/>
                  <a:gd name="T50" fmla="*/ 4 w 168"/>
                  <a:gd name="T51" fmla="*/ 90 h 192"/>
                  <a:gd name="T52" fmla="*/ 2 w 168"/>
                  <a:gd name="T53" fmla="*/ 76 h 192"/>
                  <a:gd name="T54" fmla="*/ 6 w 168"/>
                  <a:gd name="T55" fmla="*/ 66 h 192"/>
                  <a:gd name="T56" fmla="*/ 8 w 168"/>
                  <a:gd name="T57" fmla="*/ 40 h 192"/>
                  <a:gd name="T58" fmla="*/ 8 w 168"/>
                  <a:gd name="T59" fmla="*/ 16 h 192"/>
                  <a:gd name="T60" fmla="*/ 30 w 168"/>
                  <a:gd name="T61" fmla="*/ 10 h 192"/>
                  <a:gd name="T62" fmla="*/ 48 w 168"/>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92">
                    <a:moveTo>
                      <a:pt x="58" y="0"/>
                    </a:moveTo>
                    <a:lnTo>
                      <a:pt x="60" y="26"/>
                    </a:lnTo>
                    <a:lnTo>
                      <a:pt x="70" y="36"/>
                    </a:lnTo>
                    <a:lnTo>
                      <a:pt x="88" y="40"/>
                    </a:lnTo>
                    <a:lnTo>
                      <a:pt x="92" y="46"/>
                    </a:lnTo>
                    <a:lnTo>
                      <a:pt x="108" y="50"/>
                    </a:lnTo>
                    <a:lnTo>
                      <a:pt x="126" y="56"/>
                    </a:lnTo>
                    <a:lnTo>
                      <a:pt x="130" y="66"/>
                    </a:lnTo>
                    <a:lnTo>
                      <a:pt x="132" y="74"/>
                    </a:lnTo>
                    <a:lnTo>
                      <a:pt x="130" y="82"/>
                    </a:lnTo>
                    <a:lnTo>
                      <a:pt x="132" y="92"/>
                    </a:lnTo>
                    <a:lnTo>
                      <a:pt x="142" y="92"/>
                    </a:lnTo>
                    <a:lnTo>
                      <a:pt x="156" y="92"/>
                    </a:lnTo>
                    <a:lnTo>
                      <a:pt x="154" y="98"/>
                    </a:lnTo>
                    <a:lnTo>
                      <a:pt x="156" y="110"/>
                    </a:lnTo>
                    <a:lnTo>
                      <a:pt x="166" y="114"/>
                    </a:lnTo>
                    <a:lnTo>
                      <a:pt x="168" y="122"/>
                    </a:lnTo>
                    <a:lnTo>
                      <a:pt x="168" y="128"/>
                    </a:lnTo>
                    <a:lnTo>
                      <a:pt x="160" y="140"/>
                    </a:lnTo>
                    <a:lnTo>
                      <a:pt x="164" y="146"/>
                    </a:lnTo>
                    <a:lnTo>
                      <a:pt x="160" y="148"/>
                    </a:lnTo>
                    <a:lnTo>
                      <a:pt x="154" y="144"/>
                    </a:lnTo>
                    <a:lnTo>
                      <a:pt x="146" y="138"/>
                    </a:lnTo>
                    <a:lnTo>
                      <a:pt x="136" y="136"/>
                    </a:lnTo>
                    <a:lnTo>
                      <a:pt x="120" y="138"/>
                    </a:lnTo>
                    <a:lnTo>
                      <a:pt x="112" y="142"/>
                    </a:lnTo>
                    <a:lnTo>
                      <a:pt x="106" y="144"/>
                    </a:lnTo>
                    <a:lnTo>
                      <a:pt x="102" y="156"/>
                    </a:lnTo>
                    <a:lnTo>
                      <a:pt x="102" y="164"/>
                    </a:lnTo>
                    <a:lnTo>
                      <a:pt x="100" y="174"/>
                    </a:lnTo>
                    <a:lnTo>
                      <a:pt x="96" y="178"/>
                    </a:lnTo>
                    <a:lnTo>
                      <a:pt x="80" y="178"/>
                    </a:lnTo>
                    <a:lnTo>
                      <a:pt x="74" y="190"/>
                    </a:lnTo>
                    <a:lnTo>
                      <a:pt x="66" y="180"/>
                    </a:lnTo>
                    <a:lnTo>
                      <a:pt x="54" y="180"/>
                    </a:lnTo>
                    <a:lnTo>
                      <a:pt x="46" y="176"/>
                    </a:lnTo>
                    <a:lnTo>
                      <a:pt x="38" y="180"/>
                    </a:lnTo>
                    <a:lnTo>
                      <a:pt x="36" y="188"/>
                    </a:lnTo>
                    <a:lnTo>
                      <a:pt x="34" y="192"/>
                    </a:lnTo>
                    <a:lnTo>
                      <a:pt x="28" y="192"/>
                    </a:lnTo>
                    <a:lnTo>
                      <a:pt x="26" y="192"/>
                    </a:lnTo>
                    <a:lnTo>
                      <a:pt x="24" y="192"/>
                    </a:lnTo>
                    <a:lnTo>
                      <a:pt x="22" y="180"/>
                    </a:lnTo>
                    <a:lnTo>
                      <a:pt x="20" y="166"/>
                    </a:lnTo>
                    <a:lnTo>
                      <a:pt x="12" y="156"/>
                    </a:lnTo>
                    <a:lnTo>
                      <a:pt x="12" y="140"/>
                    </a:lnTo>
                    <a:lnTo>
                      <a:pt x="6" y="130"/>
                    </a:lnTo>
                    <a:lnTo>
                      <a:pt x="2" y="114"/>
                    </a:lnTo>
                    <a:lnTo>
                      <a:pt x="0" y="106"/>
                    </a:lnTo>
                    <a:lnTo>
                      <a:pt x="4" y="100"/>
                    </a:lnTo>
                    <a:lnTo>
                      <a:pt x="8" y="96"/>
                    </a:lnTo>
                    <a:lnTo>
                      <a:pt x="4" y="90"/>
                    </a:lnTo>
                    <a:lnTo>
                      <a:pt x="0" y="84"/>
                    </a:lnTo>
                    <a:lnTo>
                      <a:pt x="2" y="76"/>
                    </a:lnTo>
                    <a:lnTo>
                      <a:pt x="4" y="66"/>
                    </a:lnTo>
                    <a:lnTo>
                      <a:pt x="6" y="66"/>
                    </a:lnTo>
                    <a:lnTo>
                      <a:pt x="6" y="60"/>
                    </a:lnTo>
                    <a:lnTo>
                      <a:pt x="8" y="40"/>
                    </a:lnTo>
                    <a:lnTo>
                      <a:pt x="0" y="16"/>
                    </a:lnTo>
                    <a:lnTo>
                      <a:pt x="8" y="16"/>
                    </a:lnTo>
                    <a:lnTo>
                      <a:pt x="18" y="16"/>
                    </a:lnTo>
                    <a:lnTo>
                      <a:pt x="30" y="10"/>
                    </a:lnTo>
                    <a:lnTo>
                      <a:pt x="38" y="4"/>
                    </a:lnTo>
                    <a:lnTo>
                      <a:pt x="4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2" name="Line 292"/>
              <p:cNvSpPr>
                <a:spLocks noChangeShapeType="1"/>
              </p:cNvSpPr>
              <p:nvPr/>
            </p:nvSpPr>
            <p:spPr bwMode="auto">
              <a:xfrm>
                <a:off x="2037" y="275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3" name="Freeform 293"/>
              <p:cNvSpPr>
                <a:spLocks/>
              </p:cNvSpPr>
              <p:nvPr/>
            </p:nvSpPr>
            <p:spPr bwMode="auto">
              <a:xfrm>
                <a:off x="1877" y="2657"/>
                <a:ext cx="176" cy="200"/>
              </a:xfrm>
              <a:custGeom>
                <a:avLst/>
                <a:gdLst>
                  <a:gd name="T0" fmla="*/ 52 w 176"/>
                  <a:gd name="T1" fmla="*/ 0 h 200"/>
                  <a:gd name="T2" fmla="*/ 40 w 176"/>
                  <a:gd name="T3" fmla="*/ 4 h 200"/>
                  <a:gd name="T4" fmla="*/ 20 w 176"/>
                  <a:gd name="T5" fmla="*/ 16 h 200"/>
                  <a:gd name="T6" fmla="*/ 4 w 176"/>
                  <a:gd name="T7" fmla="*/ 16 h 200"/>
                  <a:gd name="T8" fmla="*/ 0 w 176"/>
                  <a:gd name="T9" fmla="*/ 22 h 200"/>
                  <a:gd name="T10" fmla="*/ 6 w 176"/>
                  <a:gd name="T11" fmla="*/ 68 h 200"/>
                  <a:gd name="T12" fmla="*/ 6 w 176"/>
                  <a:gd name="T13" fmla="*/ 70 h 200"/>
                  <a:gd name="T14" fmla="*/ 2 w 176"/>
                  <a:gd name="T15" fmla="*/ 78 h 200"/>
                  <a:gd name="T16" fmla="*/ 0 w 176"/>
                  <a:gd name="T17" fmla="*/ 90 h 200"/>
                  <a:gd name="T18" fmla="*/ 4 w 176"/>
                  <a:gd name="T19" fmla="*/ 96 h 200"/>
                  <a:gd name="T20" fmla="*/ 0 w 176"/>
                  <a:gd name="T21" fmla="*/ 108 h 200"/>
                  <a:gd name="T22" fmla="*/ 2 w 176"/>
                  <a:gd name="T23" fmla="*/ 118 h 200"/>
                  <a:gd name="T24" fmla="*/ 8 w 176"/>
                  <a:gd name="T25" fmla="*/ 136 h 200"/>
                  <a:gd name="T26" fmla="*/ 12 w 176"/>
                  <a:gd name="T27" fmla="*/ 160 h 200"/>
                  <a:gd name="T28" fmla="*/ 22 w 176"/>
                  <a:gd name="T29" fmla="*/ 184 h 200"/>
                  <a:gd name="T30" fmla="*/ 26 w 176"/>
                  <a:gd name="T31" fmla="*/ 198 h 200"/>
                  <a:gd name="T32" fmla="*/ 32 w 176"/>
                  <a:gd name="T33" fmla="*/ 200 h 200"/>
                  <a:gd name="T34" fmla="*/ 42 w 176"/>
                  <a:gd name="T35" fmla="*/ 198 h 200"/>
                  <a:gd name="T36" fmla="*/ 50 w 176"/>
                  <a:gd name="T37" fmla="*/ 184 h 200"/>
                  <a:gd name="T38" fmla="*/ 58 w 176"/>
                  <a:gd name="T39" fmla="*/ 188 h 200"/>
                  <a:gd name="T40" fmla="*/ 68 w 176"/>
                  <a:gd name="T41" fmla="*/ 188 h 200"/>
                  <a:gd name="T42" fmla="*/ 78 w 176"/>
                  <a:gd name="T43" fmla="*/ 198 h 200"/>
                  <a:gd name="T44" fmla="*/ 80 w 176"/>
                  <a:gd name="T45" fmla="*/ 198 h 200"/>
                  <a:gd name="T46" fmla="*/ 100 w 176"/>
                  <a:gd name="T47" fmla="*/ 186 h 200"/>
                  <a:gd name="T48" fmla="*/ 106 w 176"/>
                  <a:gd name="T49" fmla="*/ 180 h 200"/>
                  <a:gd name="T50" fmla="*/ 110 w 176"/>
                  <a:gd name="T51" fmla="*/ 170 h 200"/>
                  <a:gd name="T52" fmla="*/ 110 w 176"/>
                  <a:gd name="T53" fmla="*/ 160 h 200"/>
                  <a:gd name="T54" fmla="*/ 126 w 176"/>
                  <a:gd name="T55" fmla="*/ 146 h 200"/>
                  <a:gd name="T56" fmla="*/ 156 w 176"/>
                  <a:gd name="T57" fmla="*/ 150 h 200"/>
                  <a:gd name="T58" fmla="*/ 164 w 176"/>
                  <a:gd name="T59" fmla="*/ 156 h 200"/>
                  <a:gd name="T60" fmla="*/ 170 w 176"/>
                  <a:gd name="T61" fmla="*/ 152 h 200"/>
                  <a:gd name="T62" fmla="*/ 172 w 176"/>
                  <a:gd name="T63" fmla="*/ 148 h 200"/>
                  <a:gd name="T64" fmla="*/ 174 w 176"/>
                  <a:gd name="T65" fmla="*/ 134 h 200"/>
                  <a:gd name="T66" fmla="*/ 176 w 176"/>
                  <a:gd name="T67" fmla="*/ 126 h 200"/>
                  <a:gd name="T68" fmla="*/ 174 w 176"/>
                  <a:gd name="T69" fmla="*/ 116 h 200"/>
                  <a:gd name="T70" fmla="*/ 162 w 176"/>
                  <a:gd name="T71" fmla="*/ 104 h 200"/>
                  <a:gd name="T72" fmla="*/ 164 w 176"/>
                  <a:gd name="T73" fmla="*/ 96 h 200"/>
                  <a:gd name="T74" fmla="*/ 160 w 176"/>
                  <a:gd name="T75" fmla="*/ 92 h 200"/>
                  <a:gd name="T76" fmla="*/ 140 w 176"/>
                  <a:gd name="T77" fmla="*/ 92 h 200"/>
                  <a:gd name="T78" fmla="*/ 140 w 176"/>
                  <a:gd name="T79" fmla="*/ 78 h 200"/>
                  <a:gd name="T80" fmla="*/ 134 w 176"/>
                  <a:gd name="T81" fmla="*/ 58 h 200"/>
                  <a:gd name="T82" fmla="*/ 114 w 176"/>
                  <a:gd name="T83" fmla="*/ 50 h 200"/>
                  <a:gd name="T84" fmla="*/ 96 w 176"/>
                  <a:gd name="T85" fmla="*/ 42 h 200"/>
                  <a:gd name="T86" fmla="*/ 68 w 176"/>
                  <a:gd name="T87" fmla="*/ 28 h 200"/>
                  <a:gd name="T88" fmla="*/ 66 w 176"/>
                  <a:gd name="T89" fmla="*/ 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200">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4" name="Freeform 294"/>
              <p:cNvSpPr>
                <a:spLocks/>
              </p:cNvSpPr>
              <p:nvPr/>
            </p:nvSpPr>
            <p:spPr bwMode="auto">
              <a:xfrm>
                <a:off x="1979" y="2795"/>
                <a:ext cx="122" cy="132"/>
              </a:xfrm>
              <a:custGeom>
                <a:avLst/>
                <a:gdLst>
                  <a:gd name="T0" fmla="*/ 66 w 122"/>
                  <a:gd name="T1" fmla="*/ 132 h 132"/>
                  <a:gd name="T2" fmla="*/ 58 w 122"/>
                  <a:gd name="T3" fmla="*/ 124 h 132"/>
                  <a:gd name="T4" fmla="*/ 58 w 122"/>
                  <a:gd name="T5" fmla="*/ 122 h 132"/>
                  <a:gd name="T6" fmla="*/ 70 w 122"/>
                  <a:gd name="T7" fmla="*/ 100 h 132"/>
                  <a:gd name="T8" fmla="*/ 48 w 122"/>
                  <a:gd name="T9" fmla="*/ 86 h 132"/>
                  <a:gd name="T10" fmla="*/ 28 w 122"/>
                  <a:gd name="T11" fmla="*/ 76 h 132"/>
                  <a:gd name="T12" fmla="*/ 28 w 122"/>
                  <a:gd name="T13" fmla="*/ 76 h 132"/>
                  <a:gd name="T14" fmla="*/ 8 w 122"/>
                  <a:gd name="T15" fmla="*/ 58 h 132"/>
                  <a:gd name="T16" fmla="*/ 0 w 122"/>
                  <a:gd name="T17" fmla="*/ 44 h 132"/>
                  <a:gd name="T18" fmla="*/ 0 w 122"/>
                  <a:gd name="T19" fmla="*/ 42 h 132"/>
                  <a:gd name="T20" fmla="*/ 6 w 122"/>
                  <a:gd name="T21" fmla="*/ 30 h 132"/>
                  <a:gd name="T22" fmla="*/ 10 w 122"/>
                  <a:gd name="T23" fmla="*/ 8 h 132"/>
                  <a:gd name="T24" fmla="*/ 12 w 122"/>
                  <a:gd name="T25" fmla="*/ 8 h 132"/>
                  <a:gd name="T26" fmla="*/ 40 w 122"/>
                  <a:gd name="T27" fmla="*/ 0 h 132"/>
                  <a:gd name="T28" fmla="*/ 62 w 122"/>
                  <a:gd name="T29" fmla="*/ 8 h 132"/>
                  <a:gd name="T30" fmla="*/ 70 w 122"/>
                  <a:gd name="T31" fmla="*/ 20 h 132"/>
                  <a:gd name="T32" fmla="*/ 70 w 122"/>
                  <a:gd name="T33" fmla="*/ 22 h 132"/>
                  <a:gd name="T34" fmla="*/ 78 w 122"/>
                  <a:gd name="T35" fmla="*/ 46 h 132"/>
                  <a:gd name="T36" fmla="*/ 84 w 122"/>
                  <a:gd name="T37" fmla="*/ 44 h 132"/>
                  <a:gd name="T38" fmla="*/ 84 w 122"/>
                  <a:gd name="T39" fmla="*/ 44 h 132"/>
                  <a:gd name="T40" fmla="*/ 94 w 122"/>
                  <a:gd name="T41" fmla="*/ 46 h 132"/>
                  <a:gd name="T42" fmla="*/ 94 w 122"/>
                  <a:gd name="T43" fmla="*/ 46 h 132"/>
                  <a:gd name="T44" fmla="*/ 100 w 122"/>
                  <a:gd name="T45" fmla="*/ 50 h 132"/>
                  <a:gd name="T46" fmla="*/ 98 w 122"/>
                  <a:gd name="T47" fmla="*/ 60 h 132"/>
                  <a:gd name="T48" fmla="*/ 108 w 122"/>
                  <a:gd name="T49" fmla="*/ 74 h 132"/>
                  <a:gd name="T50" fmla="*/ 114 w 122"/>
                  <a:gd name="T51" fmla="*/ 74 h 132"/>
                  <a:gd name="T52" fmla="*/ 114 w 122"/>
                  <a:gd name="T53" fmla="*/ 74 h 132"/>
                  <a:gd name="T54" fmla="*/ 120 w 122"/>
                  <a:gd name="T55" fmla="*/ 76 h 132"/>
                  <a:gd name="T56" fmla="*/ 122 w 122"/>
                  <a:gd name="T57" fmla="*/ 78 h 132"/>
                  <a:gd name="T58" fmla="*/ 116 w 122"/>
                  <a:gd name="T59" fmla="*/ 94 h 132"/>
                  <a:gd name="T60" fmla="*/ 114 w 122"/>
                  <a:gd name="T61" fmla="*/ 112 h 132"/>
                  <a:gd name="T62" fmla="*/ 112 w 122"/>
                  <a:gd name="T63" fmla="*/ 120 h 132"/>
                  <a:gd name="T64" fmla="*/ 102 w 122"/>
                  <a:gd name="T65" fmla="*/ 126 h 132"/>
                  <a:gd name="T66" fmla="*/ 86 w 122"/>
                  <a:gd name="T67" fmla="*/ 132 h 132"/>
                  <a:gd name="T68" fmla="*/ 84 w 122"/>
                  <a:gd name="T6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32">
                    <a:moveTo>
                      <a:pt x="66" y="132"/>
                    </a:moveTo>
                    <a:lnTo>
                      <a:pt x="66" y="132"/>
                    </a:lnTo>
                    <a:lnTo>
                      <a:pt x="64" y="132"/>
                    </a:lnTo>
                    <a:lnTo>
                      <a:pt x="58" y="124"/>
                    </a:lnTo>
                    <a:lnTo>
                      <a:pt x="58" y="124"/>
                    </a:lnTo>
                    <a:lnTo>
                      <a:pt x="58" y="122"/>
                    </a:lnTo>
                    <a:lnTo>
                      <a:pt x="64" y="110"/>
                    </a:lnTo>
                    <a:lnTo>
                      <a:pt x="70" y="100"/>
                    </a:lnTo>
                    <a:lnTo>
                      <a:pt x="66" y="94"/>
                    </a:lnTo>
                    <a:lnTo>
                      <a:pt x="48" y="86"/>
                    </a:lnTo>
                    <a:lnTo>
                      <a:pt x="34" y="76"/>
                    </a:lnTo>
                    <a:lnTo>
                      <a:pt x="28" y="76"/>
                    </a:lnTo>
                    <a:lnTo>
                      <a:pt x="28" y="76"/>
                    </a:lnTo>
                    <a:lnTo>
                      <a:pt x="28" y="76"/>
                    </a:lnTo>
                    <a:lnTo>
                      <a:pt x="18" y="70"/>
                    </a:lnTo>
                    <a:lnTo>
                      <a:pt x="8" y="58"/>
                    </a:lnTo>
                    <a:lnTo>
                      <a:pt x="2" y="50"/>
                    </a:lnTo>
                    <a:lnTo>
                      <a:pt x="0" y="44"/>
                    </a:lnTo>
                    <a:lnTo>
                      <a:pt x="0" y="44"/>
                    </a:lnTo>
                    <a:lnTo>
                      <a:pt x="0" y="42"/>
                    </a:lnTo>
                    <a:lnTo>
                      <a:pt x="4" y="40"/>
                    </a:lnTo>
                    <a:lnTo>
                      <a:pt x="6" y="30"/>
                    </a:lnTo>
                    <a:lnTo>
                      <a:pt x="6" y="22"/>
                    </a:lnTo>
                    <a:lnTo>
                      <a:pt x="10" y="8"/>
                    </a:lnTo>
                    <a:lnTo>
                      <a:pt x="10" y="8"/>
                    </a:lnTo>
                    <a:lnTo>
                      <a:pt x="12" y="8"/>
                    </a:lnTo>
                    <a:lnTo>
                      <a:pt x="26" y="2"/>
                    </a:lnTo>
                    <a:lnTo>
                      <a:pt x="40" y="0"/>
                    </a:lnTo>
                    <a:lnTo>
                      <a:pt x="52" y="2"/>
                    </a:lnTo>
                    <a:lnTo>
                      <a:pt x="62" y="8"/>
                    </a:lnTo>
                    <a:lnTo>
                      <a:pt x="66" y="14"/>
                    </a:lnTo>
                    <a:lnTo>
                      <a:pt x="70" y="20"/>
                    </a:lnTo>
                    <a:lnTo>
                      <a:pt x="70" y="20"/>
                    </a:lnTo>
                    <a:lnTo>
                      <a:pt x="70" y="22"/>
                    </a:lnTo>
                    <a:lnTo>
                      <a:pt x="70" y="46"/>
                    </a:lnTo>
                    <a:lnTo>
                      <a:pt x="78" y="46"/>
                    </a:lnTo>
                    <a:lnTo>
                      <a:pt x="84" y="44"/>
                    </a:lnTo>
                    <a:lnTo>
                      <a:pt x="84" y="44"/>
                    </a:lnTo>
                    <a:lnTo>
                      <a:pt x="84" y="44"/>
                    </a:lnTo>
                    <a:lnTo>
                      <a:pt x="84" y="44"/>
                    </a:lnTo>
                    <a:lnTo>
                      <a:pt x="86" y="44"/>
                    </a:lnTo>
                    <a:lnTo>
                      <a:pt x="94" y="46"/>
                    </a:lnTo>
                    <a:lnTo>
                      <a:pt x="94" y="46"/>
                    </a:lnTo>
                    <a:lnTo>
                      <a:pt x="94" y="46"/>
                    </a:lnTo>
                    <a:lnTo>
                      <a:pt x="100" y="50"/>
                    </a:lnTo>
                    <a:lnTo>
                      <a:pt x="100" y="50"/>
                    </a:lnTo>
                    <a:lnTo>
                      <a:pt x="100" y="52"/>
                    </a:lnTo>
                    <a:lnTo>
                      <a:pt x="98" y="60"/>
                    </a:lnTo>
                    <a:lnTo>
                      <a:pt x="102" y="70"/>
                    </a:lnTo>
                    <a:lnTo>
                      <a:pt x="108" y="74"/>
                    </a:lnTo>
                    <a:lnTo>
                      <a:pt x="114" y="74"/>
                    </a:lnTo>
                    <a:lnTo>
                      <a:pt x="114" y="74"/>
                    </a:lnTo>
                    <a:lnTo>
                      <a:pt x="114" y="74"/>
                    </a:lnTo>
                    <a:lnTo>
                      <a:pt x="114" y="74"/>
                    </a:lnTo>
                    <a:lnTo>
                      <a:pt x="116" y="74"/>
                    </a:lnTo>
                    <a:lnTo>
                      <a:pt x="120" y="76"/>
                    </a:lnTo>
                    <a:lnTo>
                      <a:pt x="120" y="76"/>
                    </a:lnTo>
                    <a:lnTo>
                      <a:pt x="122" y="78"/>
                    </a:lnTo>
                    <a:lnTo>
                      <a:pt x="120" y="84"/>
                    </a:lnTo>
                    <a:lnTo>
                      <a:pt x="116" y="94"/>
                    </a:lnTo>
                    <a:lnTo>
                      <a:pt x="116" y="106"/>
                    </a:lnTo>
                    <a:lnTo>
                      <a:pt x="114" y="112"/>
                    </a:lnTo>
                    <a:lnTo>
                      <a:pt x="112" y="120"/>
                    </a:lnTo>
                    <a:lnTo>
                      <a:pt x="112" y="120"/>
                    </a:lnTo>
                    <a:lnTo>
                      <a:pt x="110" y="122"/>
                    </a:lnTo>
                    <a:lnTo>
                      <a:pt x="102" y="126"/>
                    </a:lnTo>
                    <a:lnTo>
                      <a:pt x="98" y="128"/>
                    </a:lnTo>
                    <a:lnTo>
                      <a:pt x="86" y="132"/>
                    </a:lnTo>
                    <a:lnTo>
                      <a:pt x="86" y="132"/>
                    </a:lnTo>
                    <a:lnTo>
                      <a:pt x="84" y="132"/>
                    </a:lnTo>
                    <a:lnTo>
                      <a:pt x="66"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5" name="Freeform 295"/>
              <p:cNvSpPr>
                <a:spLocks noEditPoints="1"/>
              </p:cNvSpPr>
              <p:nvPr/>
            </p:nvSpPr>
            <p:spPr bwMode="auto">
              <a:xfrm>
                <a:off x="1977" y="2793"/>
                <a:ext cx="126" cy="136"/>
              </a:xfrm>
              <a:custGeom>
                <a:avLst/>
                <a:gdLst>
                  <a:gd name="T0" fmla="*/ 62 w 126"/>
                  <a:gd name="T1" fmla="*/ 10 h 136"/>
                  <a:gd name="T2" fmla="*/ 70 w 126"/>
                  <a:gd name="T3" fmla="*/ 34 h 136"/>
                  <a:gd name="T4" fmla="*/ 86 w 126"/>
                  <a:gd name="T5" fmla="*/ 48 h 136"/>
                  <a:gd name="T6" fmla="*/ 98 w 126"/>
                  <a:gd name="T7" fmla="*/ 62 h 136"/>
                  <a:gd name="T8" fmla="*/ 116 w 126"/>
                  <a:gd name="T9" fmla="*/ 78 h 136"/>
                  <a:gd name="T10" fmla="*/ 116 w 126"/>
                  <a:gd name="T11" fmla="*/ 96 h 136"/>
                  <a:gd name="T12" fmla="*/ 112 w 126"/>
                  <a:gd name="T13" fmla="*/ 122 h 136"/>
                  <a:gd name="T14" fmla="*/ 86 w 126"/>
                  <a:gd name="T15" fmla="*/ 132 h 136"/>
                  <a:gd name="T16" fmla="*/ 68 w 126"/>
                  <a:gd name="T17" fmla="*/ 112 h 136"/>
                  <a:gd name="T18" fmla="*/ 52 w 126"/>
                  <a:gd name="T19" fmla="*/ 86 h 136"/>
                  <a:gd name="T20" fmla="*/ 22 w 126"/>
                  <a:gd name="T21" fmla="*/ 70 h 136"/>
                  <a:gd name="T22" fmla="*/ 4 w 126"/>
                  <a:gd name="T23" fmla="*/ 46 h 136"/>
                  <a:gd name="T24" fmla="*/ 10 w 126"/>
                  <a:gd name="T25" fmla="*/ 24 h 136"/>
                  <a:gd name="T26" fmla="*/ 42 w 126"/>
                  <a:gd name="T27" fmla="*/ 4 h 136"/>
                  <a:gd name="T28" fmla="*/ 42 w 126"/>
                  <a:gd name="T29" fmla="*/ 0 h 136"/>
                  <a:gd name="T30" fmla="*/ 28 w 126"/>
                  <a:gd name="T31" fmla="*/ 2 h 136"/>
                  <a:gd name="T32" fmla="*/ 12 w 126"/>
                  <a:gd name="T33" fmla="*/ 10 h 136"/>
                  <a:gd name="T34" fmla="*/ 6 w 126"/>
                  <a:gd name="T35" fmla="*/ 24 h 136"/>
                  <a:gd name="T36" fmla="*/ 2 w 126"/>
                  <a:gd name="T37" fmla="*/ 44 h 136"/>
                  <a:gd name="T38" fmla="*/ 2 w 126"/>
                  <a:gd name="T39" fmla="*/ 52 h 136"/>
                  <a:gd name="T40" fmla="*/ 8 w 126"/>
                  <a:gd name="T41" fmla="*/ 62 h 136"/>
                  <a:gd name="T42" fmla="*/ 18 w 126"/>
                  <a:gd name="T43" fmla="*/ 72 h 136"/>
                  <a:gd name="T44" fmla="*/ 28 w 126"/>
                  <a:gd name="T45" fmla="*/ 78 h 136"/>
                  <a:gd name="T46" fmla="*/ 36 w 126"/>
                  <a:gd name="T47" fmla="*/ 80 h 136"/>
                  <a:gd name="T48" fmla="*/ 50 w 126"/>
                  <a:gd name="T49" fmla="*/ 90 h 136"/>
                  <a:gd name="T50" fmla="*/ 64 w 126"/>
                  <a:gd name="T51" fmla="*/ 110 h 136"/>
                  <a:gd name="T52" fmla="*/ 58 w 126"/>
                  <a:gd name="T53" fmla="*/ 124 h 136"/>
                  <a:gd name="T54" fmla="*/ 64 w 126"/>
                  <a:gd name="T55" fmla="*/ 134 h 136"/>
                  <a:gd name="T56" fmla="*/ 86 w 126"/>
                  <a:gd name="T57" fmla="*/ 136 h 136"/>
                  <a:gd name="T58" fmla="*/ 100 w 126"/>
                  <a:gd name="T59" fmla="*/ 132 h 136"/>
                  <a:gd name="T60" fmla="*/ 104 w 126"/>
                  <a:gd name="T61" fmla="*/ 130 h 136"/>
                  <a:gd name="T62" fmla="*/ 114 w 126"/>
                  <a:gd name="T63" fmla="*/ 124 h 136"/>
                  <a:gd name="T64" fmla="*/ 118 w 126"/>
                  <a:gd name="T65" fmla="*/ 116 h 136"/>
                  <a:gd name="T66" fmla="*/ 120 w 126"/>
                  <a:gd name="T67" fmla="*/ 108 h 136"/>
                  <a:gd name="T68" fmla="*/ 124 w 126"/>
                  <a:gd name="T69" fmla="*/ 88 h 136"/>
                  <a:gd name="T70" fmla="*/ 126 w 126"/>
                  <a:gd name="T71" fmla="*/ 80 h 136"/>
                  <a:gd name="T72" fmla="*/ 118 w 126"/>
                  <a:gd name="T73" fmla="*/ 74 h 136"/>
                  <a:gd name="T74" fmla="*/ 116 w 126"/>
                  <a:gd name="T75" fmla="*/ 74 h 136"/>
                  <a:gd name="T76" fmla="*/ 106 w 126"/>
                  <a:gd name="T77" fmla="*/ 70 h 136"/>
                  <a:gd name="T78" fmla="*/ 104 w 126"/>
                  <a:gd name="T79" fmla="*/ 54 h 136"/>
                  <a:gd name="T80" fmla="*/ 98 w 126"/>
                  <a:gd name="T81" fmla="*/ 46 h 136"/>
                  <a:gd name="T82" fmla="*/ 88 w 126"/>
                  <a:gd name="T83" fmla="*/ 44 h 136"/>
                  <a:gd name="T84" fmla="*/ 86 w 126"/>
                  <a:gd name="T85" fmla="*/ 44 h 136"/>
                  <a:gd name="T86" fmla="*/ 74 w 126"/>
                  <a:gd name="T87" fmla="*/ 46 h 136"/>
                  <a:gd name="T88" fmla="*/ 74 w 126"/>
                  <a:gd name="T89" fmla="*/ 24 h 136"/>
                  <a:gd name="T90" fmla="*/ 70 w 126"/>
                  <a:gd name="T91" fmla="*/ 14 h 136"/>
                  <a:gd name="T92" fmla="*/ 64 w 126"/>
                  <a:gd name="T93" fmla="*/ 8 h 136"/>
                  <a:gd name="T94" fmla="*/ 56 w 126"/>
                  <a:gd name="T95" fmla="*/ 2 h 136"/>
                  <a:gd name="T96" fmla="*/ 44 w 126"/>
                  <a:gd name="T9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36">
                    <a:moveTo>
                      <a:pt x="42" y="4"/>
                    </a:moveTo>
                    <a:lnTo>
                      <a:pt x="54" y="6"/>
                    </a:lnTo>
                    <a:lnTo>
                      <a:pt x="62" y="10"/>
                    </a:lnTo>
                    <a:lnTo>
                      <a:pt x="68" y="16"/>
                    </a:lnTo>
                    <a:lnTo>
                      <a:pt x="70" y="24"/>
                    </a:lnTo>
                    <a:lnTo>
                      <a:pt x="70" y="34"/>
                    </a:lnTo>
                    <a:lnTo>
                      <a:pt x="70" y="50"/>
                    </a:lnTo>
                    <a:lnTo>
                      <a:pt x="80" y="50"/>
                    </a:lnTo>
                    <a:lnTo>
                      <a:pt x="86" y="48"/>
                    </a:lnTo>
                    <a:lnTo>
                      <a:pt x="96" y="50"/>
                    </a:lnTo>
                    <a:lnTo>
                      <a:pt x="100" y="54"/>
                    </a:lnTo>
                    <a:lnTo>
                      <a:pt x="98" y="62"/>
                    </a:lnTo>
                    <a:lnTo>
                      <a:pt x="102" y="72"/>
                    </a:lnTo>
                    <a:lnTo>
                      <a:pt x="110" y="80"/>
                    </a:lnTo>
                    <a:lnTo>
                      <a:pt x="116" y="78"/>
                    </a:lnTo>
                    <a:lnTo>
                      <a:pt x="122" y="80"/>
                    </a:lnTo>
                    <a:lnTo>
                      <a:pt x="120" y="86"/>
                    </a:lnTo>
                    <a:lnTo>
                      <a:pt x="116" y="96"/>
                    </a:lnTo>
                    <a:lnTo>
                      <a:pt x="116" y="108"/>
                    </a:lnTo>
                    <a:lnTo>
                      <a:pt x="114" y="114"/>
                    </a:lnTo>
                    <a:lnTo>
                      <a:pt x="112" y="122"/>
                    </a:lnTo>
                    <a:lnTo>
                      <a:pt x="102" y="128"/>
                    </a:lnTo>
                    <a:lnTo>
                      <a:pt x="98" y="128"/>
                    </a:lnTo>
                    <a:lnTo>
                      <a:pt x="86" y="132"/>
                    </a:lnTo>
                    <a:lnTo>
                      <a:pt x="68" y="132"/>
                    </a:lnTo>
                    <a:lnTo>
                      <a:pt x="62" y="126"/>
                    </a:lnTo>
                    <a:lnTo>
                      <a:pt x="68" y="112"/>
                    </a:lnTo>
                    <a:lnTo>
                      <a:pt x="74" y="102"/>
                    </a:lnTo>
                    <a:lnTo>
                      <a:pt x="70" y="94"/>
                    </a:lnTo>
                    <a:lnTo>
                      <a:pt x="52" y="86"/>
                    </a:lnTo>
                    <a:lnTo>
                      <a:pt x="38" y="76"/>
                    </a:lnTo>
                    <a:lnTo>
                      <a:pt x="30" y="76"/>
                    </a:lnTo>
                    <a:lnTo>
                      <a:pt x="22" y="70"/>
                    </a:lnTo>
                    <a:lnTo>
                      <a:pt x="12" y="58"/>
                    </a:lnTo>
                    <a:lnTo>
                      <a:pt x="6" y="52"/>
                    </a:lnTo>
                    <a:lnTo>
                      <a:pt x="4" y="46"/>
                    </a:lnTo>
                    <a:lnTo>
                      <a:pt x="8" y="42"/>
                    </a:lnTo>
                    <a:lnTo>
                      <a:pt x="10" y="34"/>
                    </a:lnTo>
                    <a:lnTo>
                      <a:pt x="10" y="24"/>
                    </a:lnTo>
                    <a:lnTo>
                      <a:pt x="14" y="10"/>
                    </a:lnTo>
                    <a:lnTo>
                      <a:pt x="28" y="6"/>
                    </a:lnTo>
                    <a:lnTo>
                      <a:pt x="42" y="4"/>
                    </a:lnTo>
                    <a:close/>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6" name="Freeform 296"/>
              <p:cNvSpPr>
                <a:spLocks/>
              </p:cNvSpPr>
              <p:nvPr/>
            </p:nvSpPr>
            <p:spPr bwMode="auto">
              <a:xfrm>
                <a:off x="1981" y="2797"/>
                <a:ext cx="118" cy="128"/>
              </a:xfrm>
              <a:custGeom>
                <a:avLst/>
                <a:gdLst>
                  <a:gd name="T0" fmla="*/ 38 w 118"/>
                  <a:gd name="T1" fmla="*/ 0 h 128"/>
                  <a:gd name="T2" fmla="*/ 50 w 118"/>
                  <a:gd name="T3" fmla="*/ 2 h 128"/>
                  <a:gd name="T4" fmla="*/ 58 w 118"/>
                  <a:gd name="T5" fmla="*/ 6 h 128"/>
                  <a:gd name="T6" fmla="*/ 64 w 118"/>
                  <a:gd name="T7" fmla="*/ 12 h 128"/>
                  <a:gd name="T8" fmla="*/ 66 w 118"/>
                  <a:gd name="T9" fmla="*/ 20 h 128"/>
                  <a:gd name="T10" fmla="*/ 66 w 118"/>
                  <a:gd name="T11" fmla="*/ 30 h 128"/>
                  <a:gd name="T12" fmla="*/ 66 w 118"/>
                  <a:gd name="T13" fmla="*/ 46 h 128"/>
                  <a:gd name="T14" fmla="*/ 76 w 118"/>
                  <a:gd name="T15" fmla="*/ 46 h 128"/>
                  <a:gd name="T16" fmla="*/ 82 w 118"/>
                  <a:gd name="T17" fmla="*/ 44 h 128"/>
                  <a:gd name="T18" fmla="*/ 92 w 118"/>
                  <a:gd name="T19" fmla="*/ 46 h 128"/>
                  <a:gd name="T20" fmla="*/ 96 w 118"/>
                  <a:gd name="T21" fmla="*/ 50 h 128"/>
                  <a:gd name="T22" fmla="*/ 94 w 118"/>
                  <a:gd name="T23" fmla="*/ 58 h 128"/>
                  <a:gd name="T24" fmla="*/ 98 w 118"/>
                  <a:gd name="T25" fmla="*/ 68 h 128"/>
                  <a:gd name="T26" fmla="*/ 106 w 118"/>
                  <a:gd name="T27" fmla="*/ 76 h 128"/>
                  <a:gd name="T28" fmla="*/ 112 w 118"/>
                  <a:gd name="T29" fmla="*/ 74 h 128"/>
                  <a:gd name="T30" fmla="*/ 118 w 118"/>
                  <a:gd name="T31" fmla="*/ 76 h 128"/>
                  <a:gd name="T32" fmla="*/ 116 w 118"/>
                  <a:gd name="T33" fmla="*/ 82 h 128"/>
                  <a:gd name="T34" fmla="*/ 112 w 118"/>
                  <a:gd name="T35" fmla="*/ 92 h 128"/>
                  <a:gd name="T36" fmla="*/ 112 w 118"/>
                  <a:gd name="T37" fmla="*/ 104 h 128"/>
                  <a:gd name="T38" fmla="*/ 110 w 118"/>
                  <a:gd name="T39" fmla="*/ 110 h 128"/>
                  <a:gd name="T40" fmla="*/ 108 w 118"/>
                  <a:gd name="T41" fmla="*/ 118 h 128"/>
                  <a:gd name="T42" fmla="*/ 98 w 118"/>
                  <a:gd name="T43" fmla="*/ 124 h 128"/>
                  <a:gd name="T44" fmla="*/ 94 w 118"/>
                  <a:gd name="T45" fmla="*/ 124 h 128"/>
                  <a:gd name="T46" fmla="*/ 82 w 118"/>
                  <a:gd name="T47" fmla="*/ 128 h 128"/>
                  <a:gd name="T48" fmla="*/ 64 w 118"/>
                  <a:gd name="T49" fmla="*/ 128 h 128"/>
                  <a:gd name="T50" fmla="*/ 58 w 118"/>
                  <a:gd name="T51" fmla="*/ 122 h 128"/>
                  <a:gd name="T52" fmla="*/ 64 w 118"/>
                  <a:gd name="T53" fmla="*/ 108 h 128"/>
                  <a:gd name="T54" fmla="*/ 70 w 118"/>
                  <a:gd name="T55" fmla="*/ 98 h 128"/>
                  <a:gd name="T56" fmla="*/ 66 w 118"/>
                  <a:gd name="T57" fmla="*/ 90 h 128"/>
                  <a:gd name="T58" fmla="*/ 48 w 118"/>
                  <a:gd name="T59" fmla="*/ 82 h 128"/>
                  <a:gd name="T60" fmla="*/ 34 w 118"/>
                  <a:gd name="T61" fmla="*/ 72 h 128"/>
                  <a:gd name="T62" fmla="*/ 26 w 118"/>
                  <a:gd name="T63" fmla="*/ 72 h 128"/>
                  <a:gd name="T64" fmla="*/ 18 w 118"/>
                  <a:gd name="T65" fmla="*/ 66 h 128"/>
                  <a:gd name="T66" fmla="*/ 8 w 118"/>
                  <a:gd name="T67" fmla="*/ 54 h 128"/>
                  <a:gd name="T68" fmla="*/ 2 w 118"/>
                  <a:gd name="T69" fmla="*/ 48 h 128"/>
                  <a:gd name="T70" fmla="*/ 0 w 118"/>
                  <a:gd name="T71" fmla="*/ 42 h 128"/>
                  <a:gd name="T72" fmla="*/ 4 w 118"/>
                  <a:gd name="T73" fmla="*/ 38 h 128"/>
                  <a:gd name="T74" fmla="*/ 6 w 118"/>
                  <a:gd name="T75" fmla="*/ 30 h 128"/>
                  <a:gd name="T76" fmla="*/ 6 w 118"/>
                  <a:gd name="T77" fmla="*/ 20 h 128"/>
                  <a:gd name="T78" fmla="*/ 10 w 118"/>
                  <a:gd name="T79" fmla="*/ 6 h 128"/>
                  <a:gd name="T80" fmla="*/ 24 w 118"/>
                  <a:gd name="T81" fmla="*/ 2 h 128"/>
                  <a:gd name="T82" fmla="*/ 38 w 118"/>
                  <a:gd name="T8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 h="128">
                    <a:moveTo>
                      <a:pt x="38" y="0"/>
                    </a:moveTo>
                    <a:lnTo>
                      <a:pt x="50" y="2"/>
                    </a:lnTo>
                    <a:lnTo>
                      <a:pt x="58" y="6"/>
                    </a:lnTo>
                    <a:lnTo>
                      <a:pt x="64" y="12"/>
                    </a:lnTo>
                    <a:lnTo>
                      <a:pt x="66" y="20"/>
                    </a:lnTo>
                    <a:lnTo>
                      <a:pt x="66" y="30"/>
                    </a:lnTo>
                    <a:lnTo>
                      <a:pt x="66" y="46"/>
                    </a:lnTo>
                    <a:lnTo>
                      <a:pt x="76" y="46"/>
                    </a:lnTo>
                    <a:lnTo>
                      <a:pt x="82" y="44"/>
                    </a:lnTo>
                    <a:lnTo>
                      <a:pt x="92" y="46"/>
                    </a:lnTo>
                    <a:lnTo>
                      <a:pt x="96" y="50"/>
                    </a:lnTo>
                    <a:lnTo>
                      <a:pt x="94" y="58"/>
                    </a:lnTo>
                    <a:lnTo>
                      <a:pt x="98" y="68"/>
                    </a:lnTo>
                    <a:lnTo>
                      <a:pt x="106" y="76"/>
                    </a:lnTo>
                    <a:lnTo>
                      <a:pt x="112" y="74"/>
                    </a:lnTo>
                    <a:lnTo>
                      <a:pt x="118" y="76"/>
                    </a:lnTo>
                    <a:lnTo>
                      <a:pt x="116" y="82"/>
                    </a:lnTo>
                    <a:lnTo>
                      <a:pt x="112" y="92"/>
                    </a:lnTo>
                    <a:lnTo>
                      <a:pt x="112" y="104"/>
                    </a:lnTo>
                    <a:lnTo>
                      <a:pt x="110" y="110"/>
                    </a:lnTo>
                    <a:lnTo>
                      <a:pt x="108" y="118"/>
                    </a:lnTo>
                    <a:lnTo>
                      <a:pt x="98" y="124"/>
                    </a:lnTo>
                    <a:lnTo>
                      <a:pt x="94" y="124"/>
                    </a:lnTo>
                    <a:lnTo>
                      <a:pt x="82" y="128"/>
                    </a:lnTo>
                    <a:lnTo>
                      <a:pt x="64" y="128"/>
                    </a:lnTo>
                    <a:lnTo>
                      <a:pt x="58" y="122"/>
                    </a:lnTo>
                    <a:lnTo>
                      <a:pt x="64" y="108"/>
                    </a:lnTo>
                    <a:lnTo>
                      <a:pt x="70" y="98"/>
                    </a:lnTo>
                    <a:lnTo>
                      <a:pt x="66" y="90"/>
                    </a:lnTo>
                    <a:lnTo>
                      <a:pt x="48" y="82"/>
                    </a:lnTo>
                    <a:lnTo>
                      <a:pt x="34" y="72"/>
                    </a:lnTo>
                    <a:lnTo>
                      <a:pt x="26" y="72"/>
                    </a:lnTo>
                    <a:lnTo>
                      <a:pt x="18" y="66"/>
                    </a:lnTo>
                    <a:lnTo>
                      <a:pt x="8" y="54"/>
                    </a:lnTo>
                    <a:lnTo>
                      <a:pt x="2" y="48"/>
                    </a:lnTo>
                    <a:lnTo>
                      <a:pt x="0" y="42"/>
                    </a:lnTo>
                    <a:lnTo>
                      <a:pt x="4" y="38"/>
                    </a:lnTo>
                    <a:lnTo>
                      <a:pt x="6" y="30"/>
                    </a:lnTo>
                    <a:lnTo>
                      <a:pt x="6" y="20"/>
                    </a:lnTo>
                    <a:lnTo>
                      <a:pt x="10" y="6"/>
                    </a:lnTo>
                    <a:lnTo>
                      <a:pt x="24" y="2"/>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7" name="Freeform 297"/>
              <p:cNvSpPr>
                <a:spLocks/>
              </p:cNvSpPr>
              <p:nvPr/>
            </p:nvSpPr>
            <p:spPr bwMode="auto">
              <a:xfrm>
                <a:off x="1977" y="2793"/>
                <a:ext cx="126" cy="136"/>
              </a:xfrm>
              <a:custGeom>
                <a:avLst/>
                <a:gdLst>
                  <a:gd name="T0" fmla="*/ 42 w 126"/>
                  <a:gd name="T1" fmla="*/ 0 h 136"/>
                  <a:gd name="T2" fmla="*/ 28 w 126"/>
                  <a:gd name="T3" fmla="*/ 2 h 136"/>
                  <a:gd name="T4" fmla="*/ 28 w 126"/>
                  <a:gd name="T5" fmla="*/ 2 h 136"/>
                  <a:gd name="T6" fmla="*/ 14 w 126"/>
                  <a:gd name="T7" fmla="*/ 8 h 136"/>
                  <a:gd name="T8" fmla="*/ 6 w 126"/>
                  <a:gd name="T9" fmla="*/ 22 h 136"/>
                  <a:gd name="T10" fmla="*/ 6 w 126"/>
                  <a:gd name="T11" fmla="*/ 24 h 136"/>
                  <a:gd name="T12" fmla="*/ 4 w 126"/>
                  <a:gd name="T13" fmla="*/ 40 h 136"/>
                  <a:gd name="T14" fmla="*/ 2 w 126"/>
                  <a:gd name="T15" fmla="*/ 44 h 136"/>
                  <a:gd name="T16" fmla="*/ 2 w 126"/>
                  <a:gd name="T17" fmla="*/ 52 h 136"/>
                  <a:gd name="T18" fmla="*/ 2 w 126"/>
                  <a:gd name="T19" fmla="*/ 54 h 136"/>
                  <a:gd name="T20" fmla="*/ 8 w 126"/>
                  <a:gd name="T21" fmla="*/ 62 h 136"/>
                  <a:gd name="T22" fmla="*/ 18 w 126"/>
                  <a:gd name="T23" fmla="*/ 72 h 136"/>
                  <a:gd name="T24" fmla="*/ 20 w 126"/>
                  <a:gd name="T25" fmla="*/ 74 h 136"/>
                  <a:gd name="T26" fmla="*/ 28 w 126"/>
                  <a:gd name="T27" fmla="*/ 78 h 136"/>
                  <a:gd name="T28" fmla="*/ 36 w 126"/>
                  <a:gd name="T29" fmla="*/ 80 h 136"/>
                  <a:gd name="T30" fmla="*/ 50 w 126"/>
                  <a:gd name="T31" fmla="*/ 90 h 136"/>
                  <a:gd name="T32" fmla="*/ 66 w 126"/>
                  <a:gd name="T33" fmla="*/ 98 h 136"/>
                  <a:gd name="T34" fmla="*/ 64 w 126"/>
                  <a:gd name="T35" fmla="*/ 110 h 136"/>
                  <a:gd name="T36" fmla="*/ 64 w 126"/>
                  <a:gd name="T37" fmla="*/ 110 h 136"/>
                  <a:gd name="T38" fmla="*/ 58 w 126"/>
                  <a:gd name="T39" fmla="*/ 124 h 136"/>
                  <a:gd name="T40" fmla="*/ 64 w 126"/>
                  <a:gd name="T41" fmla="*/ 134 h 136"/>
                  <a:gd name="T42" fmla="*/ 68 w 126"/>
                  <a:gd name="T43" fmla="*/ 136 h 136"/>
                  <a:gd name="T44" fmla="*/ 86 w 126"/>
                  <a:gd name="T45" fmla="*/ 136 h 136"/>
                  <a:gd name="T46" fmla="*/ 100 w 126"/>
                  <a:gd name="T47" fmla="*/ 132 h 136"/>
                  <a:gd name="T48" fmla="*/ 100 w 126"/>
                  <a:gd name="T49" fmla="*/ 132 h 136"/>
                  <a:gd name="T50" fmla="*/ 114 w 126"/>
                  <a:gd name="T51" fmla="*/ 124 h 136"/>
                  <a:gd name="T52" fmla="*/ 114 w 126"/>
                  <a:gd name="T53" fmla="*/ 124 h 136"/>
                  <a:gd name="T54" fmla="*/ 118 w 126"/>
                  <a:gd name="T55" fmla="*/ 116 h 136"/>
                  <a:gd name="T56" fmla="*/ 120 w 126"/>
                  <a:gd name="T57" fmla="*/ 110 h 136"/>
                  <a:gd name="T58" fmla="*/ 120 w 126"/>
                  <a:gd name="T59" fmla="*/ 108 h 136"/>
                  <a:gd name="T60" fmla="*/ 124 w 126"/>
                  <a:gd name="T61" fmla="*/ 88 h 136"/>
                  <a:gd name="T62" fmla="*/ 124 w 126"/>
                  <a:gd name="T63" fmla="*/ 88 h 136"/>
                  <a:gd name="T64" fmla="*/ 126 w 126"/>
                  <a:gd name="T65" fmla="*/ 80 h 136"/>
                  <a:gd name="T66" fmla="*/ 124 w 126"/>
                  <a:gd name="T67" fmla="*/ 76 h 136"/>
                  <a:gd name="T68" fmla="*/ 118 w 126"/>
                  <a:gd name="T69" fmla="*/ 74 h 136"/>
                  <a:gd name="T70" fmla="*/ 116 w 126"/>
                  <a:gd name="T71" fmla="*/ 74 h 136"/>
                  <a:gd name="T72" fmla="*/ 110 w 126"/>
                  <a:gd name="T73" fmla="*/ 74 h 136"/>
                  <a:gd name="T74" fmla="*/ 104 w 126"/>
                  <a:gd name="T75" fmla="*/ 62 h 136"/>
                  <a:gd name="T76" fmla="*/ 104 w 126"/>
                  <a:gd name="T77" fmla="*/ 54 h 136"/>
                  <a:gd name="T78" fmla="*/ 102 w 126"/>
                  <a:gd name="T79" fmla="*/ 50 h 136"/>
                  <a:gd name="T80" fmla="*/ 98 w 126"/>
                  <a:gd name="T81" fmla="*/ 46 h 136"/>
                  <a:gd name="T82" fmla="*/ 88 w 126"/>
                  <a:gd name="T83" fmla="*/ 44 h 136"/>
                  <a:gd name="T84" fmla="*/ 86 w 126"/>
                  <a:gd name="T85" fmla="*/ 44 h 136"/>
                  <a:gd name="T86" fmla="*/ 86 w 126"/>
                  <a:gd name="T87" fmla="*/ 44 h 136"/>
                  <a:gd name="T88" fmla="*/ 74 w 126"/>
                  <a:gd name="T89" fmla="*/ 46 h 136"/>
                  <a:gd name="T90" fmla="*/ 74 w 126"/>
                  <a:gd name="T91" fmla="*/ 24 h 136"/>
                  <a:gd name="T92" fmla="*/ 74 w 126"/>
                  <a:gd name="T93" fmla="*/ 22 h 136"/>
                  <a:gd name="T94" fmla="*/ 70 w 126"/>
                  <a:gd name="T95" fmla="*/ 14 h 136"/>
                  <a:gd name="T96" fmla="*/ 64 w 126"/>
                  <a:gd name="T97" fmla="*/ 8 h 136"/>
                  <a:gd name="T98" fmla="*/ 64 w 126"/>
                  <a:gd name="T99" fmla="*/ 8 h 136"/>
                  <a:gd name="T100" fmla="*/ 56 w 126"/>
                  <a:gd name="T101" fmla="*/ 2 h 136"/>
                  <a:gd name="T102" fmla="*/ 44 w 126"/>
                  <a:gd name="T103" fmla="*/ 0 h 136"/>
                  <a:gd name="T104" fmla="*/ 42 w 126"/>
                  <a:gd name="T10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36">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8" name="Freeform 298"/>
              <p:cNvSpPr>
                <a:spLocks/>
              </p:cNvSpPr>
              <p:nvPr/>
            </p:nvSpPr>
            <p:spPr bwMode="auto">
              <a:xfrm>
                <a:off x="2041" y="2957"/>
                <a:ext cx="76" cy="82"/>
              </a:xfrm>
              <a:custGeom>
                <a:avLst/>
                <a:gdLst>
                  <a:gd name="T0" fmla="*/ 38 w 76"/>
                  <a:gd name="T1" fmla="*/ 82 h 82"/>
                  <a:gd name="T2" fmla="*/ 26 w 76"/>
                  <a:gd name="T3" fmla="*/ 80 h 82"/>
                  <a:gd name="T4" fmla="*/ 16 w 76"/>
                  <a:gd name="T5" fmla="*/ 76 h 82"/>
                  <a:gd name="T6" fmla="*/ 6 w 76"/>
                  <a:gd name="T7" fmla="*/ 74 h 82"/>
                  <a:gd name="T8" fmla="*/ 6 w 76"/>
                  <a:gd name="T9" fmla="*/ 74 h 82"/>
                  <a:gd name="T10" fmla="*/ 6 w 76"/>
                  <a:gd name="T11" fmla="*/ 74 h 82"/>
                  <a:gd name="T12" fmla="*/ 0 w 76"/>
                  <a:gd name="T13" fmla="*/ 70 h 82"/>
                  <a:gd name="T14" fmla="*/ 0 w 76"/>
                  <a:gd name="T15" fmla="*/ 70 h 82"/>
                  <a:gd name="T16" fmla="*/ 0 w 76"/>
                  <a:gd name="T17" fmla="*/ 68 h 82"/>
                  <a:gd name="T18" fmla="*/ 0 w 76"/>
                  <a:gd name="T19" fmla="*/ 54 h 82"/>
                  <a:gd name="T20" fmla="*/ 4 w 76"/>
                  <a:gd name="T21" fmla="*/ 36 h 82"/>
                  <a:gd name="T22" fmla="*/ 4 w 76"/>
                  <a:gd name="T23" fmla="*/ 22 h 82"/>
                  <a:gd name="T24" fmla="*/ 8 w 76"/>
                  <a:gd name="T25" fmla="*/ 8 h 82"/>
                  <a:gd name="T26" fmla="*/ 10 w 76"/>
                  <a:gd name="T27" fmla="*/ 4 h 82"/>
                  <a:gd name="T28" fmla="*/ 10 w 76"/>
                  <a:gd name="T29" fmla="*/ 4 h 82"/>
                  <a:gd name="T30" fmla="*/ 12 w 76"/>
                  <a:gd name="T31" fmla="*/ 2 h 82"/>
                  <a:gd name="T32" fmla="*/ 18 w 76"/>
                  <a:gd name="T33" fmla="*/ 0 h 82"/>
                  <a:gd name="T34" fmla="*/ 18 w 76"/>
                  <a:gd name="T35" fmla="*/ 0 h 82"/>
                  <a:gd name="T36" fmla="*/ 20 w 76"/>
                  <a:gd name="T37" fmla="*/ 0 h 82"/>
                  <a:gd name="T38" fmla="*/ 20 w 76"/>
                  <a:gd name="T39" fmla="*/ 0 h 82"/>
                  <a:gd name="T40" fmla="*/ 20 w 76"/>
                  <a:gd name="T41" fmla="*/ 0 h 82"/>
                  <a:gd name="T42" fmla="*/ 30 w 76"/>
                  <a:gd name="T43" fmla="*/ 8 h 82"/>
                  <a:gd name="T44" fmla="*/ 36 w 76"/>
                  <a:gd name="T45" fmla="*/ 16 h 82"/>
                  <a:gd name="T46" fmla="*/ 42 w 76"/>
                  <a:gd name="T47" fmla="*/ 18 h 82"/>
                  <a:gd name="T48" fmla="*/ 54 w 76"/>
                  <a:gd name="T49" fmla="*/ 24 h 82"/>
                  <a:gd name="T50" fmla="*/ 66 w 76"/>
                  <a:gd name="T51" fmla="*/ 34 h 82"/>
                  <a:gd name="T52" fmla="*/ 70 w 76"/>
                  <a:gd name="T53" fmla="*/ 40 h 82"/>
                  <a:gd name="T54" fmla="*/ 74 w 76"/>
                  <a:gd name="T55" fmla="*/ 44 h 82"/>
                  <a:gd name="T56" fmla="*/ 74 w 76"/>
                  <a:gd name="T57" fmla="*/ 44 h 82"/>
                  <a:gd name="T58" fmla="*/ 74 w 76"/>
                  <a:gd name="T59" fmla="*/ 46 h 82"/>
                  <a:gd name="T60" fmla="*/ 72 w 76"/>
                  <a:gd name="T61" fmla="*/ 52 h 82"/>
                  <a:gd name="T62" fmla="*/ 74 w 76"/>
                  <a:gd name="T63" fmla="*/ 56 h 82"/>
                  <a:gd name="T64" fmla="*/ 76 w 76"/>
                  <a:gd name="T65" fmla="*/ 58 h 82"/>
                  <a:gd name="T66" fmla="*/ 76 w 76"/>
                  <a:gd name="T67" fmla="*/ 58 h 82"/>
                  <a:gd name="T68" fmla="*/ 76 w 76"/>
                  <a:gd name="T69" fmla="*/ 62 h 82"/>
                  <a:gd name="T70" fmla="*/ 72 w 76"/>
                  <a:gd name="T71" fmla="*/ 64 h 82"/>
                  <a:gd name="T72" fmla="*/ 66 w 76"/>
                  <a:gd name="T73" fmla="*/ 74 h 82"/>
                  <a:gd name="T74" fmla="*/ 60 w 76"/>
                  <a:gd name="T75" fmla="*/ 78 h 82"/>
                  <a:gd name="T76" fmla="*/ 56 w 76"/>
                  <a:gd name="T77" fmla="*/ 80 h 82"/>
                  <a:gd name="T78" fmla="*/ 56 w 76"/>
                  <a:gd name="T79" fmla="*/ 82 h 82"/>
                  <a:gd name="T80" fmla="*/ 56 w 76"/>
                  <a:gd name="T81" fmla="*/ 82 h 82"/>
                  <a:gd name="T82" fmla="*/ 54 w 76"/>
                  <a:gd name="T83" fmla="*/ 82 h 82"/>
                  <a:gd name="T84" fmla="*/ 54 w 76"/>
                  <a:gd name="T85" fmla="*/ 82 h 82"/>
                  <a:gd name="T86" fmla="*/ 38 w 76"/>
                  <a:gd name="T87" fmla="*/ 82 h 82"/>
                  <a:gd name="T88" fmla="*/ 38 w 76"/>
                  <a:gd name="T8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82">
                    <a:moveTo>
                      <a:pt x="38" y="82"/>
                    </a:moveTo>
                    <a:lnTo>
                      <a:pt x="26" y="80"/>
                    </a:lnTo>
                    <a:lnTo>
                      <a:pt x="16" y="76"/>
                    </a:lnTo>
                    <a:lnTo>
                      <a:pt x="6" y="74"/>
                    </a:lnTo>
                    <a:lnTo>
                      <a:pt x="6" y="74"/>
                    </a:lnTo>
                    <a:lnTo>
                      <a:pt x="6" y="74"/>
                    </a:lnTo>
                    <a:lnTo>
                      <a:pt x="0" y="70"/>
                    </a:lnTo>
                    <a:lnTo>
                      <a:pt x="0" y="70"/>
                    </a:lnTo>
                    <a:lnTo>
                      <a:pt x="0" y="68"/>
                    </a:lnTo>
                    <a:lnTo>
                      <a:pt x="0" y="54"/>
                    </a:lnTo>
                    <a:lnTo>
                      <a:pt x="4" y="36"/>
                    </a:lnTo>
                    <a:lnTo>
                      <a:pt x="4" y="22"/>
                    </a:lnTo>
                    <a:lnTo>
                      <a:pt x="8" y="8"/>
                    </a:lnTo>
                    <a:lnTo>
                      <a:pt x="10" y="4"/>
                    </a:lnTo>
                    <a:lnTo>
                      <a:pt x="10" y="4"/>
                    </a:lnTo>
                    <a:lnTo>
                      <a:pt x="12" y="2"/>
                    </a:lnTo>
                    <a:lnTo>
                      <a:pt x="18" y="0"/>
                    </a:lnTo>
                    <a:lnTo>
                      <a:pt x="18" y="0"/>
                    </a:lnTo>
                    <a:lnTo>
                      <a:pt x="20" y="0"/>
                    </a:lnTo>
                    <a:lnTo>
                      <a:pt x="20" y="0"/>
                    </a:lnTo>
                    <a:lnTo>
                      <a:pt x="20" y="0"/>
                    </a:lnTo>
                    <a:lnTo>
                      <a:pt x="30" y="8"/>
                    </a:lnTo>
                    <a:lnTo>
                      <a:pt x="36" y="16"/>
                    </a:lnTo>
                    <a:lnTo>
                      <a:pt x="42" y="18"/>
                    </a:lnTo>
                    <a:lnTo>
                      <a:pt x="54" y="24"/>
                    </a:lnTo>
                    <a:lnTo>
                      <a:pt x="66" y="34"/>
                    </a:lnTo>
                    <a:lnTo>
                      <a:pt x="70" y="40"/>
                    </a:lnTo>
                    <a:lnTo>
                      <a:pt x="74" y="44"/>
                    </a:lnTo>
                    <a:lnTo>
                      <a:pt x="74" y="44"/>
                    </a:lnTo>
                    <a:lnTo>
                      <a:pt x="74" y="46"/>
                    </a:lnTo>
                    <a:lnTo>
                      <a:pt x="72" y="52"/>
                    </a:lnTo>
                    <a:lnTo>
                      <a:pt x="74" y="56"/>
                    </a:lnTo>
                    <a:lnTo>
                      <a:pt x="76" y="58"/>
                    </a:lnTo>
                    <a:lnTo>
                      <a:pt x="76" y="58"/>
                    </a:lnTo>
                    <a:lnTo>
                      <a:pt x="76" y="62"/>
                    </a:lnTo>
                    <a:lnTo>
                      <a:pt x="72" y="64"/>
                    </a:lnTo>
                    <a:lnTo>
                      <a:pt x="66" y="74"/>
                    </a:lnTo>
                    <a:lnTo>
                      <a:pt x="60" y="78"/>
                    </a:lnTo>
                    <a:lnTo>
                      <a:pt x="56" y="80"/>
                    </a:lnTo>
                    <a:lnTo>
                      <a:pt x="56" y="82"/>
                    </a:lnTo>
                    <a:lnTo>
                      <a:pt x="56" y="82"/>
                    </a:lnTo>
                    <a:lnTo>
                      <a:pt x="54" y="82"/>
                    </a:lnTo>
                    <a:lnTo>
                      <a:pt x="54" y="82"/>
                    </a:lnTo>
                    <a:lnTo>
                      <a:pt x="38" y="82"/>
                    </a:lnTo>
                    <a:lnTo>
                      <a:pt x="3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9" name="Freeform 299"/>
              <p:cNvSpPr>
                <a:spLocks noEditPoints="1"/>
              </p:cNvSpPr>
              <p:nvPr/>
            </p:nvSpPr>
            <p:spPr bwMode="auto">
              <a:xfrm>
                <a:off x="2039" y="2955"/>
                <a:ext cx="80" cy="86"/>
              </a:xfrm>
              <a:custGeom>
                <a:avLst/>
                <a:gdLst>
                  <a:gd name="T0" fmla="*/ 30 w 80"/>
                  <a:gd name="T1" fmla="*/ 12 h 86"/>
                  <a:gd name="T2" fmla="*/ 44 w 80"/>
                  <a:gd name="T3" fmla="*/ 22 h 86"/>
                  <a:gd name="T4" fmla="*/ 66 w 80"/>
                  <a:gd name="T5" fmla="*/ 38 h 86"/>
                  <a:gd name="T6" fmla="*/ 74 w 80"/>
                  <a:gd name="T7" fmla="*/ 48 h 86"/>
                  <a:gd name="T8" fmla="*/ 74 w 80"/>
                  <a:gd name="T9" fmla="*/ 58 h 86"/>
                  <a:gd name="T10" fmla="*/ 74 w 80"/>
                  <a:gd name="T11" fmla="*/ 66 h 86"/>
                  <a:gd name="T12" fmla="*/ 60 w 80"/>
                  <a:gd name="T13" fmla="*/ 80 h 86"/>
                  <a:gd name="T14" fmla="*/ 56 w 80"/>
                  <a:gd name="T15" fmla="*/ 82 h 86"/>
                  <a:gd name="T16" fmla="*/ 28 w 80"/>
                  <a:gd name="T17" fmla="*/ 80 h 86"/>
                  <a:gd name="T18" fmla="*/ 8 w 80"/>
                  <a:gd name="T19" fmla="*/ 74 h 86"/>
                  <a:gd name="T20" fmla="*/ 4 w 80"/>
                  <a:gd name="T21" fmla="*/ 56 h 86"/>
                  <a:gd name="T22" fmla="*/ 8 w 80"/>
                  <a:gd name="T23" fmla="*/ 26 h 86"/>
                  <a:gd name="T24" fmla="*/ 14 w 80"/>
                  <a:gd name="T25" fmla="*/ 6 h 86"/>
                  <a:gd name="T26" fmla="*/ 22 w 80"/>
                  <a:gd name="T27" fmla="*/ 0 h 86"/>
                  <a:gd name="T28" fmla="*/ 20 w 80"/>
                  <a:gd name="T29" fmla="*/ 0 h 86"/>
                  <a:gd name="T30" fmla="*/ 14 w 80"/>
                  <a:gd name="T31" fmla="*/ 2 h 86"/>
                  <a:gd name="T32" fmla="*/ 8 w 80"/>
                  <a:gd name="T33" fmla="*/ 10 h 86"/>
                  <a:gd name="T34" fmla="*/ 6 w 80"/>
                  <a:gd name="T35" fmla="*/ 24 h 86"/>
                  <a:gd name="T36" fmla="*/ 4 w 80"/>
                  <a:gd name="T37" fmla="*/ 38 h 86"/>
                  <a:gd name="T38" fmla="*/ 0 w 80"/>
                  <a:gd name="T39" fmla="*/ 56 h 86"/>
                  <a:gd name="T40" fmla="*/ 0 w 80"/>
                  <a:gd name="T41" fmla="*/ 70 h 86"/>
                  <a:gd name="T42" fmla="*/ 2 w 80"/>
                  <a:gd name="T43" fmla="*/ 74 h 86"/>
                  <a:gd name="T44" fmla="*/ 6 w 80"/>
                  <a:gd name="T45" fmla="*/ 78 h 86"/>
                  <a:gd name="T46" fmla="*/ 18 w 80"/>
                  <a:gd name="T47" fmla="*/ 80 h 86"/>
                  <a:gd name="T48" fmla="*/ 26 w 80"/>
                  <a:gd name="T49" fmla="*/ 84 h 86"/>
                  <a:gd name="T50" fmla="*/ 40 w 80"/>
                  <a:gd name="T51" fmla="*/ 86 h 86"/>
                  <a:gd name="T52" fmla="*/ 56 w 80"/>
                  <a:gd name="T53" fmla="*/ 86 h 86"/>
                  <a:gd name="T54" fmla="*/ 56 w 80"/>
                  <a:gd name="T55" fmla="*/ 86 h 86"/>
                  <a:gd name="T56" fmla="*/ 60 w 80"/>
                  <a:gd name="T57" fmla="*/ 84 h 86"/>
                  <a:gd name="T58" fmla="*/ 62 w 80"/>
                  <a:gd name="T59" fmla="*/ 82 h 86"/>
                  <a:gd name="T60" fmla="*/ 68 w 80"/>
                  <a:gd name="T61" fmla="*/ 76 h 86"/>
                  <a:gd name="T62" fmla="*/ 70 w 80"/>
                  <a:gd name="T63" fmla="*/ 76 h 86"/>
                  <a:gd name="T64" fmla="*/ 80 w 80"/>
                  <a:gd name="T65" fmla="*/ 64 h 86"/>
                  <a:gd name="T66" fmla="*/ 80 w 80"/>
                  <a:gd name="T67" fmla="*/ 62 h 86"/>
                  <a:gd name="T68" fmla="*/ 78 w 80"/>
                  <a:gd name="T69" fmla="*/ 56 h 86"/>
                  <a:gd name="T70" fmla="*/ 78 w 80"/>
                  <a:gd name="T71" fmla="*/ 50 h 86"/>
                  <a:gd name="T72" fmla="*/ 78 w 80"/>
                  <a:gd name="T73" fmla="*/ 46 h 86"/>
                  <a:gd name="T74" fmla="*/ 74 w 80"/>
                  <a:gd name="T75" fmla="*/ 40 h 86"/>
                  <a:gd name="T76" fmla="*/ 68 w 80"/>
                  <a:gd name="T77" fmla="*/ 34 h 86"/>
                  <a:gd name="T78" fmla="*/ 58 w 80"/>
                  <a:gd name="T79" fmla="*/ 26 h 86"/>
                  <a:gd name="T80" fmla="*/ 46 w 80"/>
                  <a:gd name="T81" fmla="*/ 18 h 86"/>
                  <a:gd name="T82" fmla="*/ 44 w 80"/>
                  <a:gd name="T83" fmla="*/ 18 h 86"/>
                  <a:gd name="T84" fmla="*/ 32 w 80"/>
                  <a:gd name="T85" fmla="*/ 8 h 86"/>
                  <a:gd name="T86" fmla="*/ 32 w 80"/>
                  <a:gd name="T87" fmla="*/ 8 h 86"/>
                  <a:gd name="T88" fmla="*/ 24 w 80"/>
                  <a:gd name="T89" fmla="*/ 2 h 86"/>
                  <a:gd name="T90" fmla="*/ 22 w 80"/>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86">
                    <a:moveTo>
                      <a:pt x="22" y="4"/>
                    </a:moveTo>
                    <a:lnTo>
                      <a:pt x="30" y="12"/>
                    </a:lnTo>
                    <a:lnTo>
                      <a:pt x="36" y="20"/>
                    </a:lnTo>
                    <a:lnTo>
                      <a:pt x="44" y="22"/>
                    </a:lnTo>
                    <a:lnTo>
                      <a:pt x="56" y="28"/>
                    </a:lnTo>
                    <a:lnTo>
                      <a:pt x="66" y="38"/>
                    </a:lnTo>
                    <a:lnTo>
                      <a:pt x="72" y="42"/>
                    </a:lnTo>
                    <a:lnTo>
                      <a:pt x="74" y="48"/>
                    </a:lnTo>
                    <a:lnTo>
                      <a:pt x="74" y="54"/>
                    </a:lnTo>
                    <a:lnTo>
                      <a:pt x="74" y="58"/>
                    </a:lnTo>
                    <a:lnTo>
                      <a:pt x="76" y="62"/>
                    </a:lnTo>
                    <a:lnTo>
                      <a:pt x="74" y="66"/>
                    </a:lnTo>
                    <a:lnTo>
                      <a:pt x="66" y="74"/>
                    </a:lnTo>
                    <a:lnTo>
                      <a:pt x="60" y="80"/>
                    </a:lnTo>
                    <a:lnTo>
                      <a:pt x="58" y="82"/>
                    </a:lnTo>
                    <a:lnTo>
                      <a:pt x="56" y="82"/>
                    </a:lnTo>
                    <a:lnTo>
                      <a:pt x="40" y="82"/>
                    </a:lnTo>
                    <a:lnTo>
                      <a:pt x="28" y="80"/>
                    </a:lnTo>
                    <a:lnTo>
                      <a:pt x="20" y="76"/>
                    </a:lnTo>
                    <a:lnTo>
                      <a:pt x="8" y="74"/>
                    </a:lnTo>
                    <a:lnTo>
                      <a:pt x="4" y="70"/>
                    </a:lnTo>
                    <a:lnTo>
                      <a:pt x="4" y="56"/>
                    </a:lnTo>
                    <a:lnTo>
                      <a:pt x="8" y="40"/>
                    </a:lnTo>
                    <a:lnTo>
                      <a:pt x="8" y="26"/>
                    </a:lnTo>
                    <a:lnTo>
                      <a:pt x="12" y="12"/>
                    </a:lnTo>
                    <a:lnTo>
                      <a:pt x="14" y="6"/>
                    </a:lnTo>
                    <a:lnTo>
                      <a:pt x="22" y="4"/>
                    </a:lnTo>
                    <a:close/>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0" name="Freeform 300"/>
              <p:cNvSpPr>
                <a:spLocks/>
              </p:cNvSpPr>
              <p:nvPr/>
            </p:nvSpPr>
            <p:spPr bwMode="auto">
              <a:xfrm>
                <a:off x="2043" y="2959"/>
                <a:ext cx="72" cy="78"/>
              </a:xfrm>
              <a:custGeom>
                <a:avLst/>
                <a:gdLst>
                  <a:gd name="T0" fmla="*/ 18 w 72"/>
                  <a:gd name="T1" fmla="*/ 0 h 78"/>
                  <a:gd name="T2" fmla="*/ 26 w 72"/>
                  <a:gd name="T3" fmla="*/ 8 h 78"/>
                  <a:gd name="T4" fmla="*/ 32 w 72"/>
                  <a:gd name="T5" fmla="*/ 16 h 78"/>
                  <a:gd name="T6" fmla="*/ 40 w 72"/>
                  <a:gd name="T7" fmla="*/ 18 h 78"/>
                  <a:gd name="T8" fmla="*/ 52 w 72"/>
                  <a:gd name="T9" fmla="*/ 24 h 78"/>
                  <a:gd name="T10" fmla="*/ 62 w 72"/>
                  <a:gd name="T11" fmla="*/ 34 h 78"/>
                  <a:gd name="T12" fmla="*/ 68 w 72"/>
                  <a:gd name="T13" fmla="*/ 38 h 78"/>
                  <a:gd name="T14" fmla="*/ 70 w 72"/>
                  <a:gd name="T15" fmla="*/ 44 h 78"/>
                  <a:gd name="T16" fmla="*/ 70 w 72"/>
                  <a:gd name="T17" fmla="*/ 50 h 78"/>
                  <a:gd name="T18" fmla="*/ 70 w 72"/>
                  <a:gd name="T19" fmla="*/ 54 h 78"/>
                  <a:gd name="T20" fmla="*/ 72 w 72"/>
                  <a:gd name="T21" fmla="*/ 58 h 78"/>
                  <a:gd name="T22" fmla="*/ 70 w 72"/>
                  <a:gd name="T23" fmla="*/ 62 h 78"/>
                  <a:gd name="T24" fmla="*/ 62 w 72"/>
                  <a:gd name="T25" fmla="*/ 70 h 78"/>
                  <a:gd name="T26" fmla="*/ 56 w 72"/>
                  <a:gd name="T27" fmla="*/ 76 h 78"/>
                  <a:gd name="T28" fmla="*/ 54 w 72"/>
                  <a:gd name="T29" fmla="*/ 78 h 78"/>
                  <a:gd name="T30" fmla="*/ 52 w 72"/>
                  <a:gd name="T31" fmla="*/ 78 h 78"/>
                  <a:gd name="T32" fmla="*/ 36 w 72"/>
                  <a:gd name="T33" fmla="*/ 78 h 78"/>
                  <a:gd name="T34" fmla="*/ 24 w 72"/>
                  <a:gd name="T35" fmla="*/ 76 h 78"/>
                  <a:gd name="T36" fmla="*/ 16 w 72"/>
                  <a:gd name="T37" fmla="*/ 72 h 78"/>
                  <a:gd name="T38" fmla="*/ 4 w 72"/>
                  <a:gd name="T39" fmla="*/ 70 h 78"/>
                  <a:gd name="T40" fmla="*/ 0 w 72"/>
                  <a:gd name="T41" fmla="*/ 66 h 78"/>
                  <a:gd name="T42" fmla="*/ 0 w 72"/>
                  <a:gd name="T43" fmla="*/ 52 h 78"/>
                  <a:gd name="T44" fmla="*/ 4 w 72"/>
                  <a:gd name="T45" fmla="*/ 36 h 78"/>
                  <a:gd name="T46" fmla="*/ 4 w 72"/>
                  <a:gd name="T47" fmla="*/ 22 h 78"/>
                  <a:gd name="T48" fmla="*/ 8 w 72"/>
                  <a:gd name="T49" fmla="*/ 8 h 78"/>
                  <a:gd name="T50" fmla="*/ 10 w 72"/>
                  <a:gd name="T51" fmla="*/ 2 h 78"/>
                  <a:gd name="T52" fmla="*/ 18 w 72"/>
                  <a:gd name="T5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78">
                    <a:moveTo>
                      <a:pt x="18" y="0"/>
                    </a:moveTo>
                    <a:lnTo>
                      <a:pt x="26" y="8"/>
                    </a:lnTo>
                    <a:lnTo>
                      <a:pt x="32" y="16"/>
                    </a:lnTo>
                    <a:lnTo>
                      <a:pt x="40" y="18"/>
                    </a:lnTo>
                    <a:lnTo>
                      <a:pt x="52" y="24"/>
                    </a:lnTo>
                    <a:lnTo>
                      <a:pt x="62" y="34"/>
                    </a:lnTo>
                    <a:lnTo>
                      <a:pt x="68" y="38"/>
                    </a:lnTo>
                    <a:lnTo>
                      <a:pt x="70" y="44"/>
                    </a:lnTo>
                    <a:lnTo>
                      <a:pt x="70" y="50"/>
                    </a:lnTo>
                    <a:lnTo>
                      <a:pt x="70" y="54"/>
                    </a:lnTo>
                    <a:lnTo>
                      <a:pt x="72" y="58"/>
                    </a:lnTo>
                    <a:lnTo>
                      <a:pt x="70" y="62"/>
                    </a:lnTo>
                    <a:lnTo>
                      <a:pt x="62" y="70"/>
                    </a:lnTo>
                    <a:lnTo>
                      <a:pt x="56" y="76"/>
                    </a:lnTo>
                    <a:lnTo>
                      <a:pt x="54" y="78"/>
                    </a:lnTo>
                    <a:lnTo>
                      <a:pt x="52" y="78"/>
                    </a:lnTo>
                    <a:lnTo>
                      <a:pt x="36" y="78"/>
                    </a:lnTo>
                    <a:lnTo>
                      <a:pt x="24" y="76"/>
                    </a:lnTo>
                    <a:lnTo>
                      <a:pt x="16" y="72"/>
                    </a:lnTo>
                    <a:lnTo>
                      <a:pt x="4" y="70"/>
                    </a:lnTo>
                    <a:lnTo>
                      <a:pt x="0" y="66"/>
                    </a:lnTo>
                    <a:lnTo>
                      <a:pt x="0" y="52"/>
                    </a:lnTo>
                    <a:lnTo>
                      <a:pt x="4" y="36"/>
                    </a:lnTo>
                    <a:lnTo>
                      <a:pt x="4" y="22"/>
                    </a:lnTo>
                    <a:lnTo>
                      <a:pt x="8" y="8"/>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1" name="Freeform 301"/>
              <p:cNvSpPr>
                <a:spLocks/>
              </p:cNvSpPr>
              <p:nvPr/>
            </p:nvSpPr>
            <p:spPr bwMode="auto">
              <a:xfrm>
                <a:off x="2039" y="2955"/>
                <a:ext cx="80" cy="86"/>
              </a:xfrm>
              <a:custGeom>
                <a:avLst/>
                <a:gdLst>
                  <a:gd name="T0" fmla="*/ 22 w 80"/>
                  <a:gd name="T1" fmla="*/ 0 h 86"/>
                  <a:gd name="T2" fmla="*/ 14 w 80"/>
                  <a:gd name="T3" fmla="*/ 2 h 86"/>
                  <a:gd name="T4" fmla="*/ 10 w 80"/>
                  <a:gd name="T5" fmla="*/ 4 h 86"/>
                  <a:gd name="T6" fmla="*/ 6 w 80"/>
                  <a:gd name="T7" fmla="*/ 24 h 86"/>
                  <a:gd name="T8" fmla="*/ 4 w 80"/>
                  <a:gd name="T9" fmla="*/ 24 h 86"/>
                  <a:gd name="T10" fmla="*/ 0 w 80"/>
                  <a:gd name="T11" fmla="*/ 56 h 86"/>
                  <a:gd name="T12" fmla="*/ 0 w 80"/>
                  <a:gd name="T13" fmla="*/ 56 h 86"/>
                  <a:gd name="T14" fmla="*/ 0 w 80"/>
                  <a:gd name="T15" fmla="*/ 70 h 86"/>
                  <a:gd name="T16" fmla="*/ 6 w 80"/>
                  <a:gd name="T17" fmla="*/ 78 h 86"/>
                  <a:gd name="T18" fmla="*/ 8 w 80"/>
                  <a:gd name="T19" fmla="*/ 78 h 86"/>
                  <a:gd name="T20" fmla="*/ 26 w 80"/>
                  <a:gd name="T21" fmla="*/ 84 h 86"/>
                  <a:gd name="T22" fmla="*/ 28 w 80"/>
                  <a:gd name="T23" fmla="*/ 84 h 86"/>
                  <a:gd name="T24" fmla="*/ 56 w 80"/>
                  <a:gd name="T25" fmla="*/ 86 h 86"/>
                  <a:gd name="T26" fmla="*/ 56 w 80"/>
                  <a:gd name="T27" fmla="*/ 86 h 86"/>
                  <a:gd name="T28" fmla="*/ 58 w 80"/>
                  <a:gd name="T29" fmla="*/ 86 h 86"/>
                  <a:gd name="T30" fmla="*/ 62 w 80"/>
                  <a:gd name="T31" fmla="*/ 82 h 86"/>
                  <a:gd name="T32" fmla="*/ 64 w 80"/>
                  <a:gd name="T33" fmla="*/ 82 h 86"/>
                  <a:gd name="T34" fmla="*/ 68 w 80"/>
                  <a:gd name="T35" fmla="*/ 76 h 86"/>
                  <a:gd name="T36" fmla="*/ 76 w 80"/>
                  <a:gd name="T37" fmla="*/ 68 h 86"/>
                  <a:gd name="T38" fmla="*/ 80 w 80"/>
                  <a:gd name="T39" fmla="*/ 64 h 86"/>
                  <a:gd name="T40" fmla="*/ 80 w 80"/>
                  <a:gd name="T41" fmla="*/ 60 h 86"/>
                  <a:gd name="T42" fmla="*/ 78 w 80"/>
                  <a:gd name="T43" fmla="*/ 54 h 86"/>
                  <a:gd name="T44" fmla="*/ 78 w 80"/>
                  <a:gd name="T45" fmla="*/ 50 h 86"/>
                  <a:gd name="T46" fmla="*/ 74 w 80"/>
                  <a:gd name="T47" fmla="*/ 40 h 86"/>
                  <a:gd name="T48" fmla="*/ 74 w 80"/>
                  <a:gd name="T49" fmla="*/ 40 h 86"/>
                  <a:gd name="T50" fmla="*/ 58 w 80"/>
                  <a:gd name="T51" fmla="*/ 26 h 86"/>
                  <a:gd name="T52" fmla="*/ 58 w 80"/>
                  <a:gd name="T53" fmla="*/ 26 h 86"/>
                  <a:gd name="T54" fmla="*/ 46 w 80"/>
                  <a:gd name="T55" fmla="*/ 18 h 86"/>
                  <a:gd name="T56" fmla="*/ 38 w 80"/>
                  <a:gd name="T57" fmla="*/ 16 h 86"/>
                  <a:gd name="T58" fmla="*/ 32 w 80"/>
                  <a:gd name="T59" fmla="*/ 8 h 86"/>
                  <a:gd name="T60" fmla="*/ 24 w 80"/>
                  <a:gd name="T61" fmla="*/ 2 h 86"/>
                  <a:gd name="T62" fmla="*/ 22 w 80"/>
                  <a:gd name="T6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6">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2" name="Freeform 302"/>
              <p:cNvSpPr>
                <a:spLocks/>
              </p:cNvSpPr>
              <p:nvPr/>
            </p:nvSpPr>
            <p:spPr bwMode="auto">
              <a:xfrm>
                <a:off x="1823" y="2833"/>
                <a:ext cx="288" cy="510"/>
              </a:xfrm>
              <a:custGeom>
                <a:avLst/>
                <a:gdLst>
                  <a:gd name="T0" fmla="*/ 32 w 288"/>
                  <a:gd name="T1" fmla="*/ 506 h 510"/>
                  <a:gd name="T2" fmla="*/ 16 w 288"/>
                  <a:gd name="T3" fmla="*/ 492 h 510"/>
                  <a:gd name="T4" fmla="*/ 6 w 288"/>
                  <a:gd name="T5" fmla="*/ 476 h 510"/>
                  <a:gd name="T6" fmla="*/ 2 w 288"/>
                  <a:gd name="T7" fmla="*/ 450 h 510"/>
                  <a:gd name="T8" fmla="*/ 18 w 288"/>
                  <a:gd name="T9" fmla="*/ 416 h 510"/>
                  <a:gd name="T10" fmla="*/ 24 w 288"/>
                  <a:gd name="T11" fmla="*/ 346 h 510"/>
                  <a:gd name="T12" fmla="*/ 24 w 288"/>
                  <a:gd name="T13" fmla="*/ 316 h 510"/>
                  <a:gd name="T14" fmla="*/ 36 w 288"/>
                  <a:gd name="T15" fmla="*/ 252 h 510"/>
                  <a:gd name="T16" fmla="*/ 44 w 288"/>
                  <a:gd name="T17" fmla="*/ 204 h 510"/>
                  <a:gd name="T18" fmla="*/ 44 w 288"/>
                  <a:gd name="T19" fmla="*/ 158 h 510"/>
                  <a:gd name="T20" fmla="*/ 46 w 288"/>
                  <a:gd name="T21" fmla="*/ 134 h 510"/>
                  <a:gd name="T22" fmla="*/ 68 w 288"/>
                  <a:gd name="T23" fmla="*/ 50 h 510"/>
                  <a:gd name="T24" fmla="*/ 90 w 288"/>
                  <a:gd name="T25" fmla="*/ 28 h 510"/>
                  <a:gd name="T26" fmla="*/ 98 w 288"/>
                  <a:gd name="T27" fmla="*/ 6 h 510"/>
                  <a:gd name="T28" fmla="*/ 108 w 288"/>
                  <a:gd name="T29" fmla="*/ 2 h 510"/>
                  <a:gd name="T30" fmla="*/ 128 w 288"/>
                  <a:gd name="T31" fmla="*/ 6 h 510"/>
                  <a:gd name="T32" fmla="*/ 156 w 288"/>
                  <a:gd name="T33" fmla="*/ 2 h 510"/>
                  <a:gd name="T34" fmla="*/ 176 w 288"/>
                  <a:gd name="T35" fmla="*/ 26 h 510"/>
                  <a:gd name="T36" fmla="*/ 202 w 288"/>
                  <a:gd name="T37" fmla="*/ 38 h 510"/>
                  <a:gd name="T38" fmla="*/ 230 w 288"/>
                  <a:gd name="T39" fmla="*/ 58 h 510"/>
                  <a:gd name="T40" fmla="*/ 222 w 288"/>
                  <a:gd name="T41" fmla="*/ 88 h 510"/>
                  <a:gd name="T42" fmla="*/ 270 w 288"/>
                  <a:gd name="T43" fmla="*/ 66 h 510"/>
                  <a:gd name="T44" fmla="*/ 272 w 288"/>
                  <a:gd name="T45" fmla="*/ 54 h 510"/>
                  <a:gd name="T46" fmla="*/ 282 w 288"/>
                  <a:gd name="T47" fmla="*/ 58 h 510"/>
                  <a:gd name="T48" fmla="*/ 288 w 288"/>
                  <a:gd name="T49" fmla="*/ 70 h 510"/>
                  <a:gd name="T50" fmla="*/ 280 w 288"/>
                  <a:gd name="T51" fmla="*/ 90 h 510"/>
                  <a:gd name="T52" fmla="*/ 246 w 288"/>
                  <a:gd name="T53" fmla="*/ 118 h 510"/>
                  <a:gd name="T54" fmla="*/ 238 w 288"/>
                  <a:gd name="T55" fmla="*/ 126 h 510"/>
                  <a:gd name="T56" fmla="*/ 220 w 288"/>
                  <a:gd name="T57" fmla="*/ 176 h 510"/>
                  <a:gd name="T58" fmla="*/ 216 w 288"/>
                  <a:gd name="T59" fmla="*/ 200 h 510"/>
                  <a:gd name="T60" fmla="*/ 236 w 288"/>
                  <a:gd name="T61" fmla="*/ 214 h 510"/>
                  <a:gd name="T62" fmla="*/ 242 w 288"/>
                  <a:gd name="T63" fmla="*/ 230 h 510"/>
                  <a:gd name="T64" fmla="*/ 244 w 288"/>
                  <a:gd name="T65" fmla="*/ 244 h 510"/>
                  <a:gd name="T66" fmla="*/ 200 w 288"/>
                  <a:gd name="T67" fmla="*/ 270 h 510"/>
                  <a:gd name="T68" fmla="*/ 166 w 288"/>
                  <a:gd name="T69" fmla="*/ 284 h 510"/>
                  <a:gd name="T70" fmla="*/ 148 w 288"/>
                  <a:gd name="T71" fmla="*/ 312 h 510"/>
                  <a:gd name="T72" fmla="*/ 134 w 288"/>
                  <a:gd name="T73" fmla="*/ 306 h 510"/>
                  <a:gd name="T74" fmla="*/ 130 w 288"/>
                  <a:gd name="T75" fmla="*/ 328 h 510"/>
                  <a:gd name="T76" fmla="*/ 140 w 288"/>
                  <a:gd name="T77" fmla="*/ 324 h 510"/>
                  <a:gd name="T78" fmla="*/ 146 w 288"/>
                  <a:gd name="T79" fmla="*/ 328 h 510"/>
                  <a:gd name="T80" fmla="*/ 140 w 288"/>
                  <a:gd name="T81" fmla="*/ 340 h 510"/>
                  <a:gd name="T82" fmla="*/ 134 w 288"/>
                  <a:gd name="T83" fmla="*/ 338 h 510"/>
                  <a:gd name="T84" fmla="*/ 128 w 288"/>
                  <a:gd name="T85" fmla="*/ 336 h 510"/>
                  <a:gd name="T86" fmla="*/ 126 w 288"/>
                  <a:gd name="T87" fmla="*/ 348 h 510"/>
                  <a:gd name="T88" fmla="*/ 122 w 288"/>
                  <a:gd name="T89" fmla="*/ 360 h 510"/>
                  <a:gd name="T90" fmla="*/ 88 w 288"/>
                  <a:gd name="T91" fmla="*/ 392 h 510"/>
                  <a:gd name="T92" fmla="*/ 102 w 288"/>
                  <a:gd name="T93" fmla="*/ 410 h 510"/>
                  <a:gd name="T94" fmla="*/ 114 w 288"/>
                  <a:gd name="T95" fmla="*/ 422 h 510"/>
                  <a:gd name="T96" fmla="*/ 84 w 288"/>
                  <a:gd name="T97" fmla="*/ 462 h 510"/>
                  <a:gd name="T98" fmla="*/ 66 w 288"/>
                  <a:gd name="T99" fmla="*/ 474 h 510"/>
                  <a:gd name="T100" fmla="*/ 74 w 288"/>
                  <a:gd name="T101" fmla="*/ 504 h 510"/>
                  <a:gd name="T102" fmla="*/ 70 w 288"/>
                  <a:gd name="T10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510">
                    <a:moveTo>
                      <a:pt x="70" y="510"/>
                    </a:moveTo>
                    <a:lnTo>
                      <a:pt x="70" y="510"/>
                    </a:lnTo>
                    <a:lnTo>
                      <a:pt x="70" y="510"/>
                    </a:lnTo>
                    <a:lnTo>
                      <a:pt x="56" y="506"/>
                    </a:lnTo>
                    <a:lnTo>
                      <a:pt x="32" y="506"/>
                    </a:lnTo>
                    <a:lnTo>
                      <a:pt x="22" y="504"/>
                    </a:lnTo>
                    <a:lnTo>
                      <a:pt x="22" y="504"/>
                    </a:lnTo>
                    <a:lnTo>
                      <a:pt x="22" y="504"/>
                    </a:lnTo>
                    <a:lnTo>
                      <a:pt x="16" y="492"/>
                    </a:lnTo>
                    <a:lnTo>
                      <a:pt x="16" y="492"/>
                    </a:lnTo>
                    <a:lnTo>
                      <a:pt x="16" y="492"/>
                    </a:lnTo>
                    <a:lnTo>
                      <a:pt x="16" y="478"/>
                    </a:lnTo>
                    <a:lnTo>
                      <a:pt x="6" y="478"/>
                    </a:lnTo>
                    <a:lnTo>
                      <a:pt x="6" y="478"/>
                    </a:lnTo>
                    <a:lnTo>
                      <a:pt x="6" y="476"/>
                    </a:lnTo>
                    <a:lnTo>
                      <a:pt x="2" y="472"/>
                    </a:lnTo>
                    <a:lnTo>
                      <a:pt x="0" y="462"/>
                    </a:lnTo>
                    <a:lnTo>
                      <a:pt x="2" y="452"/>
                    </a:lnTo>
                    <a:lnTo>
                      <a:pt x="2" y="452"/>
                    </a:lnTo>
                    <a:lnTo>
                      <a:pt x="2" y="450"/>
                    </a:lnTo>
                    <a:lnTo>
                      <a:pt x="10" y="444"/>
                    </a:lnTo>
                    <a:lnTo>
                      <a:pt x="16" y="434"/>
                    </a:lnTo>
                    <a:lnTo>
                      <a:pt x="18" y="418"/>
                    </a:lnTo>
                    <a:lnTo>
                      <a:pt x="18" y="418"/>
                    </a:lnTo>
                    <a:lnTo>
                      <a:pt x="18" y="416"/>
                    </a:lnTo>
                    <a:lnTo>
                      <a:pt x="24" y="406"/>
                    </a:lnTo>
                    <a:lnTo>
                      <a:pt x="24" y="384"/>
                    </a:lnTo>
                    <a:lnTo>
                      <a:pt x="26" y="374"/>
                    </a:lnTo>
                    <a:lnTo>
                      <a:pt x="24" y="362"/>
                    </a:lnTo>
                    <a:lnTo>
                      <a:pt x="24" y="346"/>
                    </a:lnTo>
                    <a:lnTo>
                      <a:pt x="20" y="342"/>
                    </a:lnTo>
                    <a:lnTo>
                      <a:pt x="20" y="342"/>
                    </a:lnTo>
                    <a:lnTo>
                      <a:pt x="20" y="340"/>
                    </a:lnTo>
                    <a:lnTo>
                      <a:pt x="22" y="326"/>
                    </a:lnTo>
                    <a:lnTo>
                      <a:pt x="24" y="316"/>
                    </a:lnTo>
                    <a:lnTo>
                      <a:pt x="24" y="288"/>
                    </a:lnTo>
                    <a:lnTo>
                      <a:pt x="32" y="274"/>
                    </a:lnTo>
                    <a:lnTo>
                      <a:pt x="34" y="268"/>
                    </a:lnTo>
                    <a:lnTo>
                      <a:pt x="36" y="264"/>
                    </a:lnTo>
                    <a:lnTo>
                      <a:pt x="36" y="252"/>
                    </a:lnTo>
                    <a:lnTo>
                      <a:pt x="34" y="232"/>
                    </a:lnTo>
                    <a:lnTo>
                      <a:pt x="34" y="232"/>
                    </a:lnTo>
                    <a:lnTo>
                      <a:pt x="34" y="230"/>
                    </a:lnTo>
                    <a:lnTo>
                      <a:pt x="44" y="222"/>
                    </a:lnTo>
                    <a:lnTo>
                      <a:pt x="44" y="204"/>
                    </a:lnTo>
                    <a:lnTo>
                      <a:pt x="48" y="196"/>
                    </a:lnTo>
                    <a:lnTo>
                      <a:pt x="50" y="178"/>
                    </a:lnTo>
                    <a:lnTo>
                      <a:pt x="46" y="166"/>
                    </a:lnTo>
                    <a:lnTo>
                      <a:pt x="44" y="158"/>
                    </a:lnTo>
                    <a:lnTo>
                      <a:pt x="44" y="158"/>
                    </a:lnTo>
                    <a:lnTo>
                      <a:pt x="42" y="158"/>
                    </a:lnTo>
                    <a:lnTo>
                      <a:pt x="42" y="142"/>
                    </a:lnTo>
                    <a:lnTo>
                      <a:pt x="42" y="142"/>
                    </a:lnTo>
                    <a:lnTo>
                      <a:pt x="44" y="142"/>
                    </a:lnTo>
                    <a:lnTo>
                      <a:pt x="46" y="134"/>
                    </a:lnTo>
                    <a:lnTo>
                      <a:pt x="50" y="110"/>
                    </a:lnTo>
                    <a:lnTo>
                      <a:pt x="58" y="98"/>
                    </a:lnTo>
                    <a:lnTo>
                      <a:pt x="66" y="84"/>
                    </a:lnTo>
                    <a:lnTo>
                      <a:pt x="72" y="76"/>
                    </a:lnTo>
                    <a:lnTo>
                      <a:pt x="68" y="50"/>
                    </a:lnTo>
                    <a:lnTo>
                      <a:pt x="68" y="50"/>
                    </a:lnTo>
                    <a:lnTo>
                      <a:pt x="68" y="48"/>
                    </a:lnTo>
                    <a:lnTo>
                      <a:pt x="74" y="42"/>
                    </a:lnTo>
                    <a:lnTo>
                      <a:pt x="82" y="38"/>
                    </a:lnTo>
                    <a:lnTo>
                      <a:pt x="90" y="28"/>
                    </a:lnTo>
                    <a:lnTo>
                      <a:pt x="92" y="18"/>
                    </a:lnTo>
                    <a:lnTo>
                      <a:pt x="94" y="12"/>
                    </a:lnTo>
                    <a:lnTo>
                      <a:pt x="94" y="12"/>
                    </a:lnTo>
                    <a:lnTo>
                      <a:pt x="94" y="10"/>
                    </a:lnTo>
                    <a:lnTo>
                      <a:pt x="98" y="6"/>
                    </a:lnTo>
                    <a:lnTo>
                      <a:pt x="106" y="2"/>
                    </a:lnTo>
                    <a:lnTo>
                      <a:pt x="106" y="2"/>
                    </a:lnTo>
                    <a:lnTo>
                      <a:pt x="106" y="0"/>
                    </a:lnTo>
                    <a:lnTo>
                      <a:pt x="106" y="0"/>
                    </a:lnTo>
                    <a:lnTo>
                      <a:pt x="108" y="2"/>
                    </a:lnTo>
                    <a:lnTo>
                      <a:pt x="114" y="6"/>
                    </a:lnTo>
                    <a:lnTo>
                      <a:pt x="114" y="6"/>
                    </a:lnTo>
                    <a:lnTo>
                      <a:pt x="126" y="4"/>
                    </a:lnTo>
                    <a:lnTo>
                      <a:pt x="126" y="4"/>
                    </a:lnTo>
                    <a:lnTo>
                      <a:pt x="128" y="6"/>
                    </a:lnTo>
                    <a:lnTo>
                      <a:pt x="134" y="14"/>
                    </a:lnTo>
                    <a:lnTo>
                      <a:pt x="138" y="4"/>
                    </a:lnTo>
                    <a:lnTo>
                      <a:pt x="138" y="4"/>
                    </a:lnTo>
                    <a:lnTo>
                      <a:pt x="140" y="2"/>
                    </a:lnTo>
                    <a:lnTo>
                      <a:pt x="156" y="2"/>
                    </a:lnTo>
                    <a:lnTo>
                      <a:pt x="156" y="2"/>
                    </a:lnTo>
                    <a:lnTo>
                      <a:pt x="158" y="4"/>
                    </a:lnTo>
                    <a:lnTo>
                      <a:pt x="160" y="10"/>
                    </a:lnTo>
                    <a:lnTo>
                      <a:pt x="166" y="16"/>
                    </a:lnTo>
                    <a:lnTo>
                      <a:pt x="176" y="26"/>
                    </a:lnTo>
                    <a:lnTo>
                      <a:pt x="184" y="32"/>
                    </a:lnTo>
                    <a:lnTo>
                      <a:pt x="192" y="32"/>
                    </a:lnTo>
                    <a:lnTo>
                      <a:pt x="192" y="32"/>
                    </a:lnTo>
                    <a:lnTo>
                      <a:pt x="192" y="32"/>
                    </a:lnTo>
                    <a:lnTo>
                      <a:pt x="202" y="38"/>
                    </a:lnTo>
                    <a:lnTo>
                      <a:pt x="206" y="42"/>
                    </a:lnTo>
                    <a:lnTo>
                      <a:pt x="224" y="50"/>
                    </a:lnTo>
                    <a:lnTo>
                      <a:pt x="224" y="50"/>
                    </a:lnTo>
                    <a:lnTo>
                      <a:pt x="226" y="50"/>
                    </a:lnTo>
                    <a:lnTo>
                      <a:pt x="230" y="58"/>
                    </a:lnTo>
                    <a:lnTo>
                      <a:pt x="230" y="58"/>
                    </a:lnTo>
                    <a:lnTo>
                      <a:pt x="230" y="60"/>
                    </a:lnTo>
                    <a:lnTo>
                      <a:pt x="226" y="68"/>
                    </a:lnTo>
                    <a:lnTo>
                      <a:pt x="218" y="82"/>
                    </a:lnTo>
                    <a:lnTo>
                      <a:pt x="222" y="88"/>
                    </a:lnTo>
                    <a:lnTo>
                      <a:pt x="242" y="88"/>
                    </a:lnTo>
                    <a:lnTo>
                      <a:pt x="254" y="84"/>
                    </a:lnTo>
                    <a:lnTo>
                      <a:pt x="260" y="78"/>
                    </a:lnTo>
                    <a:lnTo>
                      <a:pt x="266" y="76"/>
                    </a:lnTo>
                    <a:lnTo>
                      <a:pt x="270" y="66"/>
                    </a:lnTo>
                    <a:lnTo>
                      <a:pt x="270" y="56"/>
                    </a:lnTo>
                    <a:lnTo>
                      <a:pt x="270" y="56"/>
                    </a:lnTo>
                    <a:lnTo>
                      <a:pt x="272" y="56"/>
                    </a:lnTo>
                    <a:lnTo>
                      <a:pt x="272" y="56"/>
                    </a:lnTo>
                    <a:lnTo>
                      <a:pt x="272" y="54"/>
                    </a:lnTo>
                    <a:lnTo>
                      <a:pt x="272" y="54"/>
                    </a:lnTo>
                    <a:lnTo>
                      <a:pt x="272" y="54"/>
                    </a:lnTo>
                    <a:lnTo>
                      <a:pt x="282" y="56"/>
                    </a:lnTo>
                    <a:lnTo>
                      <a:pt x="282" y="56"/>
                    </a:lnTo>
                    <a:lnTo>
                      <a:pt x="282" y="58"/>
                    </a:lnTo>
                    <a:lnTo>
                      <a:pt x="286" y="60"/>
                    </a:lnTo>
                    <a:lnTo>
                      <a:pt x="286" y="60"/>
                    </a:lnTo>
                    <a:lnTo>
                      <a:pt x="288" y="62"/>
                    </a:lnTo>
                    <a:lnTo>
                      <a:pt x="288" y="70"/>
                    </a:lnTo>
                    <a:lnTo>
                      <a:pt x="288" y="70"/>
                    </a:lnTo>
                    <a:lnTo>
                      <a:pt x="288" y="72"/>
                    </a:lnTo>
                    <a:lnTo>
                      <a:pt x="286" y="82"/>
                    </a:lnTo>
                    <a:lnTo>
                      <a:pt x="282" y="88"/>
                    </a:lnTo>
                    <a:lnTo>
                      <a:pt x="282" y="88"/>
                    </a:lnTo>
                    <a:lnTo>
                      <a:pt x="280" y="90"/>
                    </a:lnTo>
                    <a:lnTo>
                      <a:pt x="274" y="92"/>
                    </a:lnTo>
                    <a:lnTo>
                      <a:pt x="266" y="98"/>
                    </a:lnTo>
                    <a:lnTo>
                      <a:pt x="258" y="106"/>
                    </a:lnTo>
                    <a:lnTo>
                      <a:pt x="250" y="110"/>
                    </a:lnTo>
                    <a:lnTo>
                      <a:pt x="246" y="118"/>
                    </a:lnTo>
                    <a:lnTo>
                      <a:pt x="246" y="118"/>
                    </a:lnTo>
                    <a:lnTo>
                      <a:pt x="244" y="120"/>
                    </a:lnTo>
                    <a:lnTo>
                      <a:pt x="240" y="122"/>
                    </a:lnTo>
                    <a:lnTo>
                      <a:pt x="238" y="126"/>
                    </a:lnTo>
                    <a:lnTo>
                      <a:pt x="238" y="126"/>
                    </a:lnTo>
                    <a:lnTo>
                      <a:pt x="236" y="126"/>
                    </a:lnTo>
                    <a:lnTo>
                      <a:pt x="230" y="128"/>
                    </a:lnTo>
                    <a:lnTo>
                      <a:pt x="226" y="148"/>
                    </a:lnTo>
                    <a:lnTo>
                      <a:pt x="224" y="160"/>
                    </a:lnTo>
                    <a:lnTo>
                      <a:pt x="220" y="176"/>
                    </a:lnTo>
                    <a:lnTo>
                      <a:pt x="220" y="194"/>
                    </a:lnTo>
                    <a:lnTo>
                      <a:pt x="220" y="194"/>
                    </a:lnTo>
                    <a:lnTo>
                      <a:pt x="220" y="194"/>
                    </a:lnTo>
                    <a:lnTo>
                      <a:pt x="216" y="198"/>
                    </a:lnTo>
                    <a:lnTo>
                      <a:pt x="216" y="200"/>
                    </a:lnTo>
                    <a:lnTo>
                      <a:pt x="222" y="202"/>
                    </a:lnTo>
                    <a:lnTo>
                      <a:pt x="232" y="206"/>
                    </a:lnTo>
                    <a:lnTo>
                      <a:pt x="232" y="206"/>
                    </a:lnTo>
                    <a:lnTo>
                      <a:pt x="232" y="206"/>
                    </a:lnTo>
                    <a:lnTo>
                      <a:pt x="236" y="214"/>
                    </a:lnTo>
                    <a:lnTo>
                      <a:pt x="236" y="214"/>
                    </a:lnTo>
                    <a:lnTo>
                      <a:pt x="236" y="216"/>
                    </a:lnTo>
                    <a:lnTo>
                      <a:pt x="234" y="222"/>
                    </a:lnTo>
                    <a:lnTo>
                      <a:pt x="236" y="224"/>
                    </a:lnTo>
                    <a:lnTo>
                      <a:pt x="242" y="230"/>
                    </a:lnTo>
                    <a:lnTo>
                      <a:pt x="242" y="230"/>
                    </a:lnTo>
                    <a:lnTo>
                      <a:pt x="244" y="232"/>
                    </a:lnTo>
                    <a:lnTo>
                      <a:pt x="244" y="244"/>
                    </a:lnTo>
                    <a:lnTo>
                      <a:pt x="244" y="244"/>
                    </a:lnTo>
                    <a:lnTo>
                      <a:pt x="244" y="244"/>
                    </a:lnTo>
                    <a:lnTo>
                      <a:pt x="232" y="260"/>
                    </a:lnTo>
                    <a:lnTo>
                      <a:pt x="220" y="268"/>
                    </a:lnTo>
                    <a:lnTo>
                      <a:pt x="220" y="268"/>
                    </a:lnTo>
                    <a:lnTo>
                      <a:pt x="218" y="268"/>
                    </a:lnTo>
                    <a:lnTo>
                      <a:pt x="200" y="270"/>
                    </a:lnTo>
                    <a:lnTo>
                      <a:pt x="188" y="272"/>
                    </a:lnTo>
                    <a:lnTo>
                      <a:pt x="174" y="274"/>
                    </a:lnTo>
                    <a:lnTo>
                      <a:pt x="166" y="272"/>
                    </a:lnTo>
                    <a:lnTo>
                      <a:pt x="164" y="276"/>
                    </a:lnTo>
                    <a:lnTo>
                      <a:pt x="166" y="284"/>
                    </a:lnTo>
                    <a:lnTo>
                      <a:pt x="164" y="300"/>
                    </a:lnTo>
                    <a:lnTo>
                      <a:pt x="164" y="300"/>
                    </a:lnTo>
                    <a:lnTo>
                      <a:pt x="164" y="300"/>
                    </a:lnTo>
                    <a:lnTo>
                      <a:pt x="156" y="308"/>
                    </a:lnTo>
                    <a:lnTo>
                      <a:pt x="148" y="312"/>
                    </a:lnTo>
                    <a:lnTo>
                      <a:pt x="148" y="312"/>
                    </a:lnTo>
                    <a:lnTo>
                      <a:pt x="148" y="312"/>
                    </a:lnTo>
                    <a:lnTo>
                      <a:pt x="148" y="312"/>
                    </a:lnTo>
                    <a:lnTo>
                      <a:pt x="148" y="312"/>
                    </a:lnTo>
                    <a:lnTo>
                      <a:pt x="134" y="306"/>
                    </a:lnTo>
                    <a:lnTo>
                      <a:pt x="126" y="304"/>
                    </a:lnTo>
                    <a:lnTo>
                      <a:pt x="124" y="306"/>
                    </a:lnTo>
                    <a:lnTo>
                      <a:pt x="126" y="320"/>
                    </a:lnTo>
                    <a:lnTo>
                      <a:pt x="126" y="326"/>
                    </a:lnTo>
                    <a:lnTo>
                      <a:pt x="130" y="328"/>
                    </a:lnTo>
                    <a:lnTo>
                      <a:pt x="136" y="328"/>
                    </a:lnTo>
                    <a:lnTo>
                      <a:pt x="136" y="328"/>
                    </a:lnTo>
                    <a:lnTo>
                      <a:pt x="136" y="326"/>
                    </a:lnTo>
                    <a:lnTo>
                      <a:pt x="140" y="324"/>
                    </a:lnTo>
                    <a:lnTo>
                      <a:pt x="140" y="324"/>
                    </a:lnTo>
                    <a:lnTo>
                      <a:pt x="140" y="324"/>
                    </a:lnTo>
                    <a:lnTo>
                      <a:pt x="140" y="324"/>
                    </a:lnTo>
                    <a:lnTo>
                      <a:pt x="142" y="324"/>
                    </a:lnTo>
                    <a:lnTo>
                      <a:pt x="146" y="328"/>
                    </a:lnTo>
                    <a:lnTo>
                      <a:pt x="146" y="328"/>
                    </a:lnTo>
                    <a:lnTo>
                      <a:pt x="146" y="330"/>
                    </a:lnTo>
                    <a:lnTo>
                      <a:pt x="146" y="336"/>
                    </a:lnTo>
                    <a:lnTo>
                      <a:pt x="146" y="336"/>
                    </a:lnTo>
                    <a:lnTo>
                      <a:pt x="146" y="336"/>
                    </a:lnTo>
                    <a:lnTo>
                      <a:pt x="140" y="340"/>
                    </a:lnTo>
                    <a:lnTo>
                      <a:pt x="140" y="340"/>
                    </a:lnTo>
                    <a:lnTo>
                      <a:pt x="138" y="340"/>
                    </a:lnTo>
                    <a:lnTo>
                      <a:pt x="138" y="340"/>
                    </a:lnTo>
                    <a:lnTo>
                      <a:pt x="138" y="340"/>
                    </a:lnTo>
                    <a:lnTo>
                      <a:pt x="134" y="338"/>
                    </a:lnTo>
                    <a:lnTo>
                      <a:pt x="134" y="338"/>
                    </a:lnTo>
                    <a:lnTo>
                      <a:pt x="134" y="338"/>
                    </a:lnTo>
                    <a:lnTo>
                      <a:pt x="132" y="336"/>
                    </a:lnTo>
                    <a:lnTo>
                      <a:pt x="130" y="336"/>
                    </a:lnTo>
                    <a:lnTo>
                      <a:pt x="128" y="336"/>
                    </a:lnTo>
                    <a:lnTo>
                      <a:pt x="130" y="340"/>
                    </a:lnTo>
                    <a:lnTo>
                      <a:pt x="130" y="340"/>
                    </a:lnTo>
                    <a:lnTo>
                      <a:pt x="130" y="342"/>
                    </a:lnTo>
                    <a:lnTo>
                      <a:pt x="126" y="348"/>
                    </a:lnTo>
                    <a:lnTo>
                      <a:pt x="126" y="348"/>
                    </a:lnTo>
                    <a:lnTo>
                      <a:pt x="126" y="348"/>
                    </a:lnTo>
                    <a:lnTo>
                      <a:pt x="122" y="350"/>
                    </a:lnTo>
                    <a:lnTo>
                      <a:pt x="122" y="358"/>
                    </a:lnTo>
                    <a:lnTo>
                      <a:pt x="122" y="358"/>
                    </a:lnTo>
                    <a:lnTo>
                      <a:pt x="122" y="360"/>
                    </a:lnTo>
                    <a:lnTo>
                      <a:pt x="118" y="370"/>
                    </a:lnTo>
                    <a:lnTo>
                      <a:pt x="114" y="372"/>
                    </a:lnTo>
                    <a:lnTo>
                      <a:pt x="110" y="376"/>
                    </a:lnTo>
                    <a:lnTo>
                      <a:pt x="98" y="382"/>
                    </a:lnTo>
                    <a:lnTo>
                      <a:pt x="88" y="392"/>
                    </a:lnTo>
                    <a:lnTo>
                      <a:pt x="90" y="400"/>
                    </a:lnTo>
                    <a:lnTo>
                      <a:pt x="98" y="410"/>
                    </a:lnTo>
                    <a:lnTo>
                      <a:pt x="98" y="410"/>
                    </a:lnTo>
                    <a:lnTo>
                      <a:pt x="100" y="410"/>
                    </a:lnTo>
                    <a:lnTo>
                      <a:pt x="102" y="410"/>
                    </a:lnTo>
                    <a:lnTo>
                      <a:pt x="112" y="412"/>
                    </a:lnTo>
                    <a:lnTo>
                      <a:pt x="112" y="412"/>
                    </a:lnTo>
                    <a:lnTo>
                      <a:pt x="114" y="414"/>
                    </a:lnTo>
                    <a:lnTo>
                      <a:pt x="114" y="422"/>
                    </a:lnTo>
                    <a:lnTo>
                      <a:pt x="114" y="422"/>
                    </a:lnTo>
                    <a:lnTo>
                      <a:pt x="114" y="422"/>
                    </a:lnTo>
                    <a:lnTo>
                      <a:pt x="110" y="430"/>
                    </a:lnTo>
                    <a:lnTo>
                      <a:pt x="96" y="440"/>
                    </a:lnTo>
                    <a:lnTo>
                      <a:pt x="88" y="450"/>
                    </a:lnTo>
                    <a:lnTo>
                      <a:pt x="84" y="462"/>
                    </a:lnTo>
                    <a:lnTo>
                      <a:pt x="82" y="468"/>
                    </a:lnTo>
                    <a:lnTo>
                      <a:pt x="82" y="468"/>
                    </a:lnTo>
                    <a:lnTo>
                      <a:pt x="82" y="468"/>
                    </a:lnTo>
                    <a:lnTo>
                      <a:pt x="72" y="470"/>
                    </a:lnTo>
                    <a:lnTo>
                      <a:pt x="66" y="474"/>
                    </a:lnTo>
                    <a:lnTo>
                      <a:pt x="64" y="486"/>
                    </a:lnTo>
                    <a:lnTo>
                      <a:pt x="64" y="492"/>
                    </a:lnTo>
                    <a:lnTo>
                      <a:pt x="68" y="498"/>
                    </a:lnTo>
                    <a:lnTo>
                      <a:pt x="74" y="504"/>
                    </a:lnTo>
                    <a:lnTo>
                      <a:pt x="74" y="504"/>
                    </a:lnTo>
                    <a:lnTo>
                      <a:pt x="74" y="508"/>
                    </a:lnTo>
                    <a:lnTo>
                      <a:pt x="72" y="510"/>
                    </a:lnTo>
                    <a:lnTo>
                      <a:pt x="72" y="510"/>
                    </a:lnTo>
                    <a:lnTo>
                      <a:pt x="70" y="510"/>
                    </a:lnTo>
                    <a:lnTo>
                      <a:pt x="70" y="5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3" name="Freeform 303"/>
              <p:cNvSpPr>
                <a:spLocks noEditPoints="1"/>
              </p:cNvSpPr>
              <p:nvPr/>
            </p:nvSpPr>
            <p:spPr bwMode="auto">
              <a:xfrm>
                <a:off x="1821" y="2831"/>
                <a:ext cx="292" cy="514"/>
              </a:xfrm>
              <a:custGeom>
                <a:avLst/>
                <a:gdLst>
                  <a:gd name="T0" fmla="*/ 166 w 292"/>
                  <a:gd name="T1" fmla="*/ 20 h 514"/>
                  <a:gd name="T2" fmla="*/ 226 w 292"/>
                  <a:gd name="T3" fmla="*/ 54 h 514"/>
                  <a:gd name="T4" fmla="*/ 270 w 292"/>
                  <a:gd name="T5" fmla="*/ 80 h 514"/>
                  <a:gd name="T6" fmla="*/ 274 w 292"/>
                  <a:gd name="T7" fmla="*/ 92 h 514"/>
                  <a:gd name="T8" fmla="*/ 226 w 292"/>
                  <a:gd name="T9" fmla="*/ 148 h 514"/>
                  <a:gd name="T10" fmla="*/ 236 w 292"/>
                  <a:gd name="T11" fmla="*/ 216 h 514"/>
                  <a:gd name="T12" fmla="*/ 190 w 292"/>
                  <a:gd name="T13" fmla="*/ 272 h 514"/>
                  <a:gd name="T14" fmla="*/ 138 w 292"/>
                  <a:gd name="T15" fmla="*/ 306 h 514"/>
                  <a:gd name="T16" fmla="*/ 140 w 292"/>
                  <a:gd name="T17" fmla="*/ 330 h 514"/>
                  <a:gd name="T18" fmla="*/ 128 w 292"/>
                  <a:gd name="T19" fmla="*/ 338 h 514"/>
                  <a:gd name="T20" fmla="*/ 100 w 292"/>
                  <a:gd name="T21" fmla="*/ 382 h 514"/>
                  <a:gd name="T22" fmla="*/ 110 w 292"/>
                  <a:gd name="T23" fmla="*/ 430 h 514"/>
                  <a:gd name="T24" fmla="*/ 64 w 292"/>
                  <a:gd name="T25" fmla="*/ 496 h 514"/>
                  <a:gd name="T26" fmla="*/ 20 w 292"/>
                  <a:gd name="T27" fmla="*/ 480 h 514"/>
                  <a:gd name="T28" fmla="*/ 28 w 292"/>
                  <a:gd name="T29" fmla="*/ 410 h 514"/>
                  <a:gd name="T30" fmla="*/ 28 w 292"/>
                  <a:gd name="T31" fmla="*/ 290 h 514"/>
                  <a:gd name="T32" fmla="*/ 48 w 292"/>
                  <a:gd name="T33" fmla="*/ 206 h 514"/>
                  <a:gd name="T34" fmla="*/ 62 w 292"/>
                  <a:gd name="T35" fmla="*/ 100 h 514"/>
                  <a:gd name="T36" fmla="*/ 98 w 292"/>
                  <a:gd name="T37" fmla="*/ 14 h 514"/>
                  <a:gd name="T38" fmla="*/ 98 w 292"/>
                  <a:gd name="T39" fmla="*/ 8 h 514"/>
                  <a:gd name="T40" fmla="*/ 76 w 292"/>
                  <a:gd name="T41" fmla="*/ 42 h 514"/>
                  <a:gd name="T42" fmla="*/ 58 w 292"/>
                  <a:gd name="T43" fmla="*/ 98 h 514"/>
                  <a:gd name="T44" fmla="*/ 42 w 292"/>
                  <a:gd name="T45" fmla="*/ 144 h 514"/>
                  <a:gd name="T46" fmla="*/ 46 w 292"/>
                  <a:gd name="T47" fmla="*/ 204 h 514"/>
                  <a:gd name="T48" fmla="*/ 36 w 292"/>
                  <a:gd name="T49" fmla="*/ 266 h 514"/>
                  <a:gd name="T50" fmla="*/ 24 w 292"/>
                  <a:gd name="T51" fmla="*/ 318 h 514"/>
                  <a:gd name="T52" fmla="*/ 24 w 292"/>
                  <a:gd name="T53" fmla="*/ 366 h 514"/>
                  <a:gd name="T54" fmla="*/ 18 w 292"/>
                  <a:gd name="T55" fmla="*/ 420 h 514"/>
                  <a:gd name="T56" fmla="*/ 0 w 292"/>
                  <a:gd name="T57" fmla="*/ 464 h 514"/>
                  <a:gd name="T58" fmla="*/ 16 w 292"/>
                  <a:gd name="T59" fmla="*/ 494 h 514"/>
                  <a:gd name="T60" fmla="*/ 34 w 292"/>
                  <a:gd name="T61" fmla="*/ 510 h 514"/>
                  <a:gd name="T62" fmla="*/ 76 w 292"/>
                  <a:gd name="T63" fmla="*/ 510 h 514"/>
                  <a:gd name="T64" fmla="*/ 84 w 292"/>
                  <a:gd name="T65" fmla="*/ 472 h 514"/>
                  <a:gd name="T66" fmla="*/ 114 w 292"/>
                  <a:gd name="T67" fmla="*/ 432 h 514"/>
                  <a:gd name="T68" fmla="*/ 106 w 292"/>
                  <a:gd name="T69" fmla="*/ 410 h 514"/>
                  <a:gd name="T70" fmla="*/ 102 w 292"/>
                  <a:gd name="T71" fmla="*/ 386 h 514"/>
                  <a:gd name="T72" fmla="*/ 120 w 292"/>
                  <a:gd name="T73" fmla="*/ 374 h 514"/>
                  <a:gd name="T74" fmla="*/ 130 w 292"/>
                  <a:gd name="T75" fmla="*/ 350 h 514"/>
                  <a:gd name="T76" fmla="*/ 140 w 292"/>
                  <a:gd name="T77" fmla="*/ 344 h 514"/>
                  <a:gd name="T78" fmla="*/ 150 w 292"/>
                  <a:gd name="T79" fmla="*/ 332 h 514"/>
                  <a:gd name="T80" fmla="*/ 138 w 292"/>
                  <a:gd name="T81" fmla="*/ 326 h 514"/>
                  <a:gd name="T82" fmla="*/ 128 w 292"/>
                  <a:gd name="T83" fmla="*/ 308 h 514"/>
                  <a:gd name="T84" fmla="*/ 152 w 292"/>
                  <a:gd name="T85" fmla="*/ 316 h 514"/>
                  <a:gd name="T86" fmla="*/ 170 w 292"/>
                  <a:gd name="T87" fmla="*/ 288 h 514"/>
                  <a:gd name="T88" fmla="*/ 176 w 292"/>
                  <a:gd name="T89" fmla="*/ 278 h 514"/>
                  <a:gd name="T90" fmla="*/ 236 w 292"/>
                  <a:gd name="T91" fmla="*/ 262 h 514"/>
                  <a:gd name="T92" fmla="*/ 238 w 292"/>
                  <a:gd name="T93" fmla="*/ 224 h 514"/>
                  <a:gd name="T94" fmla="*/ 226 w 292"/>
                  <a:gd name="T95" fmla="*/ 202 h 514"/>
                  <a:gd name="T96" fmla="*/ 228 w 292"/>
                  <a:gd name="T97" fmla="*/ 162 h 514"/>
                  <a:gd name="T98" fmla="*/ 248 w 292"/>
                  <a:gd name="T99" fmla="*/ 124 h 514"/>
                  <a:gd name="T100" fmla="*/ 286 w 292"/>
                  <a:gd name="T101" fmla="*/ 92 h 514"/>
                  <a:gd name="T102" fmla="*/ 292 w 292"/>
                  <a:gd name="T103" fmla="*/ 64 h 514"/>
                  <a:gd name="T104" fmla="*/ 274 w 292"/>
                  <a:gd name="T105" fmla="*/ 54 h 514"/>
                  <a:gd name="T106" fmla="*/ 262 w 292"/>
                  <a:gd name="T107" fmla="*/ 78 h 514"/>
                  <a:gd name="T108" fmla="*/ 236 w 292"/>
                  <a:gd name="T109" fmla="*/ 60 h 514"/>
                  <a:gd name="T110" fmla="*/ 206 w 292"/>
                  <a:gd name="T111" fmla="*/ 38 h 514"/>
                  <a:gd name="T112" fmla="*/ 170 w 292"/>
                  <a:gd name="T113" fmla="*/ 16 h 514"/>
                  <a:gd name="T114" fmla="*/ 140 w 292"/>
                  <a:gd name="T115" fmla="*/ 4 h 514"/>
                  <a:gd name="T116" fmla="*/ 116 w 292"/>
                  <a:gd name="T117"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514">
                    <a:moveTo>
                      <a:pt x="108" y="4"/>
                    </a:moveTo>
                    <a:lnTo>
                      <a:pt x="116" y="10"/>
                    </a:lnTo>
                    <a:lnTo>
                      <a:pt x="128" y="8"/>
                    </a:lnTo>
                    <a:lnTo>
                      <a:pt x="138" y="20"/>
                    </a:lnTo>
                    <a:lnTo>
                      <a:pt x="142" y="6"/>
                    </a:lnTo>
                    <a:lnTo>
                      <a:pt x="158" y="6"/>
                    </a:lnTo>
                    <a:lnTo>
                      <a:pt x="160" y="12"/>
                    </a:lnTo>
                    <a:lnTo>
                      <a:pt x="166" y="20"/>
                    </a:lnTo>
                    <a:lnTo>
                      <a:pt x="176" y="28"/>
                    </a:lnTo>
                    <a:lnTo>
                      <a:pt x="176" y="30"/>
                    </a:lnTo>
                    <a:lnTo>
                      <a:pt x="186" y="36"/>
                    </a:lnTo>
                    <a:lnTo>
                      <a:pt x="194" y="36"/>
                    </a:lnTo>
                    <a:lnTo>
                      <a:pt x="202" y="40"/>
                    </a:lnTo>
                    <a:lnTo>
                      <a:pt x="208" y="46"/>
                    </a:lnTo>
                    <a:lnTo>
                      <a:pt x="216" y="50"/>
                    </a:lnTo>
                    <a:lnTo>
                      <a:pt x="226" y="54"/>
                    </a:lnTo>
                    <a:lnTo>
                      <a:pt x="232" y="60"/>
                    </a:lnTo>
                    <a:lnTo>
                      <a:pt x="226" y="70"/>
                    </a:lnTo>
                    <a:lnTo>
                      <a:pt x="218" y="84"/>
                    </a:lnTo>
                    <a:lnTo>
                      <a:pt x="224" y="92"/>
                    </a:lnTo>
                    <a:lnTo>
                      <a:pt x="244" y="92"/>
                    </a:lnTo>
                    <a:lnTo>
                      <a:pt x="256" y="88"/>
                    </a:lnTo>
                    <a:lnTo>
                      <a:pt x="264" y="82"/>
                    </a:lnTo>
                    <a:lnTo>
                      <a:pt x="270" y="80"/>
                    </a:lnTo>
                    <a:lnTo>
                      <a:pt x="274" y="68"/>
                    </a:lnTo>
                    <a:lnTo>
                      <a:pt x="274" y="58"/>
                    </a:lnTo>
                    <a:lnTo>
                      <a:pt x="284" y="60"/>
                    </a:lnTo>
                    <a:lnTo>
                      <a:pt x="288" y="64"/>
                    </a:lnTo>
                    <a:lnTo>
                      <a:pt x="288" y="74"/>
                    </a:lnTo>
                    <a:lnTo>
                      <a:pt x="286" y="84"/>
                    </a:lnTo>
                    <a:lnTo>
                      <a:pt x="282" y="90"/>
                    </a:lnTo>
                    <a:lnTo>
                      <a:pt x="274" y="92"/>
                    </a:lnTo>
                    <a:lnTo>
                      <a:pt x="268" y="98"/>
                    </a:lnTo>
                    <a:lnTo>
                      <a:pt x="258" y="106"/>
                    </a:lnTo>
                    <a:lnTo>
                      <a:pt x="250" y="110"/>
                    </a:lnTo>
                    <a:lnTo>
                      <a:pt x="246" y="120"/>
                    </a:lnTo>
                    <a:lnTo>
                      <a:pt x="240" y="124"/>
                    </a:lnTo>
                    <a:lnTo>
                      <a:pt x="238" y="128"/>
                    </a:lnTo>
                    <a:lnTo>
                      <a:pt x="232" y="128"/>
                    </a:lnTo>
                    <a:lnTo>
                      <a:pt x="226" y="148"/>
                    </a:lnTo>
                    <a:lnTo>
                      <a:pt x="224" y="162"/>
                    </a:lnTo>
                    <a:lnTo>
                      <a:pt x="220" y="178"/>
                    </a:lnTo>
                    <a:lnTo>
                      <a:pt x="220" y="196"/>
                    </a:lnTo>
                    <a:lnTo>
                      <a:pt x="216" y="198"/>
                    </a:lnTo>
                    <a:lnTo>
                      <a:pt x="214" y="204"/>
                    </a:lnTo>
                    <a:lnTo>
                      <a:pt x="224" y="206"/>
                    </a:lnTo>
                    <a:lnTo>
                      <a:pt x="232" y="210"/>
                    </a:lnTo>
                    <a:lnTo>
                      <a:pt x="236" y="216"/>
                    </a:lnTo>
                    <a:lnTo>
                      <a:pt x="234" y="224"/>
                    </a:lnTo>
                    <a:lnTo>
                      <a:pt x="236" y="228"/>
                    </a:lnTo>
                    <a:lnTo>
                      <a:pt x="244" y="234"/>
                    </a:lnTo>
                    <a:lnTo>
                      <a:pt x="244" y="246"/>
                    </a:lnTo>
                    <a:lnTo>
                      <a:pt x="232" y="260"/>
                    </a:lnTo>
                    <a:lnTo>
                      <a:pt x="220" y="268"/>
                    </a:lnTo>
                    <a:lnTo>
                      <a:pt x="202" y="270"/>
                    </a:lnTo>
                    <a:lnTo>
                      <a:pt x="190" y="272"/>
                    </a:lnTo>
                    <a:lnTo>
                      <a:pt x="176" y="274"/>
                    </a:lnTo>
                    <a:lnTo>
                      <a:pt x="166" y="272"/>
                    </a:lnTo>
                    <a:lnTo>
                      <a:pt x="164" y="278"/>
                    </a:lnTo>
                    <a:lnTo>
                      <a:pt x="166" y="286"/>
                    </a:lnTo>
                    <a:lnTo>
                      <a:pt x="164" y="302"/>
                    </a:lnTo>
                    <a:lnTo>
                      <a:pt x="158" y="308"/>
                    </a:lnTo>
                    <a:lnTo>
                      <a:pt x="150" y="312"/>
                    </a:lnTo>
                    <a:lnTo>
                      <a:pt x="138" y="306"/>
                    </a:lnTo>
                    <a:lnTo>
                      <a:pt x="132" y="304"/>
                    </a:lnTo>
                    <a:lnTo>
                      <a:pt x="126" y="304"/>
                    </a:lnTo>
                    <a:lnTo>
                      <a:pt x="124" y="308"/>
                    </a:lnTo>
                    <a:lnTo>
                      <a:pt x="126" y="322"/>
                    </a:lnTo>
                    <a:lnTo>
                      <a:pt x="126" y="330"/>
                    </a:lnTo>
                    <a:lnTo>
                      <a:pt x="132" y="332"/>
                    </a:lnTo>
                    <a:lnTo>
                      <a:pt x="140" y="332"/>
                    </a:lnTo>
                    <a:lnTo>
                      <a:pt x="140" y="330"/>
                    </a:lnTo>
                    <a:lnTo>
                      <a:pt x="142" y="328"/>
                    </a:lnTo>
                    <a:lnTo>
                      <a:pt x="146" y="332"/>
                    </a:lnTo>
                    <a:lnTo>
                      <a:pt x="146" y="338"/>
                    </a:lnTo>
                    <a:lnTo>
                      <a:pt x="140" y="340"/>
                    </a:lnTo>
                    <a:lnTo>
                      <a:pt x="138" y="340"/>
                    </a:lnTo>
                    <a:lnTo>
                      <a:pt x="136" y="336"/>
                    </a:lnTo>
                    <a:lnTo>
                      <a:pt x="132" y="336"/>
                    </a:lnTo>
                    <a:lnTo>
                      <a:pt x="128" y="338"/>
                    </a:lnTo>
                    <a:lnTo>
                      <a:pt x="130" y="342"/>
                    </a:lnTo>
                    <a:lnTo>
                      <a:pt x="126" y="348"/>
                    </a:lnTo>
                    <a:lnTo>
                      <a:pt x="120" y="350"/>
                    </a:lnTo>
                    <a:lnTo>
                      <a:pt x="122" y="360"/>
                    </a:lnTo>
                    <a:lnTo>
                      <a:pt x="118" y="372"/>
                    </a:lnTo>
                    <a:lnTo>
                      <a:pt x="116" y="374"/>
                    </a:lnTo>
                    <a:lnTo>
                      <a:pt x="110" y="376"/>
                    </a:lnTo>
                    <a:lnTo>
                      <a:pt x="100" y="382"/>
                    </a:lnTo>
                    <a:lnTo>
                      <a:pt x="88" y="392"/>
                    </a:lnTo>
                    <a:lnTo>
                      <a:pt x="90" y="404"/>
                    </a:lnTo>
                    <a:lnTo>
                      <a:pt x="100" y="412"/>
                    </a:lnTo>
                    <a:lnTo>
                      <a:pt x="100" y="414"/>
                    </a:lnTo>
                    <a:lnTo>
                      <a:pt x="104" y="414"/>
                    </a:lnTo>
                    <a:lnTo>
                      <a:pt x="114" y="416"/>
                    </a:lnTo>
                    <a:lnTo>
                      <a:pt x="114" y="424"/>
                    </a:lnTo>
                    <a:lnTo>
                      <a:pt x="110" y="430"/>
                    </a:lnTo>
                    <a:lnTo>
                      <a:pt x="98" y="442"/>
                    </a:lnTo>
                    <a:lnTo>
                      <a:pt x="88" y="450"/>
                    </a:lnTo>
                    <a:lnTo>
                      <a:pt x="84" y="464"/>
                    </a:lnTo>
                    <a:lnTo>
                      <a:pt x="84" y="468"/>
                    </a:lnTo>
                    <a:lnTo>
                      <a:pt x="72" y="470"/>
                    </a:lnTo>
                    <a:lnTo>
                      <a:pt x="66" y="476"/>
                    </a:lnTo>
                    <a:lnTo>
                      <a:pt x="64" y="488"/>
                    </a:lnTo>
                    <a:lnTo>
                      <a:pt x="64" y="496"/>
                    </a:lnTo>
                    <a:lnTo>
                      <a:pt x="68" y="500"/>
                    </a:lnTo>
                    <a:lnTo>
                      <a:pt x="74" y="508"/>
                    </a:lnTo>
                    <a:lnTo>
                      <a:pt x="72" y="510"/>
                    </a:lnTo>
                    <a:lnTo>
                      <a:pt x="58" y="506"/>
                    </a:lnTo>
                    <a:lnTo>
                      <a:pt x="34" y="506"/>
                    </a:lnTo>
                    <a:lnTo>
                      <a:pt x="26" y="504"/>
                    </a:lnTo>
                    <a:lnTo>
                      <a:pt x="20" y="494"/>
                    </a:lnTo>
                    <a:lnTo>
                      <a:pt x="20" y="480"/>
                    </a:lnTo>
                    <a:lnTo>
                      <a:pt x="8" y="478"/>
                    </a:lnTo>
                    <a:lnTo>
                      <a:pt x="6" y="472"/>
                    </a:lnTo>
                    <a:lnTo>
                      <a:pt x="4" y="464"/>
                    </a:lnTo>
                    <a:lnTo>
                      <a:pt x="6" y="454"/>
                    </a:lnTo>
                    <a:lnTo>
                      <a:pt x="12" y="446"/>
                    </a:lnTo>
                    <a:lnTo>
                      <a:pt x="20" y="436"/>
                    </a:lnTo>
                    <a:lnTo>
                      <a:pt x="22" y="420"/>
                    </a:lnTo>
                    <a:lnTo>
                      <a:pt x="28" y="410"/>
                    </a:lnTo>
                    <a:lnTo>
                      <a:pt x="28" y="386"/>
                    </a:lnTo>
                    <a:lnTo>
                      <a:pt x="30" y="374"/>
                    </a:lnTo>
                    <a:lnTo>
                      <a:pt x="28" y="364"/>
                    </a:lnTo>
                    <a:lnTo>
                      <a:pt x="28" y="346"/>
                    </a:lnTo>
                    <a:lnTo>
                      <a:pt x="24" y="342"/>
                    </a:lnTo>
                    <a:lnTo>
                      <a:pt x="26" y="328"/>
                    </a:lnTo>
                    <a:lnTo>
                      <a:pt x="28" y="318"/>
                    </a:lnTo>
                    <a:lnTo>
                      <a:pt x="28" y="290"/>
                    </a:lnTo>
                    <a:lnTo>
                      <a:pt x="36" y="276"/>
                    </a:lnTo>
                    <a:lnTo>
                      <a:pt x="38" y="270"/>
                    </a:lnTo>
                    <a:lnTo>
                      <a:pt x="40" y="268"/>
                    </a:lnTo>
                    <a:lnTo>
                      <a:pt x="40" y="254"/>
                    </a:lnTo>
                    <a:lnTo>
                      <a:pt x="38" y="234"/>
                    </a:lnTo>
                    <a:lnTo>
                      <a:pt x="44" y="228"/>
                    </a:lnTo>
                    <a:lnTo>
                      <a:pt x="46" y="224"/>
                    </a:lnTo>
                    <a:lnTo>
                      <a:pt x="48" y="206"/>
                    </a:lnTo>
                    <a:lnTo>
                      <a:pt x="52" y="198"/>
                    </a:lnTo>
                    <a:lnTo>
                      <a:pt x="54" y="180"/>
                    </a:lnTo>
                    <a:lnTo>
                      <a:pt x="50" y="166"/>
                    </a:lnTo>
                    <a:lnTo>
                      <a:pt x="46" y="160"/>
                    </a:lnTo>
                    <a:lnTo>
                      <a:pt x="46" y="144"/>
                    </a:lnTo>
                    <a:lnTo>
                      <a:pt x="50" y="138"/>
                    </a:lnTo>
                    <a:lnTo>
                      <a:pt x="54" y="112"/>
                    </a:lnTo>
                    <a:lnTo>
                      <a:pt x="62" y="100"/>
                    </a:lnTo>
                    <a:lnTo>
                      <a:pt x="70" y="88"/>
                    </a:lnTo>
                    <a:lnTo>
                      <a:pt x="76" y="78"/>
                    </a:lnTo>
                    <a:lnTo>
                      <a:pt x="72" y="52"/>
                    </a:lnTo>
                    <a:lnTo>
                      <a:pt x="78" y="46"/>
                    </a:lnTo>
                    <a:lnTo>
                      <a:pt x="84" y="42"/>
                    </a:lnTo>
                    <a:lnTo>
                      <a:pt x="94" y="32"/>
                    </a:lnTo>
                    <a:lnTo>
                      <a:pt x="96" y="20"/>
                    </a:lnTo>
                    <a:lnTo>
                      <a:pt x="98" y="14"/>
                    </a:lnTo>
                    <a:lnTo>
                      <a:pt x="102" y="10"/>
                    </a:lnTo>
                    <a:lnTo>
                      <a:pt x="108" y="4"/>
                    </a:lnTo>
                    <a:close/>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4" name="Freeform 304"/>
              <p:cNvSpPr>
                <a:spLocks/>
              </p:cNvSpPr>
              <p:nvPr/>
            </p:nvSpPr>
            <p:spPr bwMode="auto">
              <a:xfrm>
                <a:off x="1825" y="2835"/>
                <a:ext cx="284" cy="506"/>
              </a:xfrm>
              <a:custGeom>
                <a:avLst/>
                <a:gdLst>
                  <a:gd name="T0" fmla="*/ 124 w 284"/>
                  <a:gd name="T1" fmla="*/ 4 h 506"/>
                  <a:gd name="T2" fmla="*/ 154 w 284"/>
                  <a:gd name="T3" fmla="*/ 2 h 506"/>
                  <a:gd name="T4" fmla="*/ 172 w 284"/>
                  <a:gd name="T5" fmla="*/ 24 h 506"/>
                  <a:gd name="T6" fmla="*/ 190 w 284"/>
                  <a:gd name="T7" fmla="*/ 32 h 506"/>
                  <a:gd name="T8" fmla="*/ 212 w 284"/>
                  <a:gd name="T9" fmla="*/ 46 h 506"/>
                  <a:gd name="T10" fmla="*/ 222 w 284"/>
                  <a:gd name="T11" fmla="*/ 66 h 506"/>
                  <a:gd name="T12" fmla="*/ 240 w 284"/>
                  <a:gd name="T13" fmla="*/ 88 h 506"/>
                  <a:gd name="T14" fmla="*/ 266 w 284"/>
                  <a:gd name="T15" fmla="*/ 76 h 506"/>
                  <a:gd name="T16" fmla="*/ 280 w 284"/>
                  <a:gd name="T17" fmla="*/ 56 h 506"/>
                  <a:gd name="T18" fmla="*/ 282 w 284"/>
                  <a:gd name="T19" fmla="*/ 80 h 506"/>
                  <a:gd name="T20" fmla="*/ 264 w 284"/>
                  <a:gd name="T21" fmla="*/ 94 h 506"/>
                  <a:gd name="T22" fmla="*/ 242 w 284"/>
                  <a:gd name="T23" fmla="*/ 116 h 506"/>
                  <a:gd name="T24" fmla="*/ 228 w 284"/>
                  <a:gd name="T25" fmla="*/ 124 h 506"/>
                  <a:gd name="T26" fmla="*/ 216 w 284"/>
                  <a:gd name="T27" fmla="*/ 174 h 506"/>
                  <a:gd name="T28" fmla="*/ 210 w 284"/>
                  <a:gd name="T29" fmla="*/ 200 h 506"/>
                  <a:gd name="T30" fmla="*/ 232 w 284"/>
                  <a:gd name="T31" fmla="*/ 212 h 506"/>
                  <a:gd name="T32" fmla="*/ 240 w 284"/>
                  <a:gd name="T33" fmla="*/ 230 h 506"/>
                  <a:gd name="T34" fmla="*/ 216 w 284"/>
                  <a:gd name="T35" fmla="*/ 264 h 506"/>
                  <a:gd name="T36" fmla="*/ 172 w 284"/>
                  <a:gd name="T37" fmla="*/ 270 h 506"/>
                  <a:gd name="T38" fmla="*/ 162 w 284"/>
                  <a:gd name="T39" fmla="*/ 282 h 506"/>
                  <a:gd name="T40" fmla="*/ 146 w 284"/>
                  <a:gd name="T41" fmla="*/ 308 h 506"/>
                  <a:gd name="T42" fmla="*/ 122 w 284"/>
                  <a:gd name="T43" fmla="*/ 300 h 506"/>
                  <a:gd name="T44" fmla="*/ 122 w 284"/>
                  <a:gd name="T45" fmla="*/ 326 h 506"/>
                  <a:gd name="T46" fmla="*/ 136 w 284"/>
                  <a:gd name="T47" fmla="*/ 326 h 506"/>
                  <a:gd name="T48" fmla="*/ 142 w 284"/>
                  <a:gd name="T49" fmla="*/ 334 h 506"/>
                  <a:gd name="T50" fmla="*/ 132 w 284"/>
                  <a:gd name="T51" fmla="*/ 332 h 506"/>
                  <a:gd name="T52" fmla="*/ 126 w 284"/>
                  <a:gd name="T53" fmla="*/ 338 h 506"/>
                  <a:gd name="T54" fmla="*/ 118 w 284"/>
                  <a:gd name="T55" fmla="*/ 356 h 506"/>
                  <a:gd name="T56" fmla="*/ 106 w 284"/>
                  <a:gd name="T57" fmla="*/ 372 h 506"/>
                  <a:gd name="T58" fmla="*/ 86 w 284"/>
                  <a:gd name="T59" fmla="*/ 400 h 506"/>
                  <a:gd name="T60" fmla="*/ 100 w 284"/>
                  <a:gd name="T61" fmla="*/ 410 h 506"/>
                  <a:gd name="T62" fmla="*/ 106 w 284"/>
                  <a:gd name="T63" fmla="*/ 426 h 506"/>
                  <a:gd name="T64" fmla="*/ 80 w 284"/>
                  <a:gd name="T65" fmla="*/ 460 h 506"/>
                  <a:gd name="T66" fmla="*/ 62 w 284"/>
                  <a:gd name="T67" fmla="*/ 472 h 506"/>
                  <a:gd name="T68" fmla="*/ 64 w 284"/>
                  <a:gd name="T69" fmla="*/ 496 h 506"/>
                  <a:gd name="T70" fmla="*/ 54 w 284"/>
                  <a:gd name="T71" fmla="*/ 502 h 506"/>
                  <a:gd name="T72" fmla="*/ 16 w 284"/>
                  <a:gd name="T73" fmla="*/ 490 h 506"/>
                  <a:gd name="T74" fmla="*/ 2 w 284"/>
                  <a:gd name="T75" fmla="*/ 468 h 506"/>
                  <a:gd name="T76" fmla="*/ 8 w 284"/>
                  <a:gd name="T77" fmla="*/ 442 h 506"/>
                  <a:gd name="T78" fmla="*/ 24 w 284"/>
                  <a:gd name="T79" fmla="*/ 406 h 506"/>
                  <a:gd name="T80" fmla="*/ 24 w 284"/>
                  <a:gd name="T81" fmla="*/ 360 h 506"/>
                  <a:gd name="T82" fmla="*/ 22 w 284"/>
                  <a:gd name="T83" fmla="*/ 324 h 506"/>
                  <a:gd name="T84" fmla="*/ 32 w 284"/>
                  <a:gd name="T85" fmla="*/ 272 h 506"/>
                  <a:gd name="T86" fmla="*/ 36 w 284"/>
                  <a:gd name="T87" fmla="*/ 250 h 506"/>
                  <a:gd name="T88" fmla="*/ 42 w 284"/>
                  <a:gd name="T89" fmla="*/ 220 h 506"/>
                  <a:gd name="T90" fmla="*/ 50 w 284"/>
                  <a:gd name="T91" fmla="*/ 176 h 506"/>
                  <a:gd name="T92" fmla="*/ 42 w 284"/>
                  <a:gd name="T93" fmla="*/ 140 h 506"/>
                  <a:gd name="T94" fmla="*/ 58 w 284"/>
                  <a:gd name="T95" fmla="*/ 96 h 506"/>
                  <a:gd name="T96" fmla="*/ 68 w 284"/>
                  <a:gd name="T97" fmla="*/ 48 h 506"/>
                  <a:gd name="T98" fmla="*/ 90 w 284"/>
                  <a:gd name="T99" fmla="*/ 28 h 506"/>
                  <a:gd name="T100" fmla="*/ 98 w 284"/>
                  <a:gd name="T101" fmla="*/ 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4" h="506">
                    <a:moveTo>
                      <a:pt x="104" y="0"/>
                    </a:moveTo>
                    <a:lnTo>
                      <a:pt x="112" y="6"/>
                    </a:lnTo>
                    <a:lnTo>
                      <a:pt x="124" y="4"/>
                    </a:lnTo>
                    <a:lnTo>
                      <a:pt x="134" y="16"/>
                    </a:lnTo>
                    <a:lnTo>
                      <a:pt x="138" y="2"/>
                    </a:lnTo>
                    <a:lnTo>
                      <a:pt x="154" y="2"/>
                    </a:lnTo>
                    <a:lnTo>
                      <a:pt x="156" y="8"/>
                    </a:lnTo>
                    <a:lnTo>
                      <a:pt x="162" y="16"/>
                    </a:lnTo>
                    <a:lnTo>
                      <a:pt x="172" y="24"/>
                    </a:lnTo>
                    <a:lnTo>
                      <a:pt x="172" y="26"/>
                    </a:lnTo>
                    <a:lnTo>
                      <a:pt x="182" y="32"/>
                    </a:lnTo>
                    <a:lnTo>
                      <a:pt x="190" y="32"/>
                    </a:lnTo>
                    <a:lnTo>
                      <a:pt x="198" y="36"/>
                    </a:lnTo>
                    <a:lnTo>
                      <a:pt x="204" y="42"/>
                    </a:lnTo>
                    <a:lnTo>
                      <a:pt x="212" y="46"/>
                    </a:lnTo>
                    <a:lnTo>
                      <a:pt x="222" y="50"/>
                    </a:lnTo>
                    <a:lnTo>
                      <a:pt x="228" y="56"/>
                    </a:lnTo>
                    <a:lnTo>
                      <a:pt x="222" y="66"/>
                    </a:lnTo>
                    <a:lnTo>
                      <a:pt x="214" y="80"/>
                    </a:lnTo>
                    <a:lnTo>
                      <a:pt x="220" y="88"/>
                    </a:lnTo>
                    <a:lnTo>
                      <a:pt x="240" y="88"/>
                    </a:lnTo>
                    <a:lnTo>
                      <a:pt x="252" y="84"/>
                    </a:lnTo>
                    <a:lnTo>
                      <a:pt x="260" y="78"/>
                    </a:lnTo>
                    <a:lnTo>
                      <a:pt x="266" y="76"/>
                    </a:lnTo>
                    <a:lnTo>
                      <a:pt x="270" y="64"/>
                    </a:lnTo>
                    <a:lnTo>
                      <a:pt x="270" y="54"/>
                    </a:lnTo>
                    <a:lnTo>
                      <a:pt x="280" y="56"/>
                    </a:lnTo>
                    <a:lnTo>
                      <a:pt x="284" y="60"/>
                    </a:lnTo>
                    <a:lnTo>
                      <a:pt x="284" y="70"/>
                    </a:lnTo>
                    <a:lnTo>
                      <a:pt x="282" y="80"/>
                    </a:lnTo>
                    <a:lnTo>
                      <a:pt x="278" y="86"/>
                    </a:lnTo>
                    <a:lnTo>
                      <a:pt x="270" y="88"/>
                    </a:lnTo>
                    <a:lnTo>
                      <a:pt x="264" y="94"/>
                    </a:lnTo>
                    <a:lnTo>
                      <a:pt x="254" y="102"/>
                    </a:lnTo>
                    <a:lnTo>
                      <a:pt x="246" y="106"/>
                    </a:lnTo>
                    <a:lnTo>
                      <a:pt x="242" y="116"/>
                    </a:lnTo>
                    <a:lnTo>
                      <a:pt x="236" y="120"/>
                    </a:lnTo>
                    <a:lnTo>
                      <a:pt x="234" y="124"/>
                    </a:lnTo>
                    <a:lnTo>
                      <a:pt x="228" y="124"/>
                    </a:lnTo>
                    <a:lnTo>
                      <a:pt x="222" y="144"/>
                    </a:lnTo>
                    <a:lnTo>
                      <a:pt x="220" y="158"/>
                    </a:lnTo>
                    <a:lnTo>
                      <a:pt x="216" y="174"/>
                    </a:lnTo>
                    <a:lnTo>
                      <a:pt x="216" y="192"/>
                    </a:lnTo>
                    <a:lnTo>
                      <a:pt x="212" y="194"/>
                    </a:lnTo>
                    <a:lnTo>
                      <a:pt x="210" y="200"/>
                    </a:lnTo>
                    <a:lnTo>
                      <a:pt x="220" y="202"/>
                    </a:lnTo>
                    <a:lnTo>
                      <a:pt x="228" y="206"/>
                    </a:lnTo>
                    <a:lnTo>
                      <a:pt x="232" y="212"/>
                    </a:lnTo>
                    <a:lnTo>
                      <a:pt x="230" y="220"/>
                    </a:lnTo>
                    <a:lnTo>
                      <a:pt x="232" y="224"/>
                    </a:lnTo>
                    <a:lnTo>
                      <a:pt x="240" y="230"/>
                    </a:lnTo>
                    <a:lnTo>
                      <a:pt x="240" y="242"/>
                    </a:lnTo>
                    <a:lnTo>
                      <a:pt x="228" y="256"/>
                    </a:lnTo>
                    <a:lnTo>
                      <a:pt x="216" y="264"/>
                    </a:lnTo>
                    <a:lnTo>
                      <a:pt x="198" y="266"/>
                    </a:lnTo>
                    <a:lnTo>
                      <a:pt x="186" y="268"/>
                    </a:lnTo>
                    <a:lnTo>
                      <a:pt x="172" y="270"/>
                    </a:lnTo>
                    <a:lnTo>
                      <a:pt x="162" y="268"/>
                    </a:lnTo>
                    <a:lnTo>
                      <a:pt x="160" y="274"/>
                    </a:lnTo>
                    <a:lnTo>
                      <a:pt x="162" y="282"/>
                    </a:lnTo>
                    <a:lnTo>
                      <a:pt x="160" y="298"/>
                    </a:lnTo>
                    <a:lnTo>
                      <a:pt x="154" y="304"/>
                    </a:lnTo>
                    <a:lnTo>
                      <a:pt x="146" y="308"/>
                    </a:lnTo>
                    <a:lnTo>
                      <a:pt x="134" y="302"/>
                    </a:lnTo>
                    <a:lnTo>
                      <a:pt x="128" y="300"/>
                    </a:lnTo>
                    <a:lnTo>
                      <a:pt x="122" y="300"/>
                    </a:lnTo>
                    <a:lnTo>
                      <a:pt x="120" y="304"/>
                    </a:lnTo>
                    <a:lnTo>
                      <a:pt x="122" y="318"/>
                    </a:lnTo>
                    <a:lnTo>
                      <a:pt x="122" y="326"/>
                    </a:lnTo>
                    <a:lnTo>
                      <a:pt x="128" y="328"/>
                    </a:lnTo>
                    <a:lnTo>
                      <a:pt x="136" y="328"/>
                    </a:lnTo>
                    <a:lnTo>
                      <a:pt x="136" y="326"/>
                    </a:lnTo>
                    <a:lnTo>
                      <a:pt x="138" y="324"/>
                    </a:lnTo>
                    <a:lnTo>
                      <a:pt x="142" y="328"/>
                    </a:lnTo>
                    <a:lnTo>
                      <a:pt x="142" y="334"/>
                    </a:lnTo>
                    <a:lnTo>
                      <a:pt x="136" y="336"/>
                    </a:lnTo>
                    <a:lnTo>
                      <a:pt x="134" y="336"/>
                    </a:lnTo>
                    <a:lnTo>
                      <a:pt x="132" y="332"/>
                    </a:lnTo>
                    <a:lnTo>
                      <a:pt x="128" y="332"/>
                    </a:lnTo>
                    <a:lnTo>
                      <a:pt x="124" y="334"/>
                    </a:lnTo>
                    <a:lnTo>
                      <a:pt x="126" y="338"/>
                    </a:lnTo>
                    <a:lnTo>
                      <a:pt x="122" y="344"/>
                    </a:lnTo>
                    <a:lnTo>
                      <a:pt x="116" y="346"/>
                    </a:lnTo>
                    <a:lnTo>
                      <a:pt x="118" y="356"/>
                    </a:lnTo>
                    <a:lnTo>
                      <a:pt x="114" y="368"/>
                    </a:lnTo>
                    <a:lnTo>
                      <a:pt x="112" y="370"/>
                    </a:lnTo>
                    <a:lnTo>
                      <a:pt x="106" y="372"/>
                    </a:lnTo>
                    <a:lnTo>
                      <a:pt x="96" y="378"/>
                    </a:lnTo>
                    <a:lnTo>
                      <a:pt x="84" y="388"/>
                    </a:lnTo>
                    <a:lnTo>
                      <a:pt x="86" y="400"/>
                    </a:lnTo>
                    <a:lnTo>
                      <a:pt x="96" y="408"/>
                    </a:lnTo>
                    <a:lnTo>
                      <a:pt x="96" y="410"/>
                    </a:lnTo>
                    <a:lnTo>
                      <a:pt x="100" y="410"/>
                    </a:lnTo>
                    <a:lnTo>
                      <a:pt x="110" y="412"/>
                    </a:lnTo>
                    <a:lnTo>
                      <a:pt x="110" y="420"/>
                    </a:lnTo>
                    <a:lnTo>
                      <a:pt x="106" y="426"/>
                    </a:lnTo>
                    <a:lnTo>
                      <a:pt x="94" y="438"/>
                    </a:lnTo>
                    <a:lnTo>
                      <a:pt x="84" y="446"/>
                    </a:lnTo>
                    <a:lnTo>
                      <a:pt x="80" y="460"/>
                    </a:lnTo>
                    <a:lnTo>
                      <a:pt x="80" y="464"/>
                    </a:lnTo>
                    <a:lnTo>
                      <a:pt x="68" y="466"/>
                    </a:lnTo>
                    <a:lnTo>
                      <a:pt x="62" y="472"/>
                    </a:lnTo>
                    <a:lnTo>
                      <a:pt x="60" y="484"/>
                    </a:lnTo>
                    <a:lnTo>
                      <a:pt x="60" y="492"/>
                    </a:lnTo>
                    <a:lnTo>
                      <a:pt x="64" y="496"/>
                    </a:lnTo>
                    <a:lnTo>
                      <a:pt x="70" y="504"/>
                    </a:lnTo>
                    <a:lnTo>
                      <a:pt x="68" y="506"/>
                    </a:lnTo>
                    <a:lnTo>
                      <a:pt x="54" y="502"/>
                    </a:lnTo>
                    <a:lnTo>
                      <a:pt x="30" y="502"/>
                    </a:lnTo>
                    <a:lnTo>
                      <a:pt x="22" y="500"/>
                    </a:lnTo>
                    <a:lnTo>
                      <a:pt x="16" y="490"/>
                    </a:lnTo>
                    <a:lnTo>
                      <a:pt x="16" y="476"/>
                    </a:lnTo>
                    <a:lnTo>
                      <a:pt x="4" y="474"/>
                    </a:lnTo>
                    <a:lnTo>
                      <a:pt x="2" y="468"/>
                    </a:lnTo>
                    <a:lnTo>
                      <a:pt x="0" y="460"/>
                    </a:lnTo>
                    <a:lnTo>
                      <a:pt x="2" y="450"/>
                    </a:lnTo>
                    <a:lnTo>
                      <a:pt x="8" y="442"/>
                    </a:lnTo>
                    <a:lnTo>
                      <a:pt x="16" y="432"/>
                    </a:lnTo>
                    <a:lnTo>
                      <a:pt x="18" y="416"/>
                    </a:lnTo>
                    <a:lnTo>
                      <a:pt x="24" y="406"/>
                    </a:lnTo>
                    <a:lnTo>
                      <a:pt x="24" y="382"/>
                    </a:lnTo>
                    <a:lnTo>
                      <a:pt x="26" y="370"/>
                    </a:lnTo>
                    <a:lnTo>
                      <a:pt x="24" y="360"/>
                    </a:lnTo>
                    <a:lnTo>
                      <a:pt x="24" y="342"/>
                    </a:lnTo>
                    <a:lnTo>
                      <a:pt x="20" y="338"/>
                    </a:lnTo>
                    <a:lnTo>
                      <a:pt x="22" y="324"/>
                    </a:lnTo>
                    <a:lnTo>
                      <a:pt x="24" y="314"/>
                    </a:lnTo>
                    <a:lnTo>
                      <a:pt x="24" y="286"/>
                    </a:lnTo>
                    <a:lnTo>
                      <a:pt x="32" y="272"/>
                    </a:lnTo>
                    <a:lnTo>
                      <a:pt x="34" y="266"/>
                    </a:lnTo>
                    <a:lnTo>
                      <a:pt x="36" y="264"/>
                    </a:lnTo>
                    <a:lnTo>
                      <a:pt x="36" y="250"/>
                    </a:lnTo>
                    <a:lnTo>
                      <a:pt x="34" y="230"/>
                    </a:lnTo>
                    <a:lnTo>
                      <a:pt x="40" y="224"/>
                    </a:lnTo>
                    <a:lnTo>
                      <a:pt x="42" y="220"/>
                    </a:lnTo>
                    <a:lnTo>
                      <a:pt x="44" y="202"/>
                    </a:lnTo>
                    <a:lnTo>
                      <a:pt x="48" y="194"/>
                    </a:lnTo>
                    <a:lnTo>
                      <a:pt x="50" y="176"/>
                    </a:lnTo>
                    <a:lnTo>
                      <a:pt x="46" y="162"/>
                    </a:lnTo>
                    <a:lnTo>
                      <a:pt x="42" y="156"/>
                    </a:lnTo>
                    <a:lnTo>
                      <a:pt x="42" y="140"/>
                    </a:lnTo>
                    <a:lnTo>
                      <a:pt x="46" y="134"/>
                    </a:lnTo>
                    <a:lnTo>
                      <a:pt x="50" y="108"/>
                    </a:lnTo>
                    <a:lnTo>
                      <a:pt x="58" y="96"/>
                    </a:lnTo>
                    <a:lnTo>
                      <a:pt x="66" y="84"/>
                    </a:lnTo>
                    <a:lnTo>
                      <a:pt x="72" y="74"/>
                    </a:lnTo>
                    <a:lnTo>
                      <a:pt x="68" y="48"/>
                    </a:lnTo>
                    <a:lnTo>
                      <a:pt x="74" y="42"/>
                    </a:lnTo>
                    <a:lnTo>
                      <a:pt x="80" y="38"/>
                    </a:lnTo>
                    <a:lnTo>
                      <a:pt x="90" y="28"/>
                    </a:lnTo>
                    <a:lnTo>
                      <a:pt x="92" y="16"/>
                    </a:lnTo>
                    <a:lnTo>
                      <a:pt x="94" y="10"/>
                    </a:lnTo>
                    <a:lnTo>
                      <a:pt x="98" y="6"/>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5" name="Freeform 305"/>
              <p:cNvSpPr>
                <a:spLocks/>
              </p:cNvSpPr>
              <p:nvPr/>
            </p:nvSpPr>
            <p:spPr bwMode="auto">
              <a:xfrm>
                <a:off x="1821" y="2831"/>
                <a:ext cx="292" cy="514"/>
              </a:xfrm>
              <a:custGeom>
                <a:avLst/>
                <a:gdLst>
                  <a:gd name="T0" fmla="*/ 98 w 292"/>
                  <a:gd name="T1" fmla="*/ 8 h 514"/>
                  <a:gd name="T2" fmla="*/ 82 w 292"/>
                  <a:gd name="T3" fmla="*/ 40 h 514"/>
                  <a:gd name="T4" fmla="*/ 68 w 292"/>
                  <a:gd name="T5" fmla="*/ 52 h 514"/>
                  <a:gd name="T6" fmla="*/ 50 w 292"/>
                  <a:gd name="T7" fmla="*/ 110 h 514"/>
                  <a:gd name="T8" fmla="*/ 42 w 292"/>
                  <a:gd name="T9" fmla="*/ 144 h 514"/>
                  <a:gd name="T10" fmla="*/ 48 w 292"/>
                  <a:gd name="T11" fmla="*/ 198 h 514"/>
                  <a:gd name="T12" fmla="*/ 36 w 292"/>
                  <a:gd name="T13" fmla="*/ 230 h 514"/>
                  <a:gd name="T14" fmla="*/ 34 w 292"/>
                  <a:gd name="T15" fmla="*/ 268 h 514"/>
                  <a:gd name="T16" fmla="*/ 24 w 292"/>
                  <a:gd name="T17" fmla="*/ 318 h 514"/>
                  <a:gd name="T18" fmla="*/ 24 w 292"/>
                  <a:gd name="T19" fmla="*/ 364 h 514"/>
                  <a:gd name="T20" fmla="*/ 24 w 292"/>
                  <a:gd name="T21" fmla="*/ 386 h 514"/>
                  <a:gd name="T22" fmla="*/ 10 w 292"/>
                  <a:gd name="T23" fmla="*/ 444 h 514"/>
                  <a:gd name="T24" fmla="*/ 0 w 292"/>
                  <a:gd name="T25" fmla="*/ 464 h 514"/>
                  <a:gd name="T26" fmla="*/ 8 w 292"/>
                  <a:gd name="T27" fmla="*/ 482 h 514"/>
                  <a:gd name="T28" fmla="*/ 22 w 292"/>
                  <a:gd name="T29" fmla="*/ 506 h 514"/>
                  <a:gd name="T30" fmla="*/ 72 w 292"/>
                  <a:gd name="T31" fmla="*/ 514 h 514"/>
                  <a:gd name="T32" fmla="*/ 76 w 292"/>
                  <a:gd name="T33" fmla="*/ 510 h 514"/>
                  <a:gd name="T34" fmla="*/ 70 w 292"/>
                  <a:gd name="T35" fmla="*/ 478 h 514"/>
                  <a:gd name="T36" fmla="*/ 92 w 292"/>
                  <a:gd name="T37" fmla="*/ 452 h 514"/>
                  <a:gd name="T38" fmla="*/ 118 w 292"/>
                  <a:gd name="T39" fmla="*/ 426 h 514"/>
                  <a:gd name="T40" fmla="*/ 106 w 292"/>
                  <a:gd name="T41" fmla="*/ 410 h 514"/>
                  <a:gd name="T42" fmla="*/ 94 w 292"/>
                  <a:gd name="T43" fmla="*/ 402 h 514"/>
                  <a:gd name="T44" fmla="*/ 118 w 292"/>
                  <a:gd name="T45" fmla="*/ 376 h 514"/>
                  <a:gd name="T46" fmla="*/ 126 w 292"/>
                  <a:gd name="T47" fmla="*/ 362 h 514"/>
                  <a:gd name="T48" fmla="*/ 130 w 292"/>
                  <a:gd name="T49" fmla="*/ 350 h 514"/>
                  <a:gd name="T50" fmla="*/ 134 w 292"/>
                  <a:gd name="T51" fmla="*/ 340 h 514"/>
                  <a:gd name="T52" fmla="*/ 144 w 292"/>
                  <a:gd name="T53" fmla="*/ 344 h 514"/>
                  <a:gd name="T54" fmla="*/ 150 w 292"/>
                  <a:gd name="T55" fmla="*/ 330 h 514"/>
                  <a:gd name="T56" fmla="*/ 138 w 292"/>
                  <a:gd name="T57" fmla="*/ 326 h 514"/>
                  <a:gd name="T58" fmla="*/ 130 w 292"/>
                  <a:gd name="T59" fmla="*/ 322 h 514"/>
                  <a:gd name="T60" fmla="*/ 148 w 292"/>
                  <a:gd name="T61" fmla="*/ 316 h 514"/>
                  <a:gd name="T62" fmla="*/ 158 w 292"/>
                  <a:gd name="T63" fmla="*/ 312 h 514"/>
                  <a:gd name="T64" fmla="*/ 170 w 292"/>
                  <a:gd name="T65" fmla="*/ 288 h 514"/>
                  <a:gd name="T66" fmla="*/ 176 w 292"/>
                  <a:gd name="T67" fmla="*/ 278 h 514"/>
                  <a:gd name="T68" fmla="*/ 220 w 292"/>
                  <a:gd name="T69" fmla="*/ 272 h 514"/>
                  <a:gd name="T70" fmla="*/ 246 w 292"/>
                  <a:gd name="T71" fmla="*/ 248 h 514"/>
                  <a:gd name="T72" fmla="*/ 238 w 292"/>
                  <a:gd name="T73" fmla="*/ 224 h 514"/>
                  <a:gd name="T74" fmla="*/ 234 w 292"/>
                  <a:gd name="T75" fmla="*/ 206 h 514"/>
                  <a:gd name="T76" fmla="*/ 224 w 292"/>
                  <a:gd name="T77" fmla="*/ 198 h 514"/>
                  <a:gd name="T78" fmla="*/ 234 w 292"/>
                  <a:gd name="T79" fmla="*/ 132 h 514"/>
                  <a:gd name="T80" fmla="*/ 248 w 292"/>
                  <a:gd name="T81" fmla="*/ 124 h 514"/>
                  <a:gd name="T82" fmla="*/ 284 w 292"/>
                  <a:gd name="T83" fmla="*/ 92 h 514"/>
                  <a:gd name="T84" fmla="*/ 292 w 292"/>
                  <a:gd name="T85" fmla="*/ 74 h 514"/>
                  <a:gd name="T86" fmla="*/ 286 w 292"/>
                  <a:gd name="T87" fmla="*/ 58 h 514"/>
                  <a:gd name="T88" fmla="*/ 274 w 292"/>
                  <a:gd name="T89" fmla="*/ 54 h 514"/>
                  <a:gd name="T90" fmla="*/ 262 w 292"/>
                  <a:gd name="T91" fmla="*/ 78 h 514"/>
                  <a:gd name="T92" fmla="*/ 224 w 292"/>
                  <a:gd name="T93" fmla="*/ 84 h 514"/>
                  <a:gd name="T94" fmla="*/ 228 w 292"/>
                  <a:gd name="T95" fmla="*/ 50 h 514"/>
                  <a:gd name="T96" fmla="*/ 206 w 292"/>
                  <a:gd name="T97" fmla="*/ 38 h 514"/>
                  <a:gd name="T98" fmla="*/ 180 w 292"/>
                  <a:gd name="T99" fmla="*/ 26 h 514"/>
                  <a:gd name="T100" fmla="*/ 162 w 292"/>
                  <a:gd name="T101" fmla="*/ 4 h 514"/>
                  <a:gd name="T102" fmla="*/ 136 w 292"/>
                  <a:gd name="T103" fmla="*/ 12 h 514"/>
                  <a:gd name="T104" fmla="*/ 116 w 292"/>
                  <a:gd name="T105"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514">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6" name="Freeform 306"/>
              <p:cNvSpPr>
                <a:spLocks/>
              </p:cNvSpPr>
              <p:nvPr/>
            </p:nvSpPr>
            <p:spPr bwMode="auto">
              <a:xfrm>
                <a:off x="1795" y="2767"/>
                <a:ext cx="122" cy="604"/>
              </a:xfrm>
              <a:custGeom>
                <a:avLst/>
                <a:gdLst>
                  <a:gd name="T0" fmla="*/ 50 w 122"/>
                  <a:gd name="T1" fmla="*/ 600 h 604"/>
                  <a:gd name="T2" fmla="*/ 58 w 122"/>
                  <a:gd name="T3" fmla="*/ 590 h 604"/>
                  <a:gd name="T4" fmla="*/ 48 w 122"/>
                  <a:gd name="T5" fmla="*/ 594 h 604"/>
                  <a:gd name="T6" fmla="*/ 40 w 122"/>
                  <a:gd name="T7" fmla="*/ 594 h 604"/>
                  <a:gd name="T8" fmla="*/ 32 w 122"/>
                  <a:gd name="T9" fmla="*/ 586 h 604"/>
                  <a:gd name="T10" fmla="*/ 36 w 122"/>
                  <a:gd name="T11" fmla="*/ 580 h 604"/>
                  <a:gd name="T12" fmla="*/ 24 w 122"/>
                  <a:gd name="T13" fmla="*/ 580 h 604"/>
                  <a:gd name="T14" fmla="*/ 26 w 122"/>
                  <a:gd name="T15" fmla="*/ 570 h 604"/>
                  <a:gd name="T16" fmla="*/ 22 w 122"/>
                  <a:gd name="T17" fmla="*/ 566 h 604"/>
                  <a:gd name="T18" fmla="*/ 20 w 122"/>
                  <a:gd name="T19" fmla="*/ 556 h 604"/>
                  <a:gd name="T20" fmla="*/ 8 w 122"/>
                  <a:gd name="T21" fmla="*/ 522 h 604"/>
                  <a:gd name="T22" fmla="*/ 6 w 122"/>
                  <a:gd name="T23" fmla="*/ 500 h 604"/>
                  <a:gd name="T24" fmla="*/ 16 w 122"/>
                  <a:gd name="T25" fmla="*/ 500 h 604"/>
                  <a:gd name="T26" fmla="*/ 20 w 122"/>
                  <a:gd name="T27" fmla="*/ 498 h 604"/>
                  <a:gd name="T28" fmla="*/ 28 w 122"/>
                  <a:gd name="T29" fmla="*/ 492 h 604"/>
                  <a:gd name="T30" fmla="*/ 18 w 122"/>
                  <a:gd name="T31" fmla="*/ 494 h 604"/>
                  <a:gd name="T32" fmla="*/ 16 w 122"/>
                  <a:gd name="T33" fmla="*/ 478 h 604"/>
                  <a:gd name="T34" fmla="*/ 0 w 122"/>
                  <a:gd name="T35" fmla="*/ 476 h 604"/>
                  <a:gd name="T36" fmla="*/ 14 w 122"/>
                  <a:gd name="T37" fmla="*/ 452 h 604"/>
                  <a:gd name="T38" fmla="*/ 22 w 122"/>
                  <a:gd name="T39" fmla="*/ 448 h 604"/>
                  <a:gd name="T40" fmla="*/ 32 w 122"/>
                  <a:gd name="T41" fmla="*/ 454 h 604"/>
                  <a:gd name="T42" fmla="*/ 32 w 122"/>
                  <a:gd name="T43" fmla="*/ 422 h 604"/>
                  <a:gd name="T44" fmla="*/ 40 w 122"/>
                  <a:gd name="T45" fmla="*/ 394 h 604"/>
                  <a:gd name="T46" fmla="*/ 32 w 122"/>
                  <a:gd name="T47" fmla="*/ 398 h 604"/>
                  <a:gd name="T48" fmla="*/ 28 w 122"/>
                  <a:gd name="T49" fmla="*/ 416 h 604"/>
                  <a:gd name="T50" fmla="*/ 24 w 122"/>
                  <a:gd name="T51" fmla="*/ 416 h 604"/>
                  <a:gd name="T52" fmla="*/ 18 w 122"/>
                  <a:gd name="T53" fmla="*/ 392 h 604"/>
                  <a:gd name="T54" fmla="*/ 28 w 122"/>
                  <a:gd name="T55" fmla="*/ 352 h 604"/>
                  <a:gd name="T56" fmla="*/ 30 w 122"/>
                  <a:gd name="T57" fmla="*/ 328 h 604"/>
                  <a:gd name="T58" fmla="*/ 28 w 122"/>
                  <a:gd name="T59" fmla="*/ 310 h 604"/>
                  <a:gd name="T60" fmla="*/ 44 w 122"/>
                  <a:gd name="T61" fmla="*/ 276 h 604"/>
                  <a:gd name="T62" fmla="*/ 54 w 122"/>
                  <a:gd name="T63" fmla="*/ 198 h 604"/>
                  <a:gd name="T64" fmla="*/ 56 w 122"/>
                  <a:gd name="T65" fmla="*/ 182 h 604"/>
                  <a:gd name="T66" fmla="*/ 68 w 122"/>
                  <a:gd name="T67" fmla="*/ 130 h 604"/>
                  <a:gd name="T68" fmla="*/ 72 w 122"/>
                  <a:gd name="T69" fmla="*/ 18 h 604"/>
                  <a:gd name="T70" fmla="*/ 84 w 122"/>
                  <a:gd name="T71" fmla="*/ 0 h 604"/>
                  <a:gd name="T72" fmla="*/ 88 w 122"/>
                  <a:gd name="T73" fmla="*/ 0 h 604"/>
                  <a:gd name="T74" fmla="*/ 110 w 122"/>
                  <a:gd name="T75" fmla="*/ 74 h 604"/>
                  <a:gd name="T76" fmla="*/ 120 w 122"/>
                  <a:gd name="T77" fmla="*/ 86 h 604"/>
                  <a:gd name="T78" fmla="*/ 110 w 122"/>
                  <a:gd name="T79" fmla="*/ 110 h 604"/>
                  <a:gd name="T80" fmla="*/ 102 w 122"/>
                  <a:gd name="T81" fmla="*/ 144 h 604"/>
                  <a:gd name="T82" fmla="*/ 78 w 122"/>
                  <a:gd name="T83" fmla="*/ 200 h 604"/>
                  <a:gd name="T84" fmla="*/ 82 w 122"/>
                  <a:gd name="T85" fmla="*/ 246 h 604"/>
                  <a:gd name="T86" fmla="*/ 74 w 122"/>
                  <a:gd name="T87" fmla="*/ 290 h 604"/>
                  <a:gd name="T88" fmla="*/ 68 w 122"/>
                  <a:gd name="T89" fmla="*/ 332 h 604"/>
                  <a:gd name="T90" fmla="*/ 54 w 122"/>
                  <a:gd name="T91" fmla="*/ 410 h 604"/>
                  <a:gd name="T92" fmla="*/ 58 w 122"/>
                  <a:gd name="T93" fmla="*/ 438 h 604"/>
                  <a:gd name="T94" fmla="*/ 56 w 122"/>
                  <a:gd name="T95" fmla="*/ 474 h 604"/>
                  <a:gd name="T96" fmla="*/ 42 w 122"/>
                  <a:gd name="T97" fmla="*/ 512 h 604"/>
                  <a:gd name="T98" fmla="*/ 46 w 122"/>
                  <a:gd name="T99" fmla="*/ 540 h 604"/>
                  <a:gd name="T100" fmla="*/ 60 w 122"/>
                  <a:gd name="T101" fmla="*/ 568 h 604"/>
                  <a:gd name="T102" fmla="*/ 86 w 122"/>
                  <a:gd name="T103" fmla="*/ 576 h 604"/>
                  <a:gd name="T104" fmla="*/ 68 w 122"/>
                  <a:gd name="T105" fmla="*/ 59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604">
                    <a:moveTo>
                      <a:pt x="56" y="604"/>
                    </a:moveTo>
                    <a:lnTo>
                      <a:pt x="56" y="604"/>
                    </a:lnTo>
                    <a:lnTo>
                      <a:pt x="56" y="604"/>
                    </a:lnTo>
                    <a:lnTo>
                      <a:pt x="50" y="600"/>
                    </a:lnTo>
                    <a:lnTo>
                      <a:pt x="50" y="600"/>
                    </a:lnTo>
                    <a:lnTo>
                      <a:pt x="50" y="598"/>
                    </a:lnTo>
                    <a:lnTo>
                      <a:pt x="52" y="594"/>
                    </a:lnTo>
                    <a:lnTo>
                      <a:pt x="52" y="594"/>
                    </a:lnTo>
                    <a:lnTo>
                      <a:pt x="52" y="594"/>
                    </a:lnTo>
                    <a:lnTo>
                      <a:pt x="58" y="590"/>
                    </a:lnTo>
                    <a:lnTo>
                      <a:pt x="60" y="584"/>
                    </a:lnTo>
                    <a:lnTo>
                      <a:pt x="56" y="582"/>
                    </a:lnTo>
                    <a:lnTo>
                      <a:pt x="52" y="588"/>
                    </a:lnTo>
                    <a:lnTo>
                      <a:pt x="48" y="594"/>
                    </a:lnTo>
                    <a:lnTo>
                      <a:pt x="48" y="594"/>
                    </a:lnTo>
                    <a:lnTo>
                      <a:pt x="46" y="594"/>
                    </a:lnTo>
                    <a:lnTo>
                      <a:pt x="46" y="594"/>
                    </a:lnTo>
                    <a:lnTo>
                      <a:pt x="46" y="594"/>
                    </a:lnTo>
                    <a:lnTo>
                      <a:pt x="40" y="594"/>
                    </a:lnTo>
                    <a:lnTo>
                      <a:pt x="40" y="594"/>
                    </a:lnTo>
                    <a:lnTo>
                      <a:pt x="38" y="592"/>
                    </a:lnTo>
                    <a:lnTo>
                      <a:pt x="32" y="588"/>
                    </a:lnTo>
                    <a:lnTo>
                      <a:pt x="32" y="588"/>
                    </a:lnTo>
                    <a:lnTo>
                      <a:pt x="32" y="586"/>
                    </a:lnTo>
                    <a:lnTo>
                      <a:pt x="32" y="586"/>
                    </a:lnTo>
                    <a:lnTo>
                      <a:pt x="34" y="584"/>
                    </a:lnTo>
                    <a:lnTo>
                      <a:pt x="40" y="580"/>
                    </a:lnTo>
                    <a:lnTo>
                      <a:pt x="40" y="576"/>
                    </a:lnTo>
                    <a:lnTo>
                      <a:pt x="40" y="576"/>
                    </a:lnTo>
                    <a:lnTo>
                      <a:pt x="36" y="580"/>
                    </a:lnTo>
                    <a:lnTo>
                      <a:pt x="36" y="580"/>
                    </a:lnTo>
                    <a:lnTo>
                      <a:pt x="34" y="580"/>
                    </a:lnTo>
                    <a:lnTo>
                      <a:pt x="26" y="580"/>
                    </a:lnTo>
                    <a:lnTo>
                      <a:pt x="26" y="580"/>
                    </a:lnTo>
                    <a:lnTo>
                      <a:pt x="24" y="580"/>
                    </a:lnTo>
                    <a:lnTo>
                      <a:pt x="24" y="580"/>
                    </a:lnTo>
                    <a:lnTo>
                      <a:pt x="24" y="578"/>
                    </a:lnTo>
                    <a:lnTo>
                      <a:pt x="26" y="570"/>
                    </a:lnTo>
                    <a:lnTo>
                      <a:pt x="26" y="570"/>
                    </a:lnTo>
                    <a:lnTo>
                      <a:pt x="26" y="570"/>
                    </a:lnTo>
                    <a:lnTo>
                      <a:pt x="36" y="566"/>
                    </a:lnTo>
                    <a:lnTo>
                      <a:pt x="32" y="566"/>
                    </a:lnTo>
                    <a:lnTo>
                      <a:pt x="24" y="566"/>
                    </a:lnTo>
                    <a:lnTo>
                      <a:pt x="24" y="566"/>
                    </a:lnTo>
                    <a:lnTo>
                      <a:pt x="22" y="566"/>
                    </a:lnTo>
                    <a:lnTo>
                      <a:pt x="22" y="566"/>
                    </a:lnTo>
                    <a:lnTo>
                      <a:pt x="22" y="564"/>
                    </a:lnTo>
                    <a:lnTo>
                      <a:pt x="24" y="558"/>
                    </a:lnTo>
                    <a:lnTo>
                      <a:pt x="20" y="556"/>
                    </a:lnTo>
                    <a:lnTo>
                      <a:pt x="20" y="556"/>
                    </a:lnTo>
                    <a:lnTo>
                      <a:pt x="18" y="554"/>
                    </a:lnTo>
                    <a:lnTo>
                      <a:pt x="16" y="544"/>
                    </a:lnTo>
                    <a:lnTo>
                      <a:pt x="16" y="532"/>
                    </a:lnTo>
                    <a:lnTo>
                      <a:pt x="14" y="530"/>
                    </a:lnTo>
                    <a:lnTo>
                      <a:pt x="8" y="522"/>
                    </a:lnTo>
                    <a:lnTo>
                      <a:pt x="4" y="516"/>
                    </a:lnTo>
                    <a:lnTo>
                      <a:pt x="4" y="516"/>
                    </a:lnTo>
                    <a:lnTo>
                      <a:pt x="4" y="514"/>
                    </a:lnTo>
                    <a:lnTo>
                      <a:pt x="6" y="500"/>
                    </a:lnTo>
                    <a:lnTo>
                      <a:pt x="6" y="500"/>
                    </a:lnTo>
                    <a:lnTo>
                      <a:pt x="8" y="498"/>
                    </a:lnTo>
                    <a:lnTo>
                      <a:pt x="14" y="498"/>
                    </a:lnTo>
                    <a:lnTo>
                      <a:pt x="14" y="498"/>
                    </a:lnTo>
                    <a:lnTo>
                      <a:pt x="16" y="498"/>
                    </a:lnTo>
                    <a:lnTo>
                      <a:pt x="16" y="500"/>
                    </a:lnTo>
                    <a:lnTo>
                      <a:pt x="16" y="500"/>
                    </a:lnTo>
                    <a:lnTo>
                      <a:pt x="18" y="502"/>
                    </a:lnTo>
                    <a:lnTo>
                      <a:pt x="18" y="506"/>
                    </a:lnTo>
                    <a:lnTo>
                      <a:pt x="20" y="506"/>
                    </a:lnTo>
                    <a:lnTo>
                      <a:pt x="20" y="498"/>
                    </a:lnTo>
                    <a:lnTo>
                      <a:pt x="20" y="498"/>
                    </a:lnTo>
                    <a:lnTo>
                      <a:pt x="22" y="496"/>
                    </a:lnTo>
                    <a:lnTo>
                      <a:pt x="26" y="496"/>
                    </a:lnTo>
                    <a:lnTo>
                      <a:pt x="28" y="496"/>
                    </a:lnTo>
                    <a:lnTo>
                      <a:pt x="28" y="492"/>
                    </a:lnTo>
                    <a:lnTo>
                      <a:pt x="26" y="492"/>
                    </a:lnTo>
                    <a:lnTo>
                      <a:pt x="20" y="494"/>
                    </a:lnTo>
                    <a:lnTo>
                      <a:pt x="20" y="494"/>
                    </a:lnTo>
                    <a:lnTo>
                      <a:pt x="18" y="494"/>
                    </a:lnTo>
                    <a:lnTo>
                      <a:pt x="18" y="494"/>
                    </a:lnTo>
                    <a:lnTo>
                      <a:pt x="16" y="494"/>
                    </a:lnTo>
                    <a:lnTo>
                      <a:pt x="16" y="488"/>
                    </a:lnTo>
                    <a:lnTo>
                      <a:pt x="16" y="480"/>
                    </a:lnTo>
                    <a:lnTo>
                      <a:pt x="16" y="480"/>
                    </a:lnTo>
                    <a:lnTo>
                      <a:pt x="16" y="478"/>
                    </a:lnTo>
                    <a:lnTo>
                      <a:pt x="20" y="478"/>
                    </a:lnTo>
                    <a:lnTo>
                      <a:pt x="20" y="476"/>
                    </a:lnTo>
                    <a:lnTo>
                      <a:pt x="2" y="476"/>
                    </a:lnTo>
                    <a:lnTo>
                      <a:pt x="2" y="476"/>
                    </a:lnTo>
                    <a:lnTo>
                      <a:pt x="0" y="476"/>
                    </a:lnTo>
                    <a:lnTo>
                      <a:pt x="0" y="476"/>
                    </a:lnTo>
                    <a:lnTo>
                      <a:pt x="0" y="474"/>
                    </a:lnTo>
                    <a:lnTo>
                      <a:pt x="6" y="466"/>
                    </a:lnTo>
                    <a:lnTo>
                      <a:pt x="8" y="460"/>
                    </a:lnTo>
                    <a:lnTo>
                      <a:pt x="14" y="452"/>
                    </a:lnTo>
                    <a:lnTo>
                      <a:pt x="20" y="448"/>
                    </a:lnTo>
                    <a:lnTo>
                      <a:pt x="20" y="448"/>
                    </a:lnTo>
                    <a:lnTo>
                      <a:pt x="20" y="448"/>
                    </a:lnTo>
                    <a:lnTo>
                      <a:pt x="20" y="448"/>
                    </a:lnTo>
                    <a:lnTo>
                      <a:pt x="22" y="448"/>
                    </a:lnTo>
                    <a:lnTo>
                      <a:pt x="22" y="448"/>
                    </a:lnTo>
                    <a:lnTo>
                      <a:pt x="22" y="450"/>
                    </a:lnTo>
                    <a:lnTo>
                      <a:pt x="24" y="452"/>
                    </a:lnTo>
                    <a:lnTo>
                      <a:pt x="26" y="460"/>
                    </a:lnTo>
                    <a:lnTo>
                      <a:pt x="32" y="454"/>
                    </a:lnTo>
                    <a:lnTo>
                      <a:pt x="36" y="442"/>
                    </a:lnTo>
                    <a:lnTo>
                      <a:pt x="34" y="434"/>
                    </a:lnTo>
                    <a:lnTo>
                      <a:pt x="32" y="424"/>
                    </a:lnTo>
                    <a:lnTo>
                      <a:pt x="32" y="424"/>
                    </a:lnTo>
                    <a:lnTo>
                      <a:pt x="32" y="422"/>
                    </a:lnTo>
                    <a:lnTo>
                      <a:pt x="38" y="414"/>
                    </a:lnTo>
                    <a:lnTo>
                      <a:pt x="36" y="406"/>
                    </a:lnTo>
                    <a:lnTo>
                      <a:pt x="36" y="406"/>
                    </a:lnTo>
                    <a:lnTo>
                      <a:pt x="36" y="404"/>
                    </a:lnTo>
                    <a:lnTo>
                      <a:pt x="40" y="394"/>
                    </a:lnTo>
                    <a:lnTo>
                      <a:pt x="40" y="386"/>
                    </a:lnTo>
                    <a:lnTo>
                      <a:pt x="36" y="384"/>
                    </a:lnTo>
                    <a:lnTo>
                      <a:pt x="34" y="386"/>
                    </a:lnTo>
                    <a:lnTo>
                      <a:pt x="32" y="394"/>
                    </a:lnTo>
                    <a:lnTo>
                      <a:pt x="32" y="398"/>
                    </a:lnTo>
                    <a:lnTo>
                      <a:pt x="32" y="408"/>
                    </a:lnTo>
                    <a:lnTo>
                      <a:pt x="32" y="408"/>
                    </a:lnTo>
                    <a:lnTo>
                      <a:pt x="30" y="410"/>
                    </a:lnTo>
                    <a:lnTo>
                      <a:pt x="28" y="416"/>
                    </a:lnTo>
                    <a:lnTo>
                      <a:pt x="28" y="416"/>
                    </a:lnTo>
                    <a:lnTo>
                      <a:pt x="26" y="416"/>
                    </a:lnTo>
                    <a:lnTo>
                      <a:pt x="26" y="416"/>
                    </a:lnTo>
                    <a:lnTo>
                      <a:pt x="26" y="416"/>
                    </a:lnTo>
                    <a:lnTo>
                      <a:pt x="26" y="416"/>
                    </a:lnTo>
                    <a:lnTo>
                      <a:pt x="24" y="416"/>
                    </a:lnTo>
                    <a:lnTo>
                      <a:pt x="20" y="412"/>
                    </a:lnTo>
                    <a:lnTo>
                      <a:pt x="20" y="412"/>
                    </a:lnTo>
                    <a:lnTo>
                      <a:pt x="18" y="410"/>
                    </a:lnTo>
                    <a:lnTo>
                      <a:pt x="18" y="392"/>
                    </a:lnTo>
                    <a:lnTo>
                      <a:pt x="18" y="392"/>
                    </a:lnTo>
                    <a:lnTo>
                      <a:pt x="18" y="392"/>
                    </a:lnTo>
                    <a:lnTo>
                      <a:pt x="24" y="382"/>
                    </a:lnTo>
                    <a:lnTo>
                      <a:pt x="24" y="374"/>
                    </a:lnTo>
                    <a:lnTo>
                      <a:pt x="26" y="360"/>
                    </a:lnTo>
                    <a:lnTo>
                      <a:pt x="28" y="352"/>
                    </a:lnTo>
                    <a:lnTo>
                      <a:pt x="28" y="352"/>
                    </a:lnTo>
                    <a:lnTo>
                      <a:pt x="28" y="352"/>
                    </a:lnTo>
                    <a:lnTo>
                      <a:pt x="34" y="346"/>
                    </a:lnTo>
                    <a:lnTo>
                      <a:pt x="30" y="338"/>
                    </a:lnTo>
                    <a:lnTo>
                      <a:pt x="30" y="328"/>
                    </a:lnTo>
                    <a:lnTo>
                      <a:pt x="28" y="322"/>
                    </a:lnTo>
                    <a:lnTo>
                      <a:pt x="28" y="310"/>
                    </a:lnTo>
                    <a:lnTo>
                      <a:pt x="28" y="310"/>
                    </a:lnTo>
                    <a:lnTo>
                      <a:pt x="28" y="310"/>
                    </a:lnTo>
                    <a:lnTo>
                      <a:pt x="28" y="310"/>
                    </a:lnTo>
                    <a:lnTo>
                      <a:pt x="30" y="308"/>
                    </a:lnTo>
                    <a:lnTo>
                      <a:pt x="32" y="308"/>
                    </a:lnTo>
                    <a:lnTo>
                      <a:pt x="36" y="298"/>
                    </a:lnTo>
                    <a:lnTo>
                      <a:pt x="42" y="286"/>
                    </a:lnTo>
                    <a:lnTo>
                      <a:pt x="44" y="276"/>
                    </a:lnTo>
                    <a:lnTo>
                      <a:pt x="50" y="262"/>
                    </a:lnTo>
                    <a:lnTo>
                      <a:pt x="52" y="250"/>
                    </a:lnTo>
                    <a:lnTo>
                      <a:pt x="54" y="242"/>
                    </a:lnTo>
                    <a:lnTo>
                      <a:pt x="54" y="208"/>
                    </a:lnTo>
                    <a:lnTo>
                      <a:pt x="54" y="198"/>
                    </a:lnTo>
                    <a:lnTo>
                      <a:pt x="54" y="198"/>
                    </a:lnTo>
                    <a:lnTo>
                      <a:pt x="54" y="196"/>
                    </a:lnTo>
                    <a:lnTo>
                      <a:pt x="60" y="192"/>
                    </a:lnTo>
                    <a:lnTo>
                      <a:pt x="60" y="186"/>
                    </a:lnTo>
                    <a:lnTo>
                      <a:pt x="56" y="182"/>
                    </a:lnTo>
                    <a:lnTo>
                      <a:pt x="56" y="182"/>
                    </a:lnTo>
                    <a:lnTo>
                      <a:pt x="56" y="180"/>
                    </a:lnTo>
                    <a:lnTo>
                      <a:pt x="60" y="174"/>
                    </a:lnTo>
                    <a:lnTo>
                      <a:pt x="64" y="156"/>
                    </a:lnTo>
                    <a:lnTo>
                      <a:pt x="68" y="130"/>
                    </a:lnTo>
                    <a:lnTo>
                      <a:pt x="70" y="88"/>
                    </a:lnTo>
                    <a:lnTo>
                      <a:pt x="76" y="48"/>
                    </a:lnTo>
                    <a:lnTo>
                      <a:pt x="74" y="26"/>
                    </a:lnTo>
                    <a:lnTo>
                      <a:pt x="72" y="18"/>
                    </a:lnTo>
                    <a:lnTo>
                      <a:pt x="72" y="18"/>
                    </a:lnTo>
                    <a:lnTo>
                      <a:pt x="74" y="16"/>
                    </a:lnTo>
                    <a:lnTo>
                      <a:pt x="78" y="14"/>
                    </a:lnTo>
                    <a:lnTo>
                      <a:pt x="82" y="2"/>
                    </a:lnTo>
                    <a:lnTo>
                      <a:pt x="84" y="0"/>
                    </a:lnTo>
                    <a:lnTo>
                      <a:pt x="84" y="0"/>
                    </a:lnTo>
                    <a:lnTo>
                      <a:pt x="86" y="0"/>
                    </a:lnTo>
                    <a:lnTo>
                      <a:pt x="86" y="0"/>
                    </a:lnTo>
                    <a:lnTo>
                      <a:pt x="86" y="0"/>
                    </a:lnTo>
                    <a:lnTo>
                      <a:pt x="86" y="0"/>
                    </a:lnTo>
                    <a:lnTo>
                      <a:pt x="88" y="0"/>
                    </a:lnTo>
                    <a:lnTo>
                      <a:pt x="92" y="12"/>
                    </a:lnTo>
                    <a:lnTo>
                      <a:pt x="100" y="34"/>
                    </a:lnTo>
                    <a:lnTo>
                      <a:pt x="100" y="50"/>
                    </a:lnTo>
                    <a:lnTo>
                      <a:pt x="106" y="62"/>
                    </a:lnTo>
                    <a:lnTo>
                      <a:pt x="110" y="74"/>
                    </a:lnTo>
                    <a:lnTo>
                      <a:pt x="112" y="86"/>
                    </a:lnTo>
                    <a:lnTo>
                      <a:pt x="120" y="86"/>
                    </a:lnTo>
                    <a:lnTo>
                      <a:pt x="120" y="86"/>
                    </a:lnTo>
                    <a:lnTo>
                      <a:pt x="120" y="86"/>
                    </a:lnTo>
                    <a:lnTo>
                      <a:pt x="120" y="86"/>
                    </a:lnTo>
                    <a:lnTo>
                      <a:pt x="122" y="88"/>
                    </a:lnTo>
                    <a:lnTo>
                      <a:pt x="120" y="98"/>
                    </a:lnTo>
                    <a:lnTo>
                      <a:pt x="120" y="98"/>
                    </a:lnTo>
                    <a:lnTo>
                      <a:pt x="118" y="100"/>
                    </a:lnTo>
                    <a:lnTo>
                      <a:pt x="110" y="110"/>
                    </a:lnTo>
                    <a:lnTo>
                      <a:pt x="110" y="110"/>
                    </a:lnTo>
                    <a:lnTo>
                      <a:pt x="110" y="110"/>
                    </a:lnTo>
                    <a:lnTo>
                      <a:pt x="102" y="114"/>
                    </a:lnTo>
                    <a:lnTo>
                      <a:pt x="98" y="118"/>
                    </a:lnTo>
                    <a:lnTo>
                      <a:pt x="102" y="144"/>
                    </a:lnTo>
                    <a:lnTo>
                      <a:pt x="102" y="144"/>
                    </a:lnTo>
                    <a:lnTo>
                      <a:pt x="102" y="146"/>
                    </a:lnTo>
                    <a:lnTo>
                      <a:pt x="86" y="168"/>
                    </a:lnTo>
                    <a:lnTo>
                      <a:pt x="82" y="180"/>
                    </a:lnTo>
                    <a:lnTo>
                      <a:pt x="78" y="200"/>
                    </a:lnTo>
                    <a:lnTo>
                      <a:pt x="74" y="212"/>
                    </a:lnTo>
                    <a:lnTo>
                      <a:pt x="74" y="224"/>
                    </a:lnTo>
                    <a:lnTo>
                      <a:pt x="82" y="246"/>
                    </a:lnTo>
                    <a:lnTo>
                      <a:pt x="82" y="246"/>
                    </a:lnTo>
                    <a:lnTo>
                      <a:pt x="82" y="246"/>
                    </a:lnTo>
                    <a:lnTo>
                      <a:pt x="80" y="262"/>
                    </a:lnTo>
                    <a:lnTo>
                      <a:pt x="76" y="272"/>
                    </a:lnTo>
                    <a:lnTo>
                      <a:pt x="74" y="290"/>
                    </a:lnTo>
                    <a:lnTo>
                      <a:pt x="74" y="290"/>
                    </a:lnTo>
                    <a:lnTo>
                      <a:pt x="74" y="290"/>
                    </a:lnTo>
                    <a:lnTo>
                      <a:pt x="66" y="298"/>
                    </a:lnTo>
                    <a:lnTo>
                      <a:pt x="68" y="318"/>
                    </a:lnTo>
                    <a:lnTo>
                      <a:pt x="68" y="332"/>
                    </a:lnTo>
                    <a:lnTo>
                      <a:pt x="68" y="332"/>
                    </a:lnTo>
                    <a:lnTo>
                      <a:pt x="68" y="332"/>
                    </a:lnTo>
                    <a:lnTo>
                      <a:pt x="56" y="356"/>
                    </a:lnTo>
                    <a:lnTo>
                      <a:pt x="56" y="382"/>
                    </a:lnTo>
                    <a:lnTo>
                      <a:pt x="54" y="394"/>
                    </a:lnTo>
                    <a:lnTo>
                      <a:pt x="52" y="406"/>
                    </a:lnTo>
                    <a:lnTo>
                      <a:pt x="54" y="410"/>
                    </a:lnTo>
                    <a:lnTo>
                      <a:pt x="54" y="410"/>
                    </a:lnTo>
                    <a:lnTo>
                      <a:pt x="56" y="410"/>
                    </a:lnTo>
                    <a:lnTo>
                      <a:pt x="56" y="428"/>
                    </a:lnTo>
                    <a:lnTo>
                      <a:pt x="58" y="438"/>
                    </a:lnTo>
                    <a:lnTo>
                      <a:pt x="58" y="438"/>
                    </a:lnTo>
                    <a:lnTo>
                      <a:pt x="58" y="440"/>
                    </a:lnTo>
                    <a:lnTo>
                      <a:pt x="58" y="450"/>
                    </a:lnTo>
                    <a:lnTo>
                      <a:pt x="58" y="474"/>
                    </a:lnTo>
                    <a:lnTo>
                      <a:pt x="58" y="474"/>
                    </a:lnTo>
                    <a:lnTo>
                      <a:pt x="56" y="474"/>
                    </a:lnTo>
                    <a:lnTo>
                      <a:pt x="50" y="484"/>
                    </a:lnTo>
                    <a:lnTo>
                      <a:pt x="48" y="500"/>
                    </a:lnTo>
                    <a:lnTo>
                      <a:pt x="48" y="500"/>
                    </a:lnTo>
                    <a:lnTo>
                      <a:pt x="48" y="502"/>
                    </a:lnTo>
                    <a:lnTo>
                      <a:pt x="42" y="512"/>
                    </a:lnTo>
                    <a:lnTo>
                      <a:pt x="34" y="518"/>
                    </a:lnTo>
                    <a:lnTo>
                      <a:pt x="34" y="526"/>
                    </a:lnTo>
                    <a:lnTo>
                      <a:pt x="34" y="534"/>
                    </a:lnTo>
                    <a:lnTo>
                      <a:pt x="38" y="540"/>
                    </a:lnTo>
                    <a:lnTo>
                      <a:pt x="46" y="540"/>
                    </a:lnTo>
                    <a:lnTo>
                      <a:pt x="46" y="540"/>
                    </a:lnTo>
                    <a:lnTo>
                      <a:pt x="48" y="542"/>
                    </a:lnTo>
                    <a:lnTo>
                      <a:pt x="48" y="556"/>
                    </a:lnTo>
                    <a:lnTo>
                      <a:pt x="54" y="566"/>
                    </a:lnTo>
                    <a:lnTo>
                      <a:pt x="60" y="568"/>
                    </a:lnTo>
                    <a:lnTo>
                      <a:pt x="82" y="568"/>
                    </a:lnTo>
                    <a:lnTo>
                      <a:pt x="82" y="568"/>
                    </a:lnTo>
                    <a:lnTo>
                      <a:pt x="84" y="570"/>
                    </a:lnTo>
                    <a:lnTo>
                      <a:pt x="86" y="576"/>
                    </a:lnTo>
                    <a:lnTo>
                      <a:pt x="86" y="576"/>
                    </a:lnTo>
                    <a:lnTo>
                      <a:pt x="86" y="578"/>
                    </a:lnTo>
                    <a:lnTo>
                      <a:pt x="78" y="582"/>
                    </a:lnTo>
                    <a:lnTo>
                      <a:pt x="72" y="584"/>
                    </a:lnTo>
                    <a:lnTo>
                      <a:pt x="68" y="588"/>
                    </a:lnTo>
                    <a:lnTo>
                      <a:pt x="68" y="596"/>
                    </a:lnTo>
                    <a:lnTo>
                      <a:pt x="66" y="602"/>
                    </a:lnTo>
                    <a:lnTo>
                      <a:pt x="66" y="602"/>
                    </a:lnTo>
                    <a:lnTo>
                      <a:pt x="64" y="604"/>
                    </a:lnTo>
                    <a:lnTo>
                      <a:pt x="56" y="6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7" name="Freeform 307"/>
              <p:cNvSpPr>
                <a:spLocks noEditPoints="1"/>
              </p:cNvSpPr>
              <p:nvPr/>
            </p:nvSpPr>
            <p:spPr bwMode="auto">
              <a:xfrm>
                <a:off x="1793" y="2765"/>
                <a:ext cx="126" cy="608"/>
              </a:xfrm>
              <a:custGeom>
                <a:avLst/>
                <a:gdLst>
                  <a:gd name="T0" fmla="*/ 122 w 126"/>
                  <a:gd name="T1" fmla="*/ 90 h 608"/>
                  <a:gd name="T2" fmla="*/ 78 w 126"/>
                  <a:gd name="T3" fmla="*/ 202 h 608"/>
                  <a:gd name="T4" fmla="*/ 68 w 126"/>
                  <a:gd name="T5" fmla="*/ 320 h 608"/>
                  <a:gd name="T6" fmla="*/ 58 w 126"/>
                  <a:gd name="T7" fmla="*/ 442 h 608"/>
                  <a:gd name="T8" fmla="*/ 34 w 126"/>
                  <a:gd name="T9" fmla="*/ 536 h 608"/>
                  <a:gd name="T10" fmla="*/ 80 w 126"/>
                  <a:gd name="T11" fmla="*/ 582 h 608"/>
                  <a:gd name="T12" fmla="*/ 60 w 126"/>
                  <a:gd name="T13" fmla="*/ 594 h 608"/>
                  <a:gd name="T14" fmla="*/ 46 w 126"/>
                  <a:gd name="T15" fmla="*/ 578 h 608"/>
                  <a:gd name="T16" fmla="*/ 26 w 126"/>
                  <a:gd name="T17" fmla="*/ 566 h 608"/>
                  <a:gd name="T18" fmla="*/ 8 w 126"/>
                  <a:gd name="T19" fmla="*/ 516 h 608"/>
                  <a:gd name="T20" fmla="*/ 32 w 126"/>
                  <a:gd name="T21" fmla="*/ 498 h 608"/>
                  <a:gd name="T22" fmla="*/ 18 w 126"/>
                  <a:gd name="T23" fmla="*/ 476 h 608"/>
                  <a:gd name="T24" fmla="*/ 34 w 126"/>
                  <a:gd name="T25" fmla="*/ 458 h 608"/>
                  <a:gd name="T26" fmla="*/ 44 w 126"/>
                  <a:gd name="T27" fmla="*/ 386 h 608"/>
                  <a:gd name="T28" fmla="*/ 22 w 126"/>
                  <a:gd name="T29" fmla="*/ 406 h 608"/>
                  <a:gd name="T30" fmla="*/ 34 w 126"/>
                  <a:gd name="T31" fmla="*/ 340 h 608"/>
                  <a:gd name="T32" fmla="*/ 54 w 126"/>
                  <a:gd name="T33" fmla="*/ 264 h 608"/>
                  <a:gd name="T34" fmla="*/ 64 w 126"/>
                  <a:gd name="T35" fmla="*/ 176 h 608"/>
                  <a:gd name="T36" fmla="*/ 86 w 126"/>
                  <a:gd name="T37" fmla="*/ 6 h 608"/>
                  <a:gd name="T38" fmla="*/ 84 w 126"/>
                  <a:gd name="T39" fmla="*/ 2 h 608"/>
                  <a:gd name="T40" fmla="*/ 76 w 126"/>
                  <a:gd name="T41" fmla="*/ 50 h 608"/>
                  <a:gd name="T42" fmla="*/ 58 w 126"/>
                  <a:gd name="T43" fmla="*/ 184 h 608"/>
                  <a:gd name="T44" fmla="*/ 52 w 126"/>
                  <a:gd name="T45" fmla="*/ 250 h 608"/>
                  <a:gd name="T46" fmla="*/ 36 w 126"/>
                  <a:gd name="T47" fmla="*/ 300 h 608"/>
                  <a:gd name="T48" fmla="*/ 28 w 126"/>
                  <a:gd name="T49" fmla="*/ 330 h 608"/>
                  <a:gd name="T50" fmla="*/ 28 w 126"/>
                  <a:gd name="T51" fmla="*/ 352 h 608"/>
                  <a:gd name="T52" fmla="*/ 20 w 126"/>
                  <a:gd name="T53" fmla="*/ 394 h 608"/>
                  <a:gd name="T54" fmla="*/ 26 w 126"/>
                  <a:gd name="T55" fmla="*/ 420 h 608"/>
                  <a:gd name="T56" fmla="*/ 36 w 126"/>
                  <a:gd name="T57" fmla="*/ 410 h 608"/>
                  <a:gd name="T58" fmla="*/ 40 w 126"/>
                  <a:gd name="T59" fmla="*/ 396 h 608"/>
                  <a:gd name="T60" fmla="*/ 32 w 126"/>
                  <a:gd name="T61" fmla="*/ 426 h 608"/>
                  <a:gd name="T62" fmla="*/ 26 w 126"/>
                  <a:gd name="T63" fmla="*/ 450 h 608"/>
                  <a:gd name="T64" fmla="*/ 16 w 126"/>
                  <a:gd name="T65" fmla="*/ 452 h 608"/>
                  <a:gd name="T66" fmla="*/ 0 w 126"/>
                  <a:gd name="T67" fmla="*/ 478 h 608"/>
                  <a:gd name="T68" fmla="*/ 16 w 126"/>
                  <a:gd name="T69" fmla="*/ 490 h 608"/>
                  <a:gd name="T70" fmla="*/ 20 w 126"/>
                  <a:gd name="T71" fmla="*/ 500 h 608"/>
                  <a:gd name="T72" fmla="*/ 6 w 126"/>
                  <a:gd name="T73" fmla="*/ 502 h 608"/>
                  <a:gd name="T74" fmla="*/ 14 w 126"/>
                  <a:gd name="T75" fmla="*/ 532 h 608"/>
                  <a:gd name="T76" fmla="*/ 18 w 126"/>
                  <a:gd name="T77" fmla="*/ 556 h 608"/>
                  <a:gd name="T78" fmla="*/ 28 w 126"/>
                  <a:gd name="T79" fmla="*/ 570 h 608"/>
                  <a:gd name="T80" fmla="*/ 34 w 126"/>
                  <a:gd name="T81" fmla="*/ 584 h 608"/>
                  <a:gd name="T82" fmla="*/ 48 w 126"/>
                  <a:gd name="T83" fmla="*/ 598 h 608"/>
                  <a:gd name="T84" fmla="*/ 56 w 126"/>
                  <a:gd name="T85" fmla="*/ 608 h 608"/>
                  <a:gd name="T86" fmla="*/ 72 w 126"/>
                  <a:gd name="T87" fmla="*/ 600 h 608"/>
                  <a:gd name="T88" fmla="*/ 88 w 126"/>
                  <a:gd name="T89" fmla="*/ 582 h 608"/>
                  <a:gd name="T90" fmla="*/ 56 w 126"/>
                  <a:gd name="T91" fmla="*/ 566 h 608"/>
                  <a:gd name="T92" fmla="*/ 38 w 126"/>
                  <a:gd name="T93" fmla="*/ 528 h 608"/>
                  <a:gd name="T94" fmla="*/ 54 w 126"/>
                  <a:gd name="T95" fmla="*/ 488 h 608"/>
                  <a:gd name="T96" fmla="*/ 60 w 126"/>
                  <a:gd name="T97" fmla="*/ 430 h 608"/>
                  <a:gd name="T98" fmla="*/ 72 w 126"/>
                  <a:gd name="T99" fmla="*/ 336 h 608"/>
                  <a:gd name="T100" fmla="*/ 80 w 126"/>
                  <a:gd name="T101" fmla="*/ 274 h 608"/>
                  <a:gd name="T102" fmla="*/ 78 w 126"/>
                  <a:gd name="T103" fmla="*/ 214 h 608"/>
                  <a:gd name="T104" fmla="*/ 106 w 126"/>
                  <a:gd name="T105" fmla="*/ 146 h 608"/>
                  <a:gd name="T106" fmla="*/ 124 w 126"/>
                  <a:gd name="T107" fmla="*/ 100 h 608"/>
                  <a:gd name="T108" fmla="*/ 116 w 126"/>
                  <a:gd name="T109" fmla="*/ 86 h 608"/>
                  <a:gd name="T110" fmla="*/ 104 w 126"/>
                  <a:gd name="T111" fmla="*/ 38 h 608"/>
                  <a:gd name="T112" fmla="*/ 88 w 126"/>
                  <a:gd name="T113"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608">
                    <a:moveTo>
                      <a:pt x="88" y="4"/>
                    </a:moveTo>
                    <a:lnTo>
                      <a:pt x="92" y="14"/>
                    </a:lnTo>
                    <a:lnTo>
                      <a:pt x="100" y="38"/>
                    </a:lnTo>
                    <a:lnTo>
                      <a:pt x="100" y="54"/>
                    </a:lnTo>
                    <a:lnTo>
                      <a:pt x="108" y="64"/>
                    </a:lnTo>
                    <a:lnTo>
                      <a:pt x="110" y="76"/>
                    </a:lnTo>
                    <a:lnTo>
                      <a:pt x="112" y="90"/>
                    </a:lnTo>
                    <a:lnTo>
                      <a:pt x="122" y="90"/>
                    </a:lnTo>
                    <a:lnTo>
                      <a:pt x="120" y="100"/>
                    </a:lnTo>
                    <a:lnTo>
                      <a:pt x="110" y="110"/>
                    </a:lnTo>
                    <a:lnTo>
                      <a:pt x="104" y="114"/>
                    </a:lnTo>
                    <a:lnTo>
                      <a:pt x="98" y="120"/>
                    </a:lnTo>
                    <a:lnTo>
                      <a:pt x="102" y="146"/>
                    </a:lnTo>
                    <a:lnTo>
                      <a:pt x="86" y="170"/>
                    </a:lnTo>
                    <a:lnTo>
                      <a:pt x="82" y="180"/>
                    </a:lnTo>
                    <a:lnTo>
                      <a:pt x="78" y="202"/>
                    </a:lnTo>
                    <a:lnTo>
                      <a:pt x="74" y="212"/>
                    </a:lnTo>
                    <a:lnTo>
                      <a:pt x="74" y="226"/>
                    </a:lnTo>
                    <a:lnTo>
                      <a:pt x="82" y="248"/>
                    </a:lnTo>
                    <a:lnTo>
                      <a:pt x="80" y="264"/>
                    </a:lnTo>
                    <a:lnTo>
                      <a:pt x="76" y="274"/>
                    </a:lnTo>
                    <a:lnTo>
                      <a:pt x="74" y="292"/>
                    </a:lnTo>
                    <a:lnTo>
                      <a:pt x="66" y="300"/>
                    </a:lnTo>
                    <a:lnTo>
                      <a:pt x="68" y="320"/>
                    </a:lnTo>
                    <a:lnTo>
                      <a:pt x="68" y="334"/>
                    </a:lnTo>
                    <a:lnTo>
                      <a:pt x="58" y="358"/>
                    </a:lnTo>
                    <a:lnTo>
                      <a:pt x="56" y="384"/>
                    </a:lnTo>
                    <a:lnTo>
                      <a:pt x="54" y="394"/>
                    </a:lnTo>
                    <a:lnTo>
                      <a:pt x="52" y="410"/>
                    </a:lnTo>
                    <a:lnTo>
                      <a:pt x="56" y="412"/>
                    </a:lnTo>
                    <a:lnTo>
                      <a:pt x="56" y="430"/>
                    </a:lnTo>
                    <a:lnTo>
                      <a:pt x="58" y="442"/>
                    </a:lnTo>
                    <a:lnTo>
                      <a:pt x="58" y="452"/>
                    </a:lnTo>
                    <a:lnTo>
                      <a:pt x="58" y="476"/>
                    </a:lnTo>
                    <a:lnTo>
                      <a:pt x="50" y="486"/>
                    </a:lnTo>
                    <a:lnTo>
                      <a:pt x="48" y="502"/>
                    </a:lnTo>
                    <a:lnTo>
                      <a:pt x="42" y="512"/>
                    </a:lnTo>
                    <a:lnTo>
                      <a:pt x="34" y="520"/>
                    </a:lnTo>
                    <a:lnTo>
                      <a:pt x="32" y="528"/>
                    </a:lnTo>
                    <a:lnTo>
                      <a:pt x="34" y="536"/>
                    </a:lnTo>
                    <a:lnTo>
                      <a:pt x="38" y="544"/>
                    </a:lnTo>
                    <a:lnTo>
                      <a:pt x="48" y="544"/>
                    </a:lnTo>
                    <a:lnTo>
                      <a:pt x="48" y="560"/>
                    </a:lnTo>
                    <a:lnTo>
                      <a:pt x="54" y="570"/>
                    </a:lnTo>
                    <a:lnTo>
                      <a:pt x="62" y="572"/>
                    </a:lnTo>
                    <a:lnTo>
                      <a:pt x="84" y="572"/>
                    </a:lnTo>
                    <a:lnTo>
                      <a:pt x="86" y="578"/>
                    </a:lnTo>
                    <a:lnTo>
                      <a:pt x="80" y="582"/>
                    </a:lnTo>
                    <a:lnTo>
                      <a:pt x="72" y="584"/>
                    </a:lnTo>
                    <a:lnTo>
                      <a:pt x="68" y="590"/>
                    </a:lnTo>
                    <a:lnTo>
                      <a:pt x="68" y="598"/>
                    </a:lnTo>
                    <a:lnTo>
                      <a:pt x="66" y="604"/>
                    </a:lnTo>
                    <a:lnTo>
                      <a:pt x="58" y="604"/>
                    </a:lnTo>
                    <a:lnTo>
                      <a:pt x="54" y="600"/>
                    </a:lnTo>
                    <a:lnTo>
                      <a:pt x="56" y="596"/>
                    </a:lnTo>
                    <a:lnTo>
                      <a:pt x="60" y="594"/>
                    </a:lnTo>
                    <a:lnTo>
                      <a:pt x="64" y="586"/>
                    </a:lnTo>
                    <a:lnTo>
                      <a:pt x="58" y="582"/>
                    </a:lnTo>
                    <a:lnTo>
                      <a:pt x="52" y="588"/>
                    </a:lnTo>
                    <a:lnTo>
                      <a:pt x="48" y="594"/>
                    </a:lnTo>
                    <a:lnTo>
                      <a:pt x="42" y="594"/>
                    </a:lnTo>
                    <a:lnTo>
                      <a:pt x="36" y="588"/>
                    </a:lnTo>
                    <a:lnTo>
                      <a:pt x="44" y="582"/>
                    </a:lnTo>
                    <a:lnTo>
                      <a:pt x="46" y="578"/>
                    </a:lnTo>
                    <a:lnTo>
                      <a:pt x="44" y="576"/>
                    </a:lnTo>
                    <a:lnTo>
                      <a:pt x="36" y="580"/>
                    </a:lnTo>
                    <a:lnTo>
                      <a:pt x="28" y="580"/>
                    </a:lnTo>
                    <a:lnTo>
                      <a:pt x="30" y="574"/>
                    </a:lnTo>
                    <a:lnTo>
                      <a:pt x="40" y="568"/>
                    </a:lnTo>
                    <a:lnTo>
                      <a:pt x="40" y="564"/>
                    </a:lnTo>
                    <a:lnTo>
                      <a:pt x="32" y="566"/>
                    </a:lnTo>
                    <a:lnTo>
                      <a:pt x="26" y="566"/>
                    </a:lnTo>
                    <a:lnTo>
                      <a:pt x="28" y="560"/>
                    </a:lnTo>
                    <a:lnTo>
                      <a:pt x="22" y="556"/>
                    </a:lnTo>
                    <a:lnTo>
                      <a:pt x="20" y="544"/>
                    </a:lnTo>
                    <a:lnTo>
                      <a:pt x="20" y="542"/>
                    </a:lnTo>
                    <a:lnTo>
                      <a:pt x="20" y="534"/>
                    </a:lnTo>
                    <a:lnTo>
                      <a:pt x="18" y="530"/>
                    </a:lnTo>
                    <a:lnTo>
                      <a:pt x="12" y="524"/>
                    </a:lnTo>
                    <a:lnTo>
                      <a:pt x="8" y="516"/>
                    </a:lnTo>
                    <a:lnTo>
                      <a:pt x="10" y="502"/>
                    </a:lnTo>
                    <a:lnTo>
                      <a:pt x="16" y="502"/>
                    </a:lnTo>
                    <a:lnTo>
                      <a:pt x="18" y="504"/>
                    </a:lnTo>
                    <a:lnTo>
                      <a:pt x="20" y="510"/>
                    </a:lnTo>
                    <a:lnTo>
                      <a:pt x="24" y="510"/>
                    </a:lnTo>
                    <a:lnTo>
                      <a:pt x="24" y="500"/>
                    </a:lnTo>
                    <a:lnTo>
                      <a:pt x="28" y="500"/>
                    </a:lnTo>
                    <a:lnTo>
                      <a:pt x="32" y="498"/>
                    </a:lnTo>
                    <a:lnTo>
                      <a:pt x="32" y="492"/>
                    </a:lnTo>
                    <a:lnTo>
                      <a:pt x="28" y="494"/>
                    </a:lnTo>
                    <a:lnTo>
                      <a:pt x="20" y="494"/>
                    </a:lnTo>
                    <a:lnTo>
                      <a:pt x="20" y="490"/>
                    </a:lnTo>
                    <a:lnTo>
                      <a:pt x="20" y="482"/>
                    </a:lnTo>
                    <a:lnTo>
                      <a:pt x="24" y="480"/>
                    </a:lnTo>
                    <a:lnTo>
                      <a:pt x="24" y="476"/>
                    </a:lnTo>
                    <a:lnTo>
                      <a:pt x="18" y="476"/>
                    </a:lnTo>
                    <a:lnTo>
                      <a:pt x="4" y="476"/>
                    </a:lnTo>
                    <a:lnTo>
                      <a:pt x="8" y="470"/>
                    </a:lnTo>
                    <a:lnTo>
                      <a:pt x="12" y="462"/>
                    </a:lnTo>
                    <a:lnTo>
                      <a:pt x="18" y="456"/>
                    </a:lnTo>
                    <a:lnTo>
                      <a:pt x="22" y="452"/>
                    </a:lnTo>
                    <a:lnTo>
                      <a:pt x="24" y="456"/>
                    </a:lnTo>
                    <a:lnTo>
                      <a:pt x="28" y="466"/>
                    </a:lnTo>
                    <a:lnTo>
                      <a:pt x="34" y="458"/>
                    </a:lnTo>
                    <a:lnTo>
                      <a:pt x="40" y="444"/>
                    </a:lnTo>
                    <a:lnTo>
                      <a:pt x="38" y="436"/>
                    </a:lnTo>
                    <a:lnTo>
                      <a:pt x="36" y="426"/>
                    </a:lnTo>
                    <a:lnTo>
                      <a:pt x="42" y="416"/>
                    </a:lnTo>
                    <a:lnTo>
                      <a:pt x="40" y="408"/>
                    </a:lnTo>
                    <a:lnTo>
                      <a:pt x="42" y="402"/>
                    </a:lnTo>
                    <a:lnTo>
                      <a:pt x="44" y="396"/>
                    </a:lnTo>
                    <a:lnTo>
                      <a:pt x="44" y="386"/>
                    </a:lnTo>
                    <a:lnTo>
                      <a:pt x="38" y="384"/>
                    </a:lnTo>
                    <a:lnTo>
                      <a:pt x="34" y="386"/>
                    </a:lnTo>
                    <a:lnTo>
                      <a:pt x="32" y="394"/>
                    </a:lnTo>
                    <a:lnTo>
                      <a:pt x="32" y="400"/>
                    </a:lnTo>
                    <a:lnTo>
                      <a:pt x="32" y="410"/>
                    </a:lnTo>
                    <a:lnTo>
                      <a:pt x="28" y="416"/>
                    </a:lnTo>
                    <a:lnTo>
                      <a:pt x="22" y="412"/>
                    </a:lnTo>
                    <a:lnTo>
                      <a:pt x="22" y="406"/>
                    </a:lnTo>
                    <a:lnTo>
                      <a:pt x="22" y="394"/>
                    </a:lnTo>
                    <a:lnTo>
                      <a:pt x="26" y="388"/>
                    </a:lnTo>
                    <a:lnTo>
                      <a:pt x="28" y="384"/>
                    </a:lnTo>
                    <a:lnTo>
                      <a:pt x="28" y="376"/>
                    </a:lnTo>
                    <a:lnTo>
                      <a:pt x="30" y="362"/>
                    </a:lnTo>
                    <a:lnTo>
                      <a:pt x="32" y="356"/>
                    </a:lnTo>
                    <a:lnTo>
                      <a:pt x="38" y="348"/>
                    </a:lnTo>
                    <a:lnTo>
                      <a:pt x="34" y="340"/>
                    </a:lnTo>
                    <a:lnTo>
                      <a:pt x="32" y="330"/>
                    </a:lnTo>
                    <a:lnTo>
                      <a:pt x="32" y="324"/>
                    </a:lnTo>
                    <a:lnTo>
                      <a:pt x="32" y="312"/>
                    </a:lnTo>
                    <a:lnTo>
                      <a:pt x="36" y="312"/>
                    </a:lnTo>
                    <a:lnTo>
                      <a:pt x="40" y="300"/>
                    </a:lnTo>
                    <a:lnTo>
                      <a:pt x="46" y="290"/>
                    </a:lnTo>
                    <a:lnTo>
                      <a:pt x="48" y="278"/>
                    </a:lnTo>
                    <a:lnTo>
                      <a:pt x="54" y="264"/>
                    </a:lnTo>
                    <a:lnTo>
                      <a:pt x="56" y="252"/>
                    </a:lnTo>
                    <a:lnTo>
                      <a:pt x="58" y="244"/>
                    </a:lnTo>
                    <a:lnTo>
                      <a:pt x="58" y="210"/>
                    </a:lnTo>
                    <a:lnTo>
                      <a:pt x="58" y="200"/>
                    </a:lnTo>
                    <a:lnTo>
                      <a:pt x="64" y="194"/>
                    </a:lnTo>
                    <a:lnTo>
                      <a:pt x="64" y="188"/>
                    </a:lnTo>
                    <a:lnTo>
                      <a:pt x="60" y="182"/>
                    </a:lnTo>
                    <a:lnTo>
                      <a:pt x="64" y="176"/>
                    </a:lnTo>
                    <a:lnTo>
                      <a:pt x="68" y="158"/>
                    </a:lnTo>
                    <a:lnTo>
                      <a:pt x="72" y="132"/>
                    </a:lnTo>
                    <a:lnTo>
                      <a:pt x="74" y="92"/>
                    </a:lnTo>
                    <a:lnTo>
                      <a:pt x="80" y="50"/>
                    </a:lnTo>
                    <a:lnTo>
                      <a:pt x="78" y="28"/>
                    </a:lnTo>
                    <a:lnTo>
                      <a:pt x="76" y="20"/>
                    </a:lnTo>
                    <a:lnTo>
                      <a:pt x="82" y="18"/>
                    </a:lnTo>
                    <a:lnTo>
                      <a:pt x="86" y="6"/>
                    </a:lnTo>
                    <a:lnTo>
                      <a:pt x="88" y="4"/>
                    </a:lnTo>
                    <a:close/>
                    <a:moveTo>
                      <a:pt x="122" y="90"/>
                    </a:moveTo>
                    <a:lnTo>
                      <a:pt x="122" y="90"/>
                    </a:lnTo>
                    <a:close/>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close/>
                    <a:moveTo>
                      <a:pt x="56" y="590"/>
                    </a:moveTo>
                    <a:lnTo>
                      <a:pt x="58" y="588"/>
                    </a:lnTo>
                    <a:lnTo>
                      <a:pt x="58" y="590"/>
                    </a:lnTo>
                    <a:lnTo>
                      <a:pt x="54" y="592"/>
                    </a:lnTo>
                    <a:lnTo>
                      <a:pt x="56" y="590"/>
                    </a:lnTo>
                    <a:lnTo>
                      <a:pt x="56" y="5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8" name="Freeform 308"/>
              <p:cNvSpPr>
                <a:spLocks/>
              </p:cNvSpPr>
              <p:nvPr/>
            </p:nvSpPr>
            <p:spPr bwMode="auto">
              <a:xfrm>
                <a:off x="1797" y="2769"/>
                <a:ext cx="118" cy="600"/>
              </a:xfrm>
              <a:custGeom>
                <a:avLst/>
                <a:gdLst>
                  <a:gd name="T0" fmla="*/ 96 w 118"/>
                  <a:gd name="T1" fmla="*/ 34 h 600"/>
                  <a:gd name="T2" fmla="*/ 106 w 118"/>
                  <a:gd name="T3" fmla="*/ 72 h 600"/>
                  <a:gd name="T4" fmla="*/ 116 w 118"/>
                  <a:gd name="T5" fmla="*/ 96 h 600"/>
                  <a:gd name="T6" fmla="*/ 94 w 118"/>
                  <a:gd name="T7" fmla="*/ 116 h 600"/>
                  <a:gd name="T8" fmla="*/ 78 w 118"/>
                  <a:gd name="T9" fmla="*/ 176 h 600"/>
                  <a:gd name="T10" fmla="*/ 70 w 118"/>
                  <a:gd name="T11" fmla="*/ 222 h 600"/>
                  <a:gd name="T12" fmla="*/ 72 w 118"/>
                  <a:gd name="T13" fmla="*/ 270 h 600"/>
                  <a:gd name="T14" fmla="*/ 64 w 118"/>
                  <a:gd name="T15" fmla="*/ 316 h 600"/>
                  <a:gd name="T16" fmla="*/ 52 w 118"/>
                  <a:gd name="T17" fmla="*/ 380 h 600"/>
                  <a:gd name="T18" fmla="*/ 52 w 118"/>
                  <a:gd name="T19" fmla="*/ 408 h 600"/>
                  <a:gd name="T20" fmla="*/ 54 w 118"/>
                  <a:gd name="T21" fmla="*/ 448 h 600"/>
                  <a:gd name="T22" fmla="*/ 44 w 118"/>
                  <a:gd name="T23" fmla="*/ 498 h 600"/>
                  <a:gd name="T24" fmla="*/ 28 w 118"/>
                  <a:gd name="T25" fmla="*/ 524 h 600"/>
                  <a:gd name="T26" fmla="*/ 44 w 118"/>
                  <a:gd name="T27" fmla="*/ 540 h 600"/>
                  <a:gd name="T28" fmla="*/ 58 w 118"/>
                  <a:gd name="T29" fmla="*/ 568 h 600"/>
                  <a:gd name="T30" fmla="*/ 76 w 118"/>
                  <a:gd name="T31" fmla="*/ 578 h 600"/>
                  <a:gd name="T32" fmla="*/ 64 w 118"/>
                  <a:gd name="T33" fmla="*/ 594 h 600"/>
                  <a:gd name="T34" fmla="*/ 50 w 118"/>
                  <a:gd name="T35" fmla="*/ 596 h 600"/>
                  <a:gd name="T36" fmla="*/ 60 w 118"/>
                  <a:gd name="T37" fmla="*/ 582 h 600"/>
                  <a:gd name="T38" fmla="*/ 44 w 118"/>
                  <a:gd name="T39" fmla="*/ 590 h 600"/>
                  <a:gd name="T40" fmla="*/ 40 w 118"/>
                  <a:gd name="T41" fmla="*/ 578 h 600"/>
                  <a:gd name="T42" fmla="*/ 32 w 118"/>
                  <a:gd name="T43" fmla="*/ 576 h 600"/>
                  <a:gd name="T44" fmla="*/ 36 w 118"/>
                  <a:gd name="T45" fmla="*/ 564 h 600"/>
                  <a:gd name="T46" fmla="*/ 22 w 118"/>
                  <a:gd name="T47" fmla="*/ 562 h 600"/>
                  <a:gd name="T48" fmla="*/ 16 w 118"/>
                  <a:gd name="T49" fmla="*/ 540 h 600"/>
                  <a:gd name="T50" fmla="*/ 14 w 118"/>
                  <a:gd name="T51" fmla="*/ 526 h 600"/>
                  <a:gd name="T52" fmla="*/ 6 w 118"/>
                  <a:gd name="T53" fmla="*/ 498 h 600"/>
                  <a:gd name="T54" fmla="*/ 16 w 118"/>
                  <a:gd name="T55" fmla="*/ 506 h 600"/>
                  <a:gd name="T56" fmla="*/ 24 w 118"/>
                  <a:gd name="T57" fmla="*/ 496 h 600"/>
                  <a:gd name="T58" fmla="*/ 24 w 118"/>
                  <a:gd name="T59" fmla="*/ 490 h 600"/>
                  <a:gd name="T60" fmla="*/ 16 w 118"/>
                  <a:gd name="T61" fmla="*/ 478 h 600"/>
                  <a:gd name="T62" fmla="*/ 14 w 118"/>
                  <a:gd name="T63" fmla="*/ 472 h 600"/>
                  <a:gd name="T64" fmla="*/ 8 w 118"/>
                  <a:gd name="T65" fmla="*/ 458 h 600"/>
                  <a:gd name="T66" fmla="*/ 20 w 118"/>
                  <a:gd name="T67" fmla="*/ 452 h 600"/>
                  <a:gd name="T68" fmla="*/ 36 w 118"/>
                  <a:gd name="T69" fmla="*/ 440 h 600"/>
                  <a:gd name="T70" fmla="*/ 38 w 118"/>
                  <a:gd name="T71" fmla="*/ 412 h 600"/>
                  <a:gd name="T72" fmla="*/ 40 w 118"/>
                  <a:gd name="T73" fmla="*/ 392 h 600"/>
                  <a:gd name="T74" fmla="*/ 30 w 118"/>
                  <a:gd name="T75" fmla="*/ 382 h 600"/>
                  <a:gd name="T76" fmla="*/ 28 w 118"/>
                  <a:gd name="T77" fmla="*/ 406 h 600"/>
                  <a:gd name="T78" fmla="*/ 18 w 118"/>
                  <a:gd name="T79" fmla="*/ 402 h 600"/>
                  <a:gd name="T80" fmla="*/ 24 w 118"/>
                  <a:gd name="T81" fmla="*/ 380 h 600"/>
                  <a:gd name="T82" fmla="*/ 28 w 118"/>
                  <a:gd name="T83" fmla="*/ 352 h 600"/>
                  <a:gd name="T84" fmla="*/ 28 w 118"/>
                  <a:gd name="T85" fmla="*/ 326 h 600"/>
                  <a:gd name="T86" fmla="*/ 32 w 118"/>
                  <a:gd name="T87" fmla="*/ 308 h 600"/>
                  <a:gd name="T88" fmla="*/ 44 w 118"/>
                  <a:gd name="T89" fmla="*/ 274 h 600"/>
                  <a:gd name="T90" fmla="*/ 54 w 118"/>
                  <a:gd name="T91" fmla="*/ 240 h 600"/>
                  <a:gd name="T92" fmla="*/ 60 w 118"/>
                  <a:gd name="T93" fmla="*/ 190 h 600"/>
                  <a:gd name="T94" fmla="*/ 60 w 118"/>
                  <a:gd name="T95" fmla="*/ 172 h 600"/>
                  <a:gd name="T96" fmla="*/ 70 w 118"/>
                  <a:gd name="T97" fmla="*/ 88 h 600"/>
                  <a:gd name="T98" fmla="*/ 72 w 118"/>
                  <a:gd name="T99" fmla="*/ 16 h 600"/>
                  <a:gd name="T100" fmla="*/ 84 w 118"/>
                  <a:gd name="T10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8" h="600">
                    <a:moveTo>
                      <a:pt x="84" y="0"/>
                    </a:moveTo>
                    <a:lnTo>
                      <a:pt x="88" y="10"/>
                    </a:lnTo>
                    <a:lnTo>
                      <a:pt x="96" y="34"/>
                    </a:lnTo>
                    <a:lnTo>
                      <a:pt x="96" y="50"/>
                    </a:lnTo>
                    <a:lnTo>
                      <a:pt x="104" y="60"/>
                    </a:lnTo>
                    <a:lnTo>
                      <a:pt x="106" y="72"/>
                    </a:lnTo>
                    <a:lnTo>
                      <a:pt x="108" y="86"/>
                    </a:lnTo>
                    <a:lnTo>
                      <a:pt x="118" y="86"/>
                    </a:lnTo>
                    <a:lnTo>
                      <a:pt x="116" y="96"/>
                    </a:lnTo>
                    <a:lnTo>
                      <a:pt x="106" y="106"/>
                    </a:lnTo>
                    <a:lnTo>
                      <a:pt x="100" y="110"/>
                    </a:lnTo>
                    <a:lnTo>
                      <a:pt x="94" y="116"/>
                    </a:lnTo>
                    <a:lnTo>
                      <a:pt x="98" y="142"/>
                    </a:lnTo>
                    <a:lnTo>
                      <a:pt x="82" y="166"/>
                    </a:lnTo>
                    <a:lnTo>
                      <a:pt x="78" y="176"/>
                    </a:lnTo>
                    <a:lnTo>
                      <a:pt x="74" y="198"/>
                    </a:lnTo>
                    <a:lnTo>
                      <a:pt x="70" y="208"/>
                    </a:lnTo>
                    <a:lnTo>
                      <a:pt x="70" y="222"/>
                    </a:lnTo>
                    <a:lnTo>
                      <a:pt x="78" y="244"/>
                    </a:lnTo>
                    <a:lnTo>
                      <a:pt x="76" y="260"/>
                    </a:lnTo>
                    <a:lnTo>
                      <a:pt x="72" y="270"/>
                    </a:lnTo>
                    <a:lnTo>
                      <a:pt x="70" y="288"/>
                    </a:lnTo>
                    <a:lnTo>
                      <a:pt x="62" y="296"/>
                    </a:lnTo>
                    <a:lnTo>
                      <a:pt x="64" y="316"/>
                    </a:lnTo>
                    <a:lnTo>
                      <a:pt x="64" y="330"/>
                    </a:lnTo>
                    <a:lnTo>
                      <a:pt x="54" y="354"/>
                    </a:lnTo>
                    <a:lnTo>
                      <a:pt x="52" y="380"/>
                    </a:lnTo>
                    <a:lnTo>
                      <a:pt x="50" y="390"/>
                    </a:lnTo>
                    <a:lnTo>
                      <a:pt x="48" y="406"/>
                    </a:lnTo>
                    <a:lnTo>
                      <a:pt x="52" y="408"/>
                    </a:lnTo>
                    <a:lnTo>
                      <a:pt x="52" y="426"/>
                    </a:lnTo>
                    <a:lnTo>
                      <a:pt x="54" y="438"/>
                    </a:lnTo>
                    <a:lnTo>
                      <a:pt x="54" y="448"/>
                    </a:lnTo>
                    <a:lnTo>
                      <a:pt x="54" y="472"/>
                    </a:lnTo>
                    <a:lnTo>
                      <a:pt x="46" y="482"/>
                    </a:lnTo>
                    <a:lnTo>
                      <a:pt x="44" y="498"/>
                    </a:lnTo>
                    <a:lnTo>
                      <a:pt x="38" y="508"/>
                    </a:lnTo>
                    <a:lnTo>
                      <a:pt x="30" y="516"/>
                    </a:lnTo>
                    <a:lnTo>
                      <a:pt x="28" y="524"/>
                    </a:lnTo>
                    <a:lnTo>
                      <a:pt x="30" y="532"/>
                    </a:lnTo>
                    <a:lnTo>
                      <a:pt x="34" y="540"/>
                    </a:lnTo>
                    <a:lnTo>
                      <a:pt x="44" y="540"/>
                    </a:lnTo>
                    <a:lnTo>
                      <a:pt x="44" y="556"/>
                    </a:lnTo>
                    <a:lnTo>
                      <a:pt x="50" y="566"/>
                    </a:lnTo>
                    <a:lnTo>
                      <a:pt x="58" y="568"/>
                    </a:lnTo>
                    <a:lnTo>
                      <a:pt x="80" y="568"/>
                    </a:lnTo>
                    <a:lnTo>
                      <a:pt x="82" y="574"/>
                    </a:lnTo>
                    <a:lnTo>
                      <a:pt x="76" y="578"/>
                    </a:lnTo>
                    <a:lnTo>
                      <a:pt x="68" y="580"/>
                    </a:lnTo>
                    <a:lnTo>
                      <a:pt x="64" y="586"/>
                    </a:lnTo>
                    <a:lnTo>
                      <a:pt x="64" y="594"/>
                    </a:lnTo>
                    <a:lnTo>
                      <a:pt x="62" y="600"/>
                    </a:lnTo>
                    <a:lnTo>
                      <a:pt x="54" y="600"/>
                    </a:lnTo>
                    <a:lnTo>
                      <a:pt x="50" y="596"/>
                    </a:lnTo>
                    <a:lnTo>
                      <a:pt x="52" y="592"/>
                    </a:lnTo>
                    <a:lnTo>
                      <a:pt x="56" y="590"/>
                    </a:lnTo>
                    <a:lnTo>
                      <a:pt x="60" y="582"/>
                    </a:lnTo>
                    <a:lnTo>
                      <a:pt x="54" y="578"/>
                    </a:lnTo>
                    <a:lnTo>
                      <a:pt x="48" y="584"/>
                    </a:lnTo>
                    <a:lnTo>
                      <a:pt x="44" y="590"/>
                    </a:lnTo>
                    <a:lnTo>
                      <a:pt x="38" y="590"/>
                    </a:lnTo>
                    <a:lnTo>
                      <a:pt x="32" y="584"/>
                    </a:lnTo>
                    <a:lnTo>
                      <a:pt x="40" y="578"/>
                    </a:lnTo>
                    <a:lnTo>
                      <a:pt x="42" y="574"/>
                    </a:lnTo>
                    <a:lnTo>
                      <a:pt x="40" y="572"/>
                    </a:lnTo>
                    <a:lnTo>
                      <a:pt x="32" y="576"/>
                    </a:lnTo>
                    <a:lnTo>
                      <a:pt x="24" y="576"/>
                    </a:lnTo>
                    <a:lnTo>
                      <a:pt x="26" y="570"/>
                    </a:lnTo>
                    <a:lnTo>
                      <a:pt x="36" y="564"/>
                    </a:lnTo>
                    <a:lnTo>
                      <a:pt x="36" y="560"/>
                    </a:lnTo>
                    <a:lnTo>
                      <a:pt x="28" y="562"/>
                    </a:lnTo>
                    <a:lnTo>
                      <a:pt x="22" y="562"/>
                    </a:lnTo>
                    <a:lnTo>
                      <a:pt x="24" y="556"/>
                    </a:lnTo>
                    <a:lnTo>
                      <a:pt x="18" y="552"/>
                    </a:lnTo>
                    <a:lnTo>
                      <a:pt x="16" y="540"/>
                    </a:lnTo>
                    <a:lnTo>
                      <a:pt x="16" y="538"/>
                    </a:lnTo>
                    <a:lnTo>
                      <a:pt x="16" y="530"/>
                    </a:lnTo>
                    <a:lnTo>
                      <a:pt x="14" y="526"/>
                    </a:lnTo>
                    <a:lnTo>
                      <a:pt x="8" y="520"/>
                    </a:lnTo>
                    <a:lnTo>
                      <a:pt x="4" y="512"/>
                    </a:lnTo>
                    <a:lnTo>
                      <a:pt x="6" y="498"/>
                    </a:lnTo>
                    <a:lnTo>
                      <a:pt x="12" y="498"/>
                    </a:lnTo>
                    <a:lnTo>
                      <a:pt x="14" y="500"/>
                    </a:lnTo>
                    <a:lnTo>
                      <a:pt x="16" y="506"/>
                    </a:lnTo>
                    <a:lnTo>
                      <a:pt x="20" y="506"/>
                    </a:lnTo>
                    <a:lnTo>
                      <a:pt x="20" y="496"/>
                    </a:lnTo>
                    <a:lnTo>
                      <a:pt x="24" y="496"/>
                    </a:lnTo>
                    <a:lnTo>
                      <a:pt x="28" y="494"/>
                    </a:lnTo>
                    <a:lnTo>
                      <a:pt x="28" y="488"/>
                    </a:lnTo>
                    <a:lnTo>
                      <a:pt x="24" y="490"/>
                    </a:lnTo>
                    <a:lnTo>
                      <a:pt x="16" y="490"/>
                    </a:lnTo>
                    <a:lnTo>
                      <a:pt x="16" y="486"/>
                    </a:lnTo>
                    <a:lnTo>
                      <a:pt x="16" y="478"/>
                    </a:lnTo>
                    <a:lnTo>
                      <a:pt x="20" y="476"/>
                    </a:lnTo>
                    <a:lnTo>
                      <a:pt x="20" y="472"/>
                    </a:lnTo>
                    <a:lnTo>
                      <a:pt x="14" y="472"/>
                    </a:lnTo>
                    <a:lnTo>
                      <a:pt x="0" y="472"/>
                    </a:lnTo>
                    <a:lnTo>
                      <a:pt x="4" y="466"/>
                    </a:lnTo>
                    <a:lnTo>
                      <a:pt x="8" y="458"/>
                    </a:lnTo>
                    <a:lnTo>
                      <a:pt x="14" y="452"/>
                    </a:lnTo>
                    <a:lnTo>
                      <a:pt x="18" y="448"/>
                    </a:lnTo>
                    <a:lnTo>
                      <a:pt x="20" y="452"/>
                    </a:lnTo>
                    <a:lnTo>
                      <a:pt x="24" y="462"/>
                    </a:lnTo>
                    <a:lnTo>
                      <a:pt x="30" y="454"/>
                    </a:lnTo>
                    <a:lnTo>
                      <a:pt x="36" y="440"/>
                    </a:lnTo>
                    <a:lnTo>
                      <a:pt x="34" y="432"/>
                    </a:lnTo>
                    <a:lnTo>
                      <a:pt x="32" y="422"/>
                    </a:lnTo>
                    <a:lnTo>
                      <a:pt x="38" y="412"/>
                    </a:lnTo>
                    <a:lnTo>
                      <a:pt x="36" y="404"/>
                    </a:lnTo>
                    <a:lnTo>
                      <a:pt x="38" y="398"/>
                    </a:lnTo>
                    <a:lnTo>
                      <a:pt x="40" y="392"/>
                    </a:lnTo>
                    <a:lnTo>
                      <a:pt x="40" y="382"/>
                    </a:lnTo>
                    <a:lnTo>
                      <a:pt x="34" y="380"/>
                    </a:lnTo>
                    <a:lnTo>
                      <a:pt x="30" y="382"/>
                    </a:lnTo>
                    <a:lnTo>
                      <a:pt x="28" y="390"/>
                    </a:lnTo>
                    <a:lnTo>
                      <a:pt x="28" y="396"/>
                    </a:lnTo>
                    <a:lnTo>
                      <a:pt x="28" y="406"/>
                    </a:lnTo>
                    <a:lnTo>
                      <a:pt x="24" y="412"/>
                    </a:lnTo>
                    <a:lnTo>
                      <a:pt x="18" y="408"/>
                    </a:lnTo>
                    <a:lnTo>
                      <a:pt x="18" y="402"/>
                    </a:lnTo>
                    <a:lnTo>
                      <a:pt x="18" y="390"/>
                    </a:lnTo>
                    <a:lnTo>
                      <a:pt x="22" y="384"/>
                    </a:lnTo>
                    <a:lnTo>
                      <a:pt x="24" y="380"/>
                    </a:lnTo>
                    <a:lnTo>
                      <a:pt x="24" y="372"/>
                    </a:lnTo>
                    <a:lnTo>
                      <a:pt x="26" y="358"/>
                    </a:lnTo>
                    <a:lnTo>
                      <a:pt x="28" y="352"/>
                    </a:lnTo>
                    <a:lnTo>
                      <a:pt x="34" y="344"/>
                    </a:lnTo>
                    <a:lnTo>
                      <a:pt x="30" y="336"/>
                    </a:lnTo>
                    <a:lnTo>
                      <a:pt x="28" y="326"/>
                    </a:lnTo>
                    <a:lnTo>
                      <a:pt x="28" y="320"/>
                    </a:lnTo>
                    <a:lnTo>
                      <a:pt x="28" y="308"/>
                    </a:lnTo>
                    <a:lnTo>
                      <a:pt x="32" y="308"/>
                    </a:lnTo>
                    <a:lnTo>
                      <a:pt x="36" y="296"/>
                    </a:lnTo>
                    <a:lnTo>
                      <a:pt x="42" y="286"/>
                    </a:lnTo>
                    <a:lnTo>
                      <a:pt x="44" y="274"/>
                    </a:lnTo>
                    <a:lnTo>
                      <a:pt x="50" y="260"/>
                    </a:lnTo>
                    <a:lnTo>
                      <a:pt x="52" y="248"/>
                    </a:lnTo>
                    <a:lnTo>
                      <a:pt x="54" y="240"/>
                    </a:lnTo>
                    <a:lnTo>
                      <a:pt x="54" y="206"/>
                    </a:lnTo>
                    <a:lnTo>
                      <a:pt x="54" y="196"/>
                    </a:lnTo>
                    <a:lnTo>
                      <a:pt x="60" y="190"/>
                    </a:lnTo>
                    <a:lnTo>
                      <a:pt x="60" y="184"/>
                    </a:lnTo>
                    <a:lnTo>
                      <a:pt x="56" y="178"/>
                    </a:lnTo>
                    <a:lnTo>
                      <a:pt x="60" y="172"/>
                    </a:lnTo>
                    <a:lnTo>
                      <a:pt x="64" y="154"/>
                    </a:lnTo>
                    <a:lnTo>
                      <a:pt x="68" y="128"/>
                    </a:lnTo>
                    <a:lnTo>
                      <a:pt x="70" y="88"/>
                    </a:lnTo>
                    <a:lnTo>
                      <a:pt x="76" y="46"/>
                    </a:lnTo>
                    <a:lnTo>
                      <a:pt x="74" y="24"/>
                    </a:lnTo>
                    <a:lnTo>
                      <a:pt x="72" y="16"/>
                    </a:lnTo>
                    <a:lnTo>
                      <a:pt x="78" y="14"/>
                    </a:lnTo>
                    <a:lnTo>
                      <a:pt x="82" y="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9" name="Line 309"/>
              <p:cNvSpPr>
                <a:spLocks noChangeShapeType="1"/>
              </p:cNvSpPr>
              <p:nvPr/>
            </p:nvSpPr>
            <p:spPr bwMode="auto">
              <a:xfrm>
                <a:off x="1915" y="285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0" name="Freeform 310"/>
              <p:cNvSpPr>
                <a:spLocks/>
              </p:cNvSpPr>
              <p:nvPr/>
            </p:nvSpPr>
            <p:spPr bwMode="auto">
              <a:xfrm>
                <a:off x="1793" y="2765"/>
                <a:ext cx="126" cy="608"/>
              </a:xfrm>
              <a:custGeom>
                <a:avLst/>
                <a:gdLst>
                  <a:gd name="T0" fmla="*/ 84 w 126"/>
                  <a:gd name="T1" fmla="*/ 2 h 608"/>
                  <a:gd name="T2" fmla="*/ 72 w 126"/>
                  <a:gd name="T3" fmla="*/ 18 h 608"/>
                  <a:gd name="T4" fmla="*/ 68 w 126"/>
                  <a:gd name="T5" fmla="*/ 132 h 608"/>
                  <a:gd name="T6" fmla="*/ 56 w 126"/>
                  <a:gd name="T7" fmla="*/ 182 h 608"/>
                  <a:gd name="T8" fmla="*/ 54 w 126"/>
                  <a:gd name="T9" fmla="*/ 196 h 608"/>
                  <a:gd name="T10" fmla="*/ 52 w 126"/>
                  <a:gd name="T11" fmla="*/ 250 h 608"/>
                  <a:gd name="T12" fmla="*/ 36 w 126"/>
                  <a:gd name="T13" fmla="*/ 298 h 608"/>
                  <a:gd name="T14" fmla="*/ 32 w 126"/>
                  <a:gd name="T15" fmla="*/ 308 h 608"/>
                  <a:gd name="T16" fmla="*/ 28 w 126"/>
                  <a:gd name="T17" fmla="*/ 330 h 608"/>
                  <a:gd name="T18" fmla="*/ 30 w 126"/>
                  <a:gd name="T19" fmla="*/ 340 h 608"/>
                  <a:gd name="T20" fmla="*/ 26 w 126"/>
                  <a:gd name="T21" fmla="*/ 362 h 608"/>
                  <a:gd name="T22" fmla="*/ 22 w 126"/>
                  <a:gd name="T23" fmla="*/ 386 h 608"/>
                  <a:gd name="T24" fmla="*/ 18 w 126"/>
                  <a:gd name="T25" fmla="*/ 412 h 608"/>
                  <a:gd name="T26" fmla="*/ 28 w 126"/>
                  <a:gd name="T27" fmla="*/ 420 h 608"/>
                  <a:gd name="T28" fmla="*/ 34 w 126"/>
                  <a:gd name="T29" fmla="*/ 414 h 608"/>
                  <a:gd name="T30" fmla="*/ 36 w 126"/>
                  <a:gd name="T31" fmla="*/ 396 h 608"/>
                  <a:gd name="T32" fmla="*/ 40 w 126"/>
                  <a:gd name="T33" fmla="*/ 396 h 608"/>
                  <a:gd name="T34" fmla="*/ 38 w 126"/>
                  <a:gd name="T35" fmla="*/ 416 h 608"/>
                  <a:gd name="T36" fmla="*/ 36 w 126"/>
                  <a:gd name="T37" fmla="*/ 444 h 608"/>
                  <a:gd name="T38" fmla="*/ 28 w 126"/>
                  <a:gd name="T39" fmla="*/ 454 h 608"/>
                  <a:gd name="T40" fmla="*/ 22 w 126"/>
                  <a:gd name="T41" fmla="*/ 448 h 608"/>
                  <a:gd name="T42" fmla="*/ 14 w 126"/>
                  <a:gd name="T43" fmla="*/ 454 h 608"/>
                  <a:gd name="T44" fmla="*/ 0 w 126"/>
                  <a:gd name="T45" fmla="*/ 474 h 608"/>
                  <a:gd name="T46" fmla="*/ 16 w 126"/>
                  <a:gd name="T47" fmla="*/ 480 h 608"/>
                  <a:gd name="T48" fmla="*/ 16 w 126"/>
                  <a:gd name="T49" fmla="*/ 490 h 608"/>
                  <a:gd name="T50" fmla="*/ 20 w 126"/>
                  <a:gd name="T51" fmla="*/ 498 h 608"/>
                  <a:gd name="T52" fmla="*/ 18 w 126"/>
                  <a:gd name="T53" fmla="*/ 500 h 608"/>
                  <a:gd name="T54" fmla="*/ 8 w 126"/>
                  <a:gd name="T55" fmla="*/ 498 h 608"/>
                  <a:gd name="T56" fmla="*/ 8 w 126"/>
                  <a:gd name="T57" fmla="*/ 526 h 608"/>
                  <a:gd name="T58" fmla="*/ 14 w 126"/>
                  <a:gd name="T59" fmla="*/ 534 h 608"/>
                  <a:gd name="T60" fmla="*/ 16 w 126"/>
                  <a:gd name="T61" fmla="*/ 546 h 608"/>
                  <a:gd name="T62" fmla="*/ 22 w 126"/>
                  <a:gd name="T63" fmla="*/ 566 h 608"/>
                  <a:gd name="T64" fmla="*/ 28 w 126"/>
                  <a:gd name="T65" fmla="*/ 570 h 608"/>
                  <a:gd name="T66" fmla="*/ 24 w 126"/>
                  <a:gd name="T67" fmla="*/ 584 h 608"/>
                  <a:gd name="T68" fmla="*/ 32 w 126"/>
                  <a:gd name="T69" fmla="*/ 588 h 608"/>
                  <a:gd name="T70" fmla="*/ 40 w 126"/>
                  <a:gd name="T71" fmla="*/ 596 h 608"/>
                  <a:gd name="T72" fmla="*/ 50 w 126"/>
                  <a:gd name="T73" fmla="*/ 598 h 608"/>
                  <a:gd name="T74" fmla="*/ 56 w 126"/>
                  <a:gd name="T75" fmla="*/ 608 h 608"/>
                  <a:gd name="T76" fmla="*/ 70 w 126"/>
                  <a:gd name="T77" fmla="*/ 606 h 608"/>
                  <a:gd name="T78" fmla="*/ 74 w 126"/>
                  <a:gd name="T79" fmla="*/ 588 h 608"/>
                  <a:gd name="T80" fmla="*/ 88 w 126"/>
                  <a:gd name="T81" fmla="*/ 582 h 608"/>
                  <a:gd name="T82" fmla="*/ 88 w 126"/>
                  <a:gd name="T83" fmla="*/ 568 h 608"/>
                  <a:gd name="T84" fmla="*/ 52 w 126"/>
                  <a:gd name="T85" fmla="*/ 544 h 608"/>
                  <a:gd name="T86" fmla="*/ 38 w 126"/>
                  <a:gd name="T87" fmla="*/ 534 h 608"/>
                  <a:gd name="T88" fmla="*/ 44 w 126"/>
                  <a:gd name="T89" fmla="*/ 514 h 608"/>
                  <a:gd name="T90" fmla="*/ 60 w 126"/>
                  <a:gd name="T91" fmla="*/ 478 h 608"/>
                  <a:gd name="T92" fmla="*/ 62 w 126"/>
                  <a:gd name="T93" fmla="*/ 442 h 608"/>
                  <a:gd name="T94" fmla="*/ 58 w 126"/>
                  <a:gd name="T95" fmla="*/ 410 h 608"/>
                  <a:gd name="T96" fmla="*/ 72 w 126"/>
                  <a:gd name="T97" fmla="*/ 336 h 608"/>
                  <a:gd name="T98" fmla="*/ 78 w 126"/>
                  <a:gd name="T99" fmla="*/ 294 h 608"/>
                  <a:gd name="T100" fmla="*/ 84 w 126"/>
                  <a:gd name="T101" fmla="*/ 266 h 608"/>
                  <a:gd name="T102" fmla="*/ 78 w 126"/>
                  <a:gd name="T103" fmla="*/ 226 h 608"/>
                  <a:gd name="T104" fmla="*/ 86 w 126"/>
                  <a:gd name="T105" fmla="*/ 182 h 608"/>
                  <a:gd name="T106" fmla="*/ 102 w 126"/>
                  <a:gd name="T107" fmla="*/ 122 h 608"/>
                  <a:gd name="T108" fmla="*/ 122 w 126"/>
                  <a:gd name="T109" fmla="*/ 102 h 608"/>
                  <a:gd name="T110" fmla="*/ 126 w 126"/>
                  <a:gd name="T111" fmla="*/ 90 h 608"/>
                  <a:gd name="T112" fmla="*/ 116 w 126"/>
                  <a:gd name="T113" fmla="*/ 86 h 608"/>
                  <a:gd name="T114" fmla="*/ 112 w 126"/>
                  <a:gd name="T115" fmla="*/ 64 h 608"/>
                  <a:gd name="T116" fmla="*/ 104 w 126"/>
                  <a:gd name="T117" fmla="*/ 36 h 608"/>
                  <a:gd name="T118" fmla="*/ 90 w 126"/>
                  <a:gd name="T1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608">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1" name="Freeform 311"/>
              <p:cNvSpPr>
                <a:spLocks/>
              </p:cNvSpPr>
              <p:nvPr/>
            </p:nvSpPr>
            <p:spPr bwMode="auto">
              <a:xfrm>
                <a:off x="1847" y="3353"/>
                <a:ext cx="4" cy="4"/>
              </a:xfrm>
              <a:custGeom>
                <a:avLst/>
                <a:gdLst>
                  <a:gd name="T0" fmla="*/ 2 w 4"/>
                  <a:gd name="T1" fmla="*/ 2 h 4"/>
                  <a:gd name="T2" fmla="*/ 4 w 4"/>
                  <a:gd name="T3" fmla="*/ 0 h 4"/>
                  <a:gd name="T4" fmla="*/ 4 w 4"/>
                  <a:gd name="T5" fmla="*/ 2 h 4"/>
                  <a:gd name="T6" fmla="*/ 0 w 4"/>
                  <a:gd name="T7" fmla="*/ 4 h 4"/>
                  <a:gd name="T8" fmla="*/ 2 w 4"/>
                  <a:gd name="T9" fmla="*/ 2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4" y="0"/>
                    </a:lnTo>
                    <a:lnTo>
                      <a:pt x="4" y="2"/>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2" name="Freeform 312"/>
              <p:cNvSpPr>
                <a:spLocks/>
              </p:cNvSpPr>
              <p:nvPr/>
            </p:nvSpPr>
            <p:spPr bwMode="auto">
              <a:xfrm>
                <a:off x="1895" y="3349"/>
                <a:ext cx="54" cy="50"/>
              </a:xfrm>
              <a:custGeom>
                <a:avLst/>
                <a:gdLst>
                  <a:gd name="T0" fmla="*/ 34 w 54"/>
                  <a:gd name="T1" fmla="*/ 50 h 50"/>
                  <a:gd name="T2" fmla="*/ 34 w 54"/>
                  <a:gd name="T3" fmla="*/ 50 h 50"/>
                  <a:gd name="T4" fmla="*/ 34 w 54"/>
                  <a:gd name="T5" fmla="*/ 50 h 50"/>
                  <a:gd name="T6" fmla="*/ 22 w 54"/>
                  <a:gd name="T7" fmla="*/ 46 h 50"/>
                  <a:gd name="T8" fmla="*/ 14 w 54"/>
                  <a:gd name="T9" fmla="*/ 46 h 50"/>
                  <a:gd name="T10" fmla="*/ 2 w 54"/>
                  <a:gd name="T11" fmla="*/ 46 h 50"/>
                  <a:gd name="T12" fmla="*/ 2 w 54"/>
                  <a:gd name="T13" fmla="*/ 46 h 50"/>
                  <a:gd name="T14" fmla="*/ 0 w 54"/>
                  <a:gd name="T15" fmla="*/ 44 h 50"/>
                  <a:gd name="T16" fmla="*/ 0 w 54"/>
                  <a:gd name="T17" fmla="*/ 2 h 50"/>
                  <a:gd name="T18" fmla="*/ 0 w 54"/>
                  <a:gd name="T19" fmla="*/ 2 h 50"/>
                  <a:gd name="T20" fmla="*/ 2 w 54"/>
                  <a:gd name="T21" fmla="*/ 2 h 50"/>
                  <a:gd name="T22" fmla="*/ 2 w 54"/>
                  <a:gd name="T23" fmla="*/ 2 h 50"/>
                  <a:gd name="T24" fmla="*/ 2 w 54"/>
                  <a:gd name="T25" fmla="*/ 0 h 50"/>
                  <a:gd name="T26" fmla="*/ 2 w 54"/>
                  <a:gd name="T27" fmla="*/ 0 h 50"/>
                  <a:gd name="T28" fmla="*/ 4 w 54"/>
                  <a:gd name="T29" fmla="*/ 2 h 50"/>
                  <a:gd name="T30" fmla="*/ 6 w 54"/>
                  <a:gd name="T31" fmla="*/ 4 h 50"/>
                  <a:gd name="T32" fmla="*/ 6 w 54"/>
                  <a:gd name="T33" fmla="*/ 4 h 50"/>
                  <a:gd name="T34" fmla="*/ 8 w 54"/>
                  <a:gd name="T35" fmla="*/ 4 h 50"/>
                  <a:gd name="T36" fmla="*/ 10 w 54"/>
                  <a:gd name="T37" fmla="*/ 10 h 50"/>
                  <a:gd name="T38" fmla="*/ 12 w 54"/>
                  <a:gd name="T39" fmla="*/ 18 h 50"/>
                  <a:gd name="T40" fmla="*/ 22 w 54"/>
                  <a:gd name="T41" fmla="*/ 28 h 50"/>
                  <a:gd name="T42" fmla="*/ 32 w 54"/>
                  <a:gd name="T43" fmla="*/ 36 h 50"/>
                  <a:gd name="T44" fmla="*/ 46 w 54"/>
                  <a:gd name="T45" fmla="*/ 40 h 50"/>
                  <a:gd name="T46" fmla="*/ 54 w 54"/>
                  <a:gd name="T47" fmla="*/ 42 h 50"/>
                  <a:gd name="T48" fmla="*/ 54 w 54"/>
                  <a:gd name="T49" fmla="*/ 42 h 50"/>
                  <a:gd name="T50" fmla="*/ 54 w 54"/>
                  <a:gd name="T51" fmla="*/ 44 h 50"/>
                  <a:gd name="T52" fmla="*/ 54 w 54"/>
                  <a:gd name="T53" fmla="*/ 44 h 50"/>
                  <a:gd name="T54" fmla="*/ 54 w 54"/>
                  <a:gd name="T55" fmla="*/ 46 h 50"/>
                  <a:gd name="T56" fmla="*/ 48 w 54"/>
                  <a:gd name="T57" fmla="*/ 48 h 50"/>
                  <a:gd name="T58" fmla="*/ 48 w 54"/>
                  <a:gd name="T59" fmla="*/ 48 h 50"/>
                  <a:gd name="T60" fmla="*/ 34 w 54"/>
                  <a:gd name="T61" fmla="*/ 50 h 50"/>
                  <a:gd name="T62" fmla="*/ 34 w 5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0">
                    <a:moveTo>
                      <a:pt x="34" y="50"/>
                    </a:moveTo>
                    <a:lnTo>
                      <a:pt x="34" y="50"/>
                    </a:lnTo>
                    <a:lnTo>
                      <a:pt x="34" y="50"/>
                    </a:lnTo>
                    <a:lnTo>
                      <a:pt x="22" y="46"/>
                    </a:lnTo>
                    <a:lnTo>
                      <a:pt x="14" y="46"/>
                    </a:lnTo>
                    <a:lnTo>
                      <a:pt x="2" y="46"/>
                    </a:lnTo>
                    <a:lnTo>
                      <a:pt x="2" y="46"/>
                    </a:lnTo>
                    <a:lnTo>
                      <a:pt x="0" y="44"/>
                    </a:lnTo>
                    <a:lnTo>
                      <a:pt x="0" y="2"/>
                    </a:lnTo>
                    <a:lnTo>
                      <a:pt x="0" y="2"/>
                    </a:lnTo>
                    <a:lnTo>
                      <a:pt x="2" y="2"/>
                    </a:lnTo>
                    <a:lnTo>
                      <a:pt x="2" y="2"/>
                    </a:lnTo>
                    <a:lnTo>
                      <a:pt x="2" y="0"/>
                    </a:lnTo>
                    <a:lnTo>
                      <a:pt x="2" y="0"/>
                    </a:lnTo>
                    <a:lnTo>
                      <a:pt x="4" y="2"/>
                    </a:lnTo>
                    <a:lnTo>
                      <a:pt x="6" y="4"/>
                    </a:lnTo>
                    <a:lnTo>
                      <a:pt x="6" y="4"/>
                    </a:lnTo>
                    <a:lnTo>
                      <a:pt x="8" y="4"/>
                    </a:lnTo>
                    <a:lnTo>
                      <a:pt x="10" y="10"/>
                    </a:lnTo>
                    <a:lnTo>
                      <a:pt x="12" y="18"/>
                    </a:lnTo>
                    <a:lnTo>
                      <a:pt x="22" y="28"/>
                    </a:lnTo>
                    <a:lnTo>
                      <a:pt x="32" y="36"/>
                    </a:lnTo>
                    <a:lnTo>
                      <a:pt x="46" y="40"/>
                    </a:lnTo>
                    <a:lnTo>
                      <a:pt x="54" y="42"/>
                    </a:lnTo>
                    <a:lnTo>
                      <a:pt x="54" y="42"/>
                    </a:lnTo>
                    <a:lnTo>
                      <a:pt x="54" y="44"/>
                    </a:lnTo>
                    <a:lnTo>
                      <a:pt x="54" y="44"/>
                    </a:lnTo>
                    <a:lnTo>
                      <a:pt x="54" y="46"/>
                    </a:lnTo>
                    <a:lnTo>
                      <a:pt x="48" y="48"/>
                    </a:lnTo>
                    <a:lnTo>
                      <a:pt x="48" y="48"/>
                    </a:lnTo>
                    <a:lnTo>
                      <a:pt x="34" y="50"/>
                    </a:lnTo>
                    <a:lnTo>
                      <a:pt x="3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3" name="Freeform 313"/>
              <p:cNvSpPr>
                <a:spLocks noEditPoints="1"/>
              </p:cNvSpPr>
              <p:nvPr/>
            </p:nvSpPr>
            <p:spPr bwMode="auto">
              <a:xfrm>
                <a:off x="1893" y="3347"/>
                <a:ext cx="58" cy="54"/>
              </a:xfrm>
              <a:custGeom>
                <a:avLst/>
                <a:gdLst>
                  <a:gd name="T0" fmla="*/ 4 w 58"/>
                  <a:gd name="T1" fmla="*/ 4 h 54"/>
                  <a:gd name="T2" fmla="*/ 8 w 58"/>
                  <a:gd name="T3" fmla="*/ 6 h 54"/>
                  <a:gd name="T4" fmla="*/ 10 w 58"/>
                  <a:gd name="T5" fmla="*/ 12 h 54"/>
                  <a:gd name="T6" fmla="*/ 12 w 58"/>
                  <a:gd name="T7" fmla="*/ 20 h 54"/>
                  <a:gd name="T8" fmla="*/ 22 w 58"/>
                  <a:gd name="T9" fmla="*/ 32 h 54"/>
                  <a:gd name="T10" fmla="*/ 34 w 58"/>
                  <a:gd name="T11" fmla="*/ 40 h 54"/>
                  <a:gd name="T12" fmla="*/ 48 w 58"/>
                  <a:gd name="T13" fmla="*/ 44 h 54"/>
                  <a:gd name="T14" fmla="*/ 54 w 58"/>
                  <a:gd name="T15" fmla="*/ 46 h 54"/>
                  <a:gd name="T16" fmla="*/ 50 w 58"/>
                  <a:gd name="T17" fmla="*/ 48 h 54"/>
                  <a:gd name="T18" fmla="*/ 36 w 58"/>
                  <a:gd name="T19" fmla="*/ 50 h 54"/>
                  <a:gd name="T20" fmla="*/ 24 w 58"/>
                  <a:gd name="T21" fmla="*/ 46 h 54"/>
                  <a:gd name="T22" fmla="*/ 16 w 58"/>
                  <a:gd name="T23" fmla="*/ 46 h 54"/>
                  <a:gd name="T24" fmla="*/ 4 w 58"/>
                  <a:gd name="T25" fmla="*/ 46 h 54"/>
                  <a:gd name="T26" fmla="*/ 4 w 58"/>
                  <a:gd name="T27" fmla="*/ 4 h 54"/>
                  <a:gd name="T28" fmla="*/ 4 w 58"/>
                  <a:gd name="T29" fmla="*/ 0 h 54"/>
                  <a:gd name="T30" fmla="*/ 4 w 58"/>
                  <a:gd name="T31" fmla="*/ 0 h 54"/>
                  <a:gd name="T32" fmla="*/ 2 w 58"/>
                  <a:gd name="T33" fmla="*/ 2 h 54"/>
                  <a:gd name="T34" fmla="*/ 2 w 58"/>
                  <a:gd name="T35" fmla="*/ 2 h 54"/>
                  <a:gd name="T36" fmla="*/ 0 w 58"/>
                  <a:gd name="T37" fmla="*/ 4 h 54"/>
                  <a:gd name="T38" fmla="*/ 0 w 58"/>
                  <a:gd name="T39" fmla="*/ 46 h 54"/>
                  <a:gd name="T40" fmla="*/ 0 w 58"/>
                  <a:gd name="T41" fmla="*/ 46 h 54"/>
                  <a:gd name="T42" fmla="*/ 2 w 58"/>
                  <a:gd name="T43" fmla="*/ 48 h 54"/>
                  <a:gd name="T44" fmla="*/ 4 w 58"/>
                  <a:gd name="T45" fmla="*/ 50 h 54"/>
                  <a:gd name="T46" fmla="*/ 16 w 58"/>
                  <a:gd name="T47" fmla="*/ 50 h 54"/>
                  <a:gd name="T48" fmla="*/ 24 w 58"/>
                  <a:gd name="T49" fmla="*/ 50 h 54"/>
                  <a:gd name="T50" fmla="*/ 36 w 58"/>
                  <a:gd name="T51" fmla="*/ 54 h 54"/>
                  <a:gd name="T52" fmla="*/ 36 w 58"/>
                  <a:gd name="T53" fmla="*/ 54 h 54"/>
                  <a:gd name="T54" fmla="*/ 36 w 58"/>
                  <a:gd name="T55" fmla="*/ 54 h 54"/>
                  <a:gd name="T56" fmla="*/ 36 w 58"/>
                  <a:gd name="T57" fmla="*/ 54 h 54"/>
                  <a:gd name="T58" fmla="*/ 38 w 58"/>
                  <a:gd name="T59" fmla="*/ 54 h 54"/>
                  <a:gd name="T60" fmla="*/ 50 w 58"/>
                  <a:gd name="T61" fmla="*/ 52 h 54"/>
                  <a:gd name="T62" fmla="*/ 50 w 58"/>
                  <a:gd name="T63" fmla="*/ 52 h 54"/>
                  <a:gd name="T64" fmla="*/ 50 w 58"/>
                  <a:gd name="T65" fmla="*/ 52 h 54"/>
                  <a:gd name="T66" fmla="*/ 56 w 58"/>
                  <a:gd name="T67" fmla="*/ 50 h 54"/>
                  <a:gd name="T68" fmla="*/ 56 w 58"/>
                  <a:gd name="T69" fmla="*/ 50 h 54"/>
                  <a:gd name="T70" fmla="*/ 58 w 58"/>
                  <a:gd name="T71" fmla="*/ 48 h 54"/>
                  <a:gd name="T72" fmla="*/ 58 w 58"/>
                  <a:gd name="T73" fmla="*/ 46 h 54"/>
                  <a:gd name="T74" fmla="*/ 58 w 58"/>
                  <a:gd name="T75" fmla="*/ 46 h 54"/>
                  <a:gd name="T76" fmla="*/ 58 w 58"/>
                  <a:gd name="T77" fmla="*/ 44 h 54"/>
                  <a:gd name="T78" fmla="*/ 56 w 58"/>
                  <a:gd name="T79" fmla="*/ 42 h 54"/>
                  <a:gd name="T80" fmla="*/ 48 w 58"/>
                  <a:gd name="T81" fmla="*/ 40 h 54"/>
                  <a:gd name="T82" fmla="*/ 34 w 58"/>
                  <a:gd name="T83" fmla="*/ 36 h 54"/>
                  <a:gd name="T84" fmla="*/ 24 w 58"/>
                  <a:gd name="T85" fmla="*/ 30 h 54"/>
                  <a:gd name="T86" fmla="*/ 16 w 58"/>
                  <a:gd name="T87" fmla="*/ 18 h 54"/>
                  <a:gd name="T88" fmla="*/ 14 w 58"/>
                  <a:gd name="T89" fmla="*/ 12 h 54"/>
                  <a:gd name="T90" fmla="*/ 12 w 58"/>
                  <a:gd name="T91" fmla="*/ 6 h 54"/>
                  <a:gd name="T92" fmla="*/ 12 w 58"/>
                  <a:gd name="T93" fmla="*/ 6 h 54"/>
                  <a:gd name="T94" fmla="*/ 10 w 58"/>
                  <a:gd name="T95" fmla="*/ 4 h 54"/>
                  <a:gd name="T96" fmla="*/ 6 w 58"/>
                  <a:gd name="T97" fmla="*/ 2 h 54"/>
                  <a:gd name="T98" fmla="*/ 6 w 58"/>
                  <a:gd name="T99" fmla="*/ 2 h 54"/>
                  <a:gd name="T100" fmla="*/ 4 w 58"/>
                  <a:gd name="T101" fmla="*/ 0 h 54"/>
                  <a:gd name="T102" fmla="*/ 4 w 58"/>
                  <a:gd name="T10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54">
                    <a:moveTo>
                      <a:pt x="4" y="4"/>
                    </a:moveTo>
                    <a:lnTo>
                      <a:pt x="8" y="6"/>
                    </a:lnTo>
                    <a:lnTo>
                      <a:pt x="10" y="12"/>
                    </a:lnTo>
                    <a:lnTo>
                      <a:pt x="12" y="20"/>
                    </a:lnTo>
                    <a:lnTo>
                      <a:pt x="22" y="32"/>
                    </a:lnTo>
                    <a:lnTo>
                      <a:pt x="34" y="40"/>
                    </a:lnTo>
                    <a:lnTo>
                      <a:pt x="48" y="44"/>
                    </a:lnTo>
                    <a:lnTo>
                      <a:pt x="54" y="46"/>
                    </a:lnTo>
                    <a:lnTo>
                      <a:pt x="50" y="48"/>
                    </a:lnTo>
                    <a:lnTo>
                      <a:pt x="36" y="50"/>
                    </a:lnTo>
                    <a:lnTo>
                      <a:pt x="24" y="46"/>
                    </a:lnTo>
                    <a:lnTo>
                      <a:pt x="16" y="46"/>
                    </a:lnTo>
                    <a:lnTo>
                      <a:pt x="4" y="46"/>
                    </a:lnTo>
                    <a:lnTo>
                      <a:pt x="4" y="4"/>
                    </a:lnTo>
                    <a:close/>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4" name="Freeform 314"/>
              <p:cNvSpPr>
                <a:spLocks/>
              </p:cNvSpPr>
              <p:nvPr/>
            </p:nvSpPr>
            <p:spPr bwMode="auto">
              <a:xfrm>
                <a:off x="1897" y="3351"/>
                <a:ext cx="50" cy="46"/>
              </a:xfrm>
              <a:custGeom>
                <a:avLst/>
                <a:gdLst>
                  <a:gd name="T0" fmla="*/ 0 w 50"/>
                  <a:gd name="T1" fmla="*/ 0 h 46"/>
                  <a:gd name="T2" fmla="*/ 4 w 50"/>
                  <a:gd name="T3" fmla="*/ 2 h 46"/>
                  <a:gd name="T4" fmla="*/ 6 w 50"/>
                  <a:gd name="T5" fmla="*/ 8 h 46"/>
                  <a:gd name="T6" fmla="*/ 8 w 50"/>
                  <a:gd name="T7" fmla="*/ 16 h 46"/>
                  <a:gd name="T8" fmla="*/ 18 w 50"/>
                  <a:gd name="T9" fmla="*/ 28 h 46"/>
                  <a:gd name="T10" fmla="*/ 30 w 50"/>
                  <a:gd name="T11" fmla="*/ 36 h 46"/>
                  <a:gd name="T12" fmla="*/ 44 w 50"/>
                  <a:gd name="T13" fmla="*/ 40 h 46"/>
                  <a:gd name="T14" fmla="*/ 50 w 50"/>
                  <a:gd name="T15" fmla="*/ 42 h 46"/>
                  <a:gd name="T16" fmla="*/ 46 w 50"/>
                  <a:gd name="T17" fmla="*/ 44 h 46"/>
                  <a:gd name="T18" fmla="*/ 32 w 50"/>
                  <a:gd name="T19" fmla="*/ 46 h 46"/>
                  <a:gd name="T20" fmla="*/ 20 w 50"/>
                  <a:gd name="T21" fmla="*/ 42 h 46"/>
                  <a:gd name="T22" fmla="*/ 12 w 50"/>
                  <a:gd name="T23" fmla="*/ 42 h 46"/>
                  <a:gd name="T24" fmla="*/ 0 w 50"/>
                  <a:gd name="T25" fmla="*/ 42 h 46"/>
                  <a:gd name="T26" fmla="*/ 0 w 50"/>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6">
                    <a:moveTo>
                      <a:pt x="0" y="0"/>
                    </a:moveTo>
                    <a:lnTo>
                      <a:pt x="4" y="2"/>
                    </a:lnTo>
                    <a:lnTo>
                      <a:pt x="6" y="8"/>
                    </a:lnTo>
                    <a:lnTo>
                      <a:pt x="8" y="16"/>
                    </a:lnTo>
                    <a:lnTo>
                      <a:pt x="18" y="28"/>
                    </a:lnTo>
                    <a:lnTo>
                      <a:pt x="30" y="36"/>
                    </a:lnTo>
                    <a:lnTo>
                      <a:pt x="44" y="40"/>
                    </a:lnTo>
                    <a:lnTo>
                      <a:pt x="50" y="42"/>
                    </a:lnTo>
                    <a:lnTo>
                      <a:pt x="46" y="44"/>
                    </a:lnTo>
                    <a:lnTo>
                      <a:pt x="32" y="46"/>
                    </a:lnTo>
                    <a:lnTo>
                      <a:pt x="20" y="42"/>
                    </a:lnTo>
                    <a:lnTo>
                      <a:pt x="12" y="42"/>
                    </a:lnTo>
                    <a:lnTo>
                      <a:pt x="0" y="4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5" name="Freeform 315"/>
              <p:cNvSpPr>
                <a:spLocks/>
              </p:cNvSpPr>
              <p:nvPr/>
            </p:nvSpPr>
            <p:spPr bwMode="auto">
              <a:xfrm>
                <a:off x="1893" y="3347"/>
                <a:ext cx="58" cy="54"/>
              </a:xfrm>
              <a:custGeom>
                <a:avLst/>
                <a:gdLst>
                  <a:gd name="T0" fmla="*/ 4 w 58"/>
                  <a:gd name="T1" fmla="*/ 0 h 54"/>
                  <a:gd name="T2" fmla="*/ 4 w 58"/>
                  <a:gd name="T3" fmla="*/ 0 h 54"/>
                  <a:gd name="T4" fmla="*/ 2 w 58"/>
                  <a:gd name="T5" fmla="*/ 2 h 54"/>
                  <a:gd name="T6" fmla="*/ 2 w 58"/>
                  <a:gd name="T7" fmla="*/ 2 h 54"/>
                  <a:gd name="T8" fmla="*/ 0 w 58"/>
                  <a:gd name="T9" fmla="*/ 4 h 54"/>
                  <a:gd name="T10" fmla="*/ 0 w 58"/>
                  <a:gd name="T11" fmla="*/ 46 h 54"/>
                  <a:gd name="T12" fmla="*/ 0 w 58"/>
                  <a:gd name="T13" fmla="*/ 46 h 54"/>
                  <a:gd name="T14" fmla="*/ 2 w 58"/>
                  <a:gd name="T15" fmla="*/ 48 h 54"/>
                  <a:gd name="T16" fmla="*/ 4 w 58"/>
                  <a:gd name="T17" fmla="*/ 50 h 54"/>
                  <a:gd name="T18" fmla="*/ 16 w 58"/>
                  <a:gd name="T19" fmla="*/ 50 h 54"/>
                  <a:gd name="T20" fmla="*/ 24 w 58"/>
                  <a:gd name="T21" fmla="*/ 50 h 54"/>
                  <a:gd name="T22" fmla="*/ 36 w 58"/>
                  <a:gd name="T23" fmla="*/ 54 h 54"/>
                  <a:gd name="T24" fmla="*/ 36 w 58"/>
                  <a:gd name="T25" fmla="*/ 54 h 54"/>
                  <a:gd name="T26" fmla="*/ 36 w 58"/>
                  <a:gd name="T27" fmla="*/ 54 h 54"/>
                  <a:gd name="T28" fmla="*/ 36 w 58"/>
                  <a:gd name="T29" fmla="*/ 54 h 54"/>
                  <a:gd name="T30" fmla="*/ 38 w 58"/>
                  <a:gd name="T31" fmla="*/ 54 h 54"/>
                  <a:gd name="T32" fmla="*/ 50 w 58"/>
                  <a:gd name="T33" fmla="*/ 52 h 54"/>
                  <a:gd name="T34" fmla="*/ 50 w 58"/>
                  <a:gd name="T35" fmla="*/ 52 h 54"/>
                  <a:gd name="T36" fmla="*/ 50 w 58"/>
                  <a:gd name="T37" fmla="*/ 52 h 54"/>
                  <a:gd name="T38" fmla="*/ 56 w 58"/>
                  <a:gd name="T39" fmla="*/ 50 h 54"/>
                  <a:gd name="T40" fmla="*/ 56 w 58"/>
                  <a:gd name="T41" fmla="*/ 50 h 54"/>
                  <a:gd name="T42" fmla="*/ 58 w 58"/>
                  <a:gd name="T43" fmla="*/ 48 h 54"/>
                  <a:gd name="T44" fmla="*/ 58 w 58"/>
                  <a:gd name="T45" fmla="*/ 46 h 54"/>
                  <a:gd name="T46" fmla="*/ 58 w 58"/>
                  <a:gd name="T47" fmla="*/ 46 h 54"/>
                  <a:gd name="T48" fmla="*/ 58 w 58"/>
                  <a:gd name="T49" fmla="*/ 44 h 54"/>
                  <a:gd name="T50" fmla="*/ 56 w 58"/>
                  <a:gd name="T51" fmla="*/ 42 h 54"/>
                  <a:gd name="T52" fmla="*/ 48 w 58"/>
                  <a:gd name="T53" fmla="*/ 40 h 54"/>
                  <a:gd name="T54" fmla="*/ 34 w 58"/>
                  <a:gd name="T55" fmla="*/ 36 h 54"/>
                  <a:gd name="T56" fmla="*/ 24 w 58"/>
                  <a:gd name="T57" fmla="*/ 30 h 54"/>
                  <a:gd name="T58" fmla="*/ 16 w 58"/>
                  <a:gd name="T59" fmla="*/ 18 h 54"/>
                  <a:gd name="T60" fmla="*/ 14 w 58"/>
                  <a:gd name="T61" fmla="*/ 12 h 54"/>
                  <a:gd name="T62" fmla="*/ 12 w 58"/>
                  <a:gd name="T63" fmla="*/ 6 h 54"/>
                  <a:gd name="T64" fmla="*/ 12 w 58"/>
                  <a:gd name="T65" fmla="*/ 6 h 54"/>
                  <a:gd name="T66" fmla="*/ 10 w 58"/>
                  <a:gd name="T67" fmla="*/ 4 h 54"/>
                  <a:gd name="T68" fmla="*/ 6 w 58"/>
                  <a:gd name="T69" fmla="*/ 2 h 54"/>
                  <a:gd name="T70" fmla="*/ 6 w 58"/>
                  <a:gd name="T71" fmla="*/ 2 h 54"/>
                  <a:gd name="T72" fmla="*/ 4 w 58"/>
                  <a:gd name="T73" fmla="*/ 0 h 54"/>
                  <a:gd name="T74" fmla="*/ 4 w 58"/>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4">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6" name="Freeform 316"/>
              <p:cNvSpPr>
                <a:spLocks/>
              </p:cNvSpPr>
              <p:nvPr/>
            </p:nvSpPr>
            <p:spPr bwMode="auto">
              <a:xfrm>
                <a:off x="1857" y="3345"/>
                <a:ext cx="64" cy="66"/>
              </a:xfrm>
              <a:custGeom>
                <a:avLst/>
                <a:gdLst>
                  <a:gd name="T0" fmla="*/ 32 w 64"/>
                  <a:gd name="T1" fmla="*/ 64 h 66"/>
                  <a:gd name="T2" fmla="*/ 22 w 64"/>
                  <a:gd name="T3" fmla="*/ 62 h 66"/>
                  <a:gd name="T4" fmla="*/ 18 w 64"/>
                  <a:gd name="T5" fmla="*/ 56 h 66"/>
                  <a:gd name="T6" fmla="*/ 18 w 64"/>
                  <a:gd name="T7" fmla="*/ 56 h 66"/>
                  <a:gd name="T8" fmla="*/ 14 w 64"/>
                  <a:gd name="T9" fmla="*/ 52 h 66"/>
                  <a:gd name="T10" fmla="*/ 14 w 64"/>
                  <a:gd name="T11" fmla="*/ 56 h 66"/>
                  <a:gd name="T12" fmla="*/ 14 w 64"/>
                  <a:gd name="T13" fmla="*/ 58 h 66"/>
                  <a:gd name="T14" fmla="*/ 12 w 64"/>
                  <a:gd name="T15" fmla="*/ 58 h 66"/>
                  <a:gd name="T16" fmla="*/ 2 w 64"/>
                  <a:gd name="T17" fmla="*/ 54 h 66"/>
                  <a:gd name="T18" fmla="*/ 0 w 64"/>
                  <a:gd name="T19" fmla="*/ 52 h 66"/>
                  <a:gd name="T20" fmla="*/ 0 w 64"/>
                  <a:gd name="T21" fmla="*/ 40 h 66"/>
                  <a:gd name="T22" fmla="*/ 0 w 64"/>
                  <a:gd name="T23" fmla="*/ 38 h 66"/>
                  <a:gd name="T24" fmla="*/ 10 w 64"/>
                  <a:gd name="T25" fmla="*/ 36 h 66"/>
                  <a:gd name="T26" fmla="*/ 24 w 64"/>
                  <a:gd name="T27" fmla="*/ 38 h 66"/>
                  <a:gd name="T28" fmla="*/ 20 w 64"/>
                  <a:gd name="T29" fmla="*/ 34 h 66"/>
                  <a:gd name="T30" fmla="*/ 14 w 64"/>
                  <a:gd name="T31" fmla="*/ 30 h 66"/>
                  <a:gd name="T32" fmla="*/ 16 w 64"/>
                  <a:gd name="T33" fmla="*/ 22 h 66"/>
                  <a:gd name="T34" fmla="*/ 18 w 64"/>
                  <a:gd name="T35" fmla="*/ 20 h 66"/>
                  <a:gd name="T36" fmla="*/ 24 w 64"/>
                  <a:gd name="T37" fmla="*/ 20 h 66"/>
                  <a:gd name="T38" fmla="*/ 14 w 64"/>
                  <a:gd name="T39" fmla="*/ 20 h 66"/>
                  <a:gd name="T40" fmla="*/ 14 w 64"/>
                  <a:gd name="T41" fmla="*/ 20 h 66"/>
                  <a:gd name="T42" fmla="*/ 12 w 64"/>
                  <a:gd name="T43" fmla="*/ 20 h 66"/>
                  <a:gd name="T44" fmla="*/ 12 w 64"/>
                  <a:gd name="T45" fmla="*/ 20 h 66"/>
                  <a:gd name="T46" fmla="*/ 10 w 64"/>
                  <a:gd name="T47" fmla="*/ 14 h 66"/>
                  <a:gd name="T48" fmla="*/ 12 w 64"/>
                  <a:gd name="T49" fmla="*/ 8 h 66"/>
                  <a:gd name="T50" fmla="*/ 14 w 64"/>
                  <a:gd name="T51" fmla="*/ 8 h 66"/>
                  <a:gd name="T52" fmla="*/ 22 w 64"/>
                  <a:gd name="T53" fmla="*/ 2 h 66"/>
                  <a:gd name="T54" fmla="*/ 22 w 64"/>
                  <a:gd name="T55" fmla="*/ 2 h 66"/>
                  <a:gd name="T56" fmla="*/ 36 w 64"/>
                  <a:gd name="T57" fmla="*/ 0 h 66"/>
                  <a:gd name="T58" fmla="*/ 38 w 64"/>
                  <a:gd name="T59" fmla="*/ 0 h 66"/>
                  <a:gd name="T60" fmla="*/ 40 w 64"/>
                  <a:gd name="T61" fmla="*/ 6 h 66"/>
                  <a:gd name="T62" fmla="*/ 42 w 64"/>
                  <a:gd name="T63" fmla="*/ 46 h 66"/>
                  <a:gd name="T64" fmla="*/ 60 w 64"/>
                  <a:gd name="T65" fmla="*/ 46 h 66"/>
                  <a:gd name="T66" fmla="*/ 64 w 64"/>
                  <a:gd name="T67" fmla="*/ 50 h 66"/>
                  <a:gd name="T68" fmla="*/ 64 w 64"/>
                  <a:gd name="T69" fmla="*/ 52 h 66"/>
                  <a:gd name="T70" fmla="*/ 64 w 64"/>
                  <a:gd name="T71" fmla="*/ 56 h 66"/>
                  <a:gd name="T72" fmla="*/ 56 w 64"/>
                  <a:gd name="T73" fmla="*/ 60 h 66"/>
                  <a:gd name="T74" fmla="*/ 42 w 64"/>
                  <a:gd name="T75" fmla="*/ 60 h 66"/>
                  <a:gd name="T76" fmla="*/ 40 w 64"/>
                  <a:gd name="T77" fmla="*/ 64 h 66"/>
                  <a:gd name="T78" fmla="*/ 40 w 64"/>
                  <a:gd name="T79" fmla="*/ 66 h 66"/>
                  <a:gd name="T80" fmla="*/ 38 w 64"/>
                  <a:gd name="T8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66">
                    <a:moveTo>
                      <a:pt x="38" y="66"/>
                    </a:moveTo>
                    <a:lnTo>
                      <a:pt x="32" y="64"/>
                    </a:lnTo>
                    <a:lnTo>
                      <a:pt x="22" y="62"/>
                    </a:lnTo>
                    <a:lnTo>
                      <a:pt x="22" y="62"/>
                    </a:lnTo>
                    <a:lnTo>
                      <a:pt x="22" y="60"/>
                    </a:lnTo>
                    <a:lnTo>
                      <a:pt x="18" y="56"/>
                    </a:lnTo>
                    <a:lnTo>
                      <a:pt x="18" y="56"/>
                    </a:lnTo>
                    <a:lnTo>
                      <a:pt x="18" y="56"/>
                    </a:lnTo>
                    <a:lnTo>
                      <a:pt x="18" y="52"/>
                    </a:lnTo>
                    <a:lnTo>
                      <a:pt x="14" y="52"/>
                    </a:lnTo>
                    <a:lnTo>
                      <a:pt x="14" y="56"/>
                    </a:lnTo>
                    <a:lnTo>
                      <a:pt x="14" y="56"/>
                    </a:lnTo>
                    <a:lnTo>
                      <a:pt x="14" y="58"/>
                    </a:lnTo>
                    <a:lnTo>
                      <a:pt x="14" y="58"/>
                    </a:lnTo>
                    <a:lnTo>
                      <a:pt x="12" y="58"/>
                    </a:lnTo>
                    <a:lnTo>
                      <a:pt x="12" y="58"/>
                    </a:lnTo>
                    <a:lnTo>
                      <a:pt x="12" y="58"/>
                    </a:lnTo>
                    <a:lnTo>
                      <a:pt x="2" y="54"/>
                    </a:lnTo>
                    <a:lnTo>
                      <a:pt x="2" y="54"/>
                    </a:lnTo>
                    <a:lnTo>
                      <a:pt x="0" y="52"/>
                    </a:lnTo>
                    <a:lnTo>
                      <a:pt x="0" y="46"/>
                    </a:lnTo>
                    <a:lnTo>
                      <a:pt x="0" y="40"/>
                    </a:lnTo>
                    <a:lnTo>
                      <a:pt x="0" y="40"/>
                    </a:lnTo>
                    <a:lnTo>
                      <a:pt x="0" y="38"/>
                    </a:lnTo>
                    <a:lnTo>
                      <a:pt x="6" y="36"/>
                    </a:lnTo>
                    <a:lnTo>
                      <a:pt x="10" y="36"/>
                    </a:lnTo>
                    <a:lnTo>
                      <a:pt x="20" y="36"/>
                    </a:lnTo>
                    <a:lnTo>
                      <a:pt x="24" y="38"/>
                    </a:lnTo>
                    <a:lnTo>
                      <a:pt x="24" y="38"/>
                    </a:lnTo>
                    <a:lnTo>
                      <a:pt x="20" y="34"/>
                    </a:lnTo>
                    <a:lnTo>
                      <a:pt x="14" y="30"/>
                    </a:lnTo>
                    <a:lnTo>
                      <a:pt x="14" y="30"/>
                    </a:lnTo>
                    <a:lnTo>
                      <a:pt x="14" y="28"/>
                    </a:lnTo>
                    <a:lnTo>
                      <a:pt x="16" y="22"/>
                    </a:lnTo>
                    <a:lnTo>
                      <a:pt x="16" y="22"/>
                    </a:lnTo>
                    <a:lnTo>
                      <a:pt x="18" y="20"/>
                    </a:lnTo>
                    <a:lnTo>
                      <a:pt x="22" y="20"/>
                    </a:lnTo>
                    <a:lnTo>
                      <a:pt x="24" y="20"/>
                    </a:lnTo>
                    <a:lnTo>
                      <a:pt x="24" y="18"/>
                    </a:lnTo>
                    <a:lnTo>
                      <a:pt x="14" y="20"/>
                    </a:lnTo>
                    <a:lnTo>
                      <a:pt x="14" y="20"/>
                    </a:lnTo>
                    <a:lnTo>
                      <a:pt x="14" y="20"/>
                    </a:lnTo>
                    <a:lnTo>
                      <a:pt x="14" y="20"/>
                    </a:lnTo>
                    <a:lnTo>
                      <a:pt x="12" y="20"/>
                    </a:lnTo>
                    <a:lnTo>
                      <a:pt x="12" y="20"/>
                    </a:lnTo>
                    <a:lnTo>
                      <a:pt x="12" y="20"/>
                    </a:lnTo>
                    <a:lnTo>
                      <a:pt x="10" y="14"/>
                    </a:lnTo>
                    <a:lnTo>
                      <a:pt x="10" y="14"/>
                    </a:lnTo>
                    <a:lnTo>
                      <a:pt x="10" y="12"/>
                    </a:lnTo>
                    <a:lnTo>
                      <a:pt x="12" y="8"/>
                    </a:lnTo>
                    <a:lnTo>
                      <a:pt x="12" y="8"/>
                    </a:lnTo>
                    <a:lnTo>
                      <a:pt x="14" y="8"/>
                    </a:lnTo>
                    <a:lnTo>
                      <a:pt x="18" y="6"/>
                    </a:lnTo>
                    <a:lnTo>
                      <a:pt x="22" y="2"/>
                    </a:lnTo>
                    <a:lnTo>
                      <a:pt x="22" y="2"/>
                    </a:lnTo>
                    <a:lnTo>
                      <a:pt x="22" y="2"/>
                    </a:lnTo>
                    <a:lnTo>
                      <a:pt x="30" y="0"/>
                    </a:lnTo>
                    <a:lnTo>
                      <a:pt x="36" y="0"/>
                    </a:lnTo>
                    <a:lnTo>
                      <a:pt x="36" y="0"/>
                    </a:lnTo>
                    <a:lnTo>
                      <a:pt x="38" y="0"/>
                    </a:lnTo>
                    <a:lnTo>
                      <a:pt x="40" y="6"/>
                    </a:lnTo>
                    <a:lnTo>
                      <a:pt x="40" y="6"/>
                    </a:lnTo>
                    <a:lnTo>
                      <a:pt x="42" y="8"/>
                    </a:lnTo>
                    <a:lnTo>
                      <a:pt x="42" y="46"/>
                    </a:lnTo>
                    <a:lnTo>
                      <a:pt x="60" y="46"/>
                    </a:lnTo>
                    <a:lnTo>
                      <a:pt x="60" y="46"/>
                    </a:lnTo>
                    <a:lnTo>
                      <a:pt x="60" y="46"/>
                    </a:lnTo>
                    <a:lnTo>
                      <a:pt x="64" y="50"/>
                    </a:lnTo>
                    <a:lnTo>
                      <a:pt x="64" y="50"/>
                    </a:lnTo>
                    <a:lnTo>
                      <a:pt x="64" y="52"/>
                    </a:lnTo>
                    <a:lnTo>
                      <a:pt x="64" y="56"/>
                    </a:lnTo>
                    <a:lnTo>
                      <a:pt x="64" y="56"/>
                    </a:lnTo>
                    <a:lnTo>
                      <a:pt x="64" y="58"/>
                    </a:lnTo>
                    <a:lnTo>
                      <a:pt x="56" y="60"/>
                    </a:lnTo>
                    <a:lnTo>
                      <a:pt x="48" y="60"/>
                    </a:lnTo>
                    <a:lnTo>
                      <a:pt x="42" y="60"/>
                    </a:lnTo>
                    <a:lnTo>
                      <a:pt x="40" y="64"/>
                    </a:lnTo>
                    <a:lnTo>
                      <a:pt x="40" y="64"/>
                    </a:lnTo>
                    <a:lnTo>
                      <a:pt x="40" y="66"/>
                    </a:lnTo>
                    <a:lnTo>
                      <a:pt x="40" y="66"/>
                    </a:lnTo>
                    <a:lnTo>
                      <a:pt x="38" y="66"/>
                    </a:lnTo>
                    <a:lnTo>
                      <a:pt x="38"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7" name="Freeform 317"/>
              <p:cNvSpPr>
                <a:spLocks noEditPoints="1"/>
              </p:cNvSpPr>
              <p:nvPr/>
            </p:nvSpPr>
            <p:spPr bwMode="auto">
              <a:xfrm>
                <a:off x="1855" y="3343"/>
                <a:ext cx="68" cy="70"/>
              </a:xfrm>
              <a:custGeom>
                <a:avLst/>
                <a:gdLst>
                  <a:gd name="T0" fmla="*/ 42 w 68"/>
                  <a:gd name="T1" fmla="*/ 10 h 70"/>
                  <a:gd name="T2" fmla="*/ 62 w 68"/>
                  <a:gd name="T3" fmla="*/ 50 h 70"/>
                  <a:gd name="T4" fmla="*/ 64 w 68"/>
                  <a:gd name="T5" fmla="*/ 58 h 70"/>
                  <a:gd name="T6" fmla="*/ 50 w 68"/>
                  <a:gd name="T7" fmla="*/ 60 h 70"/>
                  <a:gd name="T8" fmla="*/ 42 w 68"/>
                  <a:gd name="T9" fmla="*/ 66 h 70"/>
                  <a:gd name="T10" fmla="*/ 24 w 68"/>
                  <a:gd name="T11" fmla="*/ 62 h 70"/>
                  <a:gd name="T12" fmla="*/ 22 w 68"/>
                  <a:gd name="T13" fmla="*/ 52 h 70"/>
                  <a:gd name="T14" fmla="*/ 14 w 68"/>
                  <a:gd name="T15" fmla="*/ 52 h 70"/>
                  <a:gd name="T16" fmla="*/ 4 w 68"/>
                  <a:gd name="T17" fmla="*/ 54 h 70"/>
                  <a:gd name="T18" fmla="*/ 4 w 68"/>
                  <a:gd name="T19" fmla="*/ 42 h 70"/>
                  <a:gd name="T20" fmla="*/ 12 w 68"/>
                  <a:gd name="T21" fmla="*/ 40 h 70"/>
                  <a:gd name="T22" fmla="*/ 26 w 68"/>
                  <a:gd name="T23" fmla="*/ 42 h 70"/>
                  <a:gd name="T24" fmla="*/ 24 w 68"/>
                  <a:gd name="T25" fmla="*/ 34 h 70"/>
                  <a:gd name="T26" fmla="*/ 20 w 68"/>
                  <a:gd name="T27" fmla="*/ 24 h 70"/>
                  <a:gd name="T28" fmla="*/ 28 w 68"/>
                  <a:gd name="T29" fmla="*/ 22 h 70"/>
                  <a:gd name="T30" fmla="*/ 22 w 68"/>
                  <a:gd name="T31" fmla="*/ 18 h 70"/>
                  <a:gd name="T32" fmla="*/ 14 w 68"/>
                  <a:gd name="T33" fmla="*/ 14 h 70"/>
                  <a:gd name="T34" fmla="*/ 22 w 68"/>
                  <a:gd name="T35" fmla="*/ 10 h 70"/>
                  <a:gd name="T36" fmla="*/ 32 w 68"/>
                  <a:gd name="T37" fmla="*/ 4 h 70"/>
                  <a:gd name="T38" fmla="*/ 38 w 68"/>
                  <a:gd name="T39" fmla="*/ 0 h 70"/>
                  <a:gd name="T40" fmla="*/ 32 w 68"/>
                  <a:gd name="T41" fmla="*/ 0 h 70"/>
                  <a:gd name="T42" fmla="*/ 24 w 68"/>
                  <a:gd name="T43" fmla="*/ 2 h 70"/>
                  <a:gd name="T44" fmla="*/ 22 w 68"/>
                  <a:gd name="T45" fmla="*/ 2 h 70"/>
                  <a:gd name="T46" fmla="*/ 14 w 68"/>
                  <a:gd name="T47" fmla="*/ 8 h 70"/>
                  <a:gd name="T48" fmla="*/ 12 w 68"/>
                  <a:gd name="T49" fmla="*/ 10 h 70"/>
                  <a:gd name="T50" fmla="*/ 10 w 68"/>
                  <a:gd name="T51" fmla="*/ 14 h 70"/>
                  <a:gd name="T52" fmla="*/ 12 w 68"/>
                  <a:gd name="T53" fmla="*/ 22 h 70"/>
                  <a:gd name="T54" fmla="*/ 14 w 68"/>
                  <a:gd name="T55" fmla="*/ 24 h 70"/>
                  <a:gd name="T56" fmla="*/ 16 w 68"/>
                  <a:gd name="T57" fmla="*/ 24 h 70"/>
                  <a:gd name="T58" fmla="*/ 14 w 68"/>
                  <a:gd name="T59" fmla="*/ 30 h 70"/>
                  <a:gd name="T60" fmla="*/ 16 w 68"/>
                  <a:gd name="T61" fmla="*/ 34 h 70"/>
                  <a:gd name="T62" fmla="*/ 12 w 68"/>
                  <a:gd name="T63" fmla="*/ 36 h 70"/>
                  <a:gd name="T64" fmla="*/ 8 w 68"/>
                  <a:gd name="T65" fmla="*/ 36 h 70"/>
                  <a:gd name="T66" fmla="*/ 2 w 68"/>
                  <a:gd name="T67" fmla="*/ 38 h 70"/>
                  <a:gd name="T68" fmla="*/ 0 w 68"/>
                  <a:gd name="T69" fmla="*/ 40 h 70"/>
                  <a:gd name="T70" fmla="*/ 0 w 68"/>
                  <a:gd name="T71" fmla="*/ 48 h 70"/>
                  <a:gd name="T72" fmla="*/ 0 w 68"/>
                  <a:gd name="T73" fmla="*/ 54 h 70"/>
                  <a:gd name="T74" fmla="*/ 4 w 68"/>
                  <a:gd name="T75" fmla="*/ 58 h 70"/>
                  <a:gd name="T76" fmla="*/ 12 w 68"/>
                  <a:gd name="T77" fmla="*/ 62 h 70"/>
                  <a:gd name="T78" fmla="*/ 14 w 68"/>
                  <a:gd name="T79" fmla="*/ 62 h 70"/>
                  <a:gd name="T80" fmla="*/ 16 w 68"/>
                  <a:gd name="T81" fmla="*/ 60 h 70"/>
                  <a:gd name="T82" fmla="*/ 18 w 68"/>
                  <a:gd name="T83" fmla="*/ 60 h 70"/>
                  <a:gd name="T84" fmla="*/ 22 w 68"/>
                  <a:gd name="T85" fmla="*/ 64 h 70"/>
                  <a:gd name="T86" fmla="*/ 24 w 68"/>
                  <a:gd name="T87" fmla="*/ 66 h 70"/>
                  <a:gd name="T88" fmla="*/ 40 w 68"/>
                  <a:gd name="T89" fmla="*/ 68 h 70"/>
                  <a:gd name="T90" fmla="*/ 42 w 68"/>
                  <a:gd name="T91" fmla="*/ 70 h 70"/>
                  <a:gd name="T92" fmla="*/ 44 w 68"/>
                  <a:gd name="T93" fmla="*/ 68 h 70"/>
                  <a:gd name="T94" fmla="*/ 46 w 68"/>
                  <a:gd name="T95" fmla="*/ 64 h 70"/>
                  <a:gd name="T96" fmla="*/ 58 w 68"/>
                  <a:gd name="T97" fmla="*/ 64 h 70"/>
                  <a:gd name="T98" fmla="*/ 58 w 68"/>
                  <a:gd name="T99" fmla="*/ 64 h 70"/>
                  <a:gd name="T100" fmla="*/ 66 w 68"/>
                  <a:gd name="T101" fmla="*/ 62 h 70"/>
                  <a:gd name="T102" fmla="*/ 68 w 68"/>
                  <a:gd name="T103" fmla="*/ 58 h 70"/>
                  <a:gd name="T104" fmla="*/ 68 w 68"/>
                  <a:gd name="T105" fmla="*/ 54 h 70"/>
                  <a:gd name="T106" fmla="*/ 64 w 68"/>
                  <a:gd name="T107" fmla="*/ 46 h 70"/>
                  <a:gd name="T108" fmla="*/ 62 w 68"/>
                  <a:gd name="T109" fmla="*/ 46 h 70"/>
                  <a:gd name="T110" fmla="*/ 46 w 68"/>
                  <a:gd name="T111" fmla="*/ 10 h 70"/>
                  <a:gd name="T112" fmla="*/ 44 w 68"/>
                  <a:gd name="T113" fmla="*/ 8 h 70"/>
                  <a:gd name="T114" fmla="*/ 40 w 68"/>
                  <a:gd name="T115" fmla="*/ 2 h 70"/>
                  <a:gd name="T116" fmla="*/ 38 w 68"/>
                  <a:gd name="T1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0">
                    <a:moveTo>
                      <a:pt x="38" y="4"/>
                    </a:moveTo>
                    <a:lnTo>
                      <a:pt x="42" y="10"/>
                    </a:lnTo>
                    <a:lnTo>
                      <a:pt x="42" y="50"/>
                    </a:lnTo>
                    <a:lnTo>
                      <a:pt x="62" y="50"/>
                    </a:lnTo>
                    <a:lnTo>
                      <a:pt x="64" y="54"/>
                    </a:lnTo>
                    <a:lnTo>
                      <a:pt x="64" y="58"/>
                    </a:lnTo>
                    <a:lnTo>
                      <a:pt x="58" y="60"/>
                    </a:lnTo>
                    <a:lnTo>
                      <a:pt x="50" y="60"/>
                    </a:lnTo>
                    <a:lnTo>
                      <a:pt x="42" y="62"/>
                    </a:lnTo>
                    <a:lnTo>
                      <a:pt x="42" y="66"/>
                    </a:lnTo>
                    <a:lnTo>
                      <a:pt x="34" y="64"/>
                    </a:lnTo>
                    <a:lnTo>
                      <a:pt x="24" y="62"/>
                    </a:lnTo>
                    <a:lnTo>
                      <a:pt x="22" y="58"/>
                    </a:lnTo>
                    <a:lnTo>
                      <a:pt x="22" y="52"/>
                    </a:lnTo>
                    <a:lnTo>
                      <a:pt x="18" y="52"/>
                    </a:lnTo>
                    <a:lnTo>
                      <a:pt x="14" y="52"/>
                    </a:lnTo>
                    <a:lnTo>
                      <a:pt x="14" y="58"/>
                    </a:lnTo>
                    <a:lnTo>
                      <a:pt x="4" y="54"/>
                    </a:lnTo>
                    <a:lnTo>
                      <a:pt x="4" y="48"/>
                    </a:lnTo>
                    <a:lnTo>
                      <a:pt x="4" y="42"/>
                    </a:lnTo>
                    <a:lnTo>
                      <a:pt x="8" y="40"/>
                    </a:lnTo>
                    <a:lnTo>
                      <a:pt x="12" y="40"/>
                    </a:lnTo>
                    <a:lnTo>
                      <a:pt x="22" y="40"/>
                    </a:lnTo>
                    <a:lnTo>
                      <a:pt x="26" y="42"/>
                    </a:lnTo>
                    <a:lnTo>
                      <a:pt x="30" y="40"/>
                    </a:lnTo>
                    <a:lnTo>
                      <a:pt x="24" y="34"/>
                    </a:lnTo>
                    <a:lnTo>
                      <a:pt x="18" y="30"/>
                    </a:lnTo>
                    <a:lnTo>
                      <a:pt x="20" y="24"/>
                    </a:lnTo>
                    <a:lnTo>
                      <a:pt x="24" y="24"/>
                    </a:lnTo>
                    <a:lnTo>
                      <a:pt x="28" y="22"/>
                    </a:lnTo>
                    <a:lnTo>
                      <a:pt x="26" y="16"/>
                    </a:lnTo>
                    <a:lnTo>
                      <a:pt x="22" y="18"/>
                    </a:lnTo>
                    <a:lnTo>
                      <a:pt x="16" y="20"/>
                    </a:lnTo>
                    <a:lnTo>
                      <a:pt x="14" y="14"/>
                    </a:lnTo>
                    <a:lnTo>
                      <a:pt x="16" y="12"/>
                    </a:lnTo>
                    <a:lnTo>
                      <a:pt x="22" y="10"/>
                    </a:lnTo>
                    <a:lnTo>
                      <a:pt x="24" y="6"/>
                    </a:lnTo>
                    <a:lnTo>
                      <a:pt x="32" y="4"/>
                    </a:lnTo>
                    <a:lnTo>
                      <a:pt x="38" y="4"/>
                    </a:lnTo>
                    <a:close/>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8" name="Freeform 318"/>
              <p:cNvSpPr>
                <a:spLocks/>
              </p:cNvSpPr>
              <p:nvPr/>
            </p:nvSpPr>
            <p:spPr bwMode="auto">
              <a:xfrm>
                <a:off x="1859" y="3347"/>
                <a:ext cx="60" cy="62"/>
              </a:xfrm>
              <a:custGeom>
                <a:avLst/>
                <a:gdLst>
                  <a:gd name="T0" fmla="*/ 34 w 60"/>
                  <a:gd name="T1" fmla="*/ 0 h 62"/>
                  <a:gd name="T2" fmla="*/ 38 w 60"/>
                  <a:gd name="T3" fmla="*/ 6 h 62"/>
                  <a:gd name="T4" fmla="*/ 38 w 60"/>
                  <a:gd name="T5" fmla="*/ 46 h 62"/>
                  <a:gd name="T6" fmla="*/ 58 w 60"/>
                  <a:gd name="T7" fmla="*/ 46 h 62"/>
                  <a:gd name="T8" fmla="*/ 60 w 60"/>
                  <a:gd name="T9" fmla="*/ 50 h 62"/>
                  <a:gd name="T10" fmla="*/ 60 w 60"/>
                  <a:gd name="T11" fmla="*/ 54 h 62"/>
                  <a:gd name="T12" fmla="*/ 54 w 60"/>
                  <a:gd name="T13" fmla="*/ 56 h 62"/>
                  <a:gd name="T14" fmla="*/ 46 w 60"/>
                  <a:gd name="T15" fmla="*/ 56 h 62"/>
                  <a:gd name="T16" fmla="*/ 38 w 60"/>
                  <a:gd name="T17" fmla="*/ 58 h 62"/>
                  <a:gd name="T18" fmla="*/ 38 w 60"/>
                  <a:gd name="T19" fmla="*/ 62 h 62"/>
                  <a:gd name="T20" fmla="*/ 30 w 60"/>
                  <a:gd name="T21" fmla="*/ 60 h 62"/>
                  <a:gd name="T22" fmla="*/ 20 w 60"/>
                  <a:gd name="T23" fmla="*/ 58 h 62"/>
                  <a:gd name="T24" fmla="*/ 18 w 60"/>
                  <a:gd name="T25" fmla="*/ 54 h 62"/>
                  <a:gd name="T26" fmla="*/ 18 w 60"/>
                  <a:gd name="T27" fmla="*/ 48 h 62"/>
                  <a:gd name="T28" fmla="*/ 14 w 60"/>
                  <a:gd name="T29" fmla="*/ 48 h 62"/>
                  <a:gd name="T30" fmla="*/ 10 w 60"/>
                  <a:gd name="T31" fmla="*/ 48 h 62"/>
                  <a:gd name="T32" fmla="*/ 10 w 60"/>
                  <a:gd name="T33" fmla="*/ 54 h 62"/>
                  <a:gd name="T34" fmla="*/ 0 w 60"/>
                  <a:gd name="T35" fmla="*/ 50 h 62"/>
                  <a:gd name="T36" fmla="*/ 0 w 60"/>
                  <a:gd name="T37" fmla="*/ 44 h 62"/>
                  <a:gd name="T38" fmla="*/ 0 w 60"/>
                  <a:gd name="T39" fmla="*/ 38 h 62"/>
                  <a:gd name="T40" fmla="*/ 4 w 60"/>
                  <a:gd name="T41" fmla="*/ 36 h 62"/>
                  <a:gd name="T42" fmla="*/ 8 w 60"/>
                  <a:gd name="T43" fmla="*/ 36 h 62"/>
                  <a:gd name="T44" fmla="*/ 18 w 60"/>
                  <a:gd name="T45" fmla="*/ 36 h 62"/>
                  <a:gd name="T46" fmla="*/ 22 w 60"/>
                  <a:gd name="T47" fmla="*/ 38 h 62"/>
                  <a:gd name="T48" fmla="*/ 26 w 60"/>
                  <a:gd name="T49" fmla="*/ 36 h 62"/>
                  <a:gd name="T50" fmla="*/ 20 w 60"/>
                  <a:gd name="T51" fmla="*/ 30 h 62"/>
                  <a:gd name="T52" fmla="*/ 14 w 60"/>
                  <a:gd name="T53" fmla="*/ 26 h 62"/>
                  <a:gd name="T54" fmla="*/ 16 w 60"/>
                  <a:gd name="T55" fmla="*/ 20 h 62"/>
                  <a:gd name="T56" fmla="*/ 20 w 60"/>
                  <a:gd name="T57" fmla="*/ 20 h 62"/>
                  <a:gd name="T58" fmla="*/ 24 w 60"/>
                  <a:gd name="T59" fmla="*/ 18 h 62"/>
                  <a:gd name="T60" fmla="*/ 22 w 60"/>
                  <a:gd name="T61" fmla="*/ 12 h 62"/>
                  <a:gd name="T62" fmla="*/ 18 w 60"/>
                  <a:gd name="T63" fmla="*/ 14 h 62"/>
                  <a:gd name="T64" fmla="*/ 12 w 60"/>
                  <a:gd name="T65" fmla="*/ 16 h 62"/>
                  <a:gd name="T66" fmla="*/ 10 w 60"/>
                  <a:gd name="T67" fmla="*/ 10 h 62"/>
                  <a:gd name="T68" fmla="*/ 12 w 60"/>
                  <a:gd name="T69" fmla="*/ 8 h 62"/>
                  <a:gd name="T70" fmla="*/ 18 w 60"/>
                  <a:gd name="T71" fmla="*/ 6 h 62"/>
                  <a:gd name="T72" fmla="*/ 20 w 60"/>
                  <a:gd name="T73" fmla="*/ 2 h 62"/>
                  <a:gd name="T74" fmla="*/ 28 w 60"/>
                  <a:gd name="T75" fmla="*/ 0 h 62"/>
                  <a:gd name="T76" fmla="*/ 34 w 60"/>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2">
                    <a:moveTo>
                      <a:pt x="34" y="0"/>
                    </a:moveTo>
                    <a:lnTo>
                      <a:pt x="38" y="6"/>
                    </a:lnTo>
                    <a:lnTo>
                      <a:pt x="38" y="46"/>
                    </a:lnTo>
                    <a:lnTo>
                      <a:pt x="58" y="46"/>
                    </a:lnTo>
                    <a:lnTo>
                      <a:pt x="60" y="50"/>
                    </a:lnTo>
                    <a:lnTo>
                      <a:pt x="60" y="54"/>
                    </a:lnTo>
                    <a:lnTo>
                      <a:pt x="54" y="56"/>
                    </a:lnTo>
                    <a:lnTo>
                      <a:pt x="46" y="56"/>
                    </a:lnTo>
                    <a:lnTo>
                      <a:pt x="38" y="58"/>
                    </a:lnTo>
                    <a:lnTo>
                      <a:pt x="38" y="62"/>
                    </a:lnTo>
                    <a:lnTo>
                      <a:pt x="30" y="60"/>
                    </a:lnTo>
                    <a:lnTo>
                      <a:pt x="20" y="58"/>
                    </a:lnTo>
                    <a:lnTo>
                      <a:pt x="18" y="54"/>
                    </a:lnTo>
                    <a:lnTo>
                      <a:pt x="18" y="48"/>
                    </a:lnTo>
                    <a:lnTo>
                      <a:pt x="14" y="48"/>
                    </a:lnTo>
                    <a:lnTo>
                      <a:pt x="10" y="48"/>
                    </a:lnTo>
                    <a:lnTo>
                      <a:pt x="10" y="54"/>
                    </a:lnTo>
                    <a:lnTo>
                      <a:pt x="0" y="50"/>
                    </a:lnTo>
                    <a:lnTo>
                      <a:pt x="0" y="44"/>
                    </a:lnTo>
                    <a:lnTo>
                      <a:pt x="0" y="38"/>
                    </a:lnTo>
                    <a:lnTo>
                      <a:pt x="4" y="36"/>
                    </a:lnTo>
                    <a:lnTo>
                      <a:pt x="8" y="36"/>
                    </a:lnTo>
                    <a:lnTo>
                      <a:pt x="18" y="36"/>
                    </a:lnTo>
                    <a:lnTo>
                      <a:pt x="22" y="38"/>
                    </a:lnTo>
                    <a:lnTo>
                      <a:pt x="26" y="36"/>
                    </a:lnTo>
                    <a:lnTo>
                      <a:pt x="20" y="30"/>
                    </a:lnTo>
                    <a:lnTo>
                      <a:pt x="14" y="26"/>
                    </a:lnTo>
                    <a:lnTo>
                      <a:pt x="16" y="20"/>
                    </a:lnTo>
                    <a:lnTo>
                      <a:pt x="20" y="20"/>
                    </a:lnTo>
                    <a:lnTo>
                      <a:pt x="24" y="18"/>
                    </a:lnTo>
                    <a:lnTo>
                      <a:pt x="22" y="12"/>
                    </a:lnTo>
                    <a:lnTo>
                      <a:pt x="18" y="14"/>
                    </a:lnTo>
                    <a:lnTo>
                      <a:pt x="12" y="16"/>
                    </a:lnTo>
                    <a:lnTo>
                      <a:pt x="10" y="10"/>
                    </a:lnTo>
                    <a:lnTo>
                      <a:pt x="12" y="8"/>
                    </a:lnTo>
                    <a:lnTo>
                      <a:pt x="18" y="6"/>
                    </a:lnTo>
                    <a:lnTo>
                      <a:pt x="20" y="2"/>
                    </a:lnTo>
                    <a:lnTo>
                      <a:pt x="28"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9" name="Freeform 319"/>
              <p:cNvSpPr>
                <a:spLocks/>
              </p:cNvSpPr>
              <p:nvPr/>
            </p:nvSpPr>
            <p:spPr bwMode="auto">
              <a:xfrm>
                <a:off x="1855" y="3343"/>
                <a:ext cx="68" cy="70"/>
              </a:xfrm>
              <a:custGeom>
                <a:avLst/>
                <a:gdLst>
                  <a:gd name="T0" fmla="*/ 32 w 68"/>
                  <a:gd name="T1" fmla="*/ 0 h 70"/>
                  <a:gd name="T2" fmla="*/ 32 w 68"/>
                  <a:gd name="T3" fmla="*/ 0 h 70"/>
                  <a:gd name="T4" fmla="*/ 24 w 68"/>
                  <a:gd name="T5" fmla="*/ 2 h 70"/>
                  <a:gd name="T6" fmla="*/ 18 w 68"/>
                  <a:gd name="T7" fmla="*/ 6 h 70"/>
                  <a:gd name="T8" fmla="*/ 14 w 68"/>
                  <a:gd name="T9" fmla="*/ 8 h 70"/>
                  <a:gd name="T10" fmla="*/ 10 w 68"/>
                  <a:gd name="T11" fmla="*/ 14 h 70"/>
                  <a:gd name="T12" fmla="*/ 10 w 68"/>
                  <a:gd name="T13" fmla="*/ 16 h 70"/>
                  <a:gd name="T14" fmla="*/ 12 w 68"/>
                  <a:gd name="T15" fmla="*/ 22 h 70"/>
                  <a:gd name="T16" fmla="*/ 14 w 68"/>
                  <a:gd name="T17" fmla="*/ 24 h 70"/>
                  <a:gd name="T18" fmla="*/ 14 w 68"/>
                  <a:gd name="T19" fmla="*/ 30 h 70"/>
                  <a:gd name="T20" fmla="*/ 14 w 68"/>
                  <a:gd name="T21" fmla="*/ 32 h 70"/>
                  <a:gd name="T22" fmla="*/ 18 w 68"/>
                  <a:gd name="T23" fmla="*/ 36 h 70"/>
                  <a:gd name="T24" fmla="*/ 8 w 68"/>
                  <a:gd name="T25" fmla="*/ 36 h 70"/>
                  <a:gd name="T26" fmla="*/ 8 w 68"/>
                  <a:gd name="T27" fmla="*/ 36 h 70"/>
                  <a:gd name="T28" fmla="*/ 2 w 68"/>
                  <a:gd name="T29" fmla="*/ 38 h 70"/>
                  <a:gd name="T30" fmla="*/ 0 w 68"/>
                  <a:gd name="T31" fmla="*/ 44 h 70"/>
                  <a:gd name="T32" fmla="*/ 0 w 68"/>
                  <a:gd name="T33" fmla="*/ 54 h 70"/>
                  <a:gd name="T34" fmla="*/ 2 w 68"/>
                  <a:gd name="T35" fmla="*/ 56 h 70"/>
                  <a:gd name="T36" fmla="*/ 12 w 68"/>
                  <a:gd name="T37" fmla="*/ 62 h 70"/>
                  <a:gd name="T38" fmla="*/ 14 w 68"/>
                  <a:gd name="T39" fmla="*/ 62 h 70"/>
                  <a:gd name="T40" fmla="*/ 16 w 68"/>
                  <a:gd name="T41" fmla="*/ 60 h 70"/>
                  <a:gd name="T42" fmla="*/ 18 w 68"/>
                  <a:gd name="T43" fmla="*/ 60 h 70"/>
                  <a:gd name="T44" fmla="*/ 18 w 68"/>
                  <a:gd name="T45" fmla="*/ 60 h 70"/>
                  <a:gd name="T46" fmla="*/ 22 w 68"/>
                  <a:gd name="T47" fmla="*/ 64 h 70"/>
                  <a:gd name="T48" fmla="*/ 34 w 68"/>
                  <a:gd name="T49" fmla="*/ 68 h 70"/>
                  <a:gd name="T50" fmla="*/ 40 w 68"/>
                  <a:gd name="T51" fmla="*/ 68 h 70"/>
                  <a:gd name="T52" fmla="*/ 42 w 68"/>
                  <a:gd name="T53" fmla="*/ 70 h 70"/>
                  <a:gd name="T54" fmla="*/ 44 w 68"/>
                  <a:gd name="T55" fmla="*/ 66 h 70"/>
                  <a:gd name="T56" fmla="*/ 50 w 68"/>
                  <a:gd name="T57" fmla="*/ 64 h 70"/>
                  <a:gd name="T58" fmla="*/ 58 w 68"/>
                  <a:gd name="T59" fmla="*/ 64 h 70"/>
                  <a:gd name="T60" fmla="*/ 66 w 68"/>
                  <a:gd name="T61" fmla="*/ 62 h 70"/>
                  <a:gd name="T62" fmla="*/ 68 w 68"/>
                  <a:gd name="T63" fmla="*/ 60 h 70"/>
                  <a:gd name="T64" fmla="*/ 68 w 68"/>
                  <a:gd name="T65" fmla="*/ 54 h 70"/>
                  <a:gd name="T66" fmla="*/ 68 w 68"/>
                  <a:gd name="T67" fmla="*/ 50 h 70"/>
                  <a:gd name="T68" fmla="*/ 64 w 68"/>
                  <a:gd name="T69" fmla="*/ 46 h 70"/>
                  <a:gd name="T70" fmla="*/ 46 w 68"/>
                  <a:gd name="T71" fmla="*/ 46 h 70"/>
                  <a:gd name="T72" fmla="*/ 46 w 68"/>
                  <a:gd name="T73" fmla="*/ 10 h 70"/>
                  <a:gd name="T74" fmla="*/ 40 w 68"/>
                  <a:gd name="T75" fmla="*/ 2 h 70"/>
                  <a:gd name="T76" fmla="*/ 38 w 68"/>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70">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0" name="Freeform 320"/>
              <p:cNvSpPr>
                <a:spLocks/>
              </p:cNvSpPr>
              <p:nvPr/>
            </p:nvSpPr>
            <p:spPr bwMode="auto">
              <a:xfrm>
                <a:off x="2007" y="3321"/>
                <a:ext cx="20" cy="22"/>
              </a:xfrm>
              <a:custGeom>
                <a:avLst/>
                <a:gdLst>
                  <a:gd name="T0" fmla="*/ 6 w 20"/>
                  <a:gd name="T1" fmla="*/ 22 h 22"/>
                  <a:gd name="T2" fmla="*/ 6 w 20"/>
                  <a:gd name="T3" fmla="*/ 22 h 22"/>
                  <a:gd name="T4" fmla="*/ 6 w 20"/>
                  <a:gd name="T5" fmla="*/ 22 h 22"/>
                  <a:gd name="T6" fmla="*/ 2 w 20"/>
                  <a:gd name="T7" fmla="*/ 20 h 22"/>
                  <a:gd name="T8" fmla="*/ 2 w 20"/>
                  <a:gd name="T9" fmla="*/ 20 h 22"/>
                  <a:gd name="T10" fmla="*/ 0 w 20"/>
                  <a:gd name="T11" fmla="*/ 18 h 22"/>
                  <a:gd name="T12" fmla="*/ 0 w 20"/>
                  <a:gd name="T13" fmla="*/ 14 h 22"/>
                  <a:gd name="T14" fmla="*/ 0 w 20"/>
                  <a:gd name="T15" fmla="*/ 14 h 22"/>
                  <a:gd name="T16" fmla="*/ 0 w 20"/>
                  <a:gd name="T17" fmla="*/ 12 h 22"/>
                  <a:gd name="T18" fmla="*/ 4 w 20"/>
                  <a:gd name="T19" fmla="*/ 8 h 22"/>
                  <a:gd name="T20" fmla="*/ 6 w 20"/>
                  <a:gd name="T21" fmla="*/ 6 h 22"/>
                  <a:gd name="T22" fmla="*/ 6 w 20"/>
                  <a:gd name="T23" fmla="*/ 6 h 22"/>
                  <a:gd name="T24" fmla="*/ 6 w 20"/>
                  <a:gd name="T25" fmla="*/ 4 h 22"/>
                  <a:gd name="T26" fmla="*/ 12 w 20"/>
                  <a:gd name="T27" fmla="*/ 2 h 22"/>
                  <a:gd name="T28" fmla="*/ 12 w 20"/>
                  <a:gd name="T29" fmla="*/ 2 h 22"/>
                  <a:gd name="T30" fmla="*/ 14 w 20"/>
                  <a:gd name="T31" fmla="*/ 0 h 22"/>
                  <a:gd name="T32" fmla="*/ 14 w 20"/>
                  <a:gd name="T33" fmla="*/ 0 h 22"/>
                  <a:gd name="T34" fmla="*/ 14 w 20"/>
                  <a:gd name="T35" fmla="*/ 2 h 22"/>
                  <a:gd name="T36" fmla="*/ 20 w 20"/>
                  <a:gd name="T37" fmla="*/ 2 h 22"/>
                  <a:gd name="T38" fmla="*/ 20 w 20"/>
                  <a:gd name="T39" fmla="*/ 2 h 22"/>
                  <a:gd name="T40" fmla="*/ 20 w 20"/>
                  <a:gd name="T41" fmla="*/ 4 h 22"/>
                  <a:gd name="T42" fmla="*/ 20 w 20"/>
                  <a:gd name="T43" fmla="*/ 8 h 22"/>
                  <a:gd name="T44" fmla="*/ 20 w 20"/>
                  <a:gd name="T45" fmla="*/ 8 h 22"/>
                  <a:gd name="T46" fmla="*/ 20 w 20"/>
                  <a:gd name="T47" fmla="*/ 10 h 22"/>
                  <a:gd name="T48" fmla="*/ 12 w 20"/>
                  <a:gd name="T49" fmla="*/ 20 h 22"/>
                  <a:gd name="T50" fmla="*/ 6 w 20"/>
                  <a:gd name="T51" fmla="*/ 22 h 22"/>
                  <a:gd name="T52" fmla="*/ 6 w 20"/>
                  <a:gd name="T53" fmla="*/ 22 h 22"/>
                  <a:gd name="T54" fmla="*/ 6 w 20"/>
                  <a:gd name="T55" fmla="*/ 22 h 22"/>
                  <a:gd name="T56" fmla="*/ 6 w 20"/>
                  <a:gd name="T5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2">
                    <a:moveTo>
                      <a:pt x="6" y="22"/>
                    </a:moveTo>
                    <a:lnTo>
                      <a:pt x="6" y="22"/>
                    </a:lnTo>
                    <a:lnTo>
                      <a:pt x="6" y="22"/>
                    </a:lnTo>
                    <a:lnTo>
                      <a:pt x="2" y="20"/>
                    </a:lnTo>
                    <a:lnTo>
                      <a:pt x="2" y="20"/>
                    </a:lnTo>
                    <a:lnTo>
                      <a:pt x="0" y="18"/>
                    </a:lnTo>
                    <a:lnTo>
                      <a:pt x="0" y="14"/>
                    </a:lnTo>
                    <a:lnTo>
                      <a:pt x="0" y="14"/>
                    </a:lnTo>
                    <a:lnTo>
                      <a:pt x="0" y="12"/>
                    </a:lnTo>
                    <a:lnTo>
                      <a:pt x="4" y="8"/>
                    </a:lnTo>
                    <a:lnTo>
                      <a:pt x="6" y="6"/>
                    </a:lnTo>
                    <a:lnTo>
                      <a:pt x="6" y="6"/>
                    </a:lnTo>
                    <a:lnTo>
                      <a:pt x="6" y="4"/>
                    </a:lnTo>
                    <a:lnTo>
                      <a:pt x="12" y="2"/>
                    </a:lnTo>
                    <a:lnTo>
                      <a:pt x="12" y="2"/>
                    </a:lnTo>
                    <a:lnTo>
                      <a:pt x="14" y="0"/>
                    </a:lnTo>
                    <a:lnTo>
                      <a:pt x="14" y="0"/>
                    </a:lnTo>
                    <a:lnTo>
                      <a:pt x="14" y="2"/>
                    </a:lnTo>
                    <a:lnTo>
                      <a:pt x="20" y="2"/>
                    </a:lnTo>
                    <a:lnTo>
                      <a:pt x="20" y="2"/>
                    </a:lnTo>
                    <a:lnTo>
                      <a:pt x="20" y="4"/>
                    </a:lnTo>
                    <a:lnTo>
                      <a:pt x="20" y="8"/>
                    </a:lnTo>
                    <a:lnTo>
                      <a:pt x="20" y="8"/>
                    </a:lnTo>
                    <a:lnTo>
                      <a:pt x="20" y="10"/>
                    </a:lnTo>
                    <a:lnTo>
                      <a:pt x="12" y="20"/>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1" name="Freeform 321"/>
              <p:cNvSpPr>
                <a:spLocks noEditPoints="1"/>
              </p:cNvSpPr>
              <p:nvPr/>
            </p:nvSpPr>
            <p:spPr bwMode="auto">
              <a:xfrm>
                <a:off x="2005" y="3319"/>
                <a:ext cx="24" cy="26"/>
              </a:xfrm>
              <a:custGeom>
                <a:avLst/>
                <a:gdLst>
                  <a:gd name="T0" fmla="*/ 16 w 24"/>
                  <a:gd name="T1" fmla="*/ 4 h 26"/>
                  <a:gd name="T2" fmla="*/ 20 w 24"/>
                  <a:gd name="T3" fmla="*/ 6 h 26"/>
                  <a:gd name="T4" fmla="*/ 20 w 24"/>
                  <a:gd name="T5" fmla="*/ 10 h 26"/>
                  <a:gd name="T6" fmla="*/ 18 w 24"/>
                  <a:gd name="T7" fmla="*/ 14 h 26"/>
                  <a:gd name="T8" fmla="*/ 12 w 24"/>
                  <a:gd name="T9" fmla="*/ 20 h 26"/>
                  <a:gd name="T10" fmla="*/ 8 w 24"/>
                  <a:gd name="T11" fmla="*/ 22 h 26"/>
                  <a:gd name="T12" fmla="*/ 4 w 24"/>
                  <a:gd name="T13" fmla="*/ 20 h 26"/>
                  <a:gd name="T14" fmla="*/ 4 w 24"/>
                  <a:gd name="T15" fmla="*/ 16 h 26"/>
                  <a:gd name="T16" fmla="*/ 8 w 24"/>
                  <a:gd name="T17" fmla="*/ 12 h 26"/>
                  <a:gd name="T18" fmla="*/ 10 w 24"/>
                  <a:gd name="T19" fmla="*/ 8 h 26"/>
                  <a:gd name="T20" fmla="*/ 16 w 24"/>
                  <a:gd name="T21" fmla="*/ 4 h 26"/>
                  <a:gd name="T22" fmla="*/ 16 w 24"/>
                  <a:gd name="T23" fmla="*/ 0 h 26"/>
                  <a:gd name="T24" fmla="*/ 16 w 24"/>
                  <a:gd name="T25" fmla="*/ 0 h 26"/>
                  <a:gd name="T26" fmla="*/ 14 w 24"/>
                  <a:gd name="T27" fmla="*/ 2 h 26"/>
                  <a:gd name="T28" fmla="*/ 8 w 24"/>
                  <a:gd name="T29" fmla="*/ 6 h 26"/>
                  <a:gd name="T30" fmla="*/ 8 w 24"/>
                  <a:gd name="T31" fmla="*/ 6 h 26"/>
                  <a:gd name="T32" fmla="*/ 6 w 24"/>
                  <a:gd name="T33" fmla="*/ 6 h 26"/>
                  <a:gd name="T34" fmla="*/ 4 w 24"/>
                  <a:gd name="T35" fmla="*/ 10 h 26"/>
                  <a:gd name="T36" fmla="*/ 2 w 24"/>
                  <a:gd name="T37" fmla="*/ 14 h 26"/>
                  <a:gd name="T38" fmla="*/ 2 w 24"/>
                  <a:gd name="T39" fmla="*/ 14 h 26"/>
                  <a:gd name="T40" fmla="*/ 0 w 24"/>
                  <a:gd name="T41" fmla="*/ 16 h 26"/>
                  <a:gd name="T42" fmla="*/ 0 w 24"/>
                  <a:gd name="T43" fmla="*/ 20 h 26"/>
                  <a:gd name="T44" fmla="*/ 0 w 24"/>
                  <a:gd name="T45" fmla="*/ 20 h 26"/>
                  <a:gd name="T46" fmla="*/ 2 w 24"/>
                  <a:gd name="T47" fmla="*/ 24 h 26"/>
                  <a:gd name="T48" fmla="*/ 6 w 24"/>
                  <a:gd name="T49" fmla="*/ 26 h 26"/>
                  <a:gd name="T50" fmla="*/ 6 w 24"/>
                  <a:gd name="T51" fmla="*/ 26 h 26"/>
                  <a:gd name="T52" fmla="*/ 8 w 24"/>
                  <a:gd name="T53" fmla="*/ 26 h 26"/>
                  <a:gd name="T54" fmla="*/ 8 w 24"/>
                  <a:gd name="T55" fmla="*/ 26 h 26"/>
                  <a:gd name="T56" fmla="*/ 10 w 24"/>
                  <a:gd name="T57" fmla="*/ 26 h 26"/>
                  <a:gd name="T58" fmla="*/ 14 w 24"/>
                  <a:gd name="T59" fmla="*/ 24 h 26"/>
                  <a:gd name="T60" fmla="*/ 14 w 24"/>
                  <a:gd name="T61" fmla="*/ 24 h 26"/>
                  <a:gd name="T62" fmla="*/ 14 w 24"/>
                  <a:gd name="T63" fmla="*/ 22 h 26"/>
                  <a:gd name="T64" fmla="*/ 20 w 24"/>
                  <a:gd name="T65" fmla="*/ 18 h 26"/>
                  <a:gd name="T66" fmla="*/ 24 w 24"/>
                  <a:gd name="T67" fmla="*/ 14 h 26"/>
                  <a:gd name="T68" fmla="*/ 24 w 24"/>
                  <a:gd name="T69" fmla="*/ 14 h 26"/>
                  <a:gd name="T70" fmla="*/ 24 w 24"/>
                  <a:gd name="T71" fmla="*/ 10 h 26"/>
                  <a:gd name="T72" fmla="*/ 24 w 24"/>
                  <a:gd name="T73" fmla="*/ 6 h 26"/>
                  <a:gd name="T74" fmla="*/ 24 w 24"/>
                  <a:gd name="T75" fmla="*/ 6 h 26"/>
                  <a:gd name="T76" fmla="*/ 24 w 24"/>
                  <a:gd name="T77" fmla="*/ 4 h 26"/>
                  <a:gd name="T78" fmla="*/ 22 w 24"/>
                  <a:gd name="T79" fmla="*/ 2 h 26"/>
                  <a:gd name="T80" fmla="*/ 16 w 24"/>
                  <a:gd name="T81" fmla="*/ 2 h 26"/>
                  <a:gd name="T82" fmla="*/ 16 w 24"/>
                  <a:gd name="T83" fmla="*/ 2 h 26"/>
                  <a:gd name="T84" fmla="*/ 16 w 24"/>
                  <a:gd name="T85" fmla="*/ 0 h 26"/>
                  <a:gd name="T86" fmla="*/ 16 w 24"/>
                  <a:gd name="T8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26">
                    <a:moveTo>
                      <a:pt x="16" y="4"/>
                    </a:moveTo>
                    <a:lnTo>
                      <a:pt x="20" y="6"/>
                    </a:lnTo>
                    <a:lnTo>
                      <a:pt x="20" y="10"/>
                    </a:lnTo>
                    <a:lnTo>
                      <a:pt x="18" y="14"/>
                    </a:lnTo>
                    <a:lnTo>
                      <a:pt x="12" y="20"/>
                    </a:lnTo>
                    <a:lnTo>
                      <a:pt x="8" y="22"/>
                    </a:lnTo>
                    <a:lnTo>
                      <a:pt x="4" y="20"/>
                    </a:lnTo>
                    <a:lnTo>
                      <a:pt x="4" y="16"/>
                    </a:lnTo>
                    <a:lnTo>
                      <a:pt x="8" y="12"/>
                    </a:lnTo>
                    <a:lnTo>
                      <a:pt x="10" y="8"/>
                    </a:lnTo>
                    <a:lnTo>
                      <a:pt x="16" y="4"/>
                    </a:lnTo>
                    <a:close/>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2" name="Freeform 322"/>
              <p:cNvSpPr>
                <a:spLocks/>
              </p:cNvSpPr>
              <p:nvPr/>
            </p:nvSpPr>
            <p:spPr bwMode="auto">
              <a:xfrm>
                <a:off x="2009" y="3323"/>
                <a:ext cx="16" cy="18"/>
              </a:xfrm>
              <a:custGeom>
                <a:avLst/>
                <a:gdLst>
                  <a:gd name="T0" fmla="*/ 12 w 16"/>
                  <a:gd name="T1" fmla="*/ 0 h 18"/>
                  <a:gd name="T2" fmla="*/ 16 w 16"/>
                  <a:gd name="T3" fmla="*/ 2 h 18"/>
                  <a:gd name="T4" fmla="*/ 16 w 16"/>
                  <a:gd name="T5" fmla="*/ 6 h 18"/>
                  <a:gd name="T6" fmla="*/ 14 w 16"/>
                  <a:gd name="T7" fmla="*/ 10 h 18"/>
                  <a:gd name="T8" fmla="*/ 8 w 16"/>
                  <a:gd name="T9" fmla="*/ 16 h 18"/>
                  <a:gd name="T10" fmla="*/ 4 w 16"/>
                  <a:gd name="T11" fmla="*/ 18 h 18"/>
                  <a:gd name="T12" fmla="*/ 0 w 16"/>
                  <a:gd name="T13" fmla="*/ 16 h 18"/>
                  <a:gd name="T14" fmla="*/ 0 w 16"/>
                  <a:gd name="T15" fmla="*/ 12 h 18"/>
                  <a:gd name="T16" fmla="*/ 4 w 16"/>
                  <a:gd name="T17" fmla="*/ 8 h 18"/>
                  <a:gd name="T18" fmla="*/ 6 w 16"/>
                  <a:gd name="T19" fmla="*/ 4 h 18"/>
                  <a:gd name="T20" fmla="*/ 12 w 16"/>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2" y="0"/>
                    </a:moveTo>
                    <a:lnTo>
                      <a:pt x="16" y="2"/>
                    </a:lnTo>
                    <a:lnTo>
                      <a:pt x="16" y="6"/>
                    </a:lnTo>
                    <a:lnTo>
                      <a:pt x="14" y="10"/>
                    </a:lnTo>
                    <a:lnTo>
                      <a:pt x="8" y="16"/>
                    </a:lnTo>
                    <a:lnTo>
                      <a:pt x="4" y="18"/>
                    </a:lnTo>
                    <a:lnTo>
                      <a:pt x="0" y="16"/>
                    </a:lnTo>
                    <a:lnTo>
                      <a:pt x="0" y="12"/>
                    </a:lnTo>
                    <a:lnTo>
                      <a:pt x="4" y="8"/>
                    </a:lnTo>
                    <a:lnTo>
                      <a:pt x="6"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3" name="Freeform 323"/>
              <p:cNvSpPr>
                <a:spLocks/>
              </p:cNvSpPr>
              <p:nvPr/>
            </p:nvSpPr>
            <p:spPr bwMode="auto">
              <a:xfrm>
                <a:off x="2005" y="3319"/>
                <a:ext cx="24" cy="26"/>
              </a:xfrm>
              <a:custGeom>
                <a:avLst/>
                <a:gdLst>
                  <a:gd name="T0" fmla="*/ 16 w 24"/>
                  <a:gd name="T1" fmla="*/ 0 h 26"/>
                  <a:gd name="T2" fmla="*/ 16 w 24"/>
                  <a:gd name="T3" fmla="*/ 0 h 26"/>
                  <a:gd name="T4" fmla="*/ 14 w 24"/>
                  <a:gd name="T5" fmla="*/ 2 h 26"/>
                  <a:gd name="T6" fmla="*/ 8 w 24"/>
                  <a:gd name="T7" fmla="*/ 6 h 26"/>
                  <a:gd name="T8" fmla="*/ 8 w 24"/>
                  <a:gd name="T9" fmla="*/ 6 h 26"/>
                  <a:gd name="T10" fmla="*/ 6 w 24"/>
                  <a:gd name="T11" fmla="*/ 6 h 26"/>
                  <a:gd name="T12" fmla="*/ 4 w 24"/>
                  <a:gd name="T13" fmla="*/ 10 h 26"/>
                  <a:gd name="T14" fmla="*/ 2 w 24"/>
                  <a:gd name="T15" fmla="*/ 14 h 26"/>
                  <a:gd name="T16" fmla="*/ 2 w 24"/>
                  <a:gd name="T17" fmla="*/ 14 h 26"/>
                  <a:gd name="T18" fmla="*/ 0 w 24"/>
                  <a:gd name="T19" fmla="*/ 16 h 26"/>
                  <a:gd name="T20" fmla="*/ 0 w 24"/>
                  <a:gd name="T21" fmla="*/ 20 h 26"/>
                  <a:gd name="T22" fmla="*/ 0 w 24"/>
                  <a:gd name="T23" fmla="*/ 20 h 26"/>
                  <a:gd name="T24" fmla="*/ 2 w 24"/>
                  <a:gd name="T25" fmla="*/ 24 h 26"/>
                  <a:gd name="T26" fmla="*/ 6 w 24"/>
                  <a:gd name="T27" fmla="*/ 26 h 26"/>
                  <a:gd name="T28" fmla="*/ 6 w 24"/>
                  <a:gd name="T29" fmla="*/ 26 h 26"/>
                  <a:gd name="T30" fmla="*/ 8 w 24"/>
                  <a:gd name="T31" fmla="*/ 26 h 26"/>
                  <a:gd name="T32" fmla="*/ 8 w 24"/>
                  <a:gd name="T33" fmla="*/ 26 h 26"/>
                  <a:gd name="T34" fmla="*/ 10 w 24"/>
                  <a:gd name="T35" fmla="*/ 26 h 26"/>
                  <a:gd name="T36" fmla="*/ 14 w 24"/>
                  <a:gd name="T37" fmla="*/ 24 h 26"/>
                  <a:gd name="T38" fmla="*/ 14 w 24"/>
                  <a:gd name="T39" fmla="*/ 24 h 26"/>
                  <a:gd name="T40" fmla="*/ 14 w 24"/>
                  <a:gd name="T41" fmla="*/ 22 h 26"/>
                  <a:gd name="T42" fmla="*/ 20 w 24"/>
                  <a:gd name="T43" fmla="*/ 18 h 26"/>
                  <a:gd name="T44" fmla="*/ 24 w 24"/>
                  <a:gd name="T45" fmla="*/ 14 h 26"/>
                  <a:gd name="T46" fmla="*/ 24 w 24"/>
                  <a:gd name="T47" fmla="*/ 14 h 26"/>
                  <a:gd name="T48" fmla="*/ 24 w 24"/>
                  <a:gd name="T49" fmla="*/ 10 h 26"/>
                  <a:gd name="T50" fmla="*/ 24 w 24"/>
                  <a:gd name="T51" fmla="*/ 6 h 26"/>
                  <a:gd name="T52" fmla="*/ 24 w 24"/>
                  <a:gd name="T53" fmla="*/ 6 h 26"/>
                  <a:gd name="T54" fmla="*/ 24 w 24"/>
                  <a:gd name="T55" fmla="*/ 4 h 26"/>
                  <a:gd name="T56" fmla="*/ 22 w 24"/>
                  <a:gd name="T57" fmla="*/ 2 h 26"/>
                  <a:gd name="T58" fmla="*/ 16 w 24"/>
                  <a:gd name="T59" fmla="*/ 2 h 26"/>
                  <a:gd name="T60" fmla="*/ 16 w 24"/>
                  <a:gd name="T61" fmla="*/ 2 h 26"/>
                  <a:gd name="T62" fmla="*/ 16 w 24"/>
                  <a:gd name="T63" fmla="*/ 0 h 26"/>
                  <a:gd name="T64" fmla="*/ 16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4" name="Freeform 324"/>
              <p:cNvSpPr>
                <a:spLocks/>
              </p:cNvSpPr>
              <p:nvPr/>
            </p:nvSpPr>
            <p:spPr bwMode="auto">
              <a:xfrm>
                <a:off x="2019" y="3321"/>
                <a:ext cx="32" cy="22"/>
              </a:xfrm>
              <a:custGeom>
                <a:avLst/>
                <a:gdLst>
                  <a:gd name="T0" fmla="*/ 6 w 32"/>
                  <a:gd name="T1" fmla="*/ 22 h 22"/>
                  <a:gd name="T2" fmla="*/ 0 w 32"/>
                  <a:gd name="T3" fmla="*/ 20 h 22"/>
                  <a:gd name="T4" fmla="*/ 0 w 32"/>
                  <a:gd name="T5" fmla="*/ 20 h 22"/>
                  <a:gd name="T6" fmla="*/ 0 w 32"/>
                  <a:gd name="T7" fmla="*/ 18 h 22"/>
                  <a:gd name="T8" fmla="*/ 0 w 32"/>
                  <a:gd name="T9" fmla="*/ 14 h 22"/>
                  <a:gd name="T10" fmla="*/ 0 w 32"/>
                  <a:gd name="T11" fmla="*/ 14 h 22"/>
                  <a:gd name="T12" fmla="*/ 0 w 32"/>
                  <a:gd name="T13" fmla="*/ 12 h 22"/>
                  <a:gd name="T14" fmla="*/ 2 w 32"/>
                  <a:gd name="T15" fmla="*/ 10 h 22"/>
                  <a:gd name="T16" fmla="*/ 6 w 32"/>
                  <a:gd name="T17" fmla="*/ 8 h 22"/>
                  <a:gd name="T18" fmla="*/ 10 w 32"/>
                  <a:gd name="T19" fmla="*/ 2 h 22"/>
                  <a:gd name="T20" fmla="*/ 10 w 32"/>
                  <a:gd name="T21" fmla="*/ 2 h 22"/>
                  <a:gd name="T22" fmla="*/ 12 w 32"/>
                  <a:gd name="T23" fmla="*/ 0 h 22"/>
                  <a:gd name="T24" fmla="*/ 24 w 32"/>
                  <a:gd name="T25" fmla="*/ 0 h 22"/>
                  <a:gd name="T26" fmla="*/ 30 w 32"/>
                  <a:gd name="T27" fmla="*/ 2 h 22"/>
                  <a:gd name="T28" fmla="*/ 30 w 32"/>
                  <a:gd name="T29" fmla="*/ 2 h 22"/>
                  <a:gd name="T30" fmla="*/ 32 w 32"/>
                  <a:gd name="T31" fmla="*/ 4 h 22"/>
                  <a:gd name="T32" fmla="*/ 32 w 32"/>
                  <a:gd name="T33" fmla="*/ 8 h 22"/>
                  <a:gd name="T34" fmla="*/ 32 w 32"/>
                  <a:gd name="T35" fmla="*/ 8 h 22"/>
                  <a:gd name="T36" fmla="*/ 30 w 32"/>
                  <a:gd name="T37" fmla="*/ 10 h 22"/>
                  <a:gd name="T38" fmla="*/ 24 w 32"/>
                  <a:gd name="T39" fmla="*/ 12 h 22"/>
                  <a:gd name="T40" fmla="*/ 20 w 32"/>
                  <a:gd name="T41" fmla="*/ 14 h 22"/>
                  <a:gd name="T42" fmla="*/ 18 w 32"/>
                  <a:gd name="T43" fmla="*/ 14 h 22"/>
                  <a:gd name="T44" fmla="*/ 14 w 32"/>
                  <a:gd name="T45" fmla="*/ 16 h 22"/>
                  <a:gd name="T46" fmla="*/ 10 w 32"/>
                  <a:gd name="T47" fmla="*/ 18 h 22"/>
                  <a:gd name="T48" fmla="*/ 10 w 32"/>
                  <a:gd name="T49" fmla="*/ 20 h 22"/>
                  <a:gd name="T50" fmla="*/ 10 w 32"/>
                  <a:gd name="T51" fmla="*/ 20 h 22"/>
                  <a:gd name="T52" fmla="*/ 8 w 32"/>
                  <a:gd name="T53" fmla="*/ 22 h 22"/>
                  <a:gd name="T54" fmla="*/ 8 w 32"/>
                  <a:gd name="T55" fmla="*/ 22 h 22"/>
                  <a:gd name="T56" fmla="*/ 6 w 32"/>
                  <a:gd name="T57" fmla="*/ 22 h 22"/>
                  <a:gd name="T58" fmla="*/ 6 w 32"/>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2">
                    <a:moveTo>
                      <a:pt x="6" y="22"/>
                    </a:moveTo>
                    <a:lnTo>
                      <a:pt x="0" y="20"/>
                    </a:lnTo>
                    <a:lnTo>
                      <a:pt x="0" y="20"/>
                    </a:lnTo>
                    <a:lnTo>
                      <a:pt x="0" y="18"/>
                    </a:lnTo>
                    <a:lnTo>
                      <a:pt x="0" y="14"/>
                    </a:lnTo>
                    <a:lnTo>
                      <a:pt x="0" y="14"/>
                    </a:lnTo>
                    <a:lnTo>
                      <a:pt x="0" y="12"/>
                    </a:lnTo>
                    <a:lnTo>
                      <a:pt x="2" y="10"/>
                    </a:lnTo>
                    <a:lnTo>
                      <a:pt x="6" y="8"/>
                    </a:lnTo>
                    <a:lnTo>
                      <a:pt x="10" y="2"/>
                    </a:lnTo>
                    <a:lnTo>
                      <a:pt x="10" y="2"/>
                    </a:lnTo>
                    <a:lnTo>
                      <a:pt x="12" y="0"/>
                    </a:lnTo>
                    <a:lnTo>
                      <a:pt x="24" y="0"/>
                    </a:lnTo>
                    <a:lnTo>
                      <a:pt x="30" y="2"/>
                    </a:lnTo>
                    <a:lnTo>
                      <a:pt x="30" y="2"/>
                    </a:lnTo>
                    <a:lnTo>
                      <a:pt x="32" y="4"/>
                    </a:lnTo>
                    <a:lnTo>
                      <a:pt x="32" y="8"/>
                    </a:lnTo>
                    <a:lnTo>
                      <a:pt x="32" y="8"/>
                    </a:lnTo>
                    <a:lnTo>
                      <a:pt x="30" y="10"/>
                    </a:lnTo>
                    <a:lnTo>
                      <a:pt x="24" y="12"/>
                    </a:lnTo>
                    <a:lnTo>
                      <a:pt x="20" y="14"/>
                    </a:lnTo>
                    <a:lnTo>
                      <a:pt x="18" y="14"/>
                    </a:lnTo>
                    <a:lnTo>
                      <a:pt x="14" y="16"/>
                    </a:lnTo>
                    <a:lnTo>
                      <a:pt x="10" y="18"/>
                    </a:lnTo>
                    <a:lnTo>
                      <a:pt x="10" y="20"/>
                    </a:lnTo>
                    <a:lnTo>
                      <a:pt x="10" y="20"/>
                    </a:lnTo>
                    <a:lnTo>
                      <a:pt x="8" y="22"/>
                    </a:lnTo>
                    <a:lnTo>
                      <a:pt x="8"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5" name="Freeform 325"/>
              <p:cNvSpPr>
                <a:spLocks noEditPoints="1"/>
              </p:cNvSpPr>
              <p:nvPr/>
            </p:nvSpPr>
            <p:spPr bwMode="auto">
              <a:xfrm>
                <a:off x="2017" y="3319"/>
                <a:ext cx="36" cy="26"/>
              </a:xfrm>
              <a:custGeom>
                <a:avLst/>
                <a:gdLst>
                  <a:gd name="T0" fmla="*/ 26 w 36"/>
                  <a:gd name="T1" fmla="*/ 4 h 26"/>
                  <a:gd name="T2" fmla="*/ 32 w 36"/>
                  <a:gd name="T3" fmla="*/ 6 h 26"/>
                  <a:gd name="T4" fmla="*/ 32 w 36"/>
                  <a:gd name="T5" fmla="*/ 10 h 26"/>
                  <a:gd name="T6" fmla="*/ 26 w 36"/>
                  <a:gd name="T7" fmla="*/ 12 h 26"/>
                  <a:gd name="T8" fmla="*/ 22 w 36"/>
                  <a:gd name="T9" fmla="*/ 14 h 26"/>
                  <a:gd name="T10" fmla="*/ 20 w 36"/>
                  <a:gd name="T11" fmla="*/ 14 h 26"/>
                  <a:gd name="T12" fmla="*/ 16 w 36"/>
                  <a:gd name="T13" fmla="*/ 16 h 26"/>
                  <a:gd name="T14" fmla="*/ 12 w 36"/>
                  <a:gd name="T15" fmla="*/ 18 h 26"/>
                  <a:gd name="T16" fmla="*/ 10 w 36"/>
                  <a:gd name="T17" fmla="*/ 22 h 26"/>
                  <a:gd name="T18" fmla="*/ 4 w 36"/>
                  <a:gd name="T19" fmla="*/ 20 h 26"/>
                  <a:gd name="T20" fmla="*/ 4 w 36"/>
                  <a:gd name="T21" fmla="*/ 16 h 26"/>
                  <a:gd name="T22" fmla="*/ 6 w 36"/>
                  <a:gd name="T23" fmla="*/ 14 h 26"/>
                  <a:gd name="T24" fmla="*/ 10 w 36"/>
                  <a:gd name="T25" fmla="*/ 12 h 26"/>
                  <a:gd name="T26" fmla="*/ 14 w 36"/>
                  <a:gd name="T27" fmla="*/ 4 h 26"/>
                  <a:gd name="T28" fmla="*/ 20 w 36"/>
                  <a:gd name="T29" fmla="*/ 4 h 26"/>
                  <a:gd name="T30" fmla="*/ 26 w 36"/>
                  <a:gd name="T31" fmla="*/ 4 h 26"/>
                  <a:gd name="T32" fmla="*/ 26 w 36"/>
                  <a:gd name="T33" fmla="*/ 0 h 26"/>
                  <a:gd name="T34" fmla="*/ 20 w 36"/>
                  <a:gd name="T35" fmla="*/ 0 h 26"/>
                  <a:gd name="T36" fmla="*/ 14 w 36"/>
                  <a:gd name="T37" fmla="*/ 0 h 26"/>
                  <a:gd name="T38" fmla="*/ 14 w 36"/>
                  <a:gd name="T39" fmla="*/ 0 h 26"/>
                  <a:gd name="T40" fmla="*/ 10 w 36"/>
                  <a:gd name="T41" fmla="*/ 2 h 26"/>
                  <a:gd name="T42" fmla="*/ 6 w 36"/>
                  <a:gd name="T43" fmla="*/ 8 h 26"/>
                  <a:gd name="T44" fmla="*/ 4 w 36"/>
                  <a:gd name="T45" fmla="*/ 10 h 26"/>
                  <a:gd name="T46" fmla="*/ 4 w 36"/>
                  <a:gd name="T47" fmla="*/ 10 h 26"/>
                  <a:gd name="T48" fmla="*/ 2 w 36"/>
                  <a:gd name="T49" fmla="*/ 10 h 26"/>
                  <a:gd name="T50" fmla="*/ 0 w 36"/>
                  <a:gd name="T51" fmla="*/ 12 h 26"/>
                  <a:gd name="T52" fmla="*/ 0 w 36"/>
                  <a:gd name="T53" fmla="*/ 12 h 26"/>
                  <a:gd name="T54" fmla="*/ 0 w 36"/>
                  <a:gd name="T55" fmla="*/ 16 h 26"/>
                  <a:gd name="T56" fmla="*/ 0 w 36"/>
                  <a:gd name="T57" fmla="*/ 20 h 26"/>
                  <a:gd name="T58" fmla="*/ 0 w 36"/>
                  <a:gd name="T59" fmla="*/ 20 h 26"/>
                  <a:gd name="T60" fmla="*/ 0 w 36"/>
                  <a:gd name="T61" fmla="*/ 22 h 26"/>
                  <a:gd name="T62" fmla="*/ 2 w 36"/>
                  <a:gd name="T63" fmla="*/ 24 h 26"/>
                  <a:gd name="T64" fmla="*/ 8 w 36"/>
                  <a:gd name="T65" fmla="*/ 26 h 26"/>
                  <a:gd name="T66" fmla="*/ 8 w 36"/>
                  <a:gd name="T67" fmla="*/ 26 h 26"/>
                  <a:gd name="T68" fmla="*/ 10 w 36"/>
                  <a:gd name="T69" fmla="*/ 26 h 26"/>
                  <a:gd name="T70" fmla="*/ 10 w 36"/>
                  <a:gd name="T71" fmla="*/ 26 h 26"/>
                  <a:gd name="T72" fmla="*/ 12 w 36"/>
                  <a:gd name="T73" fmla="*/ 24 h 26"/>
                  <a:gd name="T74" fmla="*/ 14 w 36"/>
                  <a:gd name="T75" fmla="*/ 22 h 26"/>
                  <a:gd name="T76" fmla="*/ 16 w 36"/>
                  <a:gd name="T77" fmla="*/ 20 h 26"/>
                  <a:gd name="T78" fmla="*/ 16 w 36"/>
                  <a:gd name="T79" fmla="*/ 20 h 26"/>
                  <a:gd name="T80" fmla="*/ 18 w 36"/>
                  <a:gd name="T81" fmla="*/ 20 h 26"/>
                  <a:gd name="T82" fmla="*/ 20 w 36"/>
                  <a:gd name="T83" fmla="*/ 18 h 26"/>
                  <a:gd name="T84" fmla="*/ 22 w 36"/>
                  <a:gd name="T85" fmla="*/ 18 h 26"/>
                  <a:gd name="T86" fmla="*/ 22 w 36"/>
                  <a:gd name="T87" fmla="*/ 18 h 26"/>
                  <a:gd name="T88" fmla="*/ 22 w 36"/>
                  <a:gd name="T89" fmla="*/ 18 h 26"/>
                  <a:gd name="T90" fmla="*/ 26 w 36"/>
                  <a:gd name="T91" fmla="*/ 16 h 26"/>
                  <a:gd name="T92" fmla="*/ 32 w 36"/>
                  <a:gd name="T93" fmla="*/ 14 h 26"/>
                  <a:gd name="T94" fmla="*/ 32 w 36"/>
                  <a:gd name="T95" fmla="*/ 14 h 26"/>
                  <a:gd name="T96" fmla="*/ 34 w 36"/>
                  <a:gd name="T97" fmla="*/ 12 h 26"/>
                  <a:gd name="T98" fmla="*/ 36 w 36"/>
                  <a:gd name="T99" fmla="*/ 10 h 26"/>
                  <a:gd name="T100" fmla="*/ 36 w 36"/>
                  <a:gd name="T101" fmla="*/ 6 h 26"/>
                  <a:gd name="T102" fmla="*/ 36 w 36"/>
                  <a:gd name="T103" fmla="*/ 6 h 26"/>
                  <a:gd name="T104" fmla="*/ 34 w 36"/>
                  <a:gd name="T105" fmla="*/ 4 h 26"/>
                  <a:gd name="T106" fmla="*/ 32 w 36"/>
                  <a:gd name="T107" fmla="*/ 2 h 26"/>
                  <a:gd name="T108" fmla="*/ 26 w 36"/>
                  <a:gd name="T109" fmla="*/ 2 h 26"/>
                  <a:gd name="T110" fmla="*/ 26 w 36"/>
                  <a:gd name="T111" fmla="*/ 2 h 26"/>
                  <a:gd name="T112" fmla="*/ 26 w 36"/>
                  <a:gd name="T113" fmla="*/ 0 h 26"/>
                  <a:gd name="T114" fmla="*/ 26 w 36"/>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26">
                    <a:moveTo>
                      <a:pt x="26" y="4"/>
                    </a:moveTo>
                    <a:lnTo>
                      <a:pt x="32" y="6"/>
                    </a:lnTo>
                    <a:lnTo>
                      <a:pt x="32" y="10"/>
                    </a:lnTo>
                    <a:lnTo>
                      <a:pt x="26" y="12"/>
                    </a:lnTo>
                    <a:lnTo>
                      <a:pt x="22" y="14"/>
                    </a:lnTo>
                    <a:lnTo>
                      <a:pt x="20" y="14"/>
                    </a:lnTo>
                    <a:lnTo>
                      <a:pt x="16" y="16"/>
                    </a:lnTo>
                    <a:lnTo>
                      <a:pt x="12" y="18"/>
                    </a:lnTo>
                    <a:lnTo>
                      <a:pt x="10" y="22"/>
                    </a:lnTo>
                    <a:lnTo>
                      <a:pt x="4" y="20"/>
                    </a:lnTo>
                    <a:lnTo>
                      <a:pt x="4" y="16"/>
                    </a:lnTo>
                    <a:lnTo>
                      <a:pt x="6" y="14"/>
                    </a:lnTo>
                    <a:lnTo>
                      <a:pt x="10" y="12"/>
                    </a:lnTo>
                    <a:lnTo>
                      <a:pt x="14" y="4"/>
                    </a:lnTo>
                    <a:lnTo>
                      <a:pt x="20" y="4"/>
                    </a:lnTo>
                    <a:lnTo>
                      <a:pt x="26" y="4"/>
                    </a:lnTo>
                    <a:close/>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6" name="Freeform 326"/>
              <p:cNvSpPr>
                <a:spLocks/>
              </p:cNvSpPr>
              <p:nvPr/>
            </p:nvSpPr>
            <p:spPr bwMode="auto">
              <a:xfrm>
                <a:off x="2021" y="3323"/>
                <a:ext cx="28" cy="18"/>
              </a:xfrm>
              <a:custGeom>
                <a:avLst/>
                <a:gdLst>
                  <a:gd name="T0" fmla="*/ 22 w 28"/>
                  <a:gd name="T1" fmla="*/ 0 h 18"/>
                  <a:gd name="T2" fmla="*/ 28 w 28"/>
                  <a:gd name="T3" fmla="*/ 2 h 18"/>
                  <a:gd name="T4" fmla="*/ 28 w 28"/>
                  <a:gd name="T5" fmla="*/ 6 h 18"/>
                  <a:gd name="T6" fmla="*/ 22 w 28"/>
                  <a:gd name="T7" fmla="*/ 8 h 18"/>
                  <a:gd name="T8" fmla="*/ 18 w 28"/>
                  <a:gd name="T9" fmla="*/ 10 h 18"/>
                  <a:gd name="T10" fmla="*/ 16 w 28"/>
                  <a:gd name="T11" fmla="*/ 10 h 18"/>
                  <a:gd name="T12" fmla="*/ 12 w 28"/>
                  <a:gd name="T13" fmla="*/ 12 h 18"/>
                  <a:gd name="T14" fmla="*/ 8 w 28"/>
                  <a:gd name="T15" fmla="*/ 14 h 18"/>
                  <a:gd name="T16" fmla="*/ 6 w 28"/>
                  <a:gd name="T17" fmla="*/ 18 h 18"/>
                  <a:gd name="T18" fmla="*/ 0 w 28"/>
                  <a:gd name="T19" fmla="*/ 16 h 18"/>
                  <a:gd name="T20" fmla="*/ 0 w 28"/>
                  <a:gd name="T21" fmla="*/ 12 h 18"/>
                  <a:gd name="T22" fmla="*/ 2 w 28"/>
                  <a:gd name="T23" fmla="*/ 10 h 18"/>
                  <a:gd name="T24" fmla="*/ 6 w 28"/>
                  <a:gd name="T25" fmla="*/ 8 h 18"/>
                  <a:gd name="T26" fmla="*/ 10 w 28"/>
                  <a:gd name="T27" fmla="*/ 0 h 18"/>
                  <a:gd name="T28" fmla="*/ 16 w 28"/>
                  <a:gd name="T29" fmla="*/ 0 h 18"/>
                  <a:gd name="T30" fmla="*/ 22 w 28"/>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8">
                    <a:moveTo>
                      <a:pt x="22" y="0"/>
                    </a:moveTo>
                    <a:lnTo>
                      <a:pt x="28" y="2"/>
                    </a:lnTo>
                    <a:lnTo>
                      <a:pt x="28" y="6"/>
                    </a:lnTo>
                    <a:lnTo>
                      <a:pt x="22" y="8"/>
                    </a:lnTo>
                    <a:lnTo>
                      <a:pt x="18" y="10"/>
                    </a:lnTo>
                    <a:lnTo>
                      <a:pt x="16" y="10"/>
                    </a:lnTo>
                    <a:lnTo>
                      <a:pt x="12" y="12"/>
                    </a:lnTo>
                    <a:lnTo>
                      <a:pt x="8" y="14"/>
                    </a:lnTo>
                    <a:lnTo>
                      <a:pt x="6" y="18"/>
                    </a:lnTo>
                    <a:lnTo>
                      <a:pt x="0" y="16"/>
                    </a:lnTo>
                    <a:lnTo>
                      <a:pt x="0" y="12"/>
                    </a:lnTo>
                    <a:lnTo>
                      <a:pt x="2" y="10"/>
                    </a:lnTo>
                    <a:lnTo>
                      <a:pt x="6" y="8"/>
                    </a:lnTo>
                    <a:lnTo>
                      <a:pt x="10" y="0"/>
                    </a:lnTo>
                    <a:lnTo>
                      <a:pt x="16"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7" name="Freeform 327"/>
              <p:cNvSpPr>
                <a:spLocks/>
              </p:cNvSpPr>
              <p:nvPr/>
            </p:nvSpPr>
            <p:spPr bwMode="auto">
              <a:xfrm>
                <a:off x="2017" y="3319"/>
                <a:ext cx="36" cy="26"/>
              </a:xfrm>
              <a:custGeom>
                <a:avLst/>
                <a:gdLst>
                  <a:gd name="T0" fmla="*/ 26 w 36"/>
                  <a:gd name="T1" fmla="*/ 0 h 26"/>
                  <a:gd name="T2" fmla="*/ 20 w 36"/>
                  <a:gd name="T3" fmla="*/ 0 h 26"/>
                  <a:gd name="T4" fmla="*/ 14 w 36"/>
                  <a:gd name="T5" fmla="*/ 0 h 26"/>
                  <a:gd name="T6" fmla="*/ 14 w 36"/>
                  <a:gd name="T7" fmla="*/ 0 h 26"/>
                  <a:gd name="T8" fmla="*/ 10 w 36"/>
                  <a:gd name="T9" fmla="*/ 2 h 26"/>
                  <a:gd name="T10" fmla="*/ 6 w 36"/>
                  <a:gd name="T11" fmla="*/ 8 h 26"/>
                  <a:gd name="T12" fmla="*/ 4 w 36"/>
                  <a:gd name="T13" fmla="*/ 10 h 26"/>
                  <a:gd name="T14" fmla="*/ 4 w 36"/>
                  <a:gd name="T15" fmla="*/ 10 h 26"/>
                  <a:gd name="T16" fmla="*/ 2 w 36"/>
                  <a:gd name="T17" fmla="*/ 10 h 26"/>
                  <a:gd name="T18" fmla="*/ 0 w 36"/>
                  <a:gd name="T19" fmla="*/ 12 h 26"/>
                  <a:gd name="T20" fmla="*/ 0 w 36"/>
                  <a:gd name="T21" fmla="*/ 12 h 26"/>
                  <a:gd name="T22" fmla="*/ 0 w 36"/>
                  <a:gd name="T23" fmla="*/ 16 h 26"/>
                  <a:gd name="T24" fmla="*/ 0 w 36"/>
                  <a:gd name="T25" fmla="*/ 20 h 26"/>
                  <a:gd name="T26" fmla="*/ 0 w 36"/>
                  <a:gd name="T27" fmla="*/ 20 h 26"/>
                  <a:gd name="T28" fmla="*/ 0 w 36"/>
                  <a:gd name="T29" fmla="*/ 22 h 26"/>
                  <a:gd name="T30" fmla="*/ 2 w 36"/>
                  <a:gd name="T31" fmla="*/ 24 h 26"/>
                  <a:gd name="T32" fmla="*/ 8 w 36"/>
                  <a:gd name="T33" fmla="*/ 26 h 26"/>
                  <a:gd name="T34" fmla="*/ 8 w 36"/>
                  <a:gd name="T35" fmla="*/ 26 h 26"/>
                  <a:gd name="T36" fmla="*/ 10 w 36"/>
                  <a:gd name="T37" fmla="*/ 26 h 26"/>
                  <a:gd name="T38" fmla="*/ 10 w 36"/>
                  <a:gd name="T39" fmla="*/ 26 h 26"/>
                  <a:gd name="T40" fmla="*/ 12 w 36"/>
                  <a:gd name="T41" fmla="*/ 24 h 26"/>
                  <a:gd name="T42" fmla="*/ 14 w 36"/>
                  <a:gd name="T43" fmla="*/ 22 h 26"/>
                  <a:gd name="T44" fmla="*/ 16 w 36"/>
                  <a:gd name="T45" fmla="*/ 20 h 26"/>
                  <a:gd name="T46" fmla="*/ 16 w 36"/>
                  <a:gd name="T47" fmla="*/ 20 h 26"/>
                  <a:gd name="T48" fmla="*/ 18 w 36"/>
                  <a:gd name="T49" fmla="*/ 20 h 26"/>
                  <a:gd name="T50" fmla="*/ 20 w 36"/>
                  <a:gd name="T51" fmla="*/ 18 h 26"/>
                  <a:gd name="T52" fmla="*/ 22 w 36"/>
                  <a:gd name="T53" fmla="*/ 18 h 26"/>
                  <a:gd name="T54" fmla="*/ 22 w 36"/>
                  <a:gd name="T55" fmla="*/ 18 h 26"/>
                  <a:gd name="T56" fmla="*/ 22 w 36"/>
                  <a:gd name="T57" fmla="*/ 18 h 26"/>
                  <a:gd name="T58" fmla="*/ 26 w 36"/>
                  <a:gd name="T59" fmla="*/ 16 h 26"/>
                  <a:gd name="T60" fmla="*/ 32 w 36"/>
                  <a:gd name="T61" fmla="*/ 14 h 26"/>
                  <a:gd name="T62" fmla="*/ 32 w 36"/>
                  <a:gd name="T63" fmla="*/ 14 h 26"/>
                  <a:gd name="T64" fmla="*/ 34 w 36"/>
                  <a:gd name="T65" fmla="*/ 12 h 26"/>
                  <a:gd name="T66" fmla="*/ 36 w 36"/>
                  <a:gd name="T67" fmla="*/ 10 h 26"/>
                  <a:gd name="T68" fmla="*/ 36 w 36"/>
                  <a:gd name="T69" fmla="*/ 6 h 26"/>
                  <a:gd name="T70" fmla="*/ 36 w 36"/>
                  <a:gd name="T71" fmla="*/ 6 h 26"/>
                  <a:gd name="T72" fmla="*/ 34 w 36"/>
                  <a:gd name="T73" fmla="*/ 4 h 26"/>
                  <a:gd name="T74" fmla="*/ 32 w 36"/>
                  <a:gd name="T75" fmla="*/ 2 h 26"/>
                  <a:gd name="T76" fmla="*/ 26 w 36"/>
                  <a:gd name="T77" fmla="*/ 2 h 26"/>
                  <a:gd name="T78" fmla="*/ 26 w 36"/>
                  <a:gd name="T79" fmla="*/ 2 h 26"/>
                  <a:gd name="T80" fmla="*/ 26 w 36"/>
                  <a:gd name="T81" fmla="*/ 0 h 26"/>
                  <a:gd name="T82" fmla="*/ 26 w 36"/>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6">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8" name="Freeform 328"/>
              <p:cNvSpPr>
                <a:spLocks noEditPoints="1"/>
              </p:cNvSpPr>
              <p:nvPr/>
            </p:nvSpPr>
            <p:spPr bwMode="auto">
              <a:xfrm>
                <a:off x="1817" y="2447"/>
                <a:ext cx="558" cy="576"/>
              </a:xfrm>
              <a:custGeom>
                <a:avLst/>
                <a:gdLst>
                  <a:gd name="T0" fmla="*/ 292 w 558"/>
                  <a:gd name="T1" fmla="*/ 564 h 576"/>
                  <a:gd name="T2" fmla="*/ 256 w 558"/>
                  <a:gd name="T3" fmla="*/ 532 h 576"/>
                  <a:gd name="T4" fmla="*/ 242 w 558"/>
                  <a:gd name="T5" fmla="*/ 510 h 576"/>
                  <a:gd name="T6" fmla="*/ 290 w 558"/>
                  <a:gd name="T7" fmla="*/ 460 h 576"/>
                  <a:gd name="T8" fmla="*/ 276 w 558"/>
                  <a:gd name="T9" fmla="*/ 442 h 576"/>
                  <a:gd name="T10" fmla="*/ 270 w 558"/>
                  <a:gd name="T11" fmla="*/ 428 h 576"/>
                  <a:gd name="T12" fmla="*/ 258 w 558"/>
                  <a:gd name="T13" fmla="*/ 412 h 576"/>
                  <a:gd name="T14" fmla="*/ 230 w 558"/>
                  <a:gd name="T15" fmla="*/ 400 h 576"/>
                  <a:gd name="T16" fmla="*/ 226 w 558"/>
                  <a:gd name="T17" fmla="*/ 358 h 576"/>
                  <a:gd name="T18" fmla="*/ 222 w 558"/>
                  <a:gd name="T19" fmla="*/ 328 h 576"/>
                  <a:gd name="T20" fmla="*/ 198 w 558"/>
                  <a:gd name="T21" fmla="*/ 310 h 576"/>
                  <a:gd name="T22" fmla="*/ 194 w 558"/>
                  <a:gd name="T23" fmla="*/ 284 h 576"/>
                  <a:gd name="T24" fmla="*/ 154 w 558"/>
                  <a:gd name="T25" fmla="*/ 258 h 576"/>
                  <a:gd name="T26" fmla="*/ 124 w 558"/>
                  <a:gd name="T27" fmla="*/ 218 h 576"/>
                  <a:gd name="T28" fmla="*/ 56 w 558"/>
                  <a:gd name="T29" fmla="*/ 234 h 576"/>
                  <a:gd name="T30" fmla="*/ 50 w 558"/>
                  <a:gd name="T31" fmla="*/ 216 h 576"/>
                  <a:gd name="T32" fmla="*/ 36 w 558"/>
                  <a:gd name="T33" fmla="*/ 222 h 576"/>
                  <a:gd name="T34" fmla="*/ 8 w 558"/>
                  <a:gd name="T35" fmla="*/ 202 h 576"/>
                  <a:gd name="T36" fmla="*/ 12 w 558"/>
                  <a:gd name="T37" fmla="*/ 164 h 576"/>
                  <a:gd name="T38" fmla="*/ 36 w 558"/>
                  <a:gd name="T39" fmla="*/ 138 h 576"/>
                  <a:gd name="T40" fmla="*/ 58 w 558"/>
                  <a:gd name="T41" fmla="*/ 80 h 576"/>
                  <a:gd name="T42" fmla="*/ 60 w 558"/>
                  <a:gd name="T43" fmla="*/ 64 h 576"/>
                  <a:gd name="T44" fmla="*/ 58 w 558"/>
                  <a:gd name="T45" fmla="*/ 62 h 576"/>
                  <a:gd name="T46" fmla="*/ 92 w 558"/>
                  <a:gd name="T47" fmla="*/ 48 h 576"/>
                  <a:gd name="T48" fmla="*/ 104 w 558"/>
                  <a:gd name="T49" fmla="*/ 56 h 576"/>
                  <a:gd name="T50" fmla="*/ 150 w 558"/>
                  <a:gd name="T51" fmla="*/ 46 h 576"/>
                  <a:gd name="T52" fmla="*/ 140 w 558"/>
                  <a:gd name="T53" fmla="*/ 34 h 576"/>
                  <a:gd name="T54" fmla="*/ 138 w 558"/>
                  <a:gd name="T55" fmla="*/ 16 h 576"/>
                  <a:gd name="T56" fmla="*/ 158 w 558"/>
                  <a:gd name="T57" fmla="*/ 20 h 576"/>
                  <a:gd name="T58" fmla="*/ 186 w 558"/>
                  <a:gd name="T59" fmla="*/ 2 h 576"/>
                  <a:gd name="T60" fmla="*/ 200 w 558"/>
                  <a:gd name="T61" fmla="*/ 2 h 576"/>
                  <a:gd name="T62" fmla="*/ 214 w 558"/>
                  <a:gd name="T63" fmla="*/ 58 h 576"/>
                  <a:gd name="T64" fmla="*/ 244 w 558"/>
                  <a:gd name="T65" fmla="*/ 44 h 576"/>
                  <a:gd name="T66" fmla="*/ 256 w 558"/>
                  <a:gd name="T67" fmla="*/ 42 h 576"/>
                  <a:gd name="T68" fmla="*/ 288 w 558"/>
                  <a:gd name="T69" fmla="*/ 42 h 576"/>
                  <a:gd name="T70" fmla="*/ 318 w 558"/>
                  <a:gd name="T71" fmla="*/ 16 h 576"/>
                  <a:gd name="T72" fmla="*/ 326 w 558"/>
                  <a:gd name="T73" fmla="*/ 18 h 576"/>
                  <a:gd name="T74" fmla="*/ 344 w 558"/>
                  <a:gd name="T75" fmla="*/ 54 h 576"/>
                  <a:gd name="T76" fmla="*/ 334 w 558"/>
                  <a:gd name="T77" fmla="*/ 72 h 576"/>
                  <a:gd name="T78" fmla="*/ 332 w 558"/>
                  <a:gd name="T79" fmla="*/ 76 h 576"/>
                  <a:gd name="T80" fmla="*/ 348 w 558"/>
                  <a:gd name="T81" fmla="*/ 70 h 576"/>
                  <a:gd name="T82" fmla="*/ 364 w 558"/>
                  <a:gd name="T83" fmla="*/ 80 h 576"/>
                  <a:gd name="T84" fmla="*/ 354 w 558"/>
                  <a:gd name="T85" fmla="*/ 104 h 576"/>
                  <a:gd name="T86" fmla="*/ 366 w 558"/>
                  <a:gd name="T87" fmla="*/ 88 h 576"/>
                  <a:gd name="T88" fmla="*/ 376 w 558"/>
                  <a:gd name="T89" fmla="*/ 82 h 576"/>
                  <a:gd name="T90" fmla="*/ 416 w 558"/>
                  <a:gd name="T91" fmla="*/ 98 h 576"/>
                  <a:gd name="T92" fmla="*/ 422 w 558"/>
                  <a:gd name="T93" fmla="*/ 116 h 576"/>
                  <a:gd name="T94" fmla="*/ 438 w 558"/>
                  <a:gd name="T95" fmla="*/ 110 h 576"/>
                  <a:gd name="T96" fmla="*/ 492 w 558"/>
                  <a:gd name="T97" fmla="*/ 120 h 576"/>
                  <a:gd name="T98" fmla="*/ 546 w 558"/>
                  <a:gd name="T99" fmla="*/ 146 h 576"/>
                  <a:gd name="T100" fmla="*/ 556 w 558"/>
                  <a:gd name="T101" fmla="*/ 204 h 576"/>
                  <a:gd name="T102" fmla="*/ 520 w 558"/>
                  <a:gd name="T103" fmla="*/ 252 h 576"/>
                  <a:gd name="T104" fmla="*/ 500 w 558"/>
                  <a:gd name="T105" fmla="*/ 304 h 576"/>
                  <a:gd name="T106" fmla="*/ 472 w 558"/>
                  <a:gd name="T107" fmla="*/ 392 h 576"/>
                  <a:gd name="T108" fmla="*/ 444 w 558"/>
                  <a:gd name="T109" fmla="*/ 412 h 576"/>
                  <a:gd name="T110" fmla="*/ 394 w 558"/>
                  <a:gd name="T111" fmla="*/ 428 h 576"/>
                  <a:gd name="T112" fmla="*/ 364 w 558"/>
                  <a:gd name="T113" fmla="*/ 464 h 576"/>
                  <a:gd name="T114" fmla="*/ 346 w 558"/>
                  <a:gd name="T115" fmla="*/ 510 h 576"/>
                  <a:gd name="T116" fmla="*/ 330 w 558"/>
                  <a:gd name="T117" fmla="*/ 542 h 576"/>
                  <a:gd name="T118" fmla="*/ 316 w 558"/>
                  <a:gd name="T119" fmla="*/ 550 h 576"/>
                  <a:gd name="T120" fmla="*/ 300 w 558"/>
                  <a:gd name="T121" fmla="*/ 574 h 576"/>
                  <a:gd name="T122" fmla="*/ 314 w 558"/>
                  <a:gd name="T123" fmla="*/ 542 h 576"/>
                  <a:gd name="T124" fmla="*/ 314 w 558"/>
                  <a:gd name="T125"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8" h="576">
                    <a:moveTo>
                      <a:pt x="298" y="576"/>
                    </a:moveTo>
                    <a:lnTo>
                      <a:pt x="298" y="576"/>
                    </a:lnTo>
                    <a:lnTo>
                      <a:pt x="298" y="576"/>
                    </a:lnTo>
                    <a:lnTo>
                      <a:pt x="294" y="572"/>
                    </a:lnTo>
                    <a:lnTo>
                      <a:pt x="294" y="572"/>
                    </a:lnTo>
                    <a:lnTo>
                      <a:pt x="292" y="570"/>
                    </a:lnTo>
                    <a:lnTo>
                      <a:pt x="292" y="564"/>
                    </a:lnTo>
                    <a:lnTo>
                      <a:pt x="294" y="560"/>
                    </a:lnTo>
                    <a:lnTo>
                      <a:pt x="292" y="554"/>
                    </a:lnTo>
                    <a:lnTo>
                      <a:pt x="286" y="550"/>
                    </a:lnTo>
                    <a:lnTo>
                      <a:pt x="276" y="542"/>
                    </a:lnTo>
                    <a:lnTo>
                      <a:pt x="264" y="534"/>
                    </a:lnTo>
                    <a:lnTo>
                      <a:pt x="256" y="532"/>
                    </a:lnTo>
                    <a:lnTo>
                      <a:pt x="256" y="532"/>
                    </a:lnTo>
                    <a:lnTo>
                      <a:pt x="256" y="532"/>
                    </a:lnTo>
                    <a:lnTo>
                      <a:pt x="248" y="524"/>
                    </a:lnTo>
                    <a:lnTo>
                      <a:pt x="240" y="516"/>
                    </a:lnTo>
                    <a:lnTo>
                      <a:pt x="240" y="516"/>
                    </a:lnTo>
                    <a:lnTo>
                      <a:pt x="240" y="514"/>
                    </a:lnTo>
                    <a:lnTo>
                      <a:pt x="242" y="510"/>
                    </a:lnTo>
                    <a:lnTo>
                      <a:pt x="242" y="510"/>
                    </a:lnTo>
                    <a:lnTo>
                      <a:pt x="242" y="510"/>
                    </a:lnTo>
                    <a:lnTo>
                      <a:pt x="248" y="506"/>
                    </a:lnTo>
                    <a:lnTo>
                      <a:pt x="268" y="484"/>
                    </a:lnTo>
                    <a:lnTo>
                      <a:pt x="276" y="480"/>
                    </a:lnTo>
                    <a:lnTo>
                      <a:pt x="282" y="476"/>
                    </a:lnTo>
                    <a:lnTo>
                      <a:pt x="286" y="470"/>
                    </a:lnTo>
                    <a:lnTo>
                      <a:pt x="290" y="460"/>
                    </a:lnTo>
                    <a:lnTo>
                      <a:pt x="288" y="452"/>
                    </a:lnTo>
                    <a:lnTo>
                      <a:pt x="286" y="450"/>
                    </a:lnTo>
                    <a:lnTo>
                      <a:pt x="276" y="448"/>
                    </a:lnTo>
                    <a:lnTo>
                      <a:pt x="276" y="448"/>
                    </a:lnTo>
                    <a:lnTo>
                      <a:pt x="276" y="446"/>
                    </a:lnTo>
                    <a:lnTo>
                      <a:pt x="276" y="442"/>
                    </a:lnTo>
                    <a:lnTo>
                      <a:pt x="276" y="442"/>
                    </a:lnTo>
                    <a:lnTo>
                      <a:pt x="276" y="440"/>
                    </a:lnTo>
                    <a:lnTo>
                      <a:pt x="278" y="434"/>
                    </a:lnTo>
                    <a:lnTo>
                      <a:pt x="280" y="428"/>
                    </a:lnTo>
                    <a:lnTo>
                      <a:pt x="278" y="428"/>
                    </a:lnTo>
                    <a:lnTo>
                      <a:pt x="270" y="428"/>
                    </a:lnTo>
                    <a:lnTo>
                      <a:pt x="270" y="428"/>
                    </a:lnTo>
                    <a:lnTo>
                      <a:pt x="270" y="428"/>
                    </a:lnTo>
                    <a:lnTo>
                      <a:pt x="270" y="428"/>
                    </a:lnTo>
                    <a:lnTo>
                      <a:pt x="268" y="428"/>
                    </a:lnTo>
                    <a:lnTo>
                      <a:pt x="262" y="422"/>
                    </a:lnTo>
                    <a:lnTo>
                      <a:pt x="262" y="422"/>
                    </a:lnTo>
                    <a:lnTo>
                      <a:pt x="260" y="420"/>
                    </a:lnTo>
                    <a:lnTo>
                      <a:pt x="258" y="412"/>
                    </a:lnTo>
                    <a:lnTo>
                      <a:pt x="258" y="412"/>
                    </a:lnTo>
                    <a:lnTo>
                      <a:pt x="258" y="410"/>
                    </a:lnTo>
                    <a:lnTo>
                      <a:pt x="258" y="402"/>
                    </a:lnTo>
                    <a:lnTo>
                      <a:pt x="254" y="400"/>
                    </a:lnTo>
                    <a:lnTo>
                      <a:pt x="246" y="398"/>
                    </a:lnTo>
                    <a:lnTo>
                      <a:pt x="240" y="400"/>
                    </a:lnTo>
                    <a:lnTo>
                      <a:pt x="230" y="400"/>
                    </a:lnTo>
                    <a:lnTo>
                      <a:pt x="230" y="400"/>
                    </a:lnTo>
                    <a:lnTo>
                      <a:pt x="228" y="398"/>
                    </a:lnTo>
                    <a:lnTo>
                      <a:pt x="228" y="374"/>
                    </a:lnTo>
                    <a:lnTo>
                      <a:pt x="226" y="366"/>
                    </a:lnTo>
                    <a:lnTo>
                      <a:pt x="226" y="366"/>
                    </a:lnTo>
                    <a:lnTo>
                      <a:pt x="226" y="364"/>
                    </a:lnTo>
                    <a:lnTo>
                      <a:pt x="228" y="362"/>
                    </a:lnTo>
                    <a:lnTo>
                      <a:pt x="226" y="358"/>
                    </a:lnTo>
                    <a:lnTo>
                      <a:pt x="226" y="358"/>
                    </a:lnTo>
                    <a:lnTo>
                      <a:pt x="226" y="356"/>
                    </a:lnTo>
                    <a:lnTo>
                      <a:pt x="232" y="344"/>
                    </a:lnTo>
                    <a:lnTo>
                      <a:pt x="232" y="338"/>
                    </a:lnTo>
                    <a:lnTo>
                      <a:pt x="230" y="332"/>
                    </a:lnTo>
                    <a:lnTo>
                      <a:pt x="222" y="328"/>
                    </a:lnTo>
                    <a:lnTo>
                      <a:pt x="222" y="328"/>
                    </a:lnTo>
                    <a:lnTo>
                      <a:pt x="222" y="326"/>
                    </a:lnTo>
                    <a:lnTo>
                      <a:pt x="220" y="316"/>
                    </a:lnTo>
                    <a:lnTo>
                      <a:pt x="220" y="316"/>
                    </a:lnTo>
                    <a:lnTo>
                      <a:pt x="220" y="316"/>
                    </a:lnTo>
                    <a:lnTo>
                      <a:pt x="220" y="310"/>
                    </a:lnTo>
                    <a:lnTo>
                      <a:pt x="198" y="310"/>
                    </a:lnTo>
                    <a:lnTo>
                      <a:pt x="198" y="310"/>
                    </a:lnTo>
                    <a:lnTo>
                      <a:pt x="196" y="308"/>
                    </a:lnTo>
                    <a:lnTo>
                      <a:pt x="194" y="298"/>
                    </a:lnTo>
                    <a:lnTo>
                      <a:pt x="194" y="294"/>
                    </a:lnTo>
                    <a:lnTo>
                      <a:pt x="194" y="294"/>
                    </a:lnTo>
                    <a:lnTo>
                      <a:pt x="194" y="294"/>
                    </a:lnTo>
                    <a:lnTo>
                      <a:pt x="196" y="290"/>
                    </a:lnTo>
                    <a:lnTo>
                      <a:pt x="194" y="284"/>
                    </a:lnTo>
                    <a:lnTo>
                      <a:pt x="192" y="274"/>
                    </a:lnTo>
                    <a:lnTo>
                      <a:pt x="176" y="270"/>
                    </a:lnTo>
                    <a:lnTo>
                      <a:pt x="166" y="266"/>
                    </a:lnTo>
                    <a:lnTo>
                      <a:pt x="158" y="264"/>
                    </a:lnTo>
                    <a:lnTo>
                      <a:pt x="158" y="264"/>
                    </a:lnTo>
                    <a:lnTo>
                      <a:pt x="158" y="262"/>
                    </a:lnTo>
                    <a:lnTo>
                      <a:pt x="154" y="258"/>
                    </a:lnTo>
                    <a:lnTo>
                      <a:pt x="138" y="254"/>
                    </a:lnTo>
                    <a:lnTo>
                      <a:pt x="138" y="254"/>
                    </a:lnTo>
                    <a:lnTo>
                      <a:pt x="136" y="254"/>
                    </a:lnTo>
                    <a:lnTo>
                      <a:pt x="126" y="244"/>
                    </a:lnTo>
                    <a:lnTo>
                      <a:pt x="126" y="244"/>
                    </a:lnTo>
                    <a:lnTo>
                      <a:pt x="126" y="242"/>
                    </a:lnTo>
                    <a:lnTo>
                      <a:pt x="124" y="218"/>
                    </a:lnTo>
                    <a:lnTo>
                      <a:pt x="114" y="218"/>
                    </a:lnTo>
                    <a:lnTo>
                      <a:pt x="106" y="222"/>
                    </a:lnTo>
                    <a:lnTo>
                      <a:pt x="104" y="222"/>
                    </a:lnTo>
                    <a:lnTo>
                      <a:pt x="98" y="228"/>
                    </a:lnTo>
                    <a:lnTo>
                      <a:pt x="84" y="234"/>
                    </a:lnTo>
                    <a:lnTo>
                      <a:pt x="66" y="236"/>
                    </a:lnTo>
                    <a:lnTo>
                      <a:pt x="56" y="234"/>
                    </a:lnTo>
                    <a:lnTo>
                      <a:pt x="50" y="234"/>
                    </a:lnTo>
                    <a:lnTo>
                      <a:pt x="50" y="234"/>
                    </a:lnTo>
                    <a:lnTo>
                      <a:pt x="48" y="232"/>
                    </a:lnTo>
                    <a:lnTo>
                      <a:pt x="46" y="226"/>
                    </a:lnTo>
                    <a:lnTo>
                      <a:pt x="46" y="226"/>
                    </a:lnTo>
                    <a:lnTo>
                      <a:pt x="46" y="226"/>
                    </a:lnTo>
                    <a:lnTo>
                      <a:pt x="50" y="216"/>
                    </a:lnTo>
                    <a:lnTo>
                      <a:pt x="50" y="214"/>
                    </a:lnTo>
                    <a:lnTo>
                      <a:pt x="46" y="216"/>
                    </a:lnTo>
                    <a:lnTo>
                      <a:pt x="46" y="216"/>
                    </a:lnTo>
                    <a:lnTo>
                      <a:pt x="46" y="218"/>
                    </a:lnTo>
                    <a:lnTo>
                      <a:pt x="38" y="220"/>
                    </a:lnTo>
                    <a:lnTo>
                      <a:pt x="36" y="222"/>
                    </a:lnTo>
                    <a:lnTo>
                      <a:pt x="36" y="222"/>
                    </a:lnTo>
                    <a:lnTo>
                      <a:pt x="34" y="222"/>
                    </a:lnTo>
                    <a:lnTo>
                      <a:pt x="34" y="222"/>
                    </a:lnTo>
                    <a:lnTo>
                      <a:pt x="34" y="222"/>
                    </a:lnTo>
                    <a:lnTo>
                      <a:pt x="26" y="220"/>
                    </a:lnTo>
                    <a:lnTo>
                      <a:pt x="26" y="220"/>
                    </a:lnTo>
                    <a:lnTo>
                      <a:pt x="26" y="220"/>
                    </a:lnTo>
                    <a:lnTo>
                      <a:pt x="8" y="202"/>
                    </a:lnTo>
                    <a:lnTo>
                      <a:pt x="8" y="202"/>
                    </a:lnTo>
                    <a:lnTo>
                      <a:pt x="8" y="202"/>
                    </a:lnTo>
                    <a:lnTo>
                      <a:pt x="0" y="182"/>
                    </a:lnTo>
                    <a:lnTo>
                      <a:pt x="0" y="182"/>
                    </a:lnTo>
                    <a:lnTo>
                      <a:pt x="0" y="180"/>
                    </a:lnTo>
                    <a:lnTo>
                      <a:pt x="8" y="170"/>
                    </a:lnTo>
                    <a:lnTo>
                      <a:pt x="12" y="164"/>
                    </a:lnTo>
                    <a:lnTo>
                      <a:pt x="14" y="156"/>
                    </a:lnTo>
                    <a:lnTo>
                      <a:pt x="14" y="156"/>
                    </a:lnTo>
                    <a:lnTo>
                      <a:pt x="14" y="154"/>
                    </a:lnTo>
                    <a:lnTo>
                      <a:pt x="24" y="144"/>
                    </a:lnTo>
                    <a:lnTo>
                      <a:pt x="24" y="144"/>
                    </a:lnTo>
                    <a:lnTo>
                      <a:pt x="24" y="144"/>
                    </a:lnTo>
                    <a:lnTo>
                      <a:pt x="36" y="138"/>
                    </a:lnTo>
                    <a:lnTo>
                      <a:pt x="56" y="136"/>
                    </a:lnTo>
                    <a:lnTo>
                      <a:pt x="60" y="126"/>
                    </a:lnTo>
                    <a:lnTo>
                      <a:pt x="60" y="114"/>
                    </a:lnTo>
                    <a:lnTo>
                      <a:pt x="62" y="108"/>
                    </a:lnTo>
                    <a:lnTo>
                      <a:pt x="64" y="96"/>
                    </a:lnTo>
                    <a:lnTo>
                      <a:pt x="62" y="86"/>
                    </a:lnTo>
                    <a:lnTo>
                      <a:pt x="58" y="80"/>
                    </a:lnTo>
                    <a:lnTo>
                      <a:pt x="58" y="80"/>
                    </a:lnTo>
                    <a:lnTo>
                      <a:pt x="58" y="78"/>
                    </a:lnTo>
                    <a:lnTo>
                      <a:pt x="58" y="68"/>
                    </a:lnTo>
                    <a:lnTo>
                      <a:pt x="58" y="68"/>
                    </a:lnTo>
                    <a:lnTo>
                      <a:pt x="58" y="66"/>
                    </a:lnTo>
                    <a:lnTo>
                      <a:pt x="60" y="64"/>
                    </a:lnTo>
                    <a:lnTo>
                      <a:pt x="60" y="64"/>
                    </a:lnTo>
                    <a:lnTo>
                      <a:pt x="60" y="64"/>
                    </a:lnTo>
                    <a:lnTo>
                      <a:pt x="60" y="64"/>
                    </a:lnTo>
                    <a:lnTo>
                      <a:pt x="62" y="64"/>
                    </a:lnTo>
                    <a:lnTo>
                      <a:pt x="68" y="66"/>
                    </a:lnTo>
                    <a:lnTo>
                      <a:pt x="68" y="64"/>
                    </a:lnTo>
                    <a:lnTo>
                      <a:pt x="58" y="62"/>
                    </a:lnTo>
                    <a:lnTo>
                      <a:pt x="58" y="62"/>
                    </a:lnTo>
                    <a:lnTo>
                      <a:pt x="58" y="60"/>
                    </a:lnTo>
                    <a:lnTo>
                      <a:pt x="58" y="54"/>
                    </a:lnTo>
                    <a:lnTo>
                      <a:pt x="58" y="54"/>
                    </a:lnTo>
                    <a:lnTo>
                      <a:pt x="60" y="52"/>
                    </a:lnTo>
                    <a:lnTo>
                      <a:pt x="84" y="50"/>
                    </a:lnTo>
                    <a:lnTo>
                      <a:pt x="92" y="48"/>
                    </a:lnTo>
                    <a:lnTo>
                      <a:pt x="92" y="48"/>
                    </a:lnTo>
                    <a:lnTo>
                      <a:pt x="94" y="48"/>
                    </a:lnTo>
                    <a:lnTo>
                      <a:pt x="94" y="48"/>
                    </a:lnTo>
                    <a:lnTo>
                      <a:pt x="94" y="48"/>
                    </a:lnTo>
                    <a:lnTo>
                      <a:pt x="100" y="50"/>
                    </a:lnTo>
                    <a:lnTo>
                      <a:pt x="100" y="50"/>
                    </a:lnTo>
                    <a:lnTo>
                      <a:pt x="100" y="50"/>
                    </a:lnTo>
                    <a:lnTo>
                      <a:pt x="104" y="56"/>
                    </a:lnTo>
                    <a:lnTo>
                      <a:pt x="110" y="62"/>
                    </a:lnTo>
                    <a:lnTo>
                      <a:pt x="118" y="64"/>
                    </a:lnTo>
                    <a:lnTo>
                      <a:pt x="130" y="60"/>
                    </a:lnTo>
                    <a:lnTo>
                      <a:pt x="140" y="50"/>
                    </a:lnTo>
                    <a:lnTo>
                      <a:pt x="140" y="50"/>
                    </a:lnTo>
                    <a:lnTo>
                      <a:pt x="140" y="50"/>
                    </a:lnTo>
                    <a:lnTo>
                      <a:pt x="150" y="46"/>
                    </a:lnTo>
                    <a:lnTo>
                      <a:pt x="150" y="44"/>
                    </a:lnTo>
                    <a:lnTo>
                      <a:pt x="146" y="44"/>
                    </a:lnTo>
                    <a:lnTo>
                      <a:pt x="146" y="44"/>
                    </a:lnTo>
                    <a:lnTo>
                      <a:pt x="146" y="42"/>
                    </a:lnTo>
                    <a:lnTo>
                      <a:pt x="140" y="36"/>
                    </a:lnTo>
                    <a:lnTo>
                      <a:pt x="140" y="36"/>
                    </a:lnTo>
                    <a:lnTo>
                      <a:pt x="140" y="34"/>
                    </a:lnTo>
                    <a:lnTo>
                      <a:pt x="138" y="26"/>
                    </a:lnTo>
                    <a:lnTo>
                      <a:pt x="132" y="22"/>
                    </a:lnTo>
                    <a:lnTo>
                      <a:pt x="132" y="22"/>
                    </a:lnTo>
                    <a:lnTo>
                      <a:pt x="132" y="20"/>
                    </a:lnTo>
                    <a:lnTo>
                      <a:pt x="132" y="20"/>
                    </a:lnTo>
                    <a:lnTo>
                      <a:pt x="134" y="18"/>
                    </a:lnTo>
                    <a:lnTo>
                      <a:pt x="138" y="16"/>
                    </a:lnTo>
                    <a:lnTo>
                      <a:pt x="138" y="16"/>
                    </a:lnTo>
                    <a:lnTo>
                      <a:pt x="140" y="16"/>
                    </a:lnTo>
                    <a:lnTo>
                      <a:pt x="140" y="16"/>
                    </a:lnTo>
                    <a:lnTo>
                      <a:pt x="140" y="16"/>
                    </a:lnTo>
                    <a:lnTo>
                      <a:pt x="148" y="20"/>
                    </a:lnTo>
                    <a:lnTo>
                      <a:pt x="158" y="20"/>
                    </a:lnTo>
                    <a:lnTo>
                      <a:pt x="158" y="20"/>
                    </a:lnTo>
                    <a:lnTo>
                      <a:pt x="158" y="20"/>
                    </a:lnTo>
                    <a:lnTo>
                      <a:pt x="160" y="20"/>
                    </a:lnTo>
                    <a:lnTo>
                      <a:pt x="166" y="18"/>
                    </a:lnTo>
                    <a:lnTo>
                      <a:pt x="174" y="16"/>
                    </a:lnTo>
                    <a:lnTo>
                      <a:pt x="184" y="12"/>
                    </a:lnTo>
                    <a:lnTo>
                      <a:pt x="188" y="6"/>
                    </a:lnTo>
                    <a:lnTo>
                      <a:pt x="186" y="2"/>
                    </a:lnTo>
                    <a:lnTo>
                      <a:pt x="186" y="2"/>
                    </a:lnTo>
                    <a:lnTo>
                      <a:pt x="186" y="0"/>
                    </a:lnTo>
                    <a:lnTo>
                      <a:pt x="186" y="0"/>
                    </a:lnTo>
                    <a:lnTo>
                      <a:pt x="188" y="0"/>
                    </a:lnTo>
                    <a:lnTo>
                      <a:pt x="198" y="0"/>
                    </a:lnTo>
                    <a:lnTo>
                      <a:pt x="198" y="0"/>
                    </a:lnTo>
                    <a:lnTo>
                      <a:pt x="200" y="2"/>
                    </a:lnTo>
                    <a:lnTo>
                      <a:pt x="208" y="20"/>
                    </a:lnTo>
                    <a:lnTo>
                      <a:pt x="208" y="20"/>
                    </a:lnTo>
                    <a:lnTo>
                      <a:pt x="208" y="22"/>
                    </a:lnTo>
                    <a:lnTo>
                      <a:pt x="202" y="28"/>
                    </a:lnTo>
                    <a:lnTo>
                      <a:pt x="202" y="44"/>
                    </a:lnTo>
                    <a:lnTo>
                      <a:pt x="208" y="50"/>
                    </a:lnTo>
                    <a:lnTo>
                      <a:pt x="214" y="58"/>
                    </a:lnTo>
                    <a:lnTo>
                      <a:pt x="220" y="58"/>
                    </a:lnTo>
                    <a:lnTo>
                      <a:pt x="228" y="56"/>
                    </a:lnTo>
                    <a:lnTo>
                      <a:pt x="234" y="52"/>
                    </a:lnTo>
                    <a:lnTo>
                      <a:pt x="240" y="48"/>
                    </a:lnTo>
                    <a:lnTo>
                      <a:pt x="244" y="46"/>
                    </a:lnTo>
                    <a:lnTo>
                      <a:pt x="244" y="46"/>
                    </a:lnTo>
                    <a:lnTo>
                      <a:pt x="244" y="44"/>
                    </a:lnTo>
                    <a:lnTo>
                      <a:pt x="244" y="44"/>
                    </a:lnTo>
                    <a:lnTo>
                      <a:pt x="246" y="46"/>
                    </a:lnTo>
                    <a:lnTo>
                      <a:pt x="250" y="48"/>
                    </a:lnTo>
                    <a:lnTo>
                      <a:pt x="254" y="48"/>
                    </a:lnTo>
                    <a:lnTo>
                      <a:pt x="256" y="44"/>
                    </a:lnTo>
                    <a:lnTo>
                      <a:pt x="256" y="42"/>
                    </a:lnTo>
                    <a:lnTo>
                      <a:pt x="256" y="42"/>
                    </a:lnTo>
                    <a:lnTo>
                      <a:pt x="258" y="40"/>
                    </a:lnTo>
                    <a:lnTo>
                      <a:pt x="262" y="40"/>
                    </a:lnTo>
                    <a:lnTo>
                      <a:pt x="270" y="42"/>
                    </a:lnTo>
                    <a:lnTo>
                      <a:pt x="280" y="44"/>
                    </a:lnTo>
                    <a:lnTo>
                      <a:pt x="284" y="44"/>
                    </a:lnTo>
                    <a:lnTo>
                      <a:pt x="288" y="42"/>
                    </a:lnTo>
                    <a:lnTo>
                      <a:pt x="288" y="42"/>
                    </a:lnTo>
                    <a:lnTo>
                      <a:pt x="290" y="40"/>
                    </a:lnTo>
                    <a:lnTo>
                      <a:pt x="290" y="40"/>
                    </a:lnTo>
                    <a:lnTo>
                      <a:pt x="290" y="42"/>
                    </a:lnTo>
                    <a:lnTo>
                      <a:pt x="298" y="42"/>
                    </a:lnTo>
                    <a:lnTo>
                      <a:pt x="304" y="46"/>
                    </a:lnTo>
                    <a:lnTo>
                      <a:pt x="312" y="22"/>
                    </a:lnTo>
                    <a:lnTo>
                      <a:pt x="318" y="16"/>
                    </a:lnTo>
                    <a:lnTo>
                      <a:pt x="318" y="16"/>
                    </a:lnTo>
                    <a:lnTo>
                      <a:pt x="320" y="16"/>
                    </a:lnTo>
                    <a:lnTo>
                      <a:pt x="320" y="16"/>
                    </a:lnTo>
                    <a:lnTo>
                      <a:pt x="320" y="16"/>
                    </a:lnTo>
                    <a:lnTo>
                      <a:pt x="326" y="18"/>
                    </a:lnTo>
                    <a:lnTo>
                      <a:pt x="326" y="18"/>
                    </a:lnTo>
                    <a:lnTo>
                      <a:pt x="326" y="18"/>
                    </a:lnTo>
                    <a:lnTo>
                      <a:pt x="330" y="22"/>
                    </a:lnTo>
                    <a:lnTo>
                      <a:pt x="330" y="22"/>
                    </a:lnTo>
                    <a:lnTo>
                      <a:pt x="330" y="24"/>
                    </a:lnTo>
                    <a:lnTo>
                      <a:pt x="330" y="28"/>
                    </a:lnTo>
                    <a:lnTo>
                      <a:pt x="332" y="40"/>
                    </a:lnTo>
                    <a:lnTo>
                      <a:pt x="340" y="48"/>
                    </a:lnTo>
                    <a:lnTo>
                      <a:pt x="344" y="54"/>
                    </a:lnTo>
                    <a:lnTo>
                      <a:pt x="344" y="54"/>
                    </a:lnTo>
                    <a:lnTo>
                      <a:pt x="346" y="56"/>
                    </a:lnTo>
                    <a:lnTo>
                      <a:pt x="346" y="62"/>
                    </a:lnTo>
                    <a:lnTo>
                      <a:pt x="346" y="62"/>
                    </a:lnTo>
                    <a:lnTo>
                      <a:pt x="344" y="64"/>
                    </a:lnTo>
                    <a:lnTo>
                      <a:pt x="340" y="66"/>
                    </a:lnTo>
                    <a:lnTo>
                      <a:pt x="334" y="72"/>
                    </a:lnTo>
                    <a:lnTo>
                      <a:pt x="326" y="78"/>
                    </a:lnTo>
                    <a:lnTo>
                      <a:pt x="326" y="82"/>
                    </a:lnTo>
                    <a:lnTo>
                      <a:pt x="326" y="88"/>
                    </a:lnTo>
                    <a:lnTo>
                      <a:pt x="326" y="88"/>
                    </a:lnTo>
                    <a:lnTo>
                      <a:pt x="330" y="88"/>
                    </a:lnTo>
                    <a:lnTo>
                      <a:pt x="332" y="84"/>
                    </a:lnTo>
                    <a:lnTo>
                      <a:pt x="332" y="76"/>
                    </a:lnTo>
                    <a:lnTo>
                      <a:pt x="332" y="76"/>
                    </a:lnTo>
                    <a:lnTo>
                      <a:pt x="334" y="74"/>
                    </a:lnTo>
                    <a:lnTo>
                      <a:pt x="340" y="70"/>
                    </a:lnTo>
                    <a:lnTo>
                      <a:pt x="340" y="70"/>
                    </a:lnTo>
                    <a:lnTo>
                      <a:pt x="342" y="70"/>
                    </a:lnTo>
                    <a:lnTo>
                      <a:pt x="348" y="70"/>
                    </a:lnTo>
                    <a:lnTo>
                      <a:pt x="348" y="70"/>
                    </a:lnTo>
                    <a:lnTo>
                      <a:pt x="350" y="70"/>
                    </a:lnTo>
                    <a:lnTo>
                      <a:pt x="354" y="74"/>
                    </a:lnTo>
                    <a:lnTo>
                      <a:pt x="360" y="76"/>
                    </a:lnTo>
                    <a:lnTo>
                      <a:pt x="360" y="76"/>
                    </a:lnTo>
                    <a:lnTo>
                      <a:pt x="360" y="76"/>
                    </a:lnTo>
                    <a:lnTo>
                      <a:pt x="364" y="80"/>
                    </a:lnTo>
                    <a:lnTo>
                      <a:pt x="364" y="80"/>
                    </a:lnTo>
                    <a:lnTo>
                      <a:pt x="364" y="80"/>
                    </a:lnTo>
                    <a:lnTo>
                      <a:pt x="364" y="84"/>
                    </a:lnTo>
                    <a:lnTo>
                      <a:pt x="364" y="90"/>
                    </a:lnTo>
                    <a:lnTo>
                      <a:pt x="364" y="90"/>
                    </a:lnTo>
                    <a:lnTo>
                      <a:pt x="362" y="92"/>
                    </a:lnTo>
                    <a:lnTo>
                      <a:pt x="354" y="100"/>
                    </a:lnTo>
                    <a:lnTo>
                      <a:pt x="354" y="104"/>
                    </a:lnTo>
                    <a:lnTo>
                      <a:pt x="354" y="104"/>
                    </a:lnTo>
                    <a:lnTo>
                      <a:pt x="362" y="98"/>
                    </a:lnTo>
                    <a:lnTo>
                      <a:pt x="362" y="98"/>
                    </a:lnTo>
                    <a:lnTo>
                      <a:pt x="362" y="96"/>
                    </a:lnTo>
                    <a:lnTo>
                      <a:pt x="364" y="96"/>
                    </a:lnTo>
                    <a:lnTo>
                      <a:pt x="364" y="94"/>
                    </a:lnTo>
                    <a:lnTo>
                      <a:pt x="366" y="88"/>
                    </a:lnTo>
                    <a:lnTo>
                      <a:pt x="366" y="88"/>
                    </a:lnTo>
                    <a:lnTo>
                      <a:pt x="366" y="88"/>
                    </a:lnTo>
                    <a:lnTo>
                      <a:pt x="370" y="84"/>
                    </a:lnTo>
                    <a:lnTo>
                      <a:pt x="370" y="84"/>
                    </a:lnTo>
                    <a:lnTo>
                      <a:pt x="372" y="84"/>
                    </a:lnTo>
                    <a:lnTo>
                      <a:pt x="376" y="82"/>
                    </a:lnTo>
                    <a:lnTo>
                      <a:pt x="376" y="82"/>
                    </a:lnTo>
                    <a:lnTo>
                      <a:pt x="378" y="82"/>
                    </a:lnTo>
                    <a:lnTo>
                      <a:pt x="378" y="82"/>
                    </a:lnTo>
                    <a:lnTo>
                      <a:pt x="378" y="82"/>
                    </a:lnTo>
                    <a:lnTo>
                      <a:pt x="384" y="84"/>
                    </a:lnTo>
                    <a:lnTo>
                      <a:pt x="396" y="88"/>
                    </a:lnTo>
                    <a:lnTo>
                      <a:pt x="404" y="94"/>
                    </a:lnTo>
                    <a:lnTo>
                      <a:pt x="416" y="98"/>
                    </a:lnTo>
                    <a:lnTo>
                      <a:pt x="424" y="102"/>
                    </a:lnTo>
                    <a:lnTo>
                      <a:pt x="424" y="102"/>
                    </a:lnTo>
                    <a:lnTo>
                      <a:pt x="426" y="104"/>
                    </a:lnTo>
                    <a:lnTo>
                      <a:pt x="426" y="110"/>
                    </a:lnTo>
                    <a:lnTo>
                      <a:pt x="426" y="110"/>
                    </a:lnTo>
                    <a:lnTo>
                      <a:pt x="426" y="110"/>
                    </a:lnTo>
                    <a:lnTo>
                      <a:pt x="422" y="116"/>
                    </a:lnTo>
                    <a:lnTo>
                      <a:pt x="422" y="118"/>
                    </a:lnTo>
                    <a:lnTo>
                      <a:pt x="426" y="114"/>
                    </a:lnTo>
                    <a:lnTo>
                      <a:pt x="426" y="114"/>
                    </a:lnTo>
                    <a:lnTo>
                      <a:pt x="426" y="112"/>
                    </a:lnTo>
                    <a:lnTo>
                      <a:pt x="438" y="110"/>
                    </a:lnTo>
                    <a:lnTo>
                      <a:pt x="438" y="110"/>
                    </a:lnTo>
                    <a:lnTo>
                      <a:pt x="438" y="110"/>
                    </a:lnTo>
                    <a:lnTo>
                      <a:pt x="438" y="110"/>
                    </a:lnTo>
                    <a:lnTo>
                      <a:pt x="438" y="110"/>
                    </a:lnTo>
                    <a:lnTo>
                      <a:pt x="446" y="112"/>
                    </a:lnTo>
                    <a:lnTo>
                      <a:pt x="454" y="114"/>
                    </a:lnTo>
                    <a:lnTo>
                      <a:pt x="464" y="116"/>
                    </a:lnTo>
                    <a:lnTo>
                      <a:pt x="474" y="116"/>
                    </a:lnTo>
                    <a:lnTo>
                      <a:pt x="492" y="120"/>
                    </a:lnTo>
                    <a:lnTo>
                      <a:pt x="504" y="128"/>
                    </a:lnTo>
                    <a:lnTo>
                      <a:pt x="514" y="136"/>
                    </a:lnTo>
                    <a:lnTo>
                      <a:pt x="524" y="144"/>
                    </a:lnTo>
                    <a:lnTo>
                      <a:pt x="532" y="148"/>
                    </a:lnTo>
                    <a:lnTo>
                      <a:pt x="540" y="146"/>
                    </a:lnTo>
                    <a:lnTo>
                      <a:pt x="546" y="146"/>
                    </a:lnTo>
                    <a:lnTo>
                      <a:pt x="546" y="146"/>
                    </a:lnTo>
                    <a:lnTo>
                      <a:pt x="548" y="148"/>
                    </a:lnTo>
                    <a:lnTo>
                      <a:pt x="552" y="158"/>
                    </a:lnTo>
                    <a:lnTo>
                      <a:pt x="558" y="172"/>
                    </a:lnTo>
                    <a:lnTo>
                      <a:pt x="558" y="186"/>
                    </a:lnTo>
                    <a:lnTo>
                      <a:pt x="556" y="202"/>
                    </a:lnTo>
                    <a:lnTo>
                      <a:pt x="556" y="202"/>
                    </a:lnTo>
                    <a:lnTo>
                      <a:pt x="556" y="204"/>
                    </a:lnTo>
                    <a:lnTo>
                      <a:pt x="546" y="214"/>
                    </a:lnTo>
                    <a:lnTo>
                      <a:pt x="540" y="224"/>
                    </a:lnTo>
                    <a:lnTo>
                      <a:pt x="522" y="240"/>
                    </a:lnTo>
                    <a:lnTo>
                      <a:pt x="522" y="246"/>
                    </a:lnTo>
                    <a:lnTo>
                      <a:pt x="520" y="252"/>
                    </a:lnTo>
                    <a:lnTo>
                      <a:pt x="520" y="252"/>
                    </a:lnTo>
                    <a:lnTo>
                      <a:pt x="520" y="252"/>
                    </a:lnTo>
                    <a:lnTo>
                      <a:pt x="512" y="260"/>
                    </a:lnTo>
                    <a:lnTo>
                      <a:pt x="504" y="264"/>
                    </a:lnTo>
                    <a:lnTo>
                      <a:pt x="500" y="266"/>
                    </a:lnTo>
                    <a:lnTo>
                      <a:pt x="498" y="274"/>
                    </a:lnTo>
                    <a:lnTo>
                      <a:pt x="498" y="280"/>
                    </a:lnTo>
                    <a:lnTo>
                      <a:pt x="500" y="290"/>
                    </a:lnTo>
                    <a:lnTo>
                      <a:pt x="500" y="304"/>
                    </a:lnTo>
                    <a:lnTo>
                      <a:pt x="498" y="316"/>
                    </a:lnTo>
                    <a:lnTo>
                      <a:pt x="498" y="330"/>
                    </a:lnTo>
                    <a:lnTo>
                      <a:pt x="494" y="340"/>
                    </a:lnTo>
                    <a:lnTo>
                      <a:pt x="490" y="354"/>
                    </a:lnTo>
                    <a:lnTo>
                      <a:pt x="482" y="368"/>
                    </a:lnTo>
                    <a:lnTo>
                      <a:pt x="476" y="380"/>
                    </a:lnTo>
                    <a:lnTo>
                      <a:pt x="472" y="392"/>
                    </a:lnTo>
                    <a:lnTo>
                      <a:pt x="472" y="392"/>
                    </a:lnTo>
                    <a:lnTo>
                      <a:pt x="472" y="392"/>
                    </a:lnTo>
                    <a:lnTo>
                      <a:pt x="460" y="404"/>
                    </a:lnTo>
                    <a:lnTo>
                      <a:pt x="458" y="408"/>
                    </a:lnTo>
                    <a:lnTo>
                      <a:pt x="458" y="408"/>
                    </a:lnTo>
                    <a:lnTo>
                      <a:pt x="456" y="410"/>
                    </a:lnTo>
                    <a:lnTo>
                      <a:pt x="444" y="412"/>
                    </a:lnTo>
                    <a:lnTo>
                      <a:pt x="432" y="412"/>
                    </a:lnTo>
                    <a:lnTo>
                      <a:pt x="418" y="414"/>
                    </a:lnTo>
                    <a:lnTo>
                      <a:pt x="408" y="422"/>
                    </a:lnTo>
                    <a:lnTo>
                      <a:pt x="402" y="426"/>
                    </a:lnTo>
                    <a:lnTo>
                      <a:pt x="402" y="426"/>
                    </a:lnTo>
                    <a:lnTo>
                      <a:pt x="400" y="428"/>
                    </a:lnTo>
                    <a:lnTo>
                      <a:pt x="394" y="428"/>
                    </a:lnTo>
                    <a:lnTo>
                      <a:pt x="388" y="434"/>
                    </a:lnTo>
                    <a:lnTo>
                      <a:pt x="388" y="434"/>
                    </a:lnTo>
                    <a:lnTo>
                      <a:pt x="386" y="434"/>
                    </a:lnTo>
                    <a:lnTo>
                      <a:pt x="376" y="438"/>
                    </a:lnTo>
                    <a:lnTo>
                      <a:pt x="368" y="446"/>
                    </a:lnTo>
                    <a:lnTo>
                      <a:pt x="364" y="452"/>
                    </a:lnTo>
                    <a:lnTo>
                      <a:pt x="364" y="464"/>
                    </a:lnTo>
                    <a:lnTo>
                      <a:pt x="364" y="474"/>
                    </a:lnTo>
                    <a:lnTo>
                      <a:pt x="364" y="488"/>
                    </a:lnTo>
                    <a:lnTo>
                      <a:pt x="364" y="488"/>
                    </a:lnTo>
                    <a:lnTo>
                      <a:pt x="364" y="490"/>
                    </a:lnTo>
                    <a:lnTo>
                      <a:pt x="360" y="496"/>
                    </a:lnTo>
                    <a:lnTo>
                      <a:pt x="352" y="506"/>
                    </a:lnTo>
                    <a:lnTo>
                      <a:pt x="346" y="510"/>
                    </a:lnTo>
                    <a:lnTo>
                      <a:pt x="344" y="518"/>
                    </a:lnTo>
                    <a:lnTo>
                      <a:pt x="340" y="526"/>
                    </a:lnTo>
                    <a:lnTo>
                      <a:pt x="338" y="530"/>
                    </a:lnTo>
                    <a:lnTo>
                      <a:pt x="334" y="534"/>
                    </a:lnTo>
                    <a:lnTo>
                      <a:pt x="330" y="540"/>
                    </a:lnTo>
                    <a:lnTo>
                      <a:pt x="330" y="540"/>
                    </a:lnTo>
                    <a:lnTo>
                      <a:pt x="330" y="542"/>
                    </a:lnTo>
                    <a:lnTo>
                      <a:pt x="324" y="546"/>
                    </a:lnTo>
                    <a:lnTo>
                      <a:pt x="318" y="550"/>
                    </a:lnTo>
                    <a:lnTo>
                      <a:pt x="318" y="550"/>
                    </a:lnTo>
                    <a:lnTo>
                      <a:pt x="316" y="550"/>
                    </a:lnTo>
                    <a:lnTo>
                      <a:pt x="316" y="550"/>
                    </a:lnTo>
                    <a:lnTo>
                      <a:pt x="316" y="550"/>
                    </a:lnTo>
                    <a:lnTo>
                      <a:pt x="316" y="550"/>
                    </a:lnTo>
                    <a:lnTo>
                      <a:pt x="314" y="548"/>
                    </a:lnTo>
                    <a:lnTo>
                      <a:pt x="314" y="546"/>
                    </a:lnTo>
                    <a:lnTo>
                      <a:pt x="312" y="552"/>
                    </a:lnTo>
                    <a:lnTo>
                      <a:pt x="312" y="556"/>
                    </a:lnTo>
                    <a:lnTo>
                      <a:pt x="310" y="560"/>
                    </a:lnTo>
                    <a:lnTo>
                      <a:pt x="304" y="568"/>
                    </a:lnTo>
                    <a:lnTo>
                      <a:pt x="300" y="574"/>
                    </a:lnTo>
                    <a:lnTo>
                      <a:pt x="300" y="574"/>
                    </a:lnTo>
                    <a:lnTo>
                      <a:pt x="298" y="576"/>
                    </a:lnTo>
                    <a:lnTo>
                      <a:pt x="298" y="576"/>
                    </a:lnTo>
                    <a:lnTo>
                      <a:pt x="298" y="576"/>
                    </a:lnTo>
                    <a:lnTo>
                      <a:pt x="298" y="576"/>
                    </a:lnTo>
                    <a:close/>
                    <a:moveTo>
                      <a:pt x="314" y="542"/>
                    </a:moveTo>
                    <a:lnTo>
                      <a:pt x="314" y="542"/>
                    </a:lnTo>
                    <a:lnTo>
                      <a:pt x="328" y="530"/>
                    </a:lnTo>
                    <a:lnTo>
                      <a:pt x="330" y="526"/>
                    </a:lnTo>
                    <a:lnTo>
                      <a:pt x="330" y="524"/>
                    </a:lnTo>
                    <a:lnTo>
                      <a:pt x="328" y="526"/>
                    </a:lnTo>
                    <a:lnTo>
                      <a:pt x="326" y="528"/>
                    </a:lnTo>
                    <a:lnTo>
                      <a:pt x="322" y="534"/>
                    </a:lnTo>
                    <a:lnTo>
                      <a:pt x="314" y="540"/>
                    </a:lnTo>
                    <a:lnTo>
                      <a:pt x="314" y="5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9" name="Freeform 329"/>
              <p:cNvSpPr>
                <a:spLocks noEditPoints="1"/>
              </p:cNvSpPr>
              <p:nvPr/>
            </p:nvSpPr>
            <p:spPr bwMode="auto">
              <a:xfrm>
                <a:off x="1815" y="2445"/>
                <a:ext cx="562" cy="580"/>
              </a:xfrm>
              <a:custGeom>
                <a:avLst/>
                <a:gdLst>
                  <a:gd name="T0" fmla="*/ 256 w 562"/>
                  <a:gd name="T1" fmla="*/ 52 h 580"/>
                  <a:gd name="T2" fmla="*/ 328 w 562"/>
                  <a:gd name="T3" fmla="*/ 22 h 580"/>
                  <a:gd name="T4" fmla="*/ 328 w 562"/>
                  <a:gd name="T5" fmla="*/ 94 h 580"/>
                  <a:gd name="T6" fmla="*/ 354 w 562"/>
                  <a:gd name="T7" fmla="*/ 108 h 580"/>
                  <a:gd name="T8" fmla="*/ 426 w 562"/>
                  <a:gd name="T9" fmla="*/ 112 h 580"/>
                  <a:gd name="T10" fmla="*/ 504 w 562"/>
                  <a:gd name="T11" fmla="*/ 132 h 580"/>
                  <a:gd name="T12" fmla="*/ 522 w 562"/>
                  <a:gd name="T13" fmla="*/ 248 h 580"/>
                  <a:gd name="T14" fmla="*/ 490 w 562"/>
                  <a:gd name="T15" fmla="*/ 356 h 580"/>
                  <a:gd name="T16" fmla="*/ 388 w 562"/>
                  <a:gd name="T17" fmla="*/ 434 h 580"/>
                  <a:gd name="T18" fmla="*/ 334 w 562"/>
                  <a:gd name="T19" fmla="*/ 534 h 580"/>
                  <a:gd name="T20" fmla="*/ 322 w 562"/>
                  <a:gd name="T21" fmla="*/ 534 h 580"/>
                  <a:gd name="T22" fmla="*/ 290 w 562"/>
                  <a:gd name="T23" fmla="*/ 550 h 580"/>
                  <a:gd name="T24" fmla="*/ 292 w 562"/>
                  <a:gd name="T25" fmla="*/ 454 h 580"/>
                  <a:gd name="T26" fmla="*/ 242 w 562"/>
                  <a:gd name="T27" fmla="*/ 400 h 580"/>
                  <a:gd name="T28" fmla="*/ 198 w 562"/>
                  <a:gd name="T29" fmla="*/ 300 h 580"/>
                  <a:gd name="T30" fmla="*/ 116 w 562"/>
                  <a:gd name="T31" fmla="*/ 218 h 580"/>
                  <a:gd name="T32" fmla="*/ 36 w 562"/>
                  <a:gd name="T33" fmla="*/ 222 h 580"/>
                  <a:gd name="T34" fmla="*/ 66 w 562"/>
                  <a:gd name="T35" fmla="*/ 112 h 580"/>
                  <a:gd name="T36" fmla="*/ 104 w 562"/>
                  <a:gd name="T37" fmla="*/ 60 h 580"/>
                  <a:gd name="T38" fmla="*/ 148 w 562"/>
                  <a:gd name="T39" fmla="*/ 24 h 580"/>
                  <a:gd name="T40" fmla="*/ 186 w 562"/>
                  <a:gd name="T41" fmla="*/ 2 h 580"/>
                  <a:gd name="T42" fmla="*/ 144 w 562"/>
                  <a:gd name="T43" fmla="*/ 16 h 580"/>
                  <a:gd name="T44" fmla="*/ 140 w 562"/>
                  <a:gd name="T45" fmla="*/ 38 h 580"/>
                  <a:gd name="T46" fmla="*/ 108 w 562"/>
                  <a:gd name="T47" fmla="*/ 56 h 580"/>
                  <a:gd name="T48" fmla="*/ 58 w 562"/>
                  <a:gd name="T49" fmla="*/ 56 h 580"/>
                  <a:gd name="T50" fmla="*/ 58 w 562"/>
                  <a:gd name="T51" fmla="*/ 84 h 580"/>
                  <a:gd name="T52" fmla="*/ 26 w 562"/>
                  <a:gd name="T53" fmla="*/ 144 h 580"/>
                  <a:gd name="T54" fmla="*/ 8 w 562"/>
                  <a:gd name="T55" fmla="*/ 204 h 580"/>
                  <a:gd name="T56" fmla="*/ 48 w 562"/>
                  <a:gd name="T57" fmla="*/ 220 h 580"/>
                  <a:gd name="T58" fmla="*/ 68 w 562"/>
                  <a:gd name="T59" fmla="*/ 240 h 580"/>
                  <a:gd name="T60" fmla="*/ 124 w 562"/>
                  <a:gd name="T61" fmla="*/ 222 h 580"/>
                  <a:gd name="T62" fmla="*/ 178 w 562"/>
                  <a:gd name="T63" fmla="*/ 274 h 580"/>
                  <a:gd name="T64" fmla="*/ 196 w 562"/>
                  <a:gd name="T65" fmla="*/ 312 h 580"/>
                  <a:gd name="T66" fmla="*/ 226 w 562"/>
                  <a:gd name="T67" fmla="*/ 356 h 580"/>
                  <a:gd name="T68" fmla="*/ 242 w 562"/>
                  <a:gd name="T69" fmla="*/ 404 h 580"/>
                  <a:gd name="T70" fmla="*/ 270 w 562"/>
                  <a:gd name="T71" fmla="*/ 432 h 580"/>
                  <a:gd name="T72" fmla="*/ 278 w 562"/>
                  <a:gd name="T73" fmla="*/ 452 h 580"/>
                  <a:gd name="T74" fmla="*/ 242 w 562"/>
                  <a:gd name="T75" fmla="*/ 510 h 580"/>
                  <a:gd name="T76" fmla="*/ 288 w 562"/>
                  <a:gd name="T77" fmla="*/ 554 h 580"/>
                  <a:gd name="T78" fmla="*/ 300 w 562"/>
                  <a:gd name="T79" fmla="*/ 580 h 580"/>
                  <a:gd name="T80" fmla="*/ 316 w 562"/>
                  <a:gd name="T81" fmla="*/ 554 h 580"/>
                  <a:gd name="T82" fmla="*/ 348 w 562"/>
                  <a:gd name="T83" fmla="*/ 520 h 580"/>
                  <a:gd name="T84" fmla="*/ 380 w 562"/>
                  <a:gd name="T85" fmla="*/ 442 h 580"/>
                  <a:gd name="T86" fmla="*/ 446 w 562"/>
                  <a:gd name="T87" fmla="*/ 416 h 580"/>
                  <a:gd name="T88" fmla="*/ 486 w 562"/>
                  <a:gd name="T89" fmla="*/ 372 h 580"/>
                  <a:gd name="T90" fmla="*/ 504 w 562"/>
                  <a:gd name="T91" fmla="*/ 292 h 580"/>
                  <a:gd name="T92" fmla="*/ 524 w 562"/>
                  <a:gd name="T93" fmla="*/ 254 h 580"/>
                  <a:gd name="T94" fmla="*/ 562 w 562"/>
                  <a:gd name="T95" fmla="*/ 188 h 580"/>
                  <a:gd name="T96" fmla="*/ 534 w 562"/>
                  <a:gd name="T97" fmla="*/ 148 h 580"/>
                  <a:gd name="T98" fmla="*/ 466 w 562"/>
                  <a:gd name="T99" fmla="*/ 116 h 580"/>
                  <a:gd name="T100" fmla="*/ 430 w 562"/>
                  <a:gd name="T101" fmla="*/ 112 h 580"/>
                  <a:gd name="T102" fmla="*/ 380 w 562"/>
                  <a:gd name="T103" fmla="*/ 82 h 580"/>
                  <a:gd name="T104" fmla="*/ 364 w 562"/>
                  <a:gd name="T105" fmla="*/ 76 h 580"/>
                  <a:gd name="T106" fmla="*/ 348 w 562"/>
                  <a:gd name="T107" fmla="*/ 54 h 580"/>
                  <a:gd name="T108" fmla="*/ 324 w 562"/>
                  <a:gd name="T109" fmla="*/ 16 h 580"/>
                  <a:gd name="T110" fmla="*/ 292 w 562"/>
                  <a:gd name="T111" fmla="*/ 40 h 580"/>
                  <a:gd name="T112" fmla="*/ 256 w 562"/>
                  <a:gd name="T113" fmla="*/ 40 h 580"/>
                  <a:gd name="T114" fmla="*/ 234 w 562"/>
                  <a:gd name="T115" fmla="*/ 52 h 580"/>
                  <a:gd name="T116" fmla="*/ 202 w 562"/>
                  <a:gd name="T117"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2" h="580">
                    <a:moveTo>
                      <a:pt x="200" y="4"/>
                    </a:moveTo>
                    <a:lnTo>
                      <a:pt x="208" y="24"/>
                    </a:lnTo>
                    <a:lnTo>
                      <a:pt x="202" y="28"/>
                    </a:lnTo>
                    <a:lnTo>
                      <a:pt x="202" y="46"/>
                    </a:lnTo>
                    <a:lnTo>
                      <a:pt x="208" y="54"/>
                    </a:lnTo>
                    <a:lnTo>
                      <a:pt x="214" y="62"/>
                    </a:lnTo>
                    <a:lnTo>
                      <a:pt x="222" y="62"/>
                    </a:lnTo>
                    <a:lnTo>
                      <a:pt x="230" y="60"/>
                    </a:lnTo>
                    <a:lnTo>
                      <a:pt x="236" y="56"/>
                    </a:lnTo>
                    <a:lnTo>
                      <a:pt x="244" y="52"/>
                    </a:lnTo>
                    <a:lnTo>
                      <a:pt x="246" y="48"/>
                    </a:lnTo>
                    <a:lnTo>
                      <a:pt x="250" y="52"/>
                    </a:lnTo>
                    <a:lnTo>
                      <a:pt x="256" y="52"/>
                    </a:lnTo>
                    <a:lnTo>
                      <a:pt x="258" y="52"/>
                    </a:lnTo>
                    <a:lnTo>
                      <a:pt x="260" y="46"/>
                    </a:lnTo>
                    <a:lnTo>
                      <a:pt x="260" y="44"/>
                    </a:lnTo>
                    <a:lnTo>
                      <a:pt x="264" y="44"/>
                    </a:lnTo>
                    <a:lnTo>
                      <a:pt x="272" y="44"/>
                    </a:lnTo>
                    <a:lnTo>
                      <a:pt x="280" y="48"/>
                    </a:lnTo>
                    <a:lnTo>
                      <a:pt x="286" y="48"/>
                    </a:lnTo>
                    <a:lnTo>
                      <a:pt x="292" y="44"/>
                    </a:lnTo>
                    <a:lnTo>
                      <a:pt x="300" y="46"/>
                    </a:lnTo>
                    <a:lnTo>
                      <a:pt x="306" y="50"/>
                    </a:lnTo>
                    <a:lnTo>
                      <a:pt x="316" y="26"/>
                    </a:lnTo>
                    <a:lnTo>
                      <a:pt x="322" y="20"/>
                    </a:lnTo>
                    <a:lnTo>
                      <a:pt x="328" y="22"/>
                    </a:lnTo>
                    <a:lnTo>
                      <a:pt x="330" y="26"/>
                    </a:lnTo>
                    <a:lnTo>
                      <a:pt x="330" y="28"/>
                    </a:lnTo>
                    <a:lnTo>
                      <a:pt x="330" y="36"/>
                    </a:lnTo>
                    <a:lnTo>
                      <a:pt x="332" y="44"/>
                    </a:lnTo>
                    <a:lnTo>
                      <a:pt x="340" y="52"/>
                    </a:lnTo>
                    <a:lnTo>
                      <a:pt x="346" y="58"/>
                    </a:lnTo>
                    <a:lnTo>
                      <a:pt x="346" y="64"/>
                    </a:lnTo>
                    <a:lnTo>
                      <a:pt x="342" y="66"/>
                    </a:lnTo>
                    <a:lnTo>
                      <a:pt x="334" y="72"/>
                    </a:lnTo>
                    <a:lnTo>
                      <a:pt x="328" y="80"/>
                    </a:lnTo>
                    <a:lnTo>
                      <a:pt x="326" y="82"/>
                    </a:lnTo>
                    <a:lnTo>
                      <a:pt x="326" y="90"/>
                    </a:lnTo>
                    <a:lnTo>
                      <a:pt x="328" y="94"/>
                    </a:lnTo>
                    <a:lnTo>
                      <a:pt x="332" y="92"/>
                    </a:lnTo>
                    <a:lnTo>
                      <a:pt x="336" y="86"/>
                    </a:lnTo>
                    <a:lnTo>
                      <a:pt x="336" y="78"/>
                    </a:lnTo>
                    <a:lnTo>
                      <a:pt x="344" y="74"/>
                    </a:lnTo>
                    <a:lnTo>
                      <a:pt x="350" y="74"/>
                    </a:lnTo>
                    <a:lnTo>
                      <a:pt x="354" y="78"/>
                    </a:lnTo>
                    <a:lnTo>
                      <a:pt x="362" y="80"/>
                    </a:lnTo>
                    <a:lnTo>
                      <a:pt x="364" y="82"/>
                    </a:lnTo>
                    <a:lnTo>
                      <a:pt x="364" y="86"/>
                    </a:lnTo>
                    <a:lnTo>
                      <a:pt x="364" y="92"/>
                    </a:lnTo>
                    <a:lnTo>
                      <a:pt x="360" y="96"/>
                    </a:lnTo>
                    <a:lnTo>
                      <a:pt x="354" y="100"/>
                    </a:lnTo>
                    <a:lnTo>
                      <a:pt x="354" y="108"/>
                    </a:lnTo>
                    <a:lnTo>
                      <a:pt x="358" y="108"/>
                    </a:lnTo>
                    <a:lnTo>
                      <a:pt x="364" y="100"/>
                    </a:lnTo>
                    <a:lnTo>
                      <a:pt x="366" y="100"/>
                    </a:lnTo>
                    <a:lnTo>
                      <a:pt x="368" y="98"/>
                    </a:lnTo>
                    <a:lnTo>
                      <a:pt x="370" y="92"/>
                    </a:lnTo>
                    <a:lnTo>
                      <a:pt x="374" y="88"/>
                    </a:lnTo>
                    <a:lnTo>
                      <a:pt x="380" y="86"/>
                    </a:lnTo>
                    <a:lnTo>
                      <a:pt x="384" y="88"/>
                    </a:lnTo>
                    <a:lnTo>
                      <a:pt x="398" y="92"/>
                    </a:lnTo>
                    <a:lnTo>
                      <a:pt x="404" y="98"/>
                    </a:lnTo>
                    <a:lnTo>
                      <a:pt x="416" y="102"/>
                    </a:lnTo>
                    <a:lnTo>
                      <a:pt x="426" y="106"/>
                    </a:lnTo>
                    <a:lnTo>
                      <a:pt x="426" y="112"/>
                    </a:lnTo>
                    <a:lnTo>
                      <a:pt x="422" y="116"/>
                    </a:lnTo>
                    <a:lnTo>
                      <a:pt x="420" y="124"/>
                    </a:lnTo>
                    <a:lnTo>
                      <a:pt x="422" y="124"/>
                    </a:lnTo>
                    <a:lnTo>
                      <a:pt x="430" y="116"/>
                    </a:lnTo>
                    <a:lnTo>
                      <a:pt x="434" y="114"/>
                    </a:lnTo>
                    <a:lnTo>
                      <a:pt x="440" y="114"/>
                    </a:lnTo>
                    <a:lnTo>
                      <a:pt x="448" y="114"/>
                    </a:lnTo>
                    <a:lnTo>
                      <a:pt x="456" y="118"/>
                    </a:lnTo>
                    <a:lnTo>
                      <a:pt x="464" y="120"/>
                    </a:lnTo>
                    <a:lnTo>
                      <a:pt x="476" y="120"/>
                    </a:lnTo>
                    <a:lnTo>
                      <a:pt x="484" y="122"/>
                    </a:lnTo>
                    <a:lnTo>
                      <a:pt x="494" y="124"/>
                    </a:lnTo>
                    <a:lnTo>
                      <a:pt x="504" y="132"/>
                    </a:lnTo>
                    <a:lnTo>
                      <a:pt x="514" y="140"/>
                    </a:lnTo>
                    <a:lnTo>
                      <a:pt x="524" y="148"/>
                    </a:lnTo>
                    <a:lnTo>
                      <a:pt x="532" y="152"/>
                    </a:lnTo>
                    <a:lnTo>
                      <a:pt x="542" y="150"/>
                    </a:lnTo>
                    <a:lnTo>
                      <a:pt x="548" y="150"/>
                    </a:lnTo>
                    <a:lnTo>
                      <a:pt x="552" y="160"/>
                    </a:lnTo>
                    <a:lnTo>
                      <a:pt x="558" y="174"/>
                    </a:lnTo>
                    <a:lnTo>
                      <a:pt x="558" y="188"/>
                    </a:lnTo>
                    <a:lnTo>
                      <a:pt x="556" y="204"/>
                    </a:lnTo>
                    <a:lnTo>
                      <a:pt x="548" y="216"/>
                    </a:lnTo>
                    <a:lnTo>
                      <a:pt x="540" y="224"/>
                    </a:lnTo>
                    <a:lnTo>
                      <a:pt x="522" y="240"/>
                    </a:lnTo>
                    <a:lnTo>
                      <a:pt x="522" y="248"/>
                    </a:lnTo>
                    <a:lnTo>
                      <a:pt x="520" y="254"/>
                    </a:lnTo>
                    <a:lnTo>
                      <a:pt x="516" y="256"/>
                    </a:lnTo>
                    <a:lnTo>
                      <a:pt x="514" y="260"/>
                    </a:lnTo>
                    <a:lnTo>
                      <a:pt x="506" y="264"/>
                    </a:lnTo>
                    <a:lnTo>
                      <a:pt x="500" y="268"/>
                    </a:lnTo>
                    <a:lnTo>
                      <a:pt x="498" y="274"/>
                    </a:lnTo>
                    <a:lnTo>
                      <a:pt x="498" y="282"/>
                    </a:lnTo>
                    <a:lnTo>
                      <a:pt x="500" y="292"/>
                    </a:lnTo>
                    <a:lnTo>
                      <a:pt x="500" y="306"/>
                    </a:lnTo>
                    <a:lnTo>
                      <a:pt x="498" y="318"/>
                    </a:lnTo>
                    <a:lnTo>
                      <a:pt x="498" y="332"/>
                    </a:lnTo>
                    <a:lnTo>
                      <a:pt x="494" y="340"/>
                    </a:lnTo>
                    <a:lnTo>
                      <a:pt x="490" y="356"/>
                    </a:lnTo>
                    <a:lnTo>
                      <a:pt x="482" y="370"/>
                    </a:lnTo>
                    <a:lnTo>
                      <a:pt x="476" y="380"/>
                    </a:lnTo>
                    <a:lnTo>
                      <a:pt x="472" y="392"/>
                    </a:lnTo>
                    <a:lnTo>
                      <a:pt x="466" y="398"/>
                    </a:lnTo>
                    <a:lnTo>
                      <a:pt x="462" y="404"/>
                    </a:lnTo>
                    <a:lnTo>
                      <a:pt x="458" y="410"/>
                    </a:lnTo>
                    <a:lnTo>
                      <a:pt x="446" y="412"/>
                    </a:lnTo>
                    <a:lnTo>
                      <a:pt x="434" y="412"/>
                    </a:lnTo>
                    <a:lnTo>
                      <a:pt x="418" y="414"/>
                    </a:lnTo>
                    <a:lnTo>
                      <a:pt x="410" y="424"/>
                    </a:lnTo>
                    <a:lnTo>
                      <a:pt x="402" y="428"/>
                    </a:lnTo>
                    <a:lnTo>
                      <a:pt x="396" y="428"/>
                    </a:lnTo>
                    <a:lnTo>
                      <a:pt x="388" y="434"/>
                    </a:lnTo>
                    <a:lnTo>
                      <a:pt x="378" y="438"/>
                    </a:lnTo>
                    <a:lnTo>
                      <a:pt x="368" y="446"/>
                    </a:lnTo>
                    <a:lnTo>
                      <a:pt x="364" y="454"/>
                    </a:lnTo>
                    <a:lnTo>
                      <a:pt x="364" y="466"/>
                    </a:lnTo>
                    <a:lnTo>
                      <a:pt x="364" y="476"/>
                    </a:lnTo>
                    <a:lnTo>
                      <a:pt x="364" y="490"/>
                    </a:lnTo>
                    <a:lnTo>
                      <a:pt x="360" y="498"/>
                    </a:lnTo>
                    <a:lnTo>
                      <a:pt x="352" y="506"/>
                    </a:lnTo>
                    <a:lnTo>
                      <a:pt x="348" y="512"/>
                    </a:lnTo>
                    <a:lnTo>
                      <a:pt x="344" y="518"/>
                    </a:lnTo>
                    <a:lnTo>
                      <a:pt x="340" y="528"/>
                    </a:lnTo>
                    <a:lnTo>
                      <a:pt x="338" y="532"/>
                    </a:lnTo>
                    <a:lnTo>
                      <a:pt x="334" y="534"/>
                    </a:lnTo>
                    <a:lnTo>
                      <a:pt x="330" y="542"/>
                    </a:lnTo>
                    <a:lnTo>
                      <a:pt x="326" y="546"/>
                    </a:lnTo>
                    <a:lnTo>
                      <a:pt x="318" y="550"/>
                    </a:lnTo>
                    <a:lnTo>
                      <a:pt x="318" y="548"/>
                    </a:lnTo>
                    <a:lnTo>
                      <a:pt x="318" y="546"/>
                    </a:lnTo>
                    <a:lnTo>
                      <a:pt x="322" y="542"/>
                    </a:lnTo>
                    <a:lnTo>
                      <a:pt x="326" y="538"/>
                    </a:lnTo>
                    <a:lnTo>
                      <a:pt x="330" y="532"/>
                    </a:lnTo>
                    <a:lnTo>
                      <a:pt x="334" y="528"/>
                    </a:lnTo>
                    <a:lnTo>
                      <a:pt x="332" y="524"/>
                    </a:lnTo>
                    <a:lnTo>
                      <a:pt x="330" y="526"/>
                    </a:lnTo>
                    <a:lnTo>
                      <a:pt x="326" y="530"/>
                    </a:lnTo>
                    <a:lnTo>
                      <a:pt x="322" y="534"/>
                    </a:lnTo>
                    <a:lnTo>
                      <a:pt x="318" y="538"/>
                    </a:lnTo>
                    <a:lnTo>
                      <a:pt x="314" y="542"/>
                    </a:lnTo>
                    <a:lnTo>
                      <a:pt x="314" y="548"/>
                    </a:lnTo>
                    <a:lnTo>
                      <a:pt x="314" y="552"/>
                    </a:lnTo>
                    <a:lnTo>
                      <a:pt x="312" y="558"/>
                    </a:lnTo>
                    <a:lnTo>
                      <a:pt x="310" y="562"/>
                    </a:lnTo>
                    <a:lnTo>
                      <a:pt x="304" y="568"/>
                    </a:lnTo>
                    <a:lnTo>
                      <a:pt x="300" y="576"/>
                    </a:lnTo>
                    <a:lnTo>
                      <a:pt x="296" y="572"/>
                    </a:lnTo>
                    <a:lnTo>
                      <a:pt x="296" y="566"/>
                    </a:lnTo>
                    <a:lnTo>
                      <a:pt x="298" y="562"/>
                    </a:lnTo>
                    <a:lnTo>
                      <a:pt x="296" y="554"/>
                    </a:lnTo>
                    <a:lnTo>
                      <a:pt x="290" y="550"/>
                    </a:lnTo>
                    <a:lnTo>
                      <a:pt x="280" y="542"/>
                    </a:lnTo>
                    <a:lnTo>
                      <a:pt x="266" y="534"/>
                    </a:lnTo>
                    <a:lnTo>
                      <a:pt x="260" y="532"/>
                    </a:lnTo>
                    <a:lnTo>
                      <a:pt x="252" y="524"/>
                    </a:lnTo>
                    <a:lnTo>
                      <a:pt x="244" y="516"/>
                    </a:lnTo>
                    <a:lnTo>
                      <a:pt x="246" y="514"/>
                    </a:lnTo>
                    <a:lnTo>
                      <a:pt x="250" y="510"/>
                    </a:lnTo>
                    <a:lnTo>
                      <a:pt x="272" y="488"/>
                    </a:lnTo>
                    <a:lnTo>
                      <a:pt x="280" y="482"/>
                    </a:lnTo>
                    <a:lnTo>
                      <a:pt x="286" y="480"/>
                    </a:lnTo>
                    <a:lnTo>
                      <a:pt x="290" y="474"/>
                    </a:lnTo>
                    <a:lnTo>
                      <a:pt x="294" y="462"/>
                    </a:lnTo>
                    <a:lnTo>
                      <a:pt x="292" y="454"/>
                    </a:lnTo>
                    <a:lnTo>
                      <a:pt x="288" y="450"/>
                    </a:lnTo>
                    <a:lnTo>
                      <a:pt x="280" y="448"/>
                    </a:lnTo>
                    <a:lnTo>
                      <a:pt x="280" y="444"/>
                    </a:lnTo>
                    <a:lnTo>
                      <a:pt x="282" y="436"/>
                    </a:lnTo>
                    <a:lnTo>
                      <a:pt x="284" y="428"/>
                    </a:lnTo>
                    <a:lnTo>
                      <a:pt x="280" y="428"/>
                    </a:lnTo>
                    <a:lnTo>
                      <a:pt x="272" y="428"/>
                    </a:lnTo>
                    <a:lnTo>
                      <a:pt x="264" y="422"/>
                    </a:lnTo>
                    <a:lnTo>
                      <a:pt x="262" y="412"/>
                    </a:lnTo>
                    <a:lnTo>
                      <a:pt x="264" y="404"/>
                    </a:lnTo>
                    <a:lnTo>
                      <a:pt x="258" y="400"/>
                    </a:lnTo>
                    <a:lnTo>
                      <a:pt x="248" y="398"/>
                    </a:lnTo>
                    <a:lnTo>
                      <a:pt x="242" y="400"/>
                    </a:lnTo>
                    <a:lnTo>
                      <a:pt x="232" y="400"/>
                    </a:lnTo>
                    <a:lnTo>
                      <a:pt x="232" y="376"/>
                    </a:lnTo>
                    <a:lnTo>
                      <a:pt x="230" y="368"/>
                    </a:lnTo>
                    <a:lnTo>
                      <a:pt x="232" y="364"/>
                    </a:lnTo>
                    <a:lnTo>
                      <a:pt x="230" y="358"/>
                    </a:lnTo>
                    <a:lnTo>
                      <a:pt x="236" y="346"/>
                    </a:lnTo>
                    <a:lnTo>
                      <a:pt x="236" y="340"/>
                    </a:lnTo>
                    <a:lnTo>
                      <a:pt x="234" y="332"/>
                    </a:lnTo>
                    <a:lnTo>
                      <a:pt x="226" y="328"/>
                    </a:lnTo>
                    <a:lnTo>
                      <a:pt x="224" y="318"/>
                    </a:lnTo>
                    <a:lnTo>
                      <a:pt x="226" y="310"/>
                    </a:lnTo>
                    <a:lnTo>
                      <a:pt x="200" y="310"/>
                    </a:lnTo>
                    <a:lnTo>
                      <a:pt x="198" y="300"/>
                    </a:lnTo>
                    <a:lnTo>
                      <a:pt x="198" y="296"/>
                    </a:lnTo>
                    <a:lnTo>
                      <a:pt x="200" y="292"/>
                    </a:lnTo>
                    <a:lnTo>
                      <a:pt x="198" y="286"/>
                    </a:lnTo>
                    <a:lnTo>
                      <a:pt x="196" y="274"/>
                    </a:lnTo>
                    <a:lnTo>
                      <a:pt x="180" y="272"/>
                    </a:lnTo>
                    <a:lnTo>
                      <a:pt x="168" y="266"/>
                    </a:lnTo>
                    <a:lnTo>
                      <a:pt x="162" y="264"/>
                    </a:lnTo>
                    <a:lnTo>
                      <a:pt x="158" y="258"/>
                    </a:lnTo>
                    <a:lnTo>
                      <a:pt x="148" y="256"/>
                    </a:lnTo>
                    <a:lnTo>
                      <a:pt x="140" y="254"/>
                    </a:lnTo>
                    <a:lnTo>
                      <a:pt x="130" y="244"/>
                    </a:lnTo>
                    <a:lnTo>
                      <a:pt x="128" y="218"/>
                    </a:lnTo>
                    <a:lnTo>
                      <a:pt x="116" y="218"/>
                    </a:lnTo>
                    <a:lnTo>
                      <a:pt x="108" y="222"/>
                    </a:lnTo>
                    <a:lnTo>
                      <a:pt x="106" y="222"/>
                    </a:lnTo>
                    <a:lnTo>
                      <a:pt x="98" y="228"/>
                    </a:lnTo>
                    <a:lnTo>
                      <a:pt x="86" y="234"/>
                    </a:lnTo>
                    <a:lnTo>
                      <a:pt x="68" y="236"/>
                    </a:lnTo>
                    <a:lnTo>
                      <a:pt x="58" y="234"/>
                    </a:lnTo>
                    <a:lnTo>
                      <a:pt x="52" y="234"/>
                    </a:lnTo>
                    <a:lnTo>
                      <a:pt x="50" y="228"/>
                    </a:lnTo>
                    <a:lnTo>
                      <a:pt x="54" y="218"/>
                    </a:lnTo>
                    <a:lnTo>
                      <a:pt x="52" y="212"/>
                    </a:lnTo>
                    <a:lnTo>
                      <a:pt x="46" y="218"/>
                    </a:lnTo>
                    <a:lnTo>
                      <a:pt x="38" y="220"/>
                    </a:lnTo>
                    <a:lnTo>
                      <a:pt x="36" y="222"/>
                    </a:lnTo>
                    <a:lnTo>
                      <a:pt x="28" y="220"/>
                    </a:lnTo>
                    <a:lnTo>
                      <a:pt x="20" y="212"/>
                    </a:lnTo>
                    <a:lnTo>
                      <a:pt x="12" y="202"/>
                    </a:lnTo>
                    <a:lnTo>
                      <a:pt x="4" y="184"/>
                    </a:lnTo>
                    <a:lnTo>
                      <a:pt x="12" y="172"/>
                    </a:lnTo>
                    <a:lnTo>
                      <a:pt x="16" y="166"/>
                    </a:lnTo>
                    <a:lnTo>
                      <a:pt x="18" y="158"/>
                    </a:lnTo>
                    <a:lnTo>
                      <a:pt x="28" y="148"/>
                    </a:lnTo>
                    <a:lnTo>
                      <a:pt x="40" y="142"/>
                    </a:lnTo>
                    <a:lnTo>
                      <a:pt x="60" y="140"/>
                    </a:lnTo>
                    <a:lnTo>
                      <a:pt x="64" y="128"/>
                    </a:lnTo>
                    <a:lnTo>
                      <a:pt x="64" y="116"/>
                    </a:lnTo>
                    <a:lnTo>
                      <a:pt x="66" y="112"/>
                    </a:lnTo>
                    <a:lnTo>
                      <a:pt x="68" y="98"/>
                    </a:lnTo>
                    <a:lnTo>
                      <a:pt x="66" y="88"/>
                    </a:lnTo>
                    <a:lnTo>
                      <a:pt x="62" y="80"/>
                    </a:lnTo>
                    <a:lnTo>
                      <a:pt x="62" y="70"/>
                    </a:lnTo>
                    <a:lnTo>
                      <a:pt x="62" y="68"/>
                    </a:lnTo>
                    <a:lnTo>
                      <a:pt x="72" y="70"/>
                    </a:lnTo>
                    <a:lnTo>
                      <a:pt x="72" y="64"/>
                    </a:lnTo>
                    <a:lnTo>
                      <a:pt x="62" y="62"/>
                    </a:lnTo>
                    <a:lnTo>
                      <a:pt x="62" y="56"/>
                    </a:lnTo>
                    <a:lnTo>
                      <a:pt x="86" y="54"/>
                    </a:lnTo>
                    <a:lnTo>
                      <a:pt x="96" y="52"/>
                    </a:lnTo>
                    <a:lnTo>
                      <a:pt x="100" y="54"/>
                    </a:lnTo>
                    <a:lnTo>
                      <a:pt x="104" y="60"/>
                    </a:lnTo>
                    <a:lnTo>
                      <a:pt x="112" y="66"/>
                    </a:lnTo>
                    <a:lnTo>
                      <a:pt x="120" y="68"/>
                    </a:lnTo>
                    <a:lnTo>
                      <a:pt x="132" y="64"/>
                    </a:lnTo>
                    <a:lnTo>
                      <a:pt x="138" y="60"/>
                    </a:lnTo>
                    <a:lnTo>
                      <a:pt x="144" y="54"/>
                    </a:lnTo>
                    <a:lnTo>
                      <a:pt x="154" y="50"/>
                    </a:lnTo>
                    <a:lnTo>
                      <a:pt x="154" y="44"/>
                    </a:lnTo>
                    <a:lnTo>
                      <a:pt x="148" y="44"/>
                    </a:lnTo>
                    <a:lnTo>
                      <a:pt x="144" y="36"/>
                    </a:lnTo>
                    <a:lnTo>
                      <a:pt x="142" y="28"/>
                    </a:lnTo>
                    <a:lnTo>
                      <a:pt x="136" y="22"/>
                    </a:lnTo>
                    <a:lnTo>
                      <a:pt x="142" y="20"/>
                    </a:lnTo>
                    <a:lnTo>
                      <a:pt x="148" y="24"/>
                    </a:lnTo>
                    <a:lnTo>
                      <a:pt x="160" y="24"/>
                    </a:lnTo>
                    <a:lnTo>
                      <a:pt x="162" y="26"/>
                    </a:lnTo>
                    <a:lnTo>
                      <a:pt x="168" y="22"/>
                    </a:lnTo>
                    <a:lnTo>
                      <a:pt x="178" y="20"/>
                    </a:lnTo>
                    <a:lnTo>
                      <a:pt x="188" y="16"/>
                    </a:lnTo>
                    <a:lnTo>
                      <a:pt x="192" y="8"/>
                    </a:lnTo>
                    <a:lnTo>
                      <a:pt x="190" y="4"/>
                    </a:lnTo>
                    <a:lnTo>
                      <a:pt x="200" y="4"/>
                    </a:lnTo>
                    <a:close/>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close/>
                    <a:moveTo>
                      <a:pt x="330" y="82"/>
                    </a:moveTo>
                    <a:lnTo>
                      <a:pt x="332" y="80"/>
                    </a:lnTo>
                    <a:lnTo>
                      <a:pt x="332" y="86"/>
                    </a:lnTo>
                    <a:lnTo>
                      <a:pt x="330" y="88"/>
                    </a:lnTo>
                    <a:lnTo>
                      <a:pt x="330" y="88"/>
                    </a:lnTo>
                    <a:lnTo>
                      <a:pt x="330" y="84"/>
                    </a:lnTo>
                    <a:lnTo>
                      <a:pt x="330" y="82"/>
                    </a:lnTo>
                    <a:lnTo>
                      <a:pt x="33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0" name="Freeform 330"/>
              <p:cNvSpPr>
                <a:spLocks/>
              </p:cNvSpPr>
              <p:nvPr/>
            </p:nvSpPr>
            <p:spPr bwMode="auto">
              <a:xfrm>
                <a:off x="1819" y="2449"/>
                <a:ext cx="554" cy="572"/>
              </a:xfrm>
              <a:custGeom>
                <a:avLst/>
                <a:gdLst>
                  <a:gd name="T0" fmla="*/ 204 w 554"/>
                  <a:gd name="T1" fmla="*/ 50 h 572"/>
                  <a:gd name="T2" fmla="*/ 240 w 554"/>
                  <a:gd name="T3" fmla="*/ 48 h 572"/>
                  <a:gd name="T4" fmla="*/ 256 w 554"/>
                  <a:gd name="T5" fmla="*/ 42 h 572"/>
                  <a:gd name="T6" fmla="*/ 282 w 554"/>
                  <a:gd name="T7" fmla="*/ 44 h 572"/>
                  <a:gd name="T8" fmla="*/ 318 w 554"/>
                  <a:gd name="T9" fmla="*/ 16 h 572"/>
                  <a:gd name="T10" fmla="*/ 328 w 554"/>
                  <a:gd name="T11" fmla="*/ 40 h 572"/>
                  <a:gd name="T12" fmla="*/ 330 w 554"/>
                  <a:gd name="T13" fmla="*/ 68 h 572"/>
                  <a:gd name="T14" fmla="*/ 328 w 554"/>
                  <a:gd name="T15" fmla="*/ 88 h 572"/>
                  <a:gd name="T16" fmla="*/ 350 w 554"/>
                  <a:gd name="T17" fmla="*/ 74 h 572"/>
                  <a:gd name="T18" fmla="*/ 356 w 554"/>
                  <a:gd name="T19" fmla="*/ 92 h 572"/>
                  <a:gd name="T20" fmla="*/ 362 w 554"/>
                  <a:gd name="T21" fmla="*/ 96 h 572"/>
                  <a:gd name="T22" fmla="*/ 380 w 554"/>
                  <a:gd name="T23" fmla="*/ 84 h 572"/>
                  <a:gd name="T24" fmla="*/ 422 w 554"/>
                  <a:gd name="T25" fmla="*/ 108 h 572"/>
                  <a:gd name="T26" fmla="*/ 430 w 554"/>
                  <a:gd name="T27" fmla="*/ 110 h 572"/>
                  <a:gd name="T28" fmla="*/ 472 w 554"/>
                  <a:gd name="T29" fmla="*/ 116 h 572"/>
                  <a:gd name="T30" fmla="*/ 520 w 554"/>
                  <a:gd name="T31" fmla="*/ 144 h 572"/>
                  <a:gd name="T32" fmla="*/ 554 w 554"/>
                  <a:gd name="T33" fmla="*/ 170 h 572"/>
                  <a:gd name="T34" fmla="*/ 518 w 554"/>
                  <a:gd name="T35" fmla="*/ 236 h 572"/>
                  <a:gd name="T36" fmla="*/ 502 w 554"/>
                  <a:gd name="T37" fmla="*/ 260 h 572"/>
                  <a:gd name="T38" fmla="*/ 496 w 554"/>
                  <a:gd name="T39" fmla="*/ 302 h 572"/>
                  <a:gd name="T40" fmla="*/ 478 w 554"/>
                  <a:gd name="T41" fmla="*/ 366 h 572"/>
                  <a:gd name="T42" fmla="*/ 454 w 554"/>
                  <a:gd name="T43" fmla="*/ 406 h 572"/>
                  <a:gd name="T44" fmla="*/ 398 w 554"/>
                  <a:gd name="T45" fmla="*/ 424 h 572"/>
                  <a:gd name="T46" fmla="*/ 360 w 554"/>
                  <a:gd name="T47" fmla="*/ 450 h 572"/>
                  <a:gd name="T48" fmla="*/ 348 w 554"/>
                  <a:gd name="T49" fmla="*/ 502 h 572"/>
                  <a:gd name="T50" fmla="*/ 330 w 554"/>
                  <a:gd name="T51" fmla="*/ 530 h 572"/>
                  <a:gd name="T52" fmla="*/ 314 w 554"/>
                  <a:gd name="T53" fmla="*/ 542 h 572"/>
                  <a:gd name="T54" fmla="*/ 328 w 554"/>
                  <a:gd name="T55" fmla="*/ 520 h 572"/>
                  <a:gd name="T56" fmla="*/ 310 w 554"/>
                  <a:gd name="T57" fmla="*/ 538 h 572"/>
                  <a:gd name="T58" fmla="*/ 300 w 554"/>
                  <a:gd name="T59" fmla="*/ 564 h 572"/>
                  <a:gd name="T60" fmla="*/ 292 w 554"/>
                  <a:gd name="T61" fmla="*/ 550 h 572"/>
                  <a:gd name="T62" fmla="*/ 248 w 554"/>
                  <a:gd name="T63" fmla="*/ 520 h 572"/>
                  <a:gd name="T64" fmla="*/ 276 w 554"/>
                  <a:gd name="T65" fmla="*/ 478 h 572"/>
                  <a:gd name="T66" fmla="*/ 284 w 554"/>
                  <a:gd name="T67" fmla="*/ 446 h 572"/>
                  <a:gd name="T68" fmla="*/ 276 w 554"/>
                  <a:gd name="T69" fmla="*/ 424 h 572"/>
                  <a:gd name="T70" fmla="*/ 254 w 554"/>
                  <a:gd name="T71" fmla="*/ 396 h 572"/>
                  <a:gd name="T72" fmla="*/ 226 w 554"/>
                  <a:gd name="T73" fmla="*/ 364 h 572"/>
                  <a:gd name="T74" fmla="*/ 230 w 554"/>
                  <a:gd name="T75" fmla="*/ 328 h 572"/>
                  <a:gd name="T76" fmla="*/ 194 w 554"/>
                  <a:gd name="T77" fmla="*/ 296 h 572"/>
                  <a:gd name="T78" fmla="*/ 176 w 554"/>
                  <a:gd name="T79" fmla="*/ 268 h 572"/>
                  <a:gd name="T80" fmla="*/ 136 w 554"/>
                  <a:gd name="T81" fmla="*/ 250 h 572"/>
                  <a:gd name="T82" fmla="*/ 102 w 554"/>
                  <a:gd name="T83" fmla="*/ 218 h 572"/>
                  <a:gd name="T84" fmla="*/ 48 w 554"/>
                  <a:gd name="T85" fmla="*/ 230 h 572"/>
                  <a:gd name="T86" fmla="*/ 34 w 554"/>
                  <a:gd name="T87" fmla="*/ 216 h 572"/>
                  <a:gd name="T88" fmla="*/ 0 w 554"/>
                  <a:gd name="T89" fmla="*/ 180 h 572"/>
                  <a:gd name="T90" fmla="*/ 36 w 554"/>
                  <a:gd name="T91" fmla="*/ 138 h 572"/>
                  <a:gd name="T92" fmla="*/ 64 w 554"/>
                  <a:gd name="T93" fmla="*/ 94 h 572"/>
                  <a:gd name="T94" fmla="*/ 68 w 554"/>
                  <a:gd name="T95" fmla="*/ 66 h 572"/>
                  <a:gd name="T96" fmla="*/ 92 w 554"/>
                  <a:gd name="T97" fmla="*/ 48 h 572"/>
                  <a:gd name="T98" fmla="*/ 128 w 554"/>
                  <a:gd name="T99" fmla="*/ 60 h 572"/>
                  <a:gd name="T100" fmla="*/ 144 w 554"/>
                  <a:gd name="T101" fmla="*/ 40 h 572"/>
                  <a:gd name="T102" fmla="*/ 144 w 554"/>
                  <a:gd name="T103" fmla="*/ 20 h 572"/>
                  <a:gd name="T104" fmla="*/ 184 w 554"/>
                  <a:gd name="T105" fmla="*/ 1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4" h="572">
                    <a:moveTo>
                      <a:pt x="196" y="0"/>
                    </a:moveTo>
                    <a:lnTo>
                      <a:pt x="204" y="20"/>
                    </a:lnTo>
                    <a:lnTo>
                      <a:pt x="198" y="24"/>
                    </a:lnTo>
                    <a:lnTo>
                      <a:pt x="198" y="42"/>
                    </a:lnTo>
                    <a:lnTo>
                      <a:pt x="204" y="50"/>
                    </a:lnTo>
                    <a:lnTo>
                      <a:pt x="210" y="58"/>
                    </a:lnTo>
                    <a:lnTo>
                      <a:pt x="218" y="58"/>
                    </a:lnTo>
                    <a:lnTo>
                      <a:pt x="226" y="56"/>
                    </a:lnTo>
                    <a:lnTo>
                      <a:pt x="232" y="52"/>
                    </a:lnTo>
                    <a:lnTo>
                      <a:pt x="240" y="48"/>
                    </a:lnTo>
                    <a:lnTo>
                      <a:pt x="242" y="44"/>
                    </a:lnTo>
                    <a:lnTo>
                      <a:pt x="246" y="48"/>
                    </a:lnTo>
                    <a:lnTo>
                      <a:pt x="252" y="48"/>
                    </a:lnTo>
                    <a:lnTo>
                      <a:pt x="254" y="48"/>
                    </a:lnTo>
                    <a:lnTo>
                      <a:pt x="256" y="42"/>
                    </a:lnTo>
                    <a:lnTo>
                      <a:pt x="256" y="40"/>
                    </a:lnTo>
                    <a:lnTo>
                      <a:pt x="260" y="40"/>
                    </a:lnTo>
                    <a:lnTo>
                      <a:pt x="268" y="40"/>
                    </a:lnTo>
                    <a:lnTo>
                      <a:pt x="276" y="44"/>
                    </a:lnTo>
                    <a:lnTo>
                      <a:pt x="282" y="44"/>
                    </a:lnTo>
                    <a:lnTo>
                      <a:pt x="288" y="40"/>
                    </a:lnTo>
                    <a:lnTo>
                      <a:pt x="296" y="42"/>
                    </a:lnTo>
                    <a:lnTo>
                      <a:pt x="302" y="46"/>
                    </a:lnTo>
                    <a:lnTo>
                      <a:pt x="312" y="22"/>
                    </a:lnTo>
                    <a:lnTo>
                      <a:pt x="318" y="16"/>
                    </a:lnTo>
                    <a:lnTo>
                      <a:pt x="324" y="18"/>
                    </a:lnTo>
                    <a:lnTo>
                      <a:pt x="326" y="22"/>
                    </a:lnTo>
                    <a:lnTo>
                      <a:pt x="326" y="24"/>
                    </a:lnTo>
                    <a:lnTo>
                      <a:pt x="326" y="32"/>
                    </a:lnTo>
                    <a:lnTo>
                      <a:pt x="328" y="40"/>
                    </a:lnTo>
                    <a:lnTo>
                      <a:pt x="336" y="48"/>
                    </a:lnTo>
                    <a:lnTo>
                      <a:pt x="342" y="54"/>
                    </a:lnTo>
                    <a:lnTo>
                      <a:pt x="342" y="60"/>
                    </a:lnTo>
                    <a:lnTo>
                      <a:pt x="338" y="62"/>
                    </a:lnTo>
                    <a:lnTo>
                      <a:pt x="330" y="68"/>
                    </a:lnTo>
                    <a:lnTo>
                      <a:pt x="324" y="76"/>
                    </a:lnTo>
                    <a:lnTo>
                      <a:pt x="322" y="78"/>
                    </a:lnTo>
                    <a:lnTo>
                      <a:pt x="322" y="86"/>
                    </a:lnTo>
                    <a:lnTo>
                      <a:pt x="324" y="90"/>
                    </a:lnTo>
                    <a:lnTo>
                      <a:pt x="328" y="88"/>
                    </a:lnTo>
                    <a:lnTo>
                      <a:pt x="332" y="82"/>
                    </a:lnTo>
                    <a:lnTo>
                      <a:pt x="332" y="74"/>
                    </a:lnTo>
                    <a:lnTo>
                      <a:pt x="340" y="70"/>
                    </a:lnTo>
                    <a:lnTo>
                      <a:pt x="346" y="70"/>
                    </a:lnTo>
                    <a:lnTo>
                      <a:pt x="350" y="74"/>
                    </a:lnTo>
                    <a:lnTo>
                      <a:pt x="358" y="76"/>
                    </a:lnTo>
                    <a:lnTo>
                      <a:pt x="360" y="78"/>
                    </a:lnTo>
                    <a:lnTo>
                      <a:pt x="360" y="82"/>
                    </a:lnTo>
                    <a:lnTo>
                      <a:pt x="360" y="88"/>
                    </a:lnTo>
                    <a:lnTo>
                      <a:pt x="356" y="92"/>
                    </a:lnTo>
                    <a:lnTo>
                      <a:pt x="350" y="96"/>
                    </a:lnTo>
                    <a:lnTo>
                      <a:pt x="350" y="104"/>
                    </a:lnTo>
                    <a:lnTo>
                      <a:pt x="354" y="104"/>
                    </a:lnTo>
                    <a:lnTo>
                      <a:pt x="360" y="96"/>
                    </a:lnTo>
                    <a:lnTo>
                      <a:pt x="362" y="96"/>
                    </a:lnTo>
                    <a:lnTo>
                      <a:pt x="364" y="94"/>
                    </a:lnTo>
                    <a:lnTo>
                      <a:pt x="366" y="88"/>
                    </a:lnTo>
                    <a:lnTo>
                      <a:pt x="370" y="84"/>
                    </a:lnTo>
                    <a:lnTo>
                      <a:pt x="376" y="82"/>
                    </a:lnTo>
                    <a:lnTo>
                      <a:pt x="380" y="84"/>
                    </a:lnTo>
                    <a:lnTo>
                      <a:pt x="394" y="88"/>
                    </a:lnTo>
                    <a:lnTo>
                      <a:pt x="400" y="94"/>
                    </a:lnTo>
                    <a:lnTo>
                      <a:pt x="412" y="98"/>
                    </a:lnTo>
                    <a:lnTo>
                      <a:pt x="422" y="102"/>
                    </a:lnTo>
                    <a:lnTo>
                      <a:pt x="422" y="108"/>
                    </a:lnTo>
                    <a:lnTo>
                      <a:pt x="418" y="112"/>
                    </a:lnTo>
                    <a:lnTo>
                      <a:pt x="416" y="120"/>
                    </a:lnTo>
                    <a:lnTo>
                      <a:pt x="418" y="120"/>
                    </a:lnTo>
                    <a:lnTo>
                      <a:pt x="426" y="112"/>
                    </a:lnTo>
                    <a:lnTo>
                      <a:pt x="430" y="110"/>
                    </a:lnTo>
                    <a:lnTo>
                      <a:pt x="436" y="110"/>
                    </a:lnTo>
                    <a:lnTo>
                      <a:pt x="444" y="110"/>
                    </a:lnTo>
                    <a:lnTo>
                      <a:pt x="452" y="114"/>
                    </a:lnTo>
                    <a:lnTo>
                      <a:pt x="460" y="116"/>
                    </a:lnTo>
                    <a:lnTo>
                      <a:pt x="472" y="116"/>
                    </a:lnTo>
                    <a:lnTo>
                      <a:pt x="480" y="118"/>
                    </a:lnTo>
                    <a:lnTo>
                      <a:pt x="490" y="120"/>
                    </a:lnTo>
                    <a:lnTo>
                      <a:pt x="500" y="128"/>
                    </a:lnTo>
                    <a:lnTo>
                      <a:pt x="510" y="136"/>
                    </a:lnTo>
                    <a:lnTo>
                      <a:pt x="520" y="144"/>
                    </a:lnTo>
                    <a:lnTo>
                      <a:pt x="528" y="148"/>
                    </a:lnTo>
                    <a:lnTo>
                      <a:pt x="538" y="146"/>
                    </a:lnTo>
                    <a:lnTo>
                      <a:pt x="544" y="146"/>
                    </a:lnTo>
                    <a:lnTo>
                      <a:pt x="548" y="156"/>
                    </a:lnTo>
                    <a:lnTo>
                      <a:pt x="554" y="170"/>
                    </a:lnTo>
                    <a:lnTo>
                      <a:pt x="554" y="184"/>
                    </a:lnTo>
                    <a:lnTo>
                      <a:pt x="552" y="200"/>
                    </a:lnTo>
                    <a:lnTo>
                      <a:pt x="544" y="212"/>
                    </a:lnTo>
                    <a:lnTo>
                      <a:pt x="536" y="220"/>
                    </a:lnTo>
                    <a:lnTo>
                      <a:pt x="518" y="236"/>
                    </a:lnTo>
                    <a:lnTo>
                      <a:pt x="518" y="244"/>
                    </a:lnTo>
                    <a:lnTo>
                      <a:pt x="516" y="250"/>
                    </a:lnTo>
                    <a:lnTo>
                      <a:pt x="512" y="252"/>
                    </a:lnTo>
                    <a:lnTo>
                      <a:pt x="510" y="256"/>
                    </a:lnTo>
                    <a:lnTo>
                      <a:pt x="502" y="260"/>
                    </a:lnTo>
                    <a:lnTo>
                      <a:pt x="496" y="264"/>
                    </a:lnTo>
                    <a:lnTo>
                      <a:pt x="494" y="270"/>
                    </a:lnTo>
                    <a:lnTo>
                      <a:pt x="494" y="278"/>
                    </a:lnTo>
                    <a:lnTo>
                      <a:pt x="496" y="288"/>
                    </a:lnTo>
                    <a:lnTo>
                      <a:pt x="496" y="302"/>
                    </a:lnTo>
                    <a:lnTo>
                      <a:pt x="494" y="314"/>
                    </a:lnTo>
                    <a:lnTo>
                      <a:pt x="494" y="328"/>
                    </a:lnTo>
                    <a:lnTo>
                      <a:pt x="490" y="336"/>
                    </a:lnTo>
                    <a:lnTo>
                      <a:pt x="486" y="352"/>
                    </a:lnTo>
                    <a:lnTo>
                      <a:pt x="478" y="366"/>
                    </a:lnTo>
                    <a:lnTo>
                      <a:pt x="472" y="376"/>
                    </a:lnTo>
                    <a:lnTo>
                      <a:pt x="468" y="388"/>
                    </a:lnTo>
                    <a:lnTo>
                      <a:pt x="462" y="394"/>
                    </a:lnTo>
                    <a:lnTo>
                      <a:pt x="458" y="400"/>
                    </a:lnTo>
                    <a:lnTo>
                      <a:pt x="454" y="406"/>
                    </a:lnTo>
                    <a:lnTo>
                      <a:pt x="442" y="408"/>
                    </a:lnTo>
                    <a:lnTo>
                      <a:pt x="430" y="408"/>
                    </a:lnTo>
                    <a:lnTo>
                      <a:pt x="414" y="410"/>
                    </a:lnTo>
                    <a:lnTo>
                      <a:pt x="406" y="420"/>
                    </a:lnTo>
                    <a:lnTo>
                      <a:pt x="398" y="424"/>
                    </a:lnTo>
                    <a:lnTo>
                      <a:pt x="392" y="424"/>
                    </a:lnTo>
                    <a:lnTo>
                      <a:pt x="384" y="430"/>
                    </a:lnTo>
                    <a:lnTo>
                      <a:pt x="374" y="434"/>
                    </a:lnTo>
                    <a:lnTo>
                      <a:pt x="364" y="442"/>
                    </a:lnTo>
                    <a:lnTo>
                      <a:pt x="360" y="450"/>
                    </a:lnTo>
                    <a:lnTo>
                      <a:pt x="360" y="462"/>
                    </a:lnTo>
                    <a:lnTo>
                      <a:pt x="360" y="472"/>
                    </a:lnTo>
                    <a:lnTo>
                      <a:pt x="360" y="486"/>
                    </a:lnTo>
                    <a:lnTo>
                      <a:pt x="356" y="494"/>
                    </a:lnTo>
                    <a:lnTo>
                      <a:pt x="348" y="502"/>
                    </a:lnTo>
                    <a:lnTo>
                      <a:pt x="344" y="508"/>
                    </a:lnTo>
                    <a:lnTo>
                      <a:pt x="340" y="514"/>
                    </a:lnTo>
                    <a:lnTo>
                      <a:pt x="336" y="524"/>
                    </a:lnTo>
                    <a:lnTo>
                      <a:pt x="334" y="528"/>
                    </a:lnTo>
                    <a:lnTo>
                      <a:pt x="330" y="530"/>
                    </a:lnTo>
                    <a:lnTo>
                      <a:pt x="326" y="538"/>
                    </a:lnTo>
                    <a:lnTo>
                      <a:pt x="322" y="542"/>
                    </a:lnTo>
                    <a:lnTo>
                      <a:pt x="314" y="546"/>
                    </a:lnTo>
                    <a:lnTo>
                      <a:pt x="314" y="544"/>
                    </a:lnTo>
                    <a:lnTo>
                      <a:pt x="314" y="542"/>
                    </a:lnTo>
                    <a:lnTo>
                      <a:pt x="318" y="538"/>
                    </a:lnTo>
                    <a:lnTo>
                      <a:pt x="322" y="534"/>
                    </a:lnTo>
                    <a:lnTo>
                      <a:pt x="326" y="528"/>
                    </a:lnTo>
                    <a:lnTo>
                      <a:pt x="330" y="524"/>
                    </a:lnTo>
                    <a:lnTo>
                      <a:pt x="328" y="520"/>
                    </a:lnTo>
                    <a:lnTo>
                      <a:pt x="326" y="522"/>
                    </a:lnTo>
                    <a:lnTo>
                      <a:pt x="322" y="526"/>
                    </a:lnTo>
                    <a:lnTo>
                      <a:pt x="318" y="530"/>
                    </a:lnTo>
                    <a:lnTo>
                      <a:pt x="314" y="534"/>
                    </a:lnTo>
                    <a:lnTo>
                      <a:pt x="310" y="538"/>
                    </a:lnTo>
                    <a:lnTo>
                      <a:pt x="310" y="544"/>
                    </a:lnTo>
                    <a:lnTo>
                      <a:pt x="310" y="548"/>
                    </a:lnTo>
                    <a:lnTo>
                      <a:pt x="308" y="554"/>
                    </a:lnTo>
                    <a:lnTo>
                      <a:pt x="306" y="558"/>
                    </a:lnTo>
                    <a:lnTo>
                      <a:pt x="300" y="564"/>
                    </a:lnTo>
                    <a:lnTo>
                      <a:pt x="296" y="572"/>
                    </a:lnTo>
                    <a:lnTo>
                      <a:pt x="292" y="568"/>
                    </a:lnTo>
                    <a:lnTo>
                      <a:pt x="292" y="562"/>
                    </a:lnTo>
                    <a:lnTo>
                      <a:pt x="294" y="558"/>
                    </a:lnTo>
                    <a:lnTo>
                      <a:pt x="292" y="550"/>
                    </a:lnTo>
                    <a:lnTo>
                      <a:pt x="286" y="546"/>
                    </a:lnTo>
                    <a:lnTo>
                      <a:pt x="276" y="538"/>
                    </a:lnTo>
                    <a:lnTo>
                      <a:pt x="262" y="530"/>
                    </a:lnTo>
                    <a:lnTo>
                      <a:pt x="256" y="528"/>
                    </a:lnTo>
                    <a:lnTo>
                      <a:pt x="248" y="520"/>
                    </a:lnTo>
                    <a:lnTo>
                      <a:pt x="240" y="512"/>
                    </a:lnTo>
                    <a:lnTo>
                      <a:pt x="242" y="510"/>
                    </a:lnTo>
                    <a:lnTo>
                      <a:pt x="246" y="506"/>
                    </a:lnTo>
                    <a:lnTo>
                      <a:pt x="268" y="484"/>
                    </a:lnTo>
                    <a:lnTo>
                      <a:pt x="276" y="478"/>
                    </a:lnTo>
                    <a:lnTo>
                      <a:pt x="282" y="476"/>
                    </a:lnTo>
                    <a:lnTo>
                      <a:pt x="286" y="470"/>
                    </a:lnTo>
                    <a:lnTo>
                      <a:pt x="290" y="458"/>
                    </a:lnTo>
                    <a:lnTo>
                      <a:pt x="288" y="450"/>
                    </a:lnTo>
                    <a:lnTo>
                      <a:pt x="284" y="446"/>
                    </a:lnTo>
                    <a:lnTo>
                      <a:pt x="276" y="444"/>
                    </a:lnTo>
                    <a:lnTo>
                      <a:pt x="276" y="440"/>
                    </a:lnTo>
                    <a:lnTo>
                      <a:pt x="278" y="432"/>
                    </a:lnTo>
                    <a:lnTo>
                      <a:pt x="280" y="424"/>
                    </a:lnTo>
                    <a:lnTo>
                      <a:pt x="276" y="424"/>
                    </a:lnTo>
                    <a:lnTo>
                      <a:pt x="268" y="424"/>
                    </a:lnTo>
                    <a:lnTo>
                      <a:pt x="260" y="418"/>
                    </a:lnTo>
                    <a:lnTo>
                      <a:pt x="258" y="408"/>
                    </a:lnTo>
                    <a:lnTo>
                      <a:pt x="260" y="400"/>
                    </a:lnTo>
                    <a:lnTo>
                      <a:pt x="254" y="396"/>
                    </a:lnTo>
                    <a:lnTo>
                      <a:pt x="244" y="394"/>
                    </a:lnTo>
                    <a:lnTo>
                      <a:pt x="238" y="396"/>
                    </a:lnTo>
                    <a:lnTo>
                      <a:pt x="228" y="396"/>
                    </a:lnTo>
                    <a:lnTo>
                      <a:pt x="228" y="372"/>
                    </a:lnTo>
                    <a:lnTo>
                      <a:pt x="226" y="364"/>
                    </a:lnTo>
                    <a:lnTo>
                      <a:pt x="228" y="360"/>
                    </a:lnTo>
                    <a:lnTo>
                      <a:pt x="226" y="354"/>
                    </a:lnTo>
                    <a:lnTo>
                      <a:pt x="232" y="342"/>
                    </a:lnTo>
                    <a:lnTo>
                      <a:pt x="232" y="336"/>
                    </a:lnTo>
                    <a:lnTo>
                      <a:pt x="230" y="328"/>
                    </a:lnTo>
                    <a:lnTo>
                      <a:pt x="222" y="324"/>
                    </a:lnTo>
                    <a:lnTo>
                      <a:pt x="220" y="314"/>
                    </a:lnTo>
                    <a:lnTo>
                      <a:pt x="222" y="306"/>
                    </a:lnTo>
                    <a:lnTo>
                      <a:pt x="196" y="306"/>
                    </a:lnTo>
                    <a:lnTo>
                      <a:pt x="194" y="296"/>
                    </a:lnTo>
                    <a:lnTo>
                      <a:pt x="194" y="292"/>
                    </a:lnTo>
                    <a:lnTo>
                      <a:pt x="196" y="288"/>
                    </a:lnTo>
                    <a:lnTo>
                      <a:pt x="194" y="282"/>
                    </a:lnTo>
                    <a:lnTo>
                      <a:pt x="192" y="270"/>
                    </a:lnTo>
                    <a:lnTo>
                      <a:pt x="176" y="268"/>
                    </a:lnTo>
                    <a:lnTo>
                      <a:pt x="164" y="262"/>
                    </a:lnTo>
                    <a:lnTo>
                      <a:pt x="158" y="260"/>
                    </a:lnTo>
                    <a:lnTo>
                      <a:pt x="154" y="254"/>
                    </a:lnTo>
                    <a:lnTo>
                      <a:pt x="144" y="252"/>
                    </a:lnTo>
                    <a:lnTo>
                      <a:pt x="136" y="250"/>
                    </a:lnTo>
                    <a:lnTo>
                      <a:pt x="126" y="240"/>
                    </a:lnTo>
                    <a:lnTo>
                      <a:pt x="124" y="214"/>
                    </a:lnTo>
                    <a:lnTo>
                      <a:pt x="112" y="214"/>
                    </a:lnTo>
                    <a:lnTo>
                      <a:pt x="104" y="218"/>
                    </a:lnTo>
                    <a:lnTo>
                      <a:pt x="102" y="218"/>
                    </a:lnTo>
                    <a:lnTo>
                      <a:pt x="94" y="224"/>
                    </a:lnTo>
                    <a:lnTo>
                      <a:pt x="82" y="230"/>
                    </a:lnTo>
                    <a:lnTo>
                      <a:pt x="64" y="232"/>
                    </a:lnTo>
                    <a:lnTo>
                      <a:pt x="54" y="230"/>
                    </a:lnTo>
                    <a:lnTo>
                      <a:pt x="48" y="230"/>
                    </a:lnTo>
                    <a:lnTo>
                      <a:pt x="46" y="224"/>
                    </a:lnTo>
                    <a:lnTo>
                      <a:pt x="50" y="214"/>
                    </a:lnTo>
                    <a:lnTo>
                      <a:pt x="48" y="208"/>
                    </a:lnTo>
                    <a:lnTo>
                      <a:pt x="42" y="214"/>
                    </a:lnTo>
                    <a:lnTo>
                      <a:pt x="34" y="216"/>
                    </a:lnTo>
                    <a:lnTo>
                      <a:pt x="32" y="218"/>
                    </a:lnTo>
                    <a:lnTo>
                      <a:pt x="24" y="216"/>
                    </a:lnTo>
                    <a:lnTo>
                      <a:pt x="16" y="208"/>
                    </a:lnTo>
                    <a:lnTo>
                      <a:pt x="8" y="198"/>
                    </a:lnTo>
                    <a:lnTo>
                      <a:pt x="0" y="180"/>
                    </a:lnTo>
                    <a:lnTo>
                      <a:pt x="8" y="168"/>
                    </a:lnTo>
                    <a:lnTo>
                      <a:pt x="12" y="162"/>
                    </a:lnTo>
                    <a:lnTo>
                      <a:pt x="14" y="154"/>
                    </a:lnTo>
                    <a:lnTo>
                      <a:pt x="24" y="144"/>
                    </a:lnTo>
                    <a:lnTo>
                      <a:pt x="36" y="138"/>
                    </a:lnTo>
                    <a:lnTo>
                      <a:pt x="56" y="136"/>
                    </a:lnTo>
                    <a:lnTo>
                      <a:pt x="60" y="124"/>
                    </a:lnTo>
                    <a:lnTo>
                      <a:pt x="60" y="112"/>
                    </a:lnTo>
                    <a:lnTo>
                      <a:pt x="62" y="108"/>
                    </a:lnTo>
                    <a:lnTo>
                      <a:pt x="64" y="94"/>
                    </a:lnTo>
                    <a:lnTo>
                      <a:pt x="62" y="84"/>
                    </a:lnTo>
                    <a:lnTo>
                      <a:pt x="58" y="76"/>
                    </a:lnTo>
                    <a:lnTo>
                      <a:pt x="58" y="66"/>
                    </a:lnTo>
                    <a:lnTo>
                      <a:pt x="58" y="64"/>
                    </a:lnTo>
                    <a:lnTo>
                      <a:pt x="68" y="66"/>
                    </a:lnTo>
                    <a:lnTo>
                      <a:pt x="68" y="60"/>
                    </a:lnTo>
                    <a:lnTo>
                      <a:pt x="58" y="58"/>
                    </a:lnTo>
                    <a:lnTo>
                      <a:pt x="58" y="52"/>
                    </a:lnTo>
                    <a:lnTo>
                      <a:pt x="82" y="50"/>
                    </a:lnTo>
                    <a:lnTo>
                      <a:pt x="92" y="48"/>
                    </a:lnTo>
                    <a:lnTo>
                      <a:pt x="96" y="50"/>
                    </a:lnTo>
                    <a:lnTo>
                      <a:pt x="100" y="56"/>
                    </a:lnTo>
                    <a:lnTo>
                      <a:pt x="108" y="62"/>
                    </a:lnTo>
                    <a:lnTo>
                      <a:pt x="116" y="64"/>
                    </a:lnTo>
                    <a:lnTo>
                      <a:pt x="128" y="60"/>
                    </a:lnTo>
                    <a:lnTo>
                      <a:pt x="134" y="56"/>
                    </a:lnTo>
                    <a:lnTo>
                      <a:pt x="140" y="50"/>
                    </a:lnTo>
                    <a:lnTo>
                      <a:pt x="150" y="46"/>
                    </a:lnTo>
                    <a:lnTo>
                      <a:pt x="150" y="40"/>
                    </a:lnTo>
                    <a:lnTo>
                      <a:pt x="144" y="40"/>
                    </a:lnTo>
                    <a:lnTo>
                      <a:pt x="140" y="32"/>
                    </a:lnTo>
                    <a:lnTo>
                      <a:pt x="138" y="24"/>
                    </a:lnTo>
                    <a:lnTo>
                      <a:pt x="132" y="18"/>
                    </a:lnTo>
                    <a:lnTo>
                      <a:pt x="138" y="16"/>
                    </a:lnTo>
                    <a:lnTo>
                      <a:pt x="144" y="20"/>
                    </a:lnTo>
                    <a:lnTo>
                      <a:pt x="156" y="20"/>
                    </a:lnTo>
                    <a:lnTo>
                      <a:pt x="158" y="22"/>
                    </a:lnTo>
                    <a:lnTo>
                      <a:pt x="164" y="18"/>
                    </a:lnTo>
                    <a:lnTo>
                      <a:pt x="174" y="16"/>
                    </a:lnTo>
                    <a:lnTo>
                      <a:pt x="184" y="12"/>
                    </a:lnTo>
                    <a:lnTo>
                      <a:pt x="188" y="4"/>
                    </a:lnTo>
                    <a:lnTo>
                      <a:pt x="18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1" name="Freeform 331"/>
              <p:cNvSpPr>
                <a:spLocks/>
              </p:cNvSpPr>
              <p:nvPr/>
            </p:nvSpPr>
            <p:spPr bwMode="auto">
              <a:xfrm>
                <a:off x="1815" y="2445"/>
                <a:ext cx="562" cy="580"/>
              </a:xfrm>
              <a:custGeom>
                <a:avLst/>
                <a:gdLst>
                  <a:gd name="T0" fmla="*/ 184 w 562"/>
                  <a:gd name="T1" fmla="*/ 14 h 580"/>
                  <a:gd name="T2" fmla="*/ 160 w 562"/>
                  <a:gd name="T3" fmla="*/ 20 h 580"/>
                  <a:gd name="T4" fmla="*/ 134 w 562"/>
                  <a:gd name="T5" fmla="*/ 18 h 580"/>
                  <a:gd name="T6" fmla="*/ 146 w 562"/>
                  <a:gd name="T7" fmla="*/ 46 h 580"/>
                  <a:gd name="T8" fmla="*/ 136 w 562"/>
                  <a:gd name="T9" fmla="*/ 56 h 580"/>
                  <a:gd name="T10" fmla="*/ 96 w 562"/>
                  <a:gd name="T11" fmla="*/ 48 h 580"/>
                  <a:gd name="T12" fmla="*/ 58 w 562"/>
                  <a:gd name="T13" fmla="*/ 54 h 580"/>
                  <a:gd name="T14" fmla="*/ 60 w 562"/>
                  <a:gd name="T15" fmla="*/ 66 h 580"/>
                  <a:gd name="T16" fmla="*/ 64 w 562"/>
                  <a:gd name="T17" fmla="*/ 98 h 580"/>
                  <a:gd name="T18" fmla="*/ 40 w 562"/>
                  <a:gd name="T19" fmla="*/ 138 h 580"/>
                  <a:gd name="T20" fmla="*/ 12 w 562"/>
                  <a:gd name="T21" fmla="*/ 164 h 580"/>
                  <a:gd name="T22" fmla="*/ 8 w 562"/>
                  <a:gd name="T23" fmla="*/ 204 h 580"/>
                  <a:gd name="T24" fmla="*/ 36 w 562"/>
                  <a:gd name="T25" fmla="*/ 226 h 580"/>
                  <a:gd name="T26" fmla="*/ 46 w 562"/>
                  <a:gd name="T27" fmla="*/ 226 h 580"/>
                  <a:gd name="T28" fmla="*/ 68 w 562"/>
                  <a:gd name="T29" fmla="*/ 240 h 580"/>
                  <a:gd name="T30" fmla="*/ 100 w 562"/>
                  <a:gd name="T31" fmla="*/ 232 h 580"/>
                  <a:gd name="T32" fmla="*/ 126 w 562"/>
                  <a:gd name="T33" fmla="*/ 244 h 580"/>
                  <a:gd name="T34" fmla="*/ 158 w 562"/>
                  <a:gd name="T35" fmla="*/ 266 h 580"/>
                  <a:gd name="T36" fmla="*/ 194 w 562"/>
                  <a:gd name="T37" fmla="*/ 286 h 580"/>
                  <a:gd name="T38" fmla="*/ 196 w 562"/>
                  <a:gd name="T39" fmla="*/ 312 h 580"/>
                  <a:gd name="T40" fmla="*/ 222 w 562"/>
                  <a:gd name="T41" fmla="*/ 330 h 580"/>
                  <a:gd name="T42" fmla="*/ 226 w 562"/>
                  <a:gd name="T43" fmla="*/ 362 h 580"/>
                  <a:gd name="T44" fmla="*/ 228 w 562"/>
                  <a:gd name="T45" fmla="*/ 400 h 580"/>
                  <a:gd name="T46" fmla="*/ 258 w 562"/>
                  <a:gd name="T47" fmla="*/ 406 h 580"/>
                  <a:gd name="T48" fmla="*/ 270 w 562"/>
                  <a:gd name="T49" fmla="*/ 432 h 580"/>
                  <a:gd name="T50" fmla="*/ 276 w 562"/>
                  <a:gd name="T51" fmla="*/ 442 h 580"/>
                  <a:gd name="T52" fmla="*/ 290 w 562"/>
                  <a:gd name="T53" fmla="*/ 462 h 580"/>
                  <a:gd name="T54" fmla="*/ 270 w 562"/>
                  <a:gd name="T55" fmla="*/ 486 h 580"/>
                  <a:gd name="T56" fmla="*/ 240 w 562"/>
                  <a:gd name="T57" fmla="*/ 520 h 580"/>
                  <a:gd name="T58" fmla="*/ 288 w 562"/>
                  <a:gd name="T59" fmla="*/ 554 h 580"/>
                  <a:gd name="T60" fmla="*/ 292 w 562"/>
                  <a:gd name="T61" fmla="*/ 572 h 580"/>
                  <a:gd name="T62" fmla="*/ 304 w 562"/>
                  <a:gd name="T63" fmla="*/ 578 h 580"/>
                  <a:gd name="T64" fmla="*/ 316 w 562"/>
                  <a:gd name="T65" fmla="*/ 554 h 580"/>
                  <a:gd name="T66" fmla="*/ 334 w 562"/>
                  <a:gd name="T67" fmla="*/ 544 h 580"/>
                  <a:gd name="T68" fmla="*/ 356 w 562"/>
                  <a:gd name="T69" fmla="*/ 508 h 580"/>
                  <a:gd name="T70" fmla="*/ 368 w 562"/>
                  <a:gd name="T71" fmla="*/ 466 h 580"/>
                  <a:gd name="T72" fmla="*/ 402 w 562"/>
                  <a:gd name="T73" fmla="*/ 432 h 580"/>
                  <a:gd name="T74" fmla="*/ 446 w 562"/>
                  <a:gd name="T75" fmla="*/ 416 h 580"/>
                  <a:gd name="T76" fmla="*/ 474 w 562"/>
                  <a:gd name="T77" fmla="*/ 396 h 580"/>
                  <a:gd name="T78" fmla="*/ 494 w 562"/>
                  <a:gd name="T79" fmla="*/ 358 h 580"/>
                  <a:gd name="T80" fmla="*/ 504 w 562"/>
                  <a:gd name="T81" fmla="*/ 308 h 580"/>
                  <a:gd name="T82" fmla="*/ 508 w 562"/>
                  <a:gd name="T83" fmla="*/ 268 h 580"/>
                  <a:gd name="T84" fmla="*/ 526 w 562"/>
                  <a:gd name="T85" fmla="*/ 248 h 580"/>
                  <a:gd name="T86" fmla="*/ 560 w 562"/>
                  <a:gd name="T87" fmla="*/ 208 h 580"/>
                  <a:gd name="T88" fmla="*/ 562 w 562"/>
                  <a:gd name="T89" fmla="*/ 172 h 580"/>
                  <a:gd name="T90" fmla="*/ 540 w 562"/>
                  <a:gd name="T91" fmla="*/ 146 h 580"/>
                  <a:gd name="T92" fmla="*/ 496 w 562"/>
                  <a:gd name="T93" fmla="*/ 120 h 580"/>
                  <a:gd name="T94" fmla="*/ 448 w 562"/>
                  <a:gd name="T95" fmla="*/ 112 h 580"/>
                  <a:gd name="T96" fmla="*/ 434 w 562"/>
                  <a:gd name="T97" fmla="*/ 112 h 580"/>
                  <a:gd name="T98" fmla="*/ 418 w 562"/>
                  <a:gd name="T99" fmla="*/ 98 h 580"/>
                  <a:gd name="T100" fmla="*/ 380 w 562"/>
                  <a:gd name="T101" fmla="*/ 82 h 580"/>
                  <a:gd name="T102" fmla="*/ 368 w 562"/>
                  <a:gd name="T103" fmla="*/ 88 h 580"/>
                  <a:gd name="T104" fmla="*/ 356 w 562"/>
                  <a:gd name="T105" fmla="*/ 74 h 580"/>
                  <a:gd name="T106" fmla="*/ 350 w 562"/>
                  <a:gd name="T107" fmla="*/ 58 h 580"/>
                  <a:gd name="T108" fmla="*/ 334 w 562"/>
                  <a:gd name="T109" fmla="*/ 28 h 580"/>
                  <a:gd name="T110" fmla="*/ 322 w 562"/>
                  <a:gd name="T111" fmla="*/ 16 h 580"/>
                  <a:gd name="T112" fmla="*/ 302 w 562"/>
                  <a:gd name="T113" fmla="*/ 44 h 580"/>
                  <a:gd name="T114" fmla="*/ 282 w 562"/>
                  <a:gd name="T115" fmla="*/ 44 h 580"/>
                  <a:gd name="T116" fmla="*/ 260 w 562"/>
                  <a:gd name="T117" fmla="*/ 40 h 580"/>
                  <a:gd name="T118" fmla="*/ 246 w 562"/>
                  <a:gd name="T119" fmla="*/ 44 h 580"/>
                  <a:gd name="T120" fmla="*/ 222 w 562"/>
                  <a:gd name="T121" fmla="*/ 58 h 580"/>
                  <a:gd name="T122" fmla="*/ 212 w 562"/>
                  <a:gd name="T123" fmla="*/ 2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2" h="580">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2" name="Freeform 332"/>
              <p:cNvSpPr>
                <a:spLocks/>
              </p:cNvSpPr>
              <p:nvPr/>
            </p:nvSpPr>
            <p:spPr bwMode="auto">
              <a:xfrm>
                <a:off x="2145" y="2525"/>
                <a:ext cx="2" cy="8"/>
              </a:xfrm>
              <a:custGeom>
                <a:avLst/>
                <a:gdLst>
                  <a:gd name="T0" fmla="*/ 0 w 2"/>
                  <a:gd name="T1" fmla="*/ 2 h 8"/>
                  <a:gd name="T2" fmla="*/ 2 w 2"/>
                  <a:gd name="T3" fmla="*/ 0 h 8"/>
                  <a:gd name="T4" fmla="*/ 2 w 2"/>
                  <a:gd name="T5" fmla="*/ 6 h 8"/>
                  <a:gd name="T6" fmla="*/ 0 w 2"/>
                  <a:gd name="T7" fmla="*/ 8 h 8"/>
                  <a:gd name="T8" fmla="*/ 0 w 2"/>
                  <a:gd name="T9" fmla="*/ 8 h 8"/>
                  <a:gd name="T10" fmla="*/ 0 w 2"/>
                  <a:gd name="T11" fmla="*/ 4 h 8"/>
                  <a:gd name="T12" fmla="*/ 0 w 2"/>
                  <a:gd name="T13" fmla="*/ 2 h 8"/>
                  <a:gd name="T14" fmla="*/ 0 w 2"/>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0" y="2"/>
                    </a:moveTo>
                    <a:lnTo>
                      <a:pt x="2" y="0"/>
                    </a:lnTo>
                    <a:lnTo>
                      <a:pt x="2" y="6"/>
                    </a:lnTo>
                    <a:lnTo>
                      <a:pt x="0" y="8"/>
                    </a:lnTo>
                    <a:lnTo>
                      <a:pt x="0" y="8"/>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3" name="Freeform 333"/>
              <p:cNvSpPr>
                <a:spLocks/>
              </p:cNvSpPr>
              <p:nvPr/>
            </p:nvSpPr>
            <p:spPr bwMode="auto">
              <a:xfrm>
                <a:off x="2523" y="1403"/>
                <a:ext cx="148" cy="78"/>
              </a:xfrm>
              <a:custGeom>
                <a:avLst/>
                <a:gdLst>
                  <a:gd name="T0" fmla="*/ 52 w 148"/>
                  <a:gd name="T1" fmla="*/ 72 h 78"/>
                  <a:gd name="T2" fmla="*/ 16 w 148"/>
                  <a:gd name="T3" fmla="*/ 66 h 78"/>
                  <a:gd name="T4" fmla="*/ 14 w 148"/>
                  <a:gd name="T5" fmla="*/ 64 h 78"/>
                  <a:gd name="T6" fmla="*/ 16 w 148"/>
                  <a:gd name="T7" fmla="*/ 62 h 78"/>
                  <a:gd name="T8" fmla="*/ 28 w 148"/>
                  <a:gd name="T9" fmla="*/ 50 h 78"/>
                  <a:gd name="T10" fmla="*/ 12 w 148"/>
                  <a:gd name="T11" fmla="*/ 46 h 78"/>
                  <a:gd name="T12" fmla="*/ 2 w 148"/>
                  <a:gd name="T13" fmla="*/ 44 h 78"/>
                  <a:gd name="T14" fmla="*/ 0 w 148"/>
                  <a:gd name="T15" fmla="*/ 42 h 78"/>
                  <a:gd name="T16" fmla="*/ 16 w 148"/>
                  <a:gd name="T17" fmla="*/ 34 h 78"/>
                  <a:gd name="T18" fmla="*/ 22 w 148"/>
                  <a:gd name="T19" fmla="*/ 30 h 78"/>
                  <a:gd name="T20" fmla="*/ 0 w 148"/>
                  <a:gd name="T21" fmla="*/ 30 h 78"/>
                  <a:gd name="T22" fmla="*/ 0 w 148"/>
                  <a:gd name="T23" fmla="*/ 28 h 78"/>
                  <a:gd name="T24" fmla="*/ 4 w 148"/>
                  <a:gd name="T25" fmla="*/ 18 h 78"/>
                  <a:gd name="T26" fmla="*/ 8 w 148"/>
                  <a:gd name="T27" fmla="*/ 10 h 78"/>
                  <a:gd name="T28" fmla="*/ 18 w 148"/>
                  <a:gd name="T29" fmla="*/ 2 h 78"/>
                  <a:gd name="T30" fmla="*/ 18 w 148"/>
                  <a:gd name="T31" fmla="*/ 2 h 78"/>
                  <a:gd name="T32" fmla="*/ 20 w 148"/>
                  <a:gd name="T33" fmla="*/ 2 h 78"/>
                  <a:gd name="T34" fmla="*/ 38 w 148"/>
                  <a:gd name="T35" fmla="*/ 14 h 78"/>
                  <a:gd name="T36" fmla="*/ 40 w 148"/>
                  <a:gd name="T37" fmla="*/ 14 h 78"/>
                  <a:gd name="T38" fmla="*/ 44 w 148"/>
                  <a:gd name="T39" fmla="*/ 24 h 78"/>
                  <a:gd name="T40" fmla="*/ 50 w 148"/>
                  <a:gd name="T41" fmla="*/ 18 h 78"/>
                  <a:gd name="T42" fmla="*/ 56 w 148"/>
                  <a:gd name="T43" fmla="*/ 12 h 78"/>
                  <a:gd name="T44" fmla="*/ 56 w 148"/>
                  <a:gd name="T45" fmla="*/ 10 h 78"/>
                  <a:gd name="T46" fmla="*/ 62 w 148"/>
                  <a:gd name="T47" fmla="*/ 16 h 78"/>
                  <a:gd name="T48" fmla="*/ 74 w 148"/>
                  <a:gd name="T49" fmla="*/ 8 h 78"/>
                  <a:gd name="T50" fmla="*/ 76 w 148"/>
                  <a:gd name="T51" fmla="*/ 8 h 78"/>
                  <a:gd name="T52" fmla="*/ 78 w 148"/>
                  <a:gd name="T53" fmla="*/ 8 h 78"/>
                  <a:gd name="T54" fmla="*/ 92 w 148"/>
                  <a:gd name="T55" fmla="*/ 12 h 78"/>
                  <a:gd name="T56" fmla="*/ 112 w 148"/>
                  <a:gd name="T57" fmla="*/ 0 h 78"/>
                  <a:gd name="T58" fmla="*/ 114 w 148"/>
                  <a:gd name="T59" fmla="*/ 0 h 78"/>
                  <a:gd name="T60" fmla="*/ 114 w 148"/>
                  <a:gd name="T61" fmla="*/ 0 h 78"/>
                  <a:gd name="T62" fmla="*/ 134 w 148"/>
                  <a:gd name="T63" fmla="*/ 14 h 78"/>
                  <a:gd name="T64" fmla="*/ 134 w 148"/>
                  <a:gd name="T65" fmla="*/ 16 h 78"/>
                  <a:gd name="T66" fmla="*/ 148 w 148"/>
                  <a:gd name="T67" fmla="*/ 32 h 78"/>
                  <a:gd name="T68" fmla="*/ 148 w 148"/>
                  <a:gd name="T69" fmla="*/ 32 h 78"/>
                  <a:gd name="T70" fmla="*/ 148 w 148"/>
                  <a:gd name="T71" fmla="*/ 40 h 78"/>
                  <a:gd name="T72" fmla="*/ 138 w 148"/>
                  <a:gd name="T73" fmla="*/ 48 h 78"/>
                  <a:gd name="T74" fmla="*/ 106 w 148"/>
                  <a:gd name="T75" fmla="*/ 64 h 78"/>
                  <a:gd name="T76" fmla="*/ 80 w 148"/>
                  <a:gd name="T77" fmla="*/ 76 h 78"/>
                  <a:gd name="T78" fmla="*/ 78 w 148"/>
                  <a:gd name="T7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78">
                    <a:moveTo>
                      <a:pt x="66" y="78"/>
                    </a:moveTo>
                    <a:lnTo>
                      <a:pt x="52" y="72"/>
                    </a:lnTo>
                    <a:lnTo>
                      <a:pt x="42" y="66"/>
                    </a:lnTo>
                    <a:lnTo>
                      <a:pt x="16" y="66"/>
                    </a:lnTo>
                    <a:lnTo>
                      <a:pt x="16" y="66"/>
                    </a:lnTo>
                    <a:lnTo>
                      <a:pt x="14" y="64"/>
                    </a:lnTo>
                    <a:lnTo>
                      <a:pt x="14" y="64"/>
                    </a:lnTo>
                    <a:lnTo>
                      <a:pt x="16" y="62"/>
                    </a:lnTo>
                    <a:lnTo>
                      <a:pt x="28" y="56"/>
                    </a:lnTo>
                    <a:lnTo>
                      <a:pt x="28" y="50"/>
                    </a:lnTo>
                    <a:lnTo>
                      <a:pt x="22" y="46"/>
                    </a:lnTo>
                    <a:lnTo>
                      <a:pt x="12" y="46"/>
                    </a:lnTo>
                    <a:lnTo>
                      <a:pt x="2" y="44"/>
                    </a:lnTo>
                    <a:lnTo>
                      <a:pt x="2" y="44"/>
                    </a:lnTo>
                    <a:lnTo>
                      <a:pt x="0" y="42"/>
                    </a:lnTo>
                    <a:lnTo>
                      <a:pt x="0" y="42"/>
                    </a:lnTo>
                    <a:lnTo>
                      <a:pt x="2" y="40"/>
                    </a:lnTo>
                    <a:lnTo>
                      <a:pt x="16" y="34"/>
                    </a:lnTo>
                    <a:lnTo>
                      <a:pt x="24" y="30"/>
                    </a:lnTo>
                    <a:lnTo>
                      <a:pt x="22" y="30"/>
                    </a:lnTo>
                    <a:lnTo>
                      <a:pt x="0" y="30"/>
                    </a:lnTo>
                    <a:lnTo>
                      <a:pt x="0" y="30"/>
                    </a:lnTo>
                    <a:lnTo>
                      <a:pt x="0" y="28"/>
                    </a:lnTo>
                    <a:lnTo>
                      <a:pt x="0" y="28"/>
                    </a:lnTo>
                    <a:lnTo>
                      <a:pt x="0" y="26"/>
                    </a:lnTo>
                    <a:lnTo>
                      <a:pt x="4" y="18"/>
                    </a:lnTo>
                    <a:lnTo>
                      <a:pt x="8" y="10"/>
                    </a:lnTo>
                    <a:lnTo>
                      <a:pt x="8" y="10"/>
                    </a:lnTo>
                    <a:lnTo>
                      <a:pt x="8" y="10"/>
                    </a:lnTo>
                    <a:lnTo>
                      <a:pt x="18" y="2"/>
                    </a:lnTo>
                    <a:lnTo>
                      <a:pt x="18" y="2"/>
                    </a:lnTo>
                    <a:lnTo>
                      <a:pt x="18" y="2"/>
                    </a:lnTo>
                    <a:lnTo>
                      <a:pt x="18" y="2"/>
                    </a:lnTo>
                    <a:lnTo>
                      <a:pt x="20" y="2"/>
                    </a:lnTo>
                    <a:lnTo>
                      <a:pt x="28" y="6"/>
                    </a:lnTo>
                    <a:lnTo>
                      <a:pt x="38" y="14"/>
                    </a:lnTo>
                    <a:lnTo>
                      <a:pt x="38" y="14"/>
                    </a:lnTo>
                    <a:lnTo>
                      <a:pt x="40" y="14"/>
                    </a:lnTo>
                    <a:lnTo>
                      <a:pt x="42" y="22"/>
                    </a:lnTo>
                    <a:lnTo>
                      <a:pt x="44" y="24"/>
                    </a:lnTo>
                    <a:lnTo>
                      <a:pt x="48" y="22"/>
                    </a:lnTo>
                    <a:lnTo>
                      <a:pt x="50" y="18"/>
                    </a:lnTo>
                    <a:lnTo>
                      <a:pt x="56" y="12"/>
                    </a:lnTo>
                    <a:lnTo>
                      <a:pt x="56" y="12"/>
                    </a:lnTo>
                    <a:lnTo>
                      <a:pt x="56" y="10"/>
                    </a:lnTo>
                    <a:lnTo>
                      <a:pt x="56" y="10"/>
                    </a:lnTo>
                    <a:lnTo>
                      <a:pt x="58" y="12"/>
                    </a:lnTo>
                    <a:lnTo>
                      <a:pt x="62" y="16"/>
                    </a:lnTo>
                    <a:lnTo>
                      <a:pt x="64" y="18"/>
                    </a:lnTo>
                    <a:lnTo>
                      <a:pt x="74" y="8"/>
                    </a:lnTo>
                    <a:lnTo>
                      <a:pt x="74" y="8"/>
                    </a:lnTo>
                    <a:lnTo>
                      <a:pt x="76" y="8"/>
                    </a:lnTo>
                    <a:lnTo>
                      <a:pt x="76" y="8"/>
                    </a:lnTo>
                    <a:lnTo>
                      <a:pt x="78" y="8"/>
                    </a:lnTo>
                    <a:lnTo>
                      <a:pt x="82" y="10"/>
                    </a:lnTo>
                    <a:lnTo>
                      <a:pt x="92" y="12"/>
                    </a:lnTo>
                    <a:lnTo>
                      <a:pt x="104" y="8"/>
                    </a:lnTo>
                    <a:lnTo>
                      <a:pt x="112" y="0"/>
                    </a:lnTo>
                    <a:lnTo>
                      <a:pt x="112" y="0"/>
                    </a:lnTo>
                    <a:lnTo>
                      <a:pt x="114" y="0"/>
                    </a:lnTo>
                    <a:lnTo>
                      <a:pt x="114" y="0"/>
                    </a:lnTo>
                    <a:lnTo>
                      <a:pt x="114" y="0"/>
                    </a:lnTo>
                    <a:lnTo>
                      <a:pt x="124" y="12"/>
                    </a:lnTo>
                    <a:lnTo>
                      <a:pt x="134" y="14"/>
                    </a:lnTo>
                    <a:lnTo>
                      <a:pt x="134" y="14"/>
                    </a:lnTo>
                    <a:lnTo>
                      <a:pt x="134" y="16"/>
                    </a:lnTo>
                    <a:lnTo>
                      <a:pt x="140" y="22"/>
                    </a:lnTo>
                    <a:lnTo>
                      <a:pt x="148" y="32"/>
                    </a:lnTo>
                    <a:lnTo>
                      <a:pt x="148" y="32"/>
                    </a:lnTo>
                    <a:lnTo>
                      <a:pt x="148" y="32"/>
                    </a:lnTo>
                    <a:lnTo>
                      <a:pt x="148" y="40"/>
                    </a:lnTo>
                    <a:lnTo>
                      <a:pt x="148" y="40"/>
                    </a:lnTo>
                    <a:lnTo>
                      <a:pt x="148" y="42"/>
                    </a:lnTo>
                    <a:lnTo>
                      <a:pt x="138" y="48"/>
                    </a:lnTo>
                    <a:lnTo>
                      <a:pt x="124" y="58"/>
                    </a:lnTo>
                    <a:lnTo>
                      <a:pt x="106" y="64"/>
                    </a:lnTo>
                    <a:lnTo>
                      <a:pt x="90" y="70"/>
                    </a:lnTo>
                    <a:lnTo>
                      <a:pt x="80" y="76"/>
                    </a:lnTo>
                    <a:lnTo>
                      <a:pt x="80" y="76"/>
                    </a:lnTo>
                    <a:lnTo>
                      <a:pt x="78" y="78"/>
                    </a:lnTo>
                    <a:lnTo>
                      <a:pt x="66"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4" name="Freeform 334"/>
              <p:cNvSpPr>
                <a:spLocks noEditPoints="1"/>
              </p:cNvSpPr>
              <p:nvPr/>
            </p:nvSpPr>
            <p:spPr bwMode="auto">
              <a:xfrm>
                <a:off x="2521" y="1401"/>
                <a:ext cx="152" cy="82"/>
              </a:xfrm>
              <a:custGeom>
                <a:avLst/>
                <a:gdLst>
                  <a:gd name="T0" fmla="*/ 134 w 152"/>
                  <a:gd name="T1" fmla="*/ 18 h 82"/>
                  <a:gd name="T2" fmla="*/ 148 w 152"/>
                  <a:gd name="T3" fmla="*/ 42 h 82"/>
                  <a:gd name="T4" fmla="*/ 108 w 152"/>
                  <a:gd name="T5" fmla="*/ 64 h 82"/>
                  <a:gd name="T6" fmla="*/ 68 w 152"/>
                  <a:gd name="T7" fmla="*/ 78 h 82"/>
                  <a:gd name="T8" fmla="*/ 18 w 152"/>
                  <a:gd name="T9" fmla="*/ 66 h 82"/>
                  <a:gd name="T10" fmla="*/ 26 w 152"/>
                  <a:gd name="T11" fmla="*/ 46 h 82"/>
                  <a:gd name="T12" fmla="*/ 18 w 152"/>
                  <a:gd name="T13" fmla="*/ 38 h 82"/>
                  <a:gd name="T14" fmla="*/ 16 w 152"/>
                  <a:gd name="T15" fmla="*/ 30 h 82"/>
                  <a:gd name="T16" fmla="*/ 12 w 152"/>
                  <a:gd name="T17" fmla="*/ 14 h 82"/>
                  <a:gd name="T18" fmla="*/ 40 w 152"/>
                  <a:gd name="T19" fmla="*/ 16 h 82"/>
                  <a:gd name="T20" fmla="*/ 50 w 152"/>
                  <a:gd name="T21" fmla="*/ 26 h 82"/>
                  <a:gd name="T22" fmla="*/ 62 w 152"/>
                  <a:gd name="T23" fmla="*/ 18 h 82"/>
                  <a:gd name="T24" fmla="*/ 78 w 152"/>
                  <a:gd name="T25" fmla="*/ 12 h 82"/>
                  <a:gd name="T26" fmla="*/ 106 w 152"/>
                  <a:gd name="T27" fmla="*/ 12 h 82"/>
                  <a:gd name="T28" fmla="*/ 116 w 152"/>
                  <a:gd name="T29" fmla="*/ 0 h 82"/>
                  <a:gd name="T30" fmla="*/ 94 w 152"/>
                  <a:gd name="T31" fmla="*/ 12 h 82"/>
                  <a:gd name="T32" fmla="*/ 80 w 152"/>
                  <a:gd name="T33" fmla="*/ 8 h 82"/>
                  <a:gd name="T34" fmla="*/ 76 w 152"/>
                  <a:gd name="T35" fmla="*/ 8 h 82"/>
                  <a:gd name="T36" fmla="*/ 66 w 152"/>
                  <a:gd name="T37" fmla="*/ 16 h 82"/>
                  <a:gd name="T38" fmla="*/ 62 w 152"/>
                  <a:gd name="T39" fmla="*/ 12 h 82"/>
                  <a:gd name="T40" fmla="*/ 58 w 152"/>
                  <a:gd name="T41" fmla="*/ 10 h 82"/>
                  <a:gd name="T42" fmla="*/ 50 w 152"/>
                  <a:gd name="T43" fmla="*/ 18 h 82"/>
                  <a:gd name="T44" fmla="*/ 48 w 152"/>
                  <a:gd name="T45" fmla="*/ 22 h 82"/>
                  <a:gd name="T46" fmla="*/ 44 w 152"/>
                  <a:gd name="T47" fmla="*/ 16 h 82"/>
                  <a:gd name="T48" fmla="*/ 32 w 152"/>
                  <a:gd name="T49" fmla="*/ 6 h 82"/>
                  <a:gd name="T50" fmla="*/ 22 w 152"/>
                  <a:gd name="T51" fmla="*/ 2 h 82"/>
                  <a:gd name="T52" fmla="*/ 20 w 152"/>
                  <a:gd name="T53" fmla="*/ 2 h 82"/>
                  <a:gd name="T54" fmla="*/ 10 w 152"/>
                  <a:gd name="T55" fmla="*/ 10 h 82"/>
                  <a:gd name="T56" fmla="*/ 0 w 152"/>
                  <a:gd name="T57" fmla="*/ 28 h 82"/>
                  <a:gd name="T58" fmla="*/ 0 w 152"/>
                  <a:gd name="T59" fmla="*/ 32 h 82"/>
                  <a:gd name="T60" fmla="*/ 20 w 152"/>
                  <a:gd name="T61" fmla="*/ 34 h 82"/>
                  <a:gd name="T62" fmla="*/ 4 w 152"/>
                  <a:gd name="T63" fmla="*/ 40 h 82"/>
                  <a:gd name="T64" fmla="*/ 0 w 152"/>
                  <a:gd name="T65" fmla="*/ 44 h 82"/>
                  <a:gd name="T66" fmla="*/ 14 w 152"/>
                  <a:gd name="T67" fmla="*/ 50 h 82"/>
                  <a:gd name="T68" fmla="*/ 28 w 152"/>
                  <a:gd name="T69" fmla="*/ 56 h 82"/>
                  <a:gd name="T70" fmla="*/ 14 w 152"/>
                  <a:gd name="T71" fmla="*/ 64 h 82"/>
                  <a:gd name="T72" fmla="*/ 16 w 152"/>
                  <a:gd name="T73" fmla="*/ 70 h 82"/>
                  <a:gd name="T74" fmla="*/ 52 w 152"/>
                  <a:gd name="T75" fmla="*/ 76 h 82"/>
                  <a:gd name="T76" fmla="*/ 66 w 152"/>
                  <a:gd name="T77" fmla="*/ 80 h 82"/>
                  <a:gd name="T78" fmla="*/ 80 w 152"/>
                  <a:gd name="T79" fmla="*/ 82 h 82"/>
                  <a:gd name="T80" fmla="*/ 94 w 152"/>
                  <a:gd name="T81" fmla="*/ 74 h 82"/>
                  <a:gd name="T82" fmla="*/ 128 w 152"/>
                  <a:gd name="T83" fmla="*/ 62 h 82"/>
                  <a:gd name="T84" fmla="*/ 142 w 152"/>
                  <a:gd name="T85" fmla="*/ 52 h 82"/>
                  <a:gd name="T86" fmla="*/ 150 w 152"/>
                  <a:gd name="T87" fmla="*/ 44 h 82"/>
                  <a:gd name="T88" fmla="*/ 152 w 152"/>
                  <a:gd name="T89" fmla="*/ 34 h 82"/>
                  <a:gd name="T90" fmla="*/ 144 w 152"/>
                  <a:gd name="T91" fmla="*/ 24 h 82"/>
                  <a:gd name="T92" fmla="*/ 138 w 152"/>
                  <a:gd name="T93" fmla="*/ 16 h 82"/>
                  <a:gd name="T94" fmla="*/ 118 w 152"/>
                  <a:gd name="T95" fmla="*/ 2 h 82"/>
                  <a:gd name="T96" fmla="*/ 116 w 152"/>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82">
                    <a:moveTo>
                      <a:pt x="116" y="4"/>
                    </a:moveTo>
                    <a:lnTo>
                      <a:pt x="126" y="14"/>
                    </a:lnTo>
                    <a:lnTo>
                      <a:pt x="134" y="18"/>
                    </a:lnTo>
                    <a:lnTo>
                      <a:pt x="142" y="26"/>
                    </a:lnTo>
                    <a:lnTo>
                      <a:pt x="148" y="34"/>
                    </a:lnTo>
                    <a:lnTo>
                      <a:pt x="148" y="42"/>
                    </a:lnTo>
                    <a:lnTo>
                      <a:pt x="140" y="48"/>
                    </a:lnTo>
                    <a:lnTo>
                      <a:pt x="126" y="58"/>
                    </a:lnTo>
                    <a:lnTo>
                      <a:pt x="108" y="64"/>
                    </a:lnTo>
                    <a:lnTo>
                      <a:pt x="92" y="70"/>
                    </a:lnTo>
                    <a:lnTo>
                      <a:pt x="80" y="78"/>
                    </a:lnTo>
                    <a:lnTo>
                      <a:pt x="68" y="78"/>
                    </a:lnTo>
                    <a:lnTo>
                      <a:pt x="54" y="72"/>
                    </a:lnTo>
                    <a:lnTo>
                      <a:pt x="44" y="66"/>
                    </a:lnTo>
                    <a:lnTo>
                      <a:pt x="18" y="66"/>
                    </a:lnTo>
                    <a:lnTo>
                      <a:pt x="30" y="60"/>
                    </a:lnTo>
                    <a:lnTo>
                      <a:pt x="32" y="50"/>
                    </a:lnTo>
                    <a:lnTo>
                      <a:pt x="26" y="46"/>
                    </a:lnTo>
                    <a:lnTo>
                      <a:pt x="16" y="46"/>
                    </a:lnTo>
                    <a:lnTo>
                      <a:pt x="4" y="44"/>
                    </a:lnTo>
                    <a:lnTo>
                      <a:pt x="18" y="38"/>
                    </a:lnTo>
                    <a:lnTo>
                      <a:pt x="30" y="32"/>
                    </a:lnTo>
                    <a:lnTo>
                      <a:pt x="24" y="30"/>
                    </a:lnTo>
                    <a:lnTo>
                      <a:pt x="16" y="30"/>
                    </a:lnTo>
                    <a:lnTo>
                      <a:pt x="2" y="30"/>
                    </a:lnTo>
                    <a:lnTo>
                      <a:pt x="8" y="20"/>
                    </a:lnTo>
                    <a:lnTo>
                      <a:pt x="12" y="14"/>
                    </a:lnTo>
                    <a:lnTo>
                      <a:pt x="20" y="6"/>
                    </a:lnTo>
                    <a:lnTo>
                      <a:pt x="30" y="10"/>
                    </a:lnTo>
                    <a:lnTo>
                      <a:pt x="40" y="16"/>
                    </a:lnTo>
                    <a:lnTo>
                      <a:pt x="42" y="26"/>
                    </a:lnTo>
                    <a:lnTo>
                      <a:pt x="44" y="30"/>
                    </a:lnTo>
                    <a:lnTo>
                      <a:pt x="50" y="26"/>
                    </a:lnTo>
                    <a:lnTo>
                      <a:pt x="54" y="20"/>
                    </a:lnTo>
                    <a:lnTo>
                      <a:pt x="58" y="14"/>
                    </a:lnTo>
                    <a:lnTo>
                      <a:pt x="62" y="18"/>
                    </a:lnTo>
                    <a:lnTo>
                      <a:pt x="66" y="24"/>
                    </a:lnTo>
                    <a:lnTo>
                      <a:pt x="74" y="16"/>
                    </a:lnTo>
                    <a:lnTo>
                      <a:pt x="78" y="12"/>
                    </a:lnTo>
                    <a:lnTo>
                      <a:pt x="84" y="14"/>
                    </a:lnTo>
                    <a:lnTo>
                      <a:pt x="94" y="16"/>
                    </a:lnTo>
                    <a:lnTo>
                      <a:pt x="106" y="12"/>
                    </a:lnTo>
                    <a:lnTo>
                      <a:pt x="116" y="4"/>
                    </a:lnTo>
                    <a:close/>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5" name="Freeform 335"/>
              <p:cNvSpPr>
                <a:spLocks/>
              </p:cNvSpPr>
              <p:nvPr/>
            </p:nvSpPr>
            <p:spPr bwMode="auto">
              <a:xfrm>
                <a:off x="2523" y="1405"/>
                <a:ext cx="146" cy="74"/>
              </a:xfrm>
              <a:custGeom>
                <a:avLst/>
                <a:gdLst>
                  <a:gd name="T0" fmla="*/ 114 w 146"/>
                  <a:gd name="T1" fmla="*/ 0 h 74"/>
                  <a:gd name="T2" fmla="*/ 124 w 146"/>
                  <a:gd name="T3" fmla="*/ 10 h 74"/>
                  <a:gd name="T4" fmla="*/ 132 w 146"/>
                  <a:gd name="T5" fmla="*/ 14 h 74"/>
                  <a:gd name="T6" fmla="*/ 140 w 146"/>
                  <a:gd name="T7" fmla="*/ 22 h 74"/>
                  <a:gd name="T8" fmla="*/ 146 w 146"/>
                  <a:gd name="T9" fmla="*/ 30 h 74"/>
                  <a:gd name="T10" fmla="*/ 146 w 146"/>
                  <a:gd name="T11" fmla="*/ 38 h 74"/>
                  <a:gd name="T12" fmla="*/ 138 w 146"/>
                  <a:gd name="T13" fmla="*/ 44 h 74"/>
                  <a:gd name="T14" fmla="*/ 124 w 146"/>
                  <a:gd name="T15" fmla="*/ 54 h 74"/>
                  <a:gd name="T16" fmla="*/ 106 w 146"/>
                  <a:gd name="T17" fmla="*/ 60 h 74"/>
                  <a:gd name="T18" fmla="*/ 90 w 146"/>
                  <a:gd name="T19" fmla="*/ 66 h 74"/>
                  <a:gd name="T20" fmla="*/ 78 w 146"/>
                  <a:gd name="T21" fmla="*/ 74 h 74"/>
                  <a:gd name="T22" fmla="*/ 66 w 146"/>
                  <a:gd name="T23" fmla="*/ 74 h 74"/>
                  <a:gd name="T24" fmla="*/ 52 w 146"/>
                  <a:gd name="T25" fmla="*/ 68 h 74"/>
                  <a:gd name="T26" fmla="*/ 42 w 146"/>
                  <a:gd name="T27" fmla="*/ 62 h 74"/>
                  <a:gd name="T28" fmla="*/ 16 w 146"/>
                  <a:gd name="T29" fmla="*/ 62 h 74"/>
                  <a:gd name="T30" fmla="*/ 28 w 146"/>
                  <a:gd name="T31" fmla="*/ 56 h 74"/>
                  <a:gd name="T32" fmla="*/ 30 w 146"/>
                  <a:gd name="T33" fmla="*/ 46 h 74"/>
                  <a:gd name="T34" fmla="*/ 24 w 146"/>
                  <a:gd name="T35" fmla="*/ 42 h 74"/>
                  <a:gd name="T36" fmla="*/ 14 w 146"/>
                  <a:gd name="T37" fmla="*/ 42 h 74"/>
                  <a:gd name="T38" fmla="*/ 2 w 146"/>
                  <a:gd name="T39" fmla="*/ 40 h 74"/>
                  <a:gd name="T40" fmla="*/ 16 w 146"/>
                  <a:gd name="T41" fmla="*/ 34 h 74"/>
                  <a:gd name="T42" fmla="*/ 28 w 146"/>
                  <a:gd name="T43" fmla="*/ 28 h 74"/>
                  <a:gd name="T44" fmla="*/ 22 w 146"/>
                  <a:gd name="T45" fmla="*/ 26 h 74"/>
                  <a:gd name="T46" fmla="*/ 14 w 146"/>
                  <a:gd name="T47" fmla="*/ 26 h 74"/>
                  <a:gd name="T48" fmla="*/ 0 w 146"/>
                  <a:gd name="T49" fmla="*/ 26 h 74"/>
                  <a:gd name="T50" fmla="*/ 6 w 146"/>
                  <a:gd name="T51" fmla="*/ 16 h 74"/>
                  <a:gd name="T52" fmla="*/ 10 w 146"/>
                  <a:gd name="T53" fmla="*/ 10 h 74"/>
                  <a:gd name="T54" fmla="*/ 18 w 146"/>
                  <a:gd name="T55" fmla="*/ 2 h 74"/>
                  <a:gd name="T56" fmla="*/ 28 w 146"/>
                  <a:gd name="T57" fmla="*/ 6 h 74"/>
                  <a:gd name="T58" fmla="*/ 38 w 146"/>
                  <a:gd name="T59" fmla="*/ 12 h 74"/>
                  <a:gd name="T60" fmla="*/ 40 w 146"/>
                  <a:gd name="T61" fmla="*/ 22 h 74"/>
                  <a:gd name="T62" fmla="*/ 42 w 146"/>
                  <a:gd name="T63" fmla="*/ 26 h 74"/>
                  <a:gd name="T64" fmla="*/ 48 w 146"/>
                  <a:gd name="T65" fmla="*/ 22 h 74"/>
                  <a:gd name="T66" fmla="*/ 52 w 146"/>
                  <a:gd name="T67" fmla="*/ 16 h 74"/>
                  <a:gd name="T68" fmla="*/ 56 w 146"/>
                  <a:gd name="T69" fmla="*/ 10 h 74"/>
                  <a:gd name="T70" fmla="*/ 60 w 146"/>
                  <a:gd name="T71" fmla="*/ 14 h 74"/>
                  <a:gd name="T72" fmla="*/ 64 w 146"/>
                  <a:gd name="T73" fmla="*/ 20 h 74"/>
                  <a:gd name="T74" fmla="*/ 72 w 146"/>
                  <a:gd name="T75" fmla="*/ 12 h 74"/>
                  <a:gd name="T76" fmla="*/ 76 w 146"/>
                  <a:gd name="T77" fmla="*/ 8 h 74"/>
                  <a:gd name="T78" fmla="*/ 82 w 146"/>
                  <a:gd name="T79" fmla="*/ 10 h 74"/>
                  <a:gd name="T80" fmla="*/ 92 w 146"/>
                  <a:gd name="T81" fmla="*/ 12 h 74"/>
                  <a:gd name="T82" fmla="*/ 104 w 146"/>
                  <a:gd name="T83" fmla="*/ 8 h 74"/>
                  <a:gd name="T84" fmla="*/ 114 w 146"/>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6" h="74">
                    <a:moveTo>
                      <a:pt x="114" y="0"/>
                    </a:moveTo>
                    <a:lnTo>
                      <a:pt x="124" y="10"/>
                    </a:lnTo>
                    <a:lnTo>
                      <a:pt x="132" y="14"/>
                    </a:lnTo>
                    <a:lnTo>
                      <a:pt x="140" y="22"/>
                    </a:lnTo>
                    <a:lnTo>
                      <a:pt x="146" y="30"/>
                    </a:lnTo>
                    <a:lnTo>
                      <a:pt x="146" y="38"/>
                    </a:lnTo>
                    <a:lnTo>
                      <a:pt x="138" y="44"/>
                    </a:lnTo>
                    <a:lnTo>
                      <a:pt x="124" y="54"/>
                    </a:lnTo>
                    <a:lnTo>
                      <a:pt x="106" y="60"/>
                    </a:lnTo>
                    <a:lnTo>
                      <a:pt x="90" y="66"/>
                    </a:lnTo>
                    <a:lnTo>
                      <a:pt x="78" y="74"/>
                    </a:lnTo>
                    <a:lnTo>
                      <a:pt x="66" y="74"/>
                    </a:lnTo>
                    <a:lnTo>
                      <a:pt x="52" y="68"/>
                    </a:lnTo>
                    <a:lnTo>
                      <a:pt x="42" y="62"/>
                    </a:lnTo>
                    <a:lnTo>
                      <a:pt x="16" y="62"/>
                    </a:lnTo>
                    <a:lnTo>
                      <a:pt x="28" y="56"/>
                    </a:lnTo>
                    <a:lnTo>
                      <a:pt x="30" y="46"/>
                    </a:lnTo>
                    <a:lnTo>
                      <a:pt x="24" y="42"/>
                    </a:lnTo>
                    <a:lnTo>
                      <a:pt x="14" y="42"/>
                    </a:lnTo>
                    <a:lnTo>
                      <a:pt x="2" y="40"/>
                    </a:lnTo>
                    <a:lnTo>
                      <a:pt x="16" y="34"/>
                    </a:lnTo>
                    <a:lnTo>
                      <a:pt x="28" y="28"/>
                    </a:lnTo>
                    <a:lnTo>
                      <a:pt x="22" y="26"/>
                    </a:lnTo>
                    <a:lnTo>
                      <a:pt x="14" y="26"/>
                    </a:lnTo>
                    <a:lnTo>
                      <a:pt x="0" y="26"/>
                    </a:lnTo>
                    <a:lnTo>
                      <a:pt x="6" y="16"/>
                    </a:lnTo>
                    <a:lnTo>
                      <a:pt x="10" y="10"/>
                    </a:lnTo>
                    <a:lnTo>
                      <a:pt x="18" y="2"/>
                    </a:lnTo>
                    <a:lnTo>
                      <a:pt x="28" y="6"/>
                    </a:lnTo>
                    <a:lnTo>
                      <a:pt x="38" y="12"/>
                    </a:lnTo>
                    <a:lnTo>
                      <a:pt x="40" y="22"/>
                    </a:lnTo>
                    <a:lnTo>
                      <a:pt x="42" y="26"/>
                    </a:lnTo>
                    <a:lnTo>
                      <a:pt x="48" y="22"/>
                    </a:lnTo>
                    <a:lnTo>
                      <a:pt x="52" y="16"/>
                    </a:lnTo>
                    <a:lnTo>
                      <a:pt x="56" y="10"/>
                    </a:lnTo>
                    <a:lnTo>
                      <a:pt x="60" y="14"/>
                    </a:lnTo>
                    <a:lnTo>
                      <a:pt x="64" y="20"/>
                    </a:lnTo>
                    <a:lnTo>
                      <a:pt x="72" y="12"/>
                    </a:lnTo>
                    <a:lnTo>
                      <a:pt x="76" y="8"/>
                    </a:lnTo>
                    <a:lnTo>
                      <a:pt x="82" y="10"/>
                    </a:lnTo>
                    <a:lnTo>
                      <a:pt x="92" y="12"/>
                    </a:lnTo>
                    <a:lnTo>
                      <a:pt x="104" y="8"/>
                    </a:lnTo>
                    <a:lnTo>
                      <a:pt x="1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6" name="Freeform 336"/>
              <p:cNvSpPr>
                <a:spLocks/>
              </p:cNvSpPr>
              <p:nvPr/>
            </p:nvSpPr>
            <p:spPr bwMode="auto">
              <a:xfrm>
                <a:off x="2521" y="1401"/>
                <a:ext cx="152" cy="82"/>
              </a:xfrm>
              <a:custGeom>
                <a:avLst/>
                <a:gdLst>
                  <a:gd name="T0" fmla="*/ 116 w 152"/>
                  <a:gd name="T1" fmla="*/ 0 h 82"/>
                  <a:gd name="T2" fmla="*/ 104 w 152"/>
                  <a:gd name="T3" fmla="*/ 8 h 82"/>
                  <a:gd name="T4" fmla="*/ 86 w 152"/>
                  <a:gd name="T5" fmla="*/ 12 h 82"/>
                  <a:gd name="T6" fmla="*/ 80 w 152"/>
                  <a:gd name="T7" fmla="*/ 8 h 82"/>
                  <a:gd name="T8" fmla="*/ 78 w 152"/>
                  <a:gd name="T9" fmla="*/ 8 h 82"/>
                  <a:gd name="T10" fmla="*/ 70 w 152"/>
                  <a:gd name="T11" fmla="*/ 14 h 82"/>
                  <a:gd name="T12" fmla="*/ 66 w 152"/>
                  <a:gd name="T13" fmla="*/ 16 h 82"/>
                  <a:gd name="T14" fmla="*/ 66 w 152"/>
                  <a:gd name="T15" fmla="*/ 16 h 82"/>
                  <a:gd name="T16" fmla="*/ 62 w 152"/>
                  <a:gd name="T17" fmla="*/ 12 h 82"/>
                  <a:gd name="T18" fmla="*/ 58 w 152"/>
                  <a:gd name="T19" fmla="*/ 10 h 82"/>
                  <a:gd name="T20" fmla="*/ 56 w 152"/>
                  <a:gd name="T21" fmla="*/ 12 h 82"/>
                  <a:gd name="T22" fmla="*/ 50 w 152"/>
                  <a:gd name="T23" fmla="*/ 18 h 82"/>
                  <a:gd name="T24" fmla="*/ 48 w 152"/>
                  <a:gd name="T25" fmla="*/ 22 h 82"/>
                  <a:gd name="T26" fmla="*/ 46 w 152"/>
                  <a:gd name="T27" fmla="*/ 24 h 82"/>
                  <a:gd name="T28" fmla="*/ 44 w 152"/>
                  <a:gd name="T29" fmla="*/ 16 h 82"/>
                  <a:gd name="T30" fmla="*/ 32 w 152"/>
                  <a:gd name="T31" fmla="*/ 6 h 82"/>
                  <a:gd name="T32" fmla="*/ 30 w 152"/>
                  <a:gd name="T33" fmla="*/ 6 h 82"/>
                  <a:gd name="T34" fmla="*/ 22 w 152"/>
                  <a:gd name="T35" fmla="*/ 2 h 82"/>
                  <a:gd name="T36" fmla="*/ 20 w 152"/>
                  <a:gd name="T37" fmla="*/ 2 h 82"/>
                  <a:gd name="T38" fmla="*/ 10 w 152"/>
                  <a:gd name="T39" fmla="*/ 10 h 82"/>
                  <a:gd name="T40" fmla="*/ 8 w 152"/>
                  <a:gd name="T41" fmla="*/ 12 h 82"/>
                  <a:gd name="T42" fmla="*/ 0 w 152"/>
                  <a:gd name="T43" fmla="*/ 28 h 82"/>
                  <a:gd name="T44" fmla="*/ 0 w 152"/>
                  <a:gd name="T45" fmla="*/ 32 h 82"/>
                  <a:gd name="T46" fmla="*/ 2 w 152"/>
                  <a:gd name="T47" fmla="*/ 34 h 82"/>
                  <a:gd name="T48" fmla="*/ 20 w 152"/>
                  <a:gd name="T49" fmla="*/ 34 h 82"/>
                  <a:gd name="T50" fmla="*/ 4 w 152"/>
                  <a:gd name="T51" fmla="*/ 40 h 82"/>
                  <a:gd name="T52" fmla="*/ 2 w 152"/>
                  <a:gd name="T53" fmla="*/ 42 h 82"/>
                  <a:gd name="T54" fmla="*/ 0 w 152"/>
                  <a:gd name="T55" fmla="*/ 44 h 82"/>
                  <a:gd name="T56" fmla="*/ 4 w 152"/>
                  <a:gd name="T57" fmla="*/ 48 h 82"/>
                  <a:gd name="T58" fmla="*/ 24 w 152"/>
                  <a:gd name="T59" fmla="*/ 50 h 82"/>
                  <a:gd name="T60" fmla="*/ 28 w 152"/>
                  <a:gd name="T61" fmla="*/ 56 h 82"/>
                  <a:gd name="T62" fmla="*/ 16 w 152"/>
                  <a:gd name="T63" fmla="*/ 64 h 82"/>
                  <a:gd name="T64" fmla="*/ 14 w 152"/>
                  <a:gd name="T65" fmla="*/ 68 h 82"/>
                  <a:gd name="T66" fmla="*/ 16 w 152"/>
                  <a:gd name="T67" fmla="*/ 70 h 82"/>
                  <a:gd name="T68" fmla="*/ 44 w 152"/>
                  <a:gd name="T69" fmla="*/ 70 h 82"/>
                  <a:gd name="T70" fmla="*/ 52 w 152"/>
                  <a:gd name="T71" fmla="*/ 76 h 82"/>
                  <a:gd name="T72" fmla="*/ 66 w 152"/>
                  <a:gd name="T73" fmla="*/ 80 h 82"/>
                  <a:gd name="T74" fmla="*/ 68 w 152"/>
                  <a:gd name="T75" fmla="*/ 82 h 82"/>
                  <a:gd name="T76" fmla="*/ 80 w 152"/>
                  <a:gd name="T77" fmla="*/ 82 h 82"/>
                  <a:gd name="T78" fmla="*/ 94 w 152"/>
                  <a:gd name="T79" fmla="*/ 74 h 82"/>
                  <a:gd name="T80" fmla="*/ 128 w 152"/>
                  <a:gd name="T81" fmla="*/ 62 h 82"/>
                  <a:gd name="T82" fmla="*/ 128 w 152"/>
                  <a:gd name="T83" fmla="*/ 60 h 82"/>
                  <a:gd name="T84" fmla="*/ 142 w 152"/>
                  <a:gd name="T85" fmla="*/ 52 h 82"/>
                  <a:gd name="T86" fmla="*/ 150 w 152"/>
                  <a:gd name="T87" fmla="*/ 44 h 82"/>
                  <a:gd name="T88" fmla="*/ 152 w 152"/>
                  <a:gd name="T89" fmla="*/ 42 h 82"/>
                  <a:gd name="T90" fmla="*/ 152 w 152"/>
                  <a:gd name="T91" fmla="*/ 34 h 82"/>
                  <a:gd name="T92" fmla="*/ 144 w 152"/>
                  <a:gd name="T93" fmla="*/ 24 h 82"/>
                  <a:gd name="T94" fmla="*/ 144 w 152"/>
                  <a:gd name="T95" fmla="*/ 22 h 82"/>
                  <a:gd name="T96" fmla="*/ 138 w 152"/>
                  <a:gd name="T97" fmla="*/ 16 h 82"/>
                  <a:gd name="T98" fmla="*/ 128 w 152"/>
                  <a:gd name="T99" fmla="*/ 12 h 82"/>
                  <a:gd name="T100" fmla="*/ 118 w 152"/>
                  <a:gd name="T101" fmla="*/ 2 h 82"/>
                  <a:gd name="T102" fmla="*/ 116 w 152"/>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82">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7" name="Freeform 337"/>
              <p:cNvSpPr>
                <a:spLocks/>
              </p:cNvSpPr>
              <p:nvPr/>
            </p:nvSpPr>
            <p:spPr bwMode="auto">
              <a:xfrm>
                <a:off x="3211" y="2055"/>
                <a:ext cx="160" cy="160"/>
              </a:xfrm>
              <a:custGeom>
                <a:avLst/>
                <a:gdLst>
                  <a:gd name="T0" fmla="*/ 132 w 160"/>
                  <a:gd name="T1" fmla="*/ 160 h 160"/>
                  <a:gd name="T2" fmla="*/ 122 w 160"/>
                  <a:gd name="T3" fmla="*/ 154 h 160"/>
                  <a:gd name="T4" fmla="*/ 6 w 160"/>
                  <a:gd name="T5" fmla="*/ 152 h 160"/>
                  <a:gd name="T6" fmla="*/ 4 w 160"/>
                  <a:gd name="T7" fmla="*/ 36 h 160"/>
                  <a:gd name="T8" fmla="*/ 2 w 160"/>
                  <a:gd name="T9" fmla="*/ 36 h 160"/>
                  <a:gd name="T10" fmla="*/ 0 w 160"/>
                  <a:gd name="T11" fmla="*/ 24 h 160"/>
                  <a:gd name="T12" fmla="*/ 0 w 160"/>
                  <a:gd name="T13" fmla="*/ 22 h 160"/>
                  <a:gd name="T14" fmla="*/ 4 w 160"/>
                  <a:gd name="T15" fmla="*/ 2 h 160"/>
                  <a:gd name="T16" fmla="*/ 6 w 160"/>
                  <a:gd name="T17" fmla="*/ 0 h 160"/>
                  <a:gd name="T18" fmla="*/ 6 w 160"/>
                  <a:gd name="T19" fmla="*/ 0 h 160"/>
                  <a:gd name="T20" fmla="*/ 8 w 160"/>
                  <a:gd name="T21" fmla="*/ 0 h 160"/>
                  <a:gd name="T22" fmla="*/ 22 w 160"/>
                  <a:gd name="T23" fmla="*/ 0 h 160"/>
                  <a:gd name="T24" fmla="*/ 22 w 160"/>
                  <a:gd name="T25" fmla="*/ 0 h 160"/>
                  <a:gd name="T26" fmla="*/ 24 w 160"/>
                  <a:gd name="T27" fmla="*/ 0 h 160"/>
                  <a:gd name="T28" fmla="*/ 62 w 160"/>
                  <a:gd name="T29" fmla="*/ 14 h 160"/>
                  <a:gd name="T30" fmla="*/ 82 w 160"/>
                  <a:gd name="T31" fmla="*/ 6 h 160"/>
                  <a:gd name="T32" fmla="*/ 82 w 160"/>
                  <a:gd name="T33" fmla="*/ 6 h 160"/>
                  <a:gd name="T34" fmla="*/ 104 w 160"/>
                  <a:gd name="T35" fmla="*/ 4 h 160"/>
                  <a:gd name="T36" fmla="*/ 104 w 160"/>
                  <a:gd name="T37" fmla="*/ 4 h 160"/>
                  <a:gd name="T38" fmla="*/ 122 w 160"/>
                  <a:gd name="T39" fmla="*/ 8 h 160"/>
                  <a:gd name="T40" fmla="*/ 138 w 160"/>
                  <a:gd name="T41" fmla="*/ 10 h 160"/>
                  <a:gd name="T42" fmla="*/ 144 w 160"/>
                  <a:gd name="T43" fmla="*/ 18 h 160"/>
                  <a:gd name="T44" fmla="*/ 150 w 160"/>
                  <a:gd name="T45" fmla="*/ 36 h 160"/>
                  <a:gd name="T46" fmla="*/ 146 w 160"/>
                  <a:gd name="T47" fmla="*/ 42 h 160"/>
                  <a:gd name="T48" fmla="*/ 140 w 160"/>
                  <a:gd name="T49" fmla="*/ 62 h 160"/>
                  <a:gd name="T50" fmla="*/ 140 w 160"/>
                  <a:gd name="T51" fmla="*/ 62 h 160"/>
                  <a:gd name="T52" fmla="*/ 136 w 160"/>
                  <a:gd name="T53" fmla="*/ 66 h 160"/>
                  <a:gd name="T54" fmla="*/ 134 w 160"/>
                  <a:gd name="T55" fmla="*/ 66 h 160"/>
                  <a:gd name="T56" fmla="*/ 134 w 160"/>
                  <a:gd name="T57" fmla="*/ 66 h 160"/>
                  <a:gd name="T58" fmla="*/ 126 w 160"/>
                  <a:gd name="T59" fmla="*/ 56 h 160"/>
                  <a:gd name="T60" fmla="*/ 118 w 160"/>
                  <a:gd name="T61" fmla="*/ 38 h 160"/>
                  <a:gd name="T62" fmla="*/ 116 w 160"/>
                  <a:gd name="T63" fmla="*/ 40 h 160"/>
                  <a:gd name="T64" fmla="*/ 126 w 160"/>
                  <a:gd name="T65" fmla="*/ 58 h 160"/>
                  <a:gd name="T66" fmla="*/ 140 w 160"/>
                  <a:gd name="T67" fmla="*/ 88 h 160"/>
                  <a:gd name="T68" fmla="*/ 160 w 160"/>
                  <a:gd name="T69" fmla="*/ 124 h 160"/>
                  <a:gd name="T70" fmla="*/ 160 w 160"/>
                  <a:gd name="T71" fmla="*/ 140 h 160"/>
                  <a:gd name="T72" fmla="*/ 152 w 160"/>
                  <a:gd name="T73" fmla="*/ 142 h 160"/>
                  <a:gd name="T74" fmla="*/ 134 w 160"/>
                  <a:gd name="T75" fmla="*/ 160 h 160"/>
                  <a:gd name="T76" fmla="*/ 132 w 160"/>
                  <a:gd name="T7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32" y="160"/>
                    </a:moveTo>
                    <a:lnTo>
                      <a:pt x="132" y="160"/>
                    </a:lnTo>
                    <a:lnTo>
                      <a:pt x="132" y="160"/>
                    </a:lnTo>
                    <a:lnTo>
                      <a:pt x="122" y="154"/>
                    </a:lnTo>
                    <a:lnTo>
                      <a:pt x="6" y="152"/>
                    </a:lnTo>
                    <a:lnTo>
                      <a:pt x="6" y="152"/>
                    </a:lnTo>
                    <a:lnTo>
                      <a:pt x="4" y="150"/>
                    </a:lnTo>
                    <a:lnTo>
                      <a:pt x="4" y="36"/>
                    </a:lnTo>
                    <a:lnTo>
                      <a:pt x="2" y="36"/>
                    </a:lnTo>
                    <a:lnTo>
                      <a:pt x="2" y="36"/>
                    </a:lnTo>
                    <a:lnTo>
                      <a:pt x="0" y="34"/>
                    </a:lnTo>
                    <a:lnTo>
                      <a:pt x="0" y="24"/>
                    </a:lnTo>
                    <a:lnTo>
                      <a:pt x="0" y="24"/>
                    </a:lnTo>
                    <a:lnTo>
                      <a:pt x="0" y="22"/>
                    </a:lnTo>
                    <a:lnTo>
                      <a:pt x="4" y="18"/>
                    </a:lnTo>
                    <a:lnTo>
                      <a:pt x="4" y="2"/>
                    </a:lnTo>
                    <a:lnTo>
                      <a:pt x="4" y="2"/>
                    </a:lnTo>
                    <a:lnTo>
                      <a:pt x="6" y="0"/>
                    </a:lnTo>
                    <a:lnTo>
                      <a:pt x="6" y="0"/>
                    </a:lnTo>
                    <a:lnTo>
                      <a:pt x="6" y="0"/>
                    </a:lnTo>
                    <a:lnTo>
                      <a:pt x="6" y="0"/>
                    </a:lnTo>
                    <a:lnTo>
                      <a:pt x="8" y="0"/>
                    </a:lnTo>
                    <a:lnTo>
                      <a:pt x="16" y="2"/>
                    </a:lnTo>
                    <a:lnTo>
                      <a:pt x="22" y="0"/>
                    </a:lnTo>
                    <a:lnTo>
                      <a:pt x="22" y="0"/>
                    </a:lnTo>
                    <a:lnTo>
                      <a:pt x="22" y="0"/>
                    </a:lnTo>
                    <a:lnTo>
                      <a:pt x="22" y="0"/>
                    </a:lnTo>
                    <a:lnTo>
                      <a:pt x="24" y="0"/>
                    </a:lnTo>
                    <a:lnTo>
                      <a:pt x="46" y="10"/>
                    </a:lnTo>
                    <a:lnTo>
                      <a:pt x="62" y="14"/>
                    </a:lnTo>
                    <a:lnTo>
                      <a:pt x="74" y="12"/>
                    </a:lnTo>
                    <a:lnTo>
                      <a:pt x="82" y="6"/>
                    </a:lnTo>
                    <a:lnTo>
                      <a:pt x="82" y="6"/>
                    </a:lnTo>
                    <a:lnTo>
                      <a:pt x="82" y="6"/>
                    </a:lnTo>
                    <a:lnTo>
                      <a:pt x="82" y="6"/>
                    </a:lnTo>
                    <a:lnTo>
                      <a:pt x="104" y="4"/>
                    </a:lnTo>
                    <a:lnTo>
                      <a:pt x="104" y="4"/>
                    </a:lnTo>
                    <a:lnTo>
                      <a:pt x="104" y="4"/>
                    </a:lnTo>
                    <a:lnTo>
                      <a:pt x="112" y="10"/>
                    </a:lnTo>
                    <a:lnTo>
                      <a:pt x="122" y="8"/>
                    </a:lnTo>
                    <a:lnTo>
                      <a:pt x="138" y="10"/>
                    </a:lnTo>
                    <a:lnTo>
                      <a:pt x="138" y="10"/>
                    </a:lnTo>
                    <a:lnTo>
                      <a:pt x="140" y="12"/>
                    </a:lnTo>
                    <a:lnTo>
                      <a:pt x="144" y="18"/>
                    </a:lnTo>
                    <a:lnTo>
                      <a:pt x="150" y="36"/>
                    </a:lnTo>
                    <a:lnTo>
                      <a:pt x="150" y="36"/>
                    </a:lnTo>
                    <a:lnTo>
                      <a:pt x="150" y="38"/>
                    </a:lnTo>
                    <a:lnTo>
                      <a:pt x="146" y="42"/>
                    </a:lnTo>
                    <a:lnTo>
                      <a:pt x="142" y="54"/>
                    </a:lnTo>
                    <a:lnTo>
                      <a:pt x="140" y="62"/>
                    </a:lnTo>
                    <a:lnTo>
                      <a:pt x="140" y="62"/>
                    </a:lnTo>
                    <a:lnTo>
                      <a:pt x="140" y="62"/>
                    </a:lnTo>
                    <a:lnTo>
                      <a:pt x="136" y="66"/>
                    </a:lnTo>
                    <a:lnTo>
                      <a:pt x="136" y="66"/>
                    </a:lnTo>
                    <a:lnTo>
                      <a:pt x="134" y="66"/>
                    </a:lnTo>
                    <a:lnTo>
                      <a:pt x="134" y="66"/>
                    </a:lnTo>
                    <a:lnTo>
                      <a:pt x="134" y="66"/>
                    </a:lnTo>
                    <a:lnTo>
                      <a:pt x="134" y="66"/>
                    </a:lnTo>
                    <a:lnTo>
                      <a:pt x="132" y="66"/>
                    </a:lnTo>
                    <a:lnTo>
                      <a:pt x="126" y="56"/>
                    </a:lnTo>
                    <a:lnTo>
                      <a:pt x="124" y="46"/>
                    </a:lnTo>
                    <a:lnTo>
                      <a:pt x="118" y="38"/>
                    </a:lnTo>
                    <a:lnTo>
                      <a:pt x="114" y="30"/>
                    </a:lnTo>
                    <a:lnTo>
                      <a:pt x="116" y="40"/>
                    </a:lnTo>
                    <a:lnTo>
                      <a:pt x="120" y="50"/>
                    </a:lnTo>
                    <a:lnTo>
                      <a:pt x="126" y="58"/>
                    </a:lnTo>
                    <a:lnTo>
                      <a:pt x="132" y="66"/>
                    </a:lnTo>
                    <a:lnTo>
                      <a:pt x="140" y="88"/>
                    </a:lnTo>
                    <a:lnTo>
                      <a:pt x="158" y="118"/>
                    </a:lnTo>
                    <a:lnTo>
                      <a:pt x="160" y="124"/>
                    </a:lnTo>
                    <a:lnTo>
                      <a:pt x="160" y="140"/>
                    </a:lnTo>
                    <a:lnTo>
                      <a:pt x="160" y="140"/>
                    </a:lnTo>
                    <a:lnTo>
                      <a:pt x="158" y="142"/>
                    </a:lnTo>
                    <a:lnTo>
                      <a:pt x="152" y="142"/>
                    </a:lnTo>
                    <a:lnTo>
                      <a:pt x="134" y="160"/>
                    </a:lnTo>
                    <a:lnTo>
                      <a:pt x="134" y="160"/>
                    </a:lnTo>
                    <a:lnTo>
                      <a:pt x="132" y="160"/>
                    </a:lnTo>
                    <a:lnTo>
                      <a:pt x="13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8" name="Freeform 338"/>
              <p:cNvSpPr>
                <a:spLocks noEditPoints="1"/>
              </p:cNvSpPr>
              <p:nvPr/>
            </p:nvSpPr>
            <p:spPr bwMode="auto">
              <a:xfrm>
                <a:off x="3209" y="2053"/>
                <a:ext cx="164" cy="164"/>
              </a:xfrm>
              <a:custGeom>
                <a:avLst/>
                <a:gdLst>
                  <a:gd name="T0" fmla="*/ 18 w 164"/>
                  <a:gd name="T1" fmla="*/ 6 h 164"/>
                  <a:gd name="T2" fmla="*/ 46 w 164"/>
                  <a:gd name="T3" fmla="*/ 14 h 164"/>
                  <a:gd name="T4" fmla="*/ 76 w 164"/>
                  <a:gd name="T5" fmla="*/ 16 h 164"/>
                  <a:gd name="T6" fmla="*/ 106 w 164"/>
                  <a:gd name="T7" fmla="*/ 8 h 164"/>
                  <a:gd name="T8" fmla="*/ 126 w 164"/>
                  <a:gd name="T9" fmla="*/ 12 h 164"/>
                  <a:gd name="T10" fmla="*/ 144 w 164"/>
                  <a:gd name="T11" fmla="*/ 22 h 164"/>
                  <a:gd name="T12" fmla="*/ 146 w 164"/>
                  <a:gd name="T13" fmla="*/ 44 h 164"/>
                  <a:gd name="T14" fmla="*/ 140 w 164"/>
                  <a:gd name="T15" fmla="*/ 64 h 164"/>
                  <a:gd name="T16" fmla="*/ 130 w 164"/>
                  <a:gd name="T17" fmla="*/ 58 h 164"/>
                  <a:gd name="T18" fmla="*/ 122 w 164"/>
                  <a:gd name="T19" fmla="*/ 40 h 164"/>
                  <a:gd name="T20" fmla="*/ 114 w 164"/>
                  <a:gd name="T21" fmla="*/ 18 h 164"/>
                  <a:gd name="T22" fmla="*/ 116 w 164"/>
                  <a:gd name="T23" fmla="*/ 42 h 164"/>
                  <a:gd name="T24" fmla="*/ 126 w 164"/>
                  <a:gd name="T25" fmla="*/ 62 h 164"/>
                  <a:gd name="T26" fmla="*/ 140 w 164"/>
                  <a:gd name="T27" fmla="*/ 90 h 164"/>
                  <a:gd name="T28" fmla="*/ 160 w 164"/>
                  <a:gd name="T29" fmla="*/ 128 h 164"/>
                  <a:gd name="T30" fmla="*/ 152 w 164"/>
                  <a:gd name="T31" fmla="*/ 142 h 164"/>
                  <a:gd name="T32" fmla="*/ 126 w 164"/>
                  <a:gd name="T33" fmla="*/ 154 h 164"/>
                  <a:gd name="T34" fmla="*/ 8 w 164"/>
                  <a:gd name="T35" fmla="*/ 38 h 164"/>
                  <a:gd name="T36" fmla="*/ 4 w 164"/>
                  <a:gd name="T37" fmla="*/ 24 h 164"/>
                  <a:gd name="T38" fmla="*/ 8 w 164"/>
                  <a:gd name="T39" fmla="*/ 4 h 164"/>
                  <a:gd name="T40" fmla="*/ 8 w 164"/>
                  <a:gd name="T41" fmla="*/ 0 h 164"/>
                  <a:gd name="T42" fmla="*/ 6 w 164"/>
                  <a:gd name="T43" fmla="*/ 0 h 164"/>
                  <a:gd name="T44" fmla="*/ 4 w 164"/>
                  <a:gd name="T45" fmla="*/ 20 h 164"/>
                  <a:gd name="T46" fmla="*/ 0 w 164"/>
                  <a:gd name="T47" fmla="*/ 22 h 164"/>
                  <a:gd name="T48" fmla="*/ 0 w 164"/>
                  <a:gd name="T49" fmla="*/ 26 h 164"/>
                  <a:gd name="T50" fmla="*/ 0 w 164"/>
                  <a:gd name="T51" fmla="*/ 36 h 164"/>
                  <a:gd name="T52" fmla="*/ 4 w 164"/>
                  <a:gd name="T53" fmla="*/ 40 h 164"/>
                  <a:gd name="T54" fmla="*/ 4 w 164"/>
                  <a:gd name="T55" fmla="*/ 152 h 164"/>
                  <a:gd name="T56" fmla="*/ 8 w 164"/>
                  <a:gd name="T57" fmla="*/ 156 h 164"/>
                  <a:gd name="T58" fmla="*/ 132 w 164"/>
                  <a:gd name="T59" fmla="*/ 164 h 164"/>
                  <a:gd name="T60" fmla="*/ 134 w 164"/>
                  <a:gd name="T61" fmla="*/ 164 h 164"/>
                  <a:gd name="T62" fmla="*/ 138 w 164"/>
                  <a:gd name="T63" fmla="*/ 162 h 164"/>
                  <a:gd name="T64" fmla="*/ 160 w 164"/>
                  <a:gd name="T65" fmla="*/ 146 h 164"/>
                  <a:gd name="T66" fmla="*/ 162 w 164"/>
                  <a:gd name="T67" fmla="*/ 144 h 164"/>
                  <a:gd name="T68" fmla="*/ 164 w 164"/>
                  <a:gd name="T69" fmla="*/ 128 h 164"/>
                  <a:gd name="T70" fmla="*/ 164 w 164"/>
                  <a:gd name="T71" fmla="*/ 126 h 164"/>
                  <a:gd name="T72" fmla="*/ 162 w 164"/>
                  <a:gd name="T73" fmla="*/ 120 h 164"/>
                  <a:gd name="T74" fmla="*/ 144 w 164"/>
                  <a:gd name="T75" fmla="*/ 90 h 164"/>
                  <a:gd name="T76" fmla="*/ 138 w 164"/>
                  <a:gd name="T77" fmla="*/ 70 h 164"/>
                  <a:gd name="T78" fmla="*/ 142 w 164"/>
                  <a:gd name="T79" fmla="*/ 66 h 164"/>
                  <a:gd name="T80" fmla="*/ 144 w 164"/>
                  <a:gd name="T81" fmla="*/ 64 h 164"/>
                  <a:gd name="T82" fmla="*/ 150 w 164"/>
                  <a:gd name="T83" fmla="*/ 46 h 164"/>
                  <a:gd name="T84" fmla="*/ 154 w 164"/>
                  <a:gd name="T85" fmla="*/ 42 h 164"/>
                  <a:gd name="T86" fmla="*/ 154 w 164"/>
                  <a:gd name="T87" fmla="*/ 38 h 164"/>
                  <a:gd name="T88" fmla="*/ 144 w 164"/>
                  <a:gd name="T89" fmla="*/ 12 h 164"/>
                  <a:gd name="T90" fmla="*/ 140 w 164"/>
                  <a:gd name="T91" fmla="*/ 10 h 164"/>
                  <a:gd name="T92" fmla="*/ 126 w 164"/>
                  <a:gd name="T93" fmla="*/ 8 h 164"/>
                  <a:gd name="T94" fmla="*/ 126 w 164"/>
                  <a:gd name="T95" fmla="*/ 8 h 164"/>
                  <a:gd name="T96" fmla="*/ 114 w 164"/>
                  <a:gd name="T97" fmla="*/ 10 h 164"/>
                  <a:gd name="T98" fmla="*/ 108 w 164"/>
                  <a:gd name="T99" fmla="*/ 6 h 164"/>
                  <a:gd name="T100" fmla="*/ 106 w 164"/>
                  <a:gd name="T101" fmla="*/ 4 h 164"/>
                  <a:gd name="T102" fmla="*/ 84 w 164"/>
                  <a:gd name="T103" fmla="*/ 6 h 164"/>
                  <a:gd name="T104" fmla="*/ 82 w 164"/>
                  <a:gd name="T105" fmla="*/ 6 h 164"/>
                  <a:gd name="T106" fmla="*/ 64 w 164"/>
                  <a:gd name="T107" fmla="*/ 14 h 164"/>
                  <a:gd name="T108" fmla="*/ 26 w 164"/>
                  <a:gd name="T109" fmla="*/ 2 h 164"/>
                  <a:gd name="T110" fmla="*/ 24 w 164"/>
                  <a:gd name="T111" fmla="*/ 0 h 164"/>
                  <a:gd name="T112" fmla="*/ 24 w 164"/>
                  <a:gd name="T113" fmla="*/ 0 h 164"/>
                  <a:gd name="T114" fmla="*/ 10 w 164"/>
                  <a:gd name="T115" fmla="*/ 0 h 164"/>
                  <a:gd name="T116" fmla="*/ 8 w 164"/>
                  <a:gd name="T117" fmla="*/ 0 h 164"/>
                  <a:gd name="T118" fmla="*/ 124 w 164"/>
                  <a:gd name="T119" fmla="*/ 50 h 164"/>
                  <a:gd name="T120" fmla="*/ 124 w 164"/>
                  <a:gd name="T121" fmla="*/ 48 h 164"/>
                  <a:gd name="T122" fmla="*/ 124 w 164"/>
                  <a:gd name="T123"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8" y="4"/>
                    </a:moveTo>
                    <a:lnTo>
                      <a:pt x="18" y="6"/>
                    </a:lnTo>
                    <a:lnTo>
                      <a:pt x="24" y="4"/>
                    </a:lnTo>
                    <a:lnTo>
                      <a:pt x="46" y="14"/>
                    </a:lnTo>
                    <a:lnTo>
                      <a:pt x="64" y="18"/>
                    </a:lnTo>
                    <a:lnTo>
                      <a:pt x="76" y="16"/>
                    </a:lnTo>
                    <a:lnTo>
                      <a:pt x="86" y="10"/>
                    </a:lnTo>
                    <a:lnTo>
                      <a:pt x="106" y="8"/>
                    </a:lnTo>
                    <a:lnTo>
                      <a:pt x="114" y="14"/>
                    </a:lnTo>
                    <a:lnTo>
                      <a:pt x="126" y="12"/>
                    </a:lnTo>
                    <a:lnTo>
                      <a:pt x="140" y="14"/>
                    </a:lnTo>
                    <a:lnTo>
                      <a:pt x="144" y="22"/>
                    </a:lnTo>
                    <a:lnTo>
                      <a:pt x="150" y="40"/>
                    </a:lnTo>
                    <a:lnTo>
                      <a:pt x="146" y="44"/>
                    </a:lnTo>
                    <a:lnTo>
                      <a:pt x="142" y="54"/>
                    </a:lnTo>
                    <a:lnTo>
                      <a:pt x="140" y="64"/>
                    </a:lnTo>
                    <a:lnTo>
                      <a:pt x="136" y="66"/>
                    </a:lnTo>
                    <a:lnTo>
                      <a:pt x="130" y="58"/>
                    </a:lnTo>
                    <a:lnTo>
                      <a:pt x="126" y="46"/>
                    </a:lnTo>
                    <a:lnTo>
                      <a:pt x="122" y="40"/>
                    </a:lnTo>
                    <a:lnTo>
                      <a:pt x="118" y="28"/>
                    </a:lnTo>
                    <a:lnTo>
                      <a:pt x="114" y="18"/>
                    </a:lnTo>
                    <a:lnTo>
                      <a:pt x="114" y="24"/>
                    </a:lnTo>
                    <a:lnTo>
                      <a:pt x="116" y="42"/>
                    </a:lnTo>
                    <a:lnTo>
                      <a:pt x="120" y="52"/>
                    </a:lnTo>
                    <a:lnTo>
                      <a:pt x="126" y="62"/>
                    </a:lnTo>
                    <a:lnTo>
                      <a:pt x="132" y="68"/>
                    </a:lnTo>
                    <a:lnTo>
                      <a:pt x="140" y="90"/>
                    </a:lnTo>
                    <a:lnTo>
                      <a:pt x="158" y="122"/>
                    </a:lnTo>
                    <a:lnTo>
                      <a:pt x="160" y="128"/>
                    </a:lnTo>
                    <a:lnTo>
                      <a:pt x="160" y="142"/>
                    </a:lnTo>
                    <a:lnTo>
                      <a:pt x="152" y="142"/>
                    </a:lnTo>
                    <a:lnTo>
                      <a:pt x="134" y="160"/>
                    </a:lnTo>
                    <a:lnTo>
                      <a:pt x="126" y="154"/>
                    </a:lnTo>
                    <a:lnTo>
                      <a:pt x="8" y="152"/>
                    </a:lnTo>
                    <a:lnTo>
                      <a:pt x="8" y="38"/>
                    </a:lnTo>
                    <a:lnTo>
                      <a:pt x="4" y="36"/>
                    </a:lnTo>
                    <a:lnTo>
                      <a:pt x="4" y="24"/>
                    </a:lnTo>
                    <a:lnTo>
                      <a:pt x="8" y="22"/>
                    </a:lnTo>
                    <a:lnTo>
                      <a:pt x="8" y="4"/>
                    </a:lnTo>
                    <a:close/>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close/>
                    <a:moveTo>
                      <a:pt x="124" y="50"/>
                    </a:moveTo>
                    <a:lnTo>
                      <a:pt x="122" y="48"/>
                    </a:lnTo>
                    <a:lnTo>
                      <a:pt x="124" y="48"/>
                    </a:lnTo>
                    <a:lnTo>
                      <a:pt x="124" y="52"/>
                    </a:lnTo>
                    <a:lnTo>
                      <a:pt x="124" y="50"/>
                    </a:lnTo>
                    <a:lnTo>
                      <a:pt x="12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9" name="Freeform 339"/>
              <p:cNvSpPr>
                <a:spLocks/>
              </p:cNvSpPr>
              <p:nvPr/>
            </p:nvSpPr>
            <p:spPr bwMode="auto">
              <a:xfrm>
                <a:off x="3213" y="2057"/>
                <a:ext cx="156" cy="156"/>
              </a:xfrm>
              <a:custGeom>
                <a:avLst/>
                <a:gdLst>
                  <a:gd name="T0" fmla="*/ 4 w 156"/>
                  <a:gd name="T1" fmla="*/ 0 h 156"/>
                  <a:gd name="T2" fmla="*/ 14 w 156"/>
                  <a:gd name="T3" fmla="*/ 2 h 156"/>
                  <a:gd name="T4" fmla="*/ 20 w 156"/>
                  <a:gd name="T5" fmla="*/ 0 h 156"/>
                  <a:gd name="T6" fmla="*/ 42 w 156"/>
                  <a:gd name="T7" fmla="*/ 10 h 156"/>
                  <a:gd name="T8" fmla="*/ 60 w 156"/>
                  <a:gd name="T9" fmla="*/ 14 h 156"/>
                  <a:gd name="T10" fmla="*/ 72 w 156"/>
                  <a:gd name="T11" fmla="*/ 12 h 156"/>
                  <a:gd name="T12" fmla="*/ 82 w 156"/>
                  <a:gd name="T13" fmla="*/ 6 h 156"/>
                  <a:gd name="T14" fmla="*/ 102 w 156"/>
                  <a:gd name="T15" fmla="*/ 4 h 156"/>
                  <a:gd name="T16" fmla="*/ 110 w 156"/>
                  <a:gd name="T17" fmla="*/ 10 h 156"/>
                  <a:gd name="T18" fmla="*/ 122 w 156"/>
                  <a:gd name="T19" fmla="*/ 8 h 156"/>
                  <a:gd name="T20" fmla="*/ 136 w 156"/>
                  <a:gd name="T21" fmla="*/ 10 h 156"/>
                  <a:gd name="T22" fmla="*/ 140 w 156"/>
                  <a:gd name="T23" fmla="*/ 18 h 156"/>
                  <a:gd name="T24" fmla="*/ 146 w 156"/>
                  <a:gd name="T25" fmla="*/ 36 h 156"/>
                  <a:gd name="T26" fmla="*/ 142 w 156"/>
                  <a:gd name="T27" fmla="*/ 40 h 156"/>
                  <a:gd name="T28" fmla="*/ 138 w 156"/>
                  <a:gd name="T29" fmla="*/ 50 h 156"/>
                  <a:gd name="T30" fmla="*/ 136 w 156"/>
                  <a:gd name="T31" fmla="*/ 60 h 156"/>
                  <a:gd name="T32" fmla="*/ 132 w 156"/>
                  <a:gd name="T33" fmla="*/ 62 h 156"/>
                  <a:gd name="T34" fmla="*/ 126 w 156"/>
                  <a:gd name="T35" fmla="*/ 54 h 156"/>
                  <a:gd name="T36" fmla="*/ 122 w 156"/>
                  <a:gd name="T37" fmla="*/ 42 h 156"/>
                  <a:gd name="T38" fmla="*/ 118 w 156"/>
                  <a:gd name="T39" fmla="*/ 36 h 156"/>
                  <a:gd name="T40" fmla="*/ 114 w 156"/>
                  <a:gd name="T41" fmla="*/ 24 h 156"/>
                  <a:gd name="T42" fmla="*/ 110 w 156"/>
                  <a:gd name="T43" fmla="*/ 14 h 156"/>
                  <a:gd name="T44" fmla="*/ 110 w 156"/>
                  <a:gd name="T45" fmla="*/ 20 h 156"/>
                  <a:gd name="T46" fmla="*/ 112 w 156"/>
                  <a:gd name="T47" fmla="*/ 38 h 156"/>
                  <a:gd name="T48" fmla="*/ 116 w 156"/>
                  <a:gd name="T49" fmla="*/ 48 h 156"/>
                  <a:gd name="T50" fmla="*/ 122 w 156"/>
                  <a:gd name="T51" fmla="*/ 58 h 156"/>
                  <a:gd name="T52" fmla="*/ 128 w 156"/>
                  <a:gd name="T53" fmla="*/ 64 h 156"/>
                  <a:gd name="T54" fmla="*/ 136 w 156"/>
                  <a:gd name="T55" fmla="*/ 86 h 156"/>
                  <a:gd name="T56" fmla="*/ 154 w 156"/>
                  <a:gd name="T57" fmla="*/ 118 h 156"/>
                  <a:gd name="T58" fmla="*/ 156 w 156"/>
                  <a:gd name="T59" fmla="*/ 124 h 156"/>
                  <a:gd name="T60" fmla="*/ 156 w 156"/>
                  <a:gd name="T61" fmla="*/ 138 h 156"/>
                  <a:gd name="T62" fmla="*/ 148 w 156"/>
                  <a:gd name="T63" fmla="*/ 138 h 156"/>
                  <a:gd name="T64" fmla="*/ 130 w 156"/>
                  <a:gd name="T65" fmla="*/ 156 h 156"/>
                  <a:gd name="T66" fmla="*/ 122 w 156"/>
                  <a:gd name="T67" fmla="*/ 150 h 156"/>
                  <a:gd name="T68" fmla="*/ 4 w 156"/>
                  <a:gd name="T69" fmla="*/ 148 h 156"/>
                  <a:gd name="T70" fmla="*/ 4 w 156"/>
                  <a:gd name="T71" fmla="*/ 34 h 156"/>
                  <a:gd name="T72" fmla="*/ 0 w 156"/>
                  <a:gd name="T73" fmla="*/ 32 h 156"/>
                  <a:gd name="T74" fmla="*/ 0 w 156"/>
                  <a:gd name="T75" fmla="*/ 20 h 156"/>
                  <a:gd name="T76" fmla="*/ 4 w 156"/>
                  <a:gd name="T77" fmla="*/ 18 h 156"/>
                  <a:gd name="T78" fmla="*/ 4 w 156"/>
                  <a:gd name="T7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6" h="156">
                    <a:moveTo>
                      <a:pt x="4" y="0"/>
                    </a:moveTo>
                    <a:lnTo>
                      <a:pt x="14" y="2"/>
                    </a:lnTo>
                    <a:lnTo>
                      <a:pt x="20" y="0"/>
                    </a:lnTo>
                    <a:lnTo>
                      <a:pt x="42" y="10"/>
                    </a:lnTo>
                    <a:lnTo>
                      <a:pt x="60" y="14"/>
                    </a:lnTo>
                    <a:lnTo>
                      <a:pt x="72" y="12"/>
                    </a:lnTo>
                    <a:lnTo>
                      <a:pt x="82" y="6"/>
                    </a:lnTo>
                    <a:lnTo>
                      <a:pt x="102" y="4"/>
                    </a:lnTo>
                    <a:lnTo>
                      <a:pt x="110" y="10"/>
                    </a:lnTo>
                    <a:lnTo>
                      <a:pt x="122" y="8"/>
                    </a:lnTo>
                    <a:lnTo>
                      <a:pt x="136" y="10"/>
                    </a:lnTo>
                    <a:lnTo>
                      <a:pt x="140" y="18"/>
                    </a:lnTo>
                    <a:lnTo>
                      <a:pt x="146" y="36"/>
                    </a:lnTo>
                    <a:lnTo>
                      <a:pt x="142" y="40"/>
                    </a:lnTo>
                    <a:lnTo>
                      <a:pt x="138" y="50"/>
                    </a:lnTo>
                    <a:lnTo>
                      <a:pt x="136" y="60"/>
                    </a:lnTo>
                    <a:lnTo>
                      <a:pt x="132" y="62"/>
                    </a:lnTo>
                    <a:lnTo>
                      <a:pt x="126" y="54"/>
                    </a:lnTo>
                    <a:lnTo>
                      <a:pt x="122" y="42"/>
                    </a:lnTo>
                    <a:lnTo>
                      <a:pt x="118" y="36"/>
                    </a:lnTo>
                    <a:lnTo>
                      <a:pt x="114" y="24"/>
                    </a:lnTo>
                    <a:lnTo>
                      <a:pt x="110" y="14"/>
                    </a:lnTo>
                    <a:lnTo>
                      <a:pt x="110" y="20"/>
                    </a:lnTo>
                    <a:lnTo>
                      <a:pt x="112" y="38"/>
                    </a:lnTo>
                    <a:lnTo>
                      <a:pt x="116" y="48"/>
                    </a:lnTo>
                    <a:lnTo>
                      <a:pt x="122" y="58"/>
                    </a:lnTo>
                    <a:lnTo>
                      <a:pt x="128" y="64"/>
                    </a:lnTo>
                    <a:lnTo>
                      <a:pt x="136" y="86"/>
                    </a:lnTo>
                    <a:lnTo>
                      <a:pt x="154" y="118"/>
                    </a:lnTo>
                    <a:lnTo>
                      <a:pt x="156" y="124"/>
                    </a:lnTo>
                    <a:lnTo>
                      <a:pt x="156" y="138"/>
                    </a:lnTo>
                    <a:lnTo>
                      <a:pt x="148" y="138"/>
                    </a:lnTo>
                    <a:lnTo>
                      <a:pt x="130" y="156"/>
                    </a:lnTo>
                    <a:lnTo>
                      <a:pt x="122" y="150"/>
                    </a:lnTo>
                    <a:lnTo>
                      <a:pt x="4" y="148"/>
                    </a:lnTo>
                    <a:lnTo>
                      <a:pt x="4" y="34"/>
                    </a:lnTo>
                    <a:lnTo>
                      <a:pt x="0" y="32"/>
                    </a:lnTo>
                    <a:lnTo>
                      <a:pt x="0" y="20"/>
                    </a:lnTo>
                    <a:lnTo>
                      <a:pt x="4" y="18"/>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0" name="Freeform 340"/>
              <p:cNvSpPr>
                <a:spLocks/>
              </p:cNvSpPr>
              <p:nvPr/>
            </p:nvSpPr>
            <p:spPr bwMode="auto">
              <a:xfrm>
                <a:off x="3209" y="2053"/>
                <a:ext cx="164" cy="164"/>
              </a:xfrm>
              <a:custGeom>
                <a:avLst/>
                <a:gdLst>
                  <a:gd name="T0" fmla="*/ 8 w 164"/>
                  <a:gd name="T1" fmla="*/ 0 h 164"/>
                  <a:gd name="T2" fmla="*/ 6 w 164"/>
                  <a:gd name="T3" fmla="*/ 0 h 164"/>
                  <a:gd name="T4" fmla="*/ 4 w 164"/>
                  <a:gd name="T5" fmla="*/ 20 h 164"/>
                  <a:gd name="T6" fmla="*/ 0 w 164"/>
                  <a:gd name="T7" fmla="*/ 22 h 164"/>
                  <a:gd name="T8" fmla="*/ 0 w 164"/>
                  <a:gd name="T9" fmla="*/ 26 h 164"/>
                  <a:gd name="T10" fmla="*/ 0 w 164"/>
                  <a:gd name="T11" fmla="*/ 36 h 164"/>
                  <a:gd name="T12" fmla="*/ 4 w 164"/>
                  <a:gd name="T13" fmla="*/ 40 h 164"/>
                  <a:gd name="T14" fmla="*/ 4 w 164"/>
                  <a:gd name="T15" fmla="*/ 152 h 164"/>
                  <a:gd name="T16" fmla="*/ 8 w 164"/>
                  <a:gd name="T17" fmla="*/ 156 h 164"/>
                  <a:gd name="T18" fmla="*/ 132 w 164"/>
                  <a:gd name="T19" fmla="*/ 164 h 164"/>
                  <a:gd name="T20" fmla="*/ 134 w 164"/>
                  <a:gd name="T21" fmla="*/ 164 h 164"/>
                  <a:gd name="T22" fmla="*/ 138 w 164"/>
                  <a:gd name="T23" fmla="*/ 162 h 164"/>
                  <a:gd name="T24" fmla="*/ 160 w 164"/>
                  <a:gd name="T25" fmla="*/ 146 h 164"/>
                  <a:gd name="T26" fmla="*/ 162 w 164"/>
                  <a:gd name="T27" fmla="*/ 144 h 164"/>
                  <a:gd name="T28" fmla="*/ 164 w 164"/>
                  <a:gd name="T29" fmla="*/ 128 h 164"/>
                  <a:gd name="T30" fmla="*/ 164 w 164"/>
                  <a:gd name="T31" fmla="*/ 126 h 164"/>
                  <a:gd name="T32" fmla="*/ 162 w 164"/>
                  <a:gd name="T33" fmla="*/ 120 h 164"/>
                  <a:gd name="T34" fmla="*/ 144 w 164"/>
                  <a:gd name="T35" fmla="*/ 90 h 164"/>
                  <a:gd name="T36" fmla="*/ 138 w 164"/>
                  <a:gd name="T37" fmla="*/ 70 h 164"/>
                  <a:gd name="T38" fmla="*/ 142 w 164"/>
                  <a:gd name="T39" fmla="*/ 66 h 164"/>
                  <a:gd name="T40" fmla="*/ 144 w 164"/>
                  <a:gd name="T41" fmla="*/ 64 h 164"/>
                  <a:gd name="T42" fmla="*/ 150 w 164"/>
                  <a:gd name="T43" fmla="*/ 46 h 164"/>
                  <a:gd name="T44" fmla="*/ 154 w 164"/>
                  <a:gd name="T45" fmla="*/ 42 h 164"/>
                  <a:gd name="T46" fmla="*/ 154 w 164"/>
                  <a:gd name="T47" fmla="*/ 38 h 164"/>
                  <a:gd name="T48" fmla="*/ 144 w 164"/>
                  <a:gd name="T49" fmla="*/ 12 h 164"/>
                  <a:gd name="T50" fmla="*/ 140 w 164"/>
                  <a:gd name="T51" fmla="*/ 10 h 164"/>
                  <a:gd name="T52" fmla="*/ 126 w 164"/>
                  <a:gd name="T53" fmla="*/ 8 h 164"/>
                  <a:gd name="T54" fmla="*/ 126 w 164"/>
                  <a:gd name="T55" fmla="*/ 8 h 164"/>
                  <a:gd name="T56" fmla="*/ 114 w 164"/>
                  <a:gd name="T57" fmla="*/ 10 h 164"/>
                  <a:gd name="T58" fmla="*/ 108 w 164"/>
                  <a:gd name="T59" fmla="*/ 6 h 164"/>
                  <a:gd name="T60" fmla="*/ 106 w 164"/>
                  <a:gd name="T61" fmla="*/ 4 h 164"/>
                  <a:gd name="T62" fmla="*/ 84 w 164"/>
                  <a:gd name="T63" fmla="*/ 6 h 164"/>
                  <a:gd name="T64" fmla="*/ 82 w 164"/>
                  <a:gd name="T65" fmla="*/ 6 h 164"/>
                  <a:gd name="T66" fmla="*/ 64 w 164"/>
                  <a:gd name="T67" fmla="*/ 14 h 164"/>
                  <a:gd name="T68" fmla="*/ 26 w 164"/>
                  <a:gd name="T69" fmla="*/ 2 h 164"/>
                  <a:gd name="T70" fmla="*/ 24 w 164"/>
                  <a:gd name="T71" fmla="*/ 0 h 164"/>
                  <a:gd name="T72" fmla="*/ 24 w 164"/>
                  <a:gd name="T73" fmla="*/ 0 h 164"/>
                  <a:gd name="T74" fmla="*/ 10 w 164"/>
                  <a:gd name="T75" fmla="*/ 0 h 164"/>
                  <a:gd name="T76" fmla="*/ 8 w 164"/>
                  <a:gd name="T7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 h="164">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1" name="Freeform 341"/>
              <p:cNvSpPr>
                <a:spLocks/>
              </p:cNvSpPr>
              <p:nvPr/>
            </p:nvSpPr>
            <p:spPr bwMode="auto">
              <a:xfrm>
                <a:off x="3331" y="2101"/>
                <a:ext cx="2" cy="4"/>
              </a:xfrm>
              <a:custGeom>
                <a:avLst/>
                <a:gdLst>
                  <a:gd name="T0" fmla="*/ 2 w 2"/>
                  <a:gd name="T1" fmla="*/ 2 h 4"/>
                  <a:gd name="T2" fmla="*/ 0 w 2"/>
                  <a:gd name="T3" fmla="*/ 0 h 4"/>
                  <a:gd name="T4" fmla="*/ 2 w 2"/>
                  <a:gd name="T5" fmla="*/ 0 h 4"/>
                  <a:gd name="T6" fmla="*/ 2 w 2"/>
                  <a:gd name="T7" fmla="*/ 4 h 4"/>
                  <a:gd name="T8" fmla="*/ 2 w 2"/>
                  <a:gd name="T9" fmla="*/ 2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0" y="0"/>
                    </a:lnTo>
                    <a:lnTo>
                      <a:pt x="2" y="0"/>
                    </a:lnTo>
                    <a:lnTo>
                      <a:pt x="2"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2" name="Freeform 342"/>
              <p:cNvSpPr>
                <a:spLocks/>
              </p:cNvSpPr>
              <p:nvPr/>
            </p:nvSpPr>
            <p:spPr bwMode="auto">
              <a:xfrm>
                <a:off x="2997" y="2037"/>
                <a:ext cx="222" cy="200"/>
              </a:xfrm>
              <a:custGeom>
                <a:avLst/>
                <a:gdLst>
                  <a:gd name="T0" fmla="*/ 88 w 222"/>
                  <a:gd name="T1" fmla="*/ 154 h 200"/>
                  <a:gd name="T2" fmla="*/ 72 w 222"/>
                  <a:gd name="T3" fmla="*/ 164 h 200"/>
                  <a:gd name="T4" fmla="*/ 72 w 222"/>
                  <a:gd name="T5" fmla="*/ 164 h 200"/>
                  <a:gd name="T6" fmla="*/ 70 w 222"/>
                  <a:gd name="T7" fmla="*/ 162 h 200"/>
                  <a:gd name="T8" fmla="*/ 54 w 222"/>
                  <a:gd name="T9" fmla="*/ 152 h 200"/>
                  <a:gd name="T10" fmla="*/ 40 w 222"/>
                  <a:gd name="T11" fmla="*/ 150 h 200"/>
                  <a:gd name="T12" fmla="*/ 34 w 222"/>
                  <a:gd name="T13" fmla="*/ 144 h 200"/>
                  <a:gd name="T14" fmla="*/ 14 w 222"/>
                  <a:gd name="T15" fmla="*/ 136 h 200"/>
                  <a:gd name="T16" fmla="*/ 12 w 222"/>
                  <a:gd name="T17" fmla="*/ 134 h 200"/>
                  <a:gd name="T18" fmla="*/ 0 w 222"/>
                  <a:gd name="T19" fmla="*/ 106 h 200"/>
                  <a:gd name="T20" fmla="*/ 2 w 222"/>
                  <a:gd name="T21" fmla="*/ 102 h 200"/>
                  <a:gd name="T22" fmla="*/ 8 w 222"/>
                  <a:gd name="T23" fmla="*/ 60 h 200"/>
                  <a:gd name="T24" fmla="*/ 4 w 222"/>
                  <a:gd name="T25" fmla="*/ 46 h 200"/>
                  <a:gd name="T26" fmla="*/ 10 w 222"/>
                  <a:gd name="T27" fmla="*/ 38 h 200"/>
                  <a:gd name="T28" fmla="*/ 10 w 222"/>
                  <a:gd name="T29" fmla="*/ 26 h 200"/>
                  <a:gd name="T30" fmla="*/ 30 w 222"/>
                  <a:gd name="T31" fmla="*/ 12 h 200"/>
                  <a:gd name="T32" fmla="*/ 32 w 222"/>
                  <a:gd name="T33" fmla="*/ 2 h 200"/>
                  <a:gd name="T34" fmla="*/ 32 w 222"/>
                  <a:gd name="T35" fmla="*/ 0 h 200"/>
                  <a:gd name="T36" fmla="*/ 34 w 222"/>
                  <a:gd name="T37" fmla="*/ 0 h 200"/>
                  <a:gd name="T38" fmla="*/ 34 w 222"/>
                  <a:gd name="T39" fmla="*/ 0 h 200"/>
                  <a:gd name="T40" fmla="*/ 72 w 222"/>
                  <a:gd name="T41" fmla="*/ 8 h 200"/>
                  <a:gd name="T42" fmla="*/ 84 w 222"/>
                  <a:gd name="T43" fmla="*/ 14 h 200"/>
                  <a:gd name="T44" fmla="*/ 90 w 222"/>
                  <a:gd name="T45" fmla="*/ 26 h 200"/>
                  <a:gd name="T46" fmla="*/ 112 w 222"/>
                  <a:gd name="T47" fmla="*/ 30 h 200"/>
                  <a:gd name="T48" fmla="*/ 114 w 222"/>
                  <a:gd name="T49" fmla="*/ 30 h 200"/>
                  <a:gd name="T50" fmla="*/ 140 w 222"/>
                  <a:gd name="T51" fmla="*/ 48 h 200"/>
                  <a:gd name="T52" fmla="*/ 152 w 222"/>
                  <a:gd name="T53" fmla="*/ 30 h 200"/>
                  <a:gd name="T54" fmla="*/ 148 w 222"/>
                  <a:gd name="T55" fmla="*/ 22 h 200"/>
                  <a:gd name="T56" fmla="*/ 156 w 222"/>
                  <a:gd name="T57" fmla="*/ 12 h 200"/>
                  <a:gd name="T58" fmla="*/ 170 w 222"/>
                  <a:gd name="T59" fmla="*/ 6 h 200"/>
                  <a:gd name="T60" fmla="*/ 170 w 222"/>
                  <a:gd name="T61" fmla="*/ 6 h 200"/>
                  <a:gd name="T62" fmla="*/ 186 w 222"/>
                  <a:gd name="T63" fmla="*/ 8 h 200"/>
                  <a:gd name="T64" fmla="*/ 198 w 222"/>
                  <a:gd name="T65" fmla="*/ 14 h 200"/>
                  <a:gd name="T66" fmla="*/ 220 w 222"/>
                  <a:gd name="T67" fmla="*/ 22 h 200"/>
                  <a:gd name="T68" fmla="*/ 222 w 222"/>
                  <a:gd name="T69" fmla="*/ 24 h 200"/>
                  <a:gd name="T70" fmla="*/ 222 w 222"/>
                  <a:gd name="T71" fmla="*/ 42 h 200"/>
                  <a:gd name="T72" fmla="*/ 218 w 222"/>
                  <a:gd name="T73" fmla="*/ 46 h 200"/>
                  <a:gd name="T74" fmla="*/ 222 w 222"/>
                  <a:gd name="T75" fmla="*/ 56 h 200"/>
                  <a:gd name="T76" fmla="*/ 222 w 222"/>
                  <a:gd name="T77" fmla="*/ 58 h 200"/>
                  <a:gd name="T78" fmla="*/ 222 w 222"/>
                  <a:gd name="T79" fmla="*/ 198 h 200"/>
                  <a:gd name="T80" fmla="*/ 204 w 222"/>
                  <a:gd name="T8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2" h="200">
                    <a:moveTo>
                      <a:pt x="204" y="200"/>
                    </a:moveTo>
                    <a:lnTo>
                      <a:pt x="88" y="154"/>
                    </a:lnTo>
                    <a:lnTo>
                      <a:pt x="84" y="158"/>
                    </a:lnTo>
                    <a:lnTo>
                      <a:pt x="72" y="164"/>
                    </a:lnTo>
                    <a:lnTo>
                      <a:pt x="72" y="164"/>
                    </a:lnTo>
                    <a:lnTo>
                      <a:pt x="72" y="164"/>
                    </a:lnTo>
                    <a:lnTo>
                      <a:pt x="72" y="164"/>
                    </a:lnTo>
                    <a:lnTo>
                      <a:pt x="70" y="162"/>
                    </a:lnTo>
                    <a:lnTo>
                      <a:pt x="62" y="156"/>
                    </a:lnTo>
                    <a:lnTo>
                      <a:pt x="54" y="152"/>
                    </a:lnTo>
                    <a:lnTo>
                      <a:pt x="40" y="150"/>
                    </a:lnTo>
                    <a:lnTo>
                      <a:pt x="40" y="150"/>
                    </a:lnTo>
                    <a:lnTo>
                      <a:pt x="38" y="148"/>
                    </a:lnTo>
                    <a:lnTo>
                      <a:pt x="34" y="144"/>
                    </a:lnTo>
                    <a:lnTo>
                      <a:pt x="30" y="136"/>
                    </a:lnTo>
                    <a:lnTo>
                      <a:pt x="14" y="136"/>
                    </a:lnTo>
                    <a:lnTo>
                      <a:pt x="14" y="136"/>
                    </a:lnTo>
                    <a:lnTo>
                      <a:pt x="12" y="134"/>
                    </a:lnTo>
                    <a:lnTo>
                      <a:pt x="8" y="124"/>
                    </a:lnTo>
                    <a:lnTo>
                      <a:pt x="0" y="106"/>
                    </a:lnTo>
                    <a:lnTo>
                      <a:pt x="0" y="106"/>
                    </a:lnTo>
                    <a:lnTo>
                      <a:pt x="2" y="102"/>
                    </a:lnTo>
                    <a:lnTo>
                      <a:pt x="8" y="100"/>
                    </a:lnTo>
                    <a:lnTo>
                      <a:pt x="8" y="60"/>
                    </a:lnTo>
                    <a:lnTo>
                      <a:pt x="4" y="46"/>
                    </a:lnTo>
                    <a:lnTo>
                      <a:pt x="4" y="46"/>
                    </a:lnTo>
                    <a:lnTo>
                      <a:pt x="4" y="44"/>
                    </a:lnTo>
                    <a:lnTo>
                      <a:pt x="10" y="38"/>
                    </a:lnTo>
                    <a:lnTo>
                      <a:pt x="10" y="26"/>
                    </a:lnTo>
                    <a:lnTo>
                      <a:pt x="10" y="26"/>
                    </a:lnTo>
                    <a:lnTo>
                      <a:pt x="12" y="24"/>
                    </a:lnTo>
                    <a:lnTo>
                      <a:pt x="30" y="12"/>
                    </a:lnTo>
                    <a:lnTo>
                      <a:pt x="32" y="10"/>
                    </a:lnTo>
                    <a:lnTo>
                      <a:pt x="32" y="2"/>
                    </a:lnTo>
                    <a:lnTo>
                      <a:pt x="32" y="2"/>
                    </a:lnTo>
                    <a:lnTo>
                      <a:pt x="32" y="0"/>
                    </a:lnTo>
                    <a:lnTo>
                      <a:pt x="32" y="0"/>
                    </a:lnTo>
                    <a:lnTo>
                      <a:pt x="34" y="0"/>
                    </a:lnTo>
                    <a:lnTo>
                      <a:pt x="34" y="0"/>
                    </a:lnTo>
                    <a:lnTo>
                      <a:pt x="34" y="0"/>
                    </a:lnTo>
                    <a:lnTo>
                      <a:pt x="48" y="4"/>
                    </a:lnTo>
                    <a:lnTo>
                      <a:pt x="72" y="8"/>
                    </a:lnTo>
                    <a:lnTo>
                      <a:pt x="84" y="14"/>
                    </a:lnTo>
                    <a:lnTo>
                      <a:pt x="84" y="14"/>
                    </a:lnTo>
                    <a:lnTo>
                      <a:pt x="86" y="16"/>
                    </a:lnTo>
                    <a:lnTo>
                      <a:pt x="90" y="26"/>
                    </a:lnTo>
                    <a:lnTo>
                      <a:pt x="96" y="30"/>
                    </a:lnTo>
                    <a:lnTo>
                      <a:pt x="112" y="30"/>
                    </a:lnTo>
                    <a:lnTo>
                      <a:pt x="112" y="30"/>
                    </a:lnTo>
                    <a:lnTo>
                      <a:pt x="114" y="30"/>
                    </a:lnTo>
                    <a:lnTo>
                      <a:pt x="124" y="38"/>
                    </a:lnTo>
                    <a:lnTo>
                      <a:pt x="140" y="48"/>
                    </a:lnTo>
                    <a:lnTo>
                      <a:pt x="150" y="36"/>
                    </a:lnTo>
                    <a:lnTo>
                      <a:pt x="152" y="30"/>
                    </a:lnTo>
                    <a:lnTo>
                      <a:pt x="148" y="22"/>
                    </a:lnTo>
                    <a:lnTo>
                      <a:pt x="148" y="22"/>
                    </a:lnTo>
                    <a:lnTo>
                      <a:pt x="148" y="20"/>
                    </a:lnTo>
                    <a:lnTo>
                      <a:pt x="156" y="12"/>
                    </a:lnTo>
                    <a:lnTo>
                      <a:pt x="170" y="6"/>
                    </a:lnTo>
                    <a:lnTo>
                      <a:pt x="170" y="6"/>
                    </a:lnTo>
                    <a:lnTo>
                      <a:pt x="170" y="6"/>
                    </a:lnTo>
                    <a:lnTo>
                      <a:pt x="170" y="6"/>
                    </a:lnTo>
                    <a:lnTo>
                      <a:pt x="186" y="8"/>
                    </a:lnTo>
                    <a:lnTo>
                      <a:pt x="186" y="8"/>
                    </a:lnTo>
                    <a:lnTo>
                      <a:pt x="186" y="8"/>
                    </a:lnTo>
                    <a:lnTo>
                      <a:pt x="198" y="14"/>
                    </a:lnTo>
                    <a:lnTo>
                      <a:pt x="210" y="20"/>
                    </a:lnTo>
                    <a:lnTo>
                      <a:pt x="220" y="22"/>
                    </a:lnTo>
                    <a:lnTo>
                      <a:pt x="220" y="22"/>
                    </a:lnTo>
                    <a:lnTo>
                      <a:pt x="222" y="24"/>
                    </a:lnTo>
                    <a:lnTo>
                      <a:pt x="222" y="42"/>
                    </a:lnTo>
                    <a:lnTo>
                      <a:pt x="222" y="42"/>
                    </a:lnTo>
                    <a:lnTo>
                      <a:pt x="222" y="42"/>
                    </a:lnTo>
                    <a:lnTo>
                      <a:pt x="218" y="46"/>
                    </a:lnTo>
                    <a:lnTo>
                      <a:pt x="218" y="54"/>
                    </a:lnTo>
                    <a:lnTo>
                      <a:pt x="222" y="56"/>
                    </a:lnTo>
                    <a:lnTo>
                      <a:pt x="222" y="56"/>
                    </a:lnTo>
                    <a:lnTo>
                      <a:pt x="222" y="58"/>
                    </a:lnTo>
                    <a:lnTo>
                      <a:pt x="222" y="198"/>
                    </a:lnTo>
                    <a:lnTo>
                      <a:pt x="222" y="198"/>
                    </a:lnTo>
                    <a:lnTo>
                      <a:pt x="220" y="200"/>
                    </a:lnTo>
                    <a:lnTo>
                      <a:pt x="204"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3" name="Freeform 343"/>
              <p:cNvSpPr>
                <a:spLocks noEditPoints="1"/>
              </p:cNvSpPr>
              <p:nvPr/>
            </p:nvSpPr>
            <p:spPr bwMode="auto">
              <a:xfrm>
                <a:off x="2995" y="2035"/>
                <a:ext cx="226" cy="204"/>
              </a:xfrm>
              <a:custGeom>
                <a:avLst/>
                <a:gdLst>
                  <a:gd name="T0" fmla="*/ 74 w 226"/>
                  <a:gd name="T1" fmla="*/ 12 h 204"/>
                  <a:gd name="T2" fmla="*/ 98 w 226"/>
                  <a:gd name="T3" fmla="*/ 34 h 204"/>
                  <a:gd name="T4" fmla="*/ 142 w 226"/>
                  <a:gd name="T5" fmla="*/ 52 h 204"/>
                  <a:gd name="T6" fmla="*/ 150 w 226"/>
                  <a:gd name="T7" fmla="*/ 24 h 204"/>
                  <a:gd name="T8" fmla="*/ 188 w 226"/>
                  <a:gd name="T9" fmla="*/ 12 h 204"/>
                  <a:gd name="T10" fmla="*/ 222 w 226"/>
                  <a:gd name="T11" fmla="*/ 26 h 204"/>
                  <a:gd name="T12" fmla="*/ 220 w 226"/>
                  <a:gd name="T13" fmla="*/ 58 h 204"/>
                  <a:gd name="T14" fmla="*/ 222 w 226"/>
                  <a:gd name="T15" fmla="*/ 200 h 204"/>
                  <a:gd name="T16" fmla="*/ 84 w 226"/>
                  <a:gd name="T17" fmla="*/ 158 h 204"/>
                  <a:gd name="T18" fmla="*/ 56 w 226"/>
                  <a:gd name="T19" fmla="*/ 152 h 204"/>
                  <a:gd name="T20" fmla="*/ 34 w 226"/>
                  <a:gd name="T21" fmla="*/ 136 h 204"/>
                  <a:gd name="T22" fmla="*/ 8 w 226"/>
                  <a:gd name="T23" fmla="*/ 116 h 204"/>
                  <a:gd name="T24" fmla="*/ 12 w 226"/>
                  <a:gd name="T25" fmla="*/ 62 h 204"/>
                  <a:gd name="T26" fmla="*/ 14 w 226"/>
                  <a:gd name="T27" fmla="*/ 28 h 204"/>
                  <a:gd name="T28" fmla="*/ 36 w 226"/>
                  <a:gd name="T29" fmla="*/ 4 h 204"/>
                  <a:gd name="T30" fmla="*/ 32 w 226"/>
                  <a:gd name="T31" fmla="*/ 2 h 204"/>
                  <a:gd name="T32" fmla="*/ 32 w 226"/>
                  <a:gd name="T33" fmla="*/ 12 h 204"/>
                  <a:gd name="T34" fmla="*/ 12 w 226"/>
                  <a:gd name="T35" fmla="*/ 24 h 204"/>
                  <a:gd name="T36" fmla="*/ 6 w 226"/>
                  <a:gd name="T37" fmla="*/ 44 h 204"/>
                  <a:gd name="T38" fmla="*/ 4 w 226"/>
                  <a:gd name="T39" fmla="*/ 48 h 204"/>
                  <a:gd name="T40" fmla="*/ 2 w 226"/>
                  <a:gd name="T41" fmla="*/ 104 h 204"/>
                  <a:gd name="T42" fmla="*/ 0 w 226"/>
                  <a:gd name="T43" fmla="*/ 108 h 204"/>
                  <a:gd name="T44" fmla="*/ 14 w 226"/>
                  <a:gd name="T45" fmla="*/ 136 h 204"/>
                  <a:gd name="T46" fmla="*/ 30 w 226"/>
                  <a:gd name="T47" fmla="*/ 140 h 204"/>
                  <a:gd name="T48" fmla="*/ 34 w 226"/>
                  <a:gd name="T49" fmla="*/ 146 h 204"/>
                  <a:gd name="T50" fmla="*/ 42 w 226"/>
                  <a:gd name="T51" fmla="*/ 154 h 204"/>
                  <a:gd name="T52" fmla="*/ 72 w 226"/>
                  <a:gd name="T53" fmla="*/ 166 h 204"/>
                  <a:gd name="T54" fmla="*/ 74 w 226"/>
                  <a:gd name="T55" fmla="*/ 168 h 204"/>
                  <a:gd name="T56" fmla="*/ 86 w 226"/>
                  <a:gd name="T57" fmla="*/ 162 h 204"/>
                  <a:gd name="T58" fmla="*/ 206 w 226"/>
                  <a:gd name="T59" fmla="*/ 204 h 204"/>
                  <a:gd name="T60" fmla="*/ 222 w 226"/>
                  <a:gd name="T61" fmla="*/ 204 h 204"/>
                  <a:gd name="T62" fmla="*/ 226 w 226"/>
                  <a:gd name="T63" fmla="*/ 200 h 204"/>
                  <a:gd name="T64" fmla="*/ 226 w 226"/>
                  <a:gd name="T65" fmla="*/ 60 h 204"/>
                  <a:gd name="T66" fmla="*/ 222 w 226"/>
                  <a:gd name="T67" fmla="*/ 48 h 204"/>
                  <a:gd name="T68" fmla="*/ 226 w 226"/>
                  <a:gd name="T69" fmla="*/ 44 h 204"/>
                  <a:gd name="T70" fmla="*/ 226 w 226"/>
                  <a:gd name="T71" fmla="*/ 22 h 204"/>
                  <a:gd name="T72" fmla="*/ 202 w 226"/>
                  <a:gd name="T73" fmla="*/ 14 h 204"/>
                  <a:gd name="T74" fmla="*/ 188 w 226"/>
                  <a:gd name="T75" fmla="*/ 8 h 204"/>
                  <a:gd name="T76" fmla="*/ 172 w 226"/>
                  <a:gd name="T77" fmla="*/ 6 h 204"/>
                  <a:gd name="T78" fmla="*/ 158 w 226"/>
                  <a:gd name="T79" fmla="*/ 12 h 204"/>
                  <a:gd name="T80" fmla="*/ 148 w 226"/>
                  <a:gd name="T81" fmla="*/ 20 h 204"/>
                  <a:gd name="T82" fmla="*/ 148 w 226"/>
                  <a:gd name="T83" fmla="*/ 26 h 204"/>
                  <a:gd name="T84" fmla="*/ 142 w 226"/>
                  <a:gd name="T85" fmla="*/ 46 h 204"/>
                  <a:gd name="T86" fmla="*/ 116 w 226"/>
                  <a:gd name="T87" fmla="*/ 30 h 204"/>
                  <a:gd name="T88" fmla="*/ 94 w 226"/>
                  <a:gd name="T89" fmla="*/ 26 h 204"/>
                  <a:gd name="T90" fmla="*/ 88 w 226"/>
                  <a:gd name="T91" fmla="*/ 14 h 204"/>
                  <a:gd name="T92" fmla="*/ 74 w 226"/>
                  <a:gd name="T93" fmla="*/ 8 h 204"/>
                  <a:gd name="T94" fmla="*/ 36 w 226"/>
                  <a:gd name="T9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204">
                    <a:moveTo>
                      <a:pt x="36" y="4"/>
                    </a:moveTo>
                    <a:lnTo>
                      <a:pt x="50" y="8"/>
                    </a:lnTo>
                    <a:lnTo>
                      <a:pt x="74" y="12"/>
                    </a:lnTo>
                    <a:lnTo>
                      <a:pt x="86" y="18"/>
                    </a:lnTo>
                    <a:lnTo>
                      <a:pt x="92" y="28"/>
                    </a:lnTo>
                    <a:lnTo>
                      <a:pt x="98" y="34"/>
                    </a:lnTo>
                    <a:lnTo>
                      <a:pt x="114" y="34"/>
                    </a:lnTo>
                    <a:lnTo>
                      <a:pt x="124" y="42"/>
                    </a:lnTo>
                    <a:lnTo>
                      <a:pt x="142" y="52"/>
                    </a:lnTo>
                    <a:lnTo>
                      <a:pt x="154" y="40"/>
                    </a:lnTo>
                    <a:lnTo>
                      <a:pt x="156" y="30"/>
                    </a:lnTo>
                    <a:lnTo>
                      <a:pt x="150" y="24"/>
                    </a:lnTo>
                    <a:lnTo>
                      <a:pt x="160" y="14"/>
                    </a:lnTo>
                    <a:lnTo>
                      <a:pt x="172" y="10"/>
                    </a:lnTo>
                    <a:lnTo>
                      <a:pt x="188" y="12"/>
                    </a:lnTo>
                    <a:lnTo>
                      <a:pt x="200" y="18"/>
                    </a:lnTo>
                    <a:lnTo>
                      <a:pt x="212" y="24"/>
                    </a:lnTo>
                    <a:lnTo>
                      <a:pt x="222" y="26"/>
                    </a:lnTo>
                    <a:lnTo>
                      <a:pt x="222" y="44"/>
                    </a:lnTo>
                    <a:lnTo>
                      <a:pt x="218" y="46"/>
                    </a:lnTo>
                    <a:lnTo>
                      <a:pt x="220" y="58"/>
                    </a:lnTo>
                    <a:lnTo>
                      <a:pt x="222" y="60"/>
                    </a:lnTo>
                    <a:lnTo>
                      <a:pt x="222" y="170"/>
                    </a:lnTo>
                    <a:lnTo>
                      <a:pt x="222" y="200"/>
                    </a:lnTo>
                    <a:lnTo>
                      <a:pt x="206" y="200"/>
                    </a:lnTo>
                    <a:lnTo>
                      <a:pt x="90" y="152"/>
                    </a:lnTo>
                    <a:lnTo>
                      <a:pt x="84" y="158"/>
                    </a:lnTo>
                    <a:lnTo>
                      <a:pt x="74" y="164"/>
                    </a:lnTo>
                    <a:lnTo>
                      <a:pt x="64" y="156"/>
                    </a:lnTo>
                    <a:lnTo>
                      <a:pt x="56" y="152"/>
                    </a:lnTo>
                    <a:lnTo>
                      <a:pt x="42" y="150"/>
                    </a:lnTo>
                    <a:lnTo>
                      <a:pt x="36" y="144"/>
                    </a:lnTo>
                    <a:lnTo>
                      <a:pt x="34" y="136"/>
                    </a:lnTo>
                    <a:lnTo>
                      <a:pt x="16" y="136"/>
                    </a:lnTo>
                    <a:lnTo>
                      <a:pt x="12" y="124"/>
                    </a:lnTo>
                    <a:lnTo>
                      <a:pt x="8" y="116"/>
                    </a:lnTo>
                    <a:lnTo>
                      <a:pt x="4" y="106"/>
                    </a:lnTo>
                    <a:lnTo>
                      <a:pt x="12" y="104"/>
                    </a:lnTo>
                    <a:lnTo>
                      <a:pt x="12" y="62"/>
                    </a:lnTo>
                    <a:lnTo>
                      <a:pt x="8" y="46"/>
                    </a:lnTo>
                    <a:lnTo>
                      <a:pt x="14" y="42"/>
                    </a:lnTo>
                    <a:lnTo>
                      <a:pt x="14" y="28"/>
                    </a:lnTo>
                    <a:lnTo>
                      <a:pt x="34" y="14"/>
                    </a:lnTo>
                    <a:lnTo>
                      <a:pt x="36" y="14"/>
                    </a:lnTo>
                    <a:lnTo>
                      <a:pt x="36" y="4"/>
                    </a:lnTo>
                    <a:close/>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4" name="Freeform 344"/>
              <p:cNvSpPr>
                <a:spLocks/>
              </p:cNvSpPr>
              <p:nvPr/>
            </p:nvSpPr>
            <p:spPr bwMode="auto">
              <a:xfrm>
                <a:off x="2999" y="2039"/>
                <a:ext cx="218" cy="196"/>
              </a:xfrm>
              <a:custGeom>
                <a:avLst/>
                <a:gdLst>
                  <a:gd name="T0" fmla="*/ 32 w 218"/>
                  <a:gd name="T1" fmla="*/ 0 h 196"/>
                  <a:gd name="T2" fmla="*/ 46 w 218"/>
                  <a:gd name="T3" fmla="*/ 4 h 196"/>
                  <a:gd name="T4" fmla="*/ 70 w 218"/>
                  <a:gd name="T5" fmla="*/ 8 h 196"/>
                  <a:gd name="T6" fmla="*/ 82 w 218"/>
                  <a:gd name="T7" fmla="*/ 14 h 196"/>
                  <a:gd name="T8" fmla="*/ 88 w 218"/>
                  <a:gd name="T9" fmla="*/ 24 h 196"/>
                  <a:gd name="T10" fmla="*/ 94 w 218"/>
                  <a:gd name="T11" fmla="*/ 30 h 196"/>
                  <a:gd name="T12" fmla="*/ 110 w 218"/>
                  <a:gd name="T13" fmla="*/ 30 h 196"/>
                  <a:gd name="T14" fmla="*/ 120 w 218"/>
                  <a:gd name="T15" fmla="*/ 38 h 196"/>
                  <a:gd name="T16" fmla="*/ 138 w 218"/>
                  <a:gd name="T17" fmla="*/ 48 h 196"/>
                  <a:gd name="T18" fmla="*/ 150 w 218"/>
                  <a:gd name="T19" fmla="*/ 36 h 196"/>
                  <a:gd name="T20" fmla="*/ 152 w 218"/>
                  <a:gd name="T21" fmla="*/ 26 h 196"/>
                  <a:gd name="T22" fmla="*/ 146 w 218"/>
                  <a:gd name="T23" fmla="*/ 20 h 196"/>
                  <a:gd name="T24" fmla="*/ 156 w 218"/>
                  <a:gd name="T25" fmla="*/ 10 h 196"/>
                  <a:gd name="T26" fmla="*/ 168 w 218"/>
                  <a:gd name="T27" fmla="*/ 6 h 196"/>
                  <a:gd name="T28" fmla="*/ 184 w 218"/>
                  <a:gd name="T29" fmla="*/ 8 h 196"/>
                  <a:gd name="T30" fmla="*/ 196 w 218"/>
                  <a:gd name="T31" fmla="*/ 14 h 196"/>
                  <a:gd name="T32" fmla="*/ 208 w 218"/>
                  <a:gd name="T33" fmla="*/ 20 h 196"/>
                  <a:gd name="T34" fmla="*/ 218 w 218"/>
                  <a:gd name="T35" fmla="*/ 22 h 196"/>
                  <a:gd name="T36" fmla="*/ 218 w 218"/>
                  <a:gd name="T37" fmla="*/ 40 h 196"/>
                  <a:gd name="T38" fmla="*/ 214 w 218"/>
                  <a:gd name="T39" fmla="*/ 42 h 196"/>
                  <a:gd name="T40" fmla="*/ 216 w 218"/>
                  <a:gd name="T41" fmla="*/ 54 h 196"/>
                  <a:gd name="T42" fmla="*/ 218 w 218"/>
                  <a:gd name="T43" fmla="*/ 56 h 196"/>
                  <a:gd name="T44" fmla="*/ 218 w 218"/>
                  <a:gd name="T45" fmla="*/ 166 h 196"/>
                  <a:gd name="T46" fmla="*/ 218 w 218"/>
                  <a:gd name="T47" fmla="*/ 196 h 196"/>
                  <a:gd name="T48" fmla="*/ 202 w 218"/>
                  <a:gd name="T49" fmla="*/ 196 h 196"/>
                  <a:gd name="T50" fmla="*/ 86 w 218"/>
                  <a:gd name="T51" fmla="*/ 148 h 196"/>
                  <a:gd name="T52" fmla="*/ 80 w 218"/>
                  <a:gd name="T53" fmla="*/ 154 h 196"/>
                  <a:gd name="T54" fmla="*/ 70 w 218"/>
                  <a:gd name="T55" fmla="*/ 160 h 196"/>
                  <a:gd name="T56" fmla="*/ 60 w 218"/>
                  <a:gd name="T57" fmla="*/ 152 h 196"/>
                  <a:gd name="T58" fmla="*/ 52 w 218"/>
                  <a:gd name="T59" fmla="*/ 148 h 196"/>
                  <a:gd name="T60" fmla="*/ 38 w 218"/>
                  <a:gd name="T61" fmla="*/ 146 h 196"/>
                  <a:gd name="T62" fmla="*/ 32 w 218"/>
                  <a:gd name="T63" fmla="*/ 140 h 196"/>
                  <a:gd name="T64" fmla="*/ 30 w 218"/>
                  <a:gd name="T65" fmla="*/ 132 h 196"/>
                  <a:gd name="T66" fmla="*/ 12 w 218"/>
                  <a:gd name="T67" fmla="*/ 132 h 196"/>
                  <a:gd name="T68" fmla="*/ 8 w 218"/>
                  <a:gd name="T69" fmla="*/ 120 h 196"/>
                  <a:gd name="T70" fmla="*/ 4 w 218"/>
                  <a:gd name="T71" fmla="*/ 112 h 196"/>
                  <a:gd name="T72" fmla="*/ 0 w 218"/>
                  <a:gd name="T73" fmla="*/ 102 h 196"/>
                  <a:gd name="T74" fmla="*/ 8 w 218"/>
                  <a:gd name="T75" fmla="*/ 100 h 196"/>
                  <a:gd name="T76" fmla="*/ 8 w 218"/>
                  <a:gd name="T77" fmla="*/ 58 h 196"/>
                  <a:gd name="T78" fmla="*/ 4 w 218"/>
                  <a:gd name="T79" fmla="*/ 42 h 196"/>
                  <a:gd name="T80" fmla="*/ 10 w 218"/>
                  <a:gd name="T81" fmla="*/ 38 h 196"/>
                  <a:gd name="T82" fmla="*/ 10 w 218"/>
                  <a:gd name="T83" fmla="*/ 24 h 196"/>
                  <a:gd name="T84" fmla="*/ 30 w 218"/>
                  <a:gd name="T85" fmla="*/ 10 h 196"/>
                  <a:gd name="T86" fmla="*/ 32 w 218"/>
                  <a:gd name="T87" fmla="*/ 10 h 196"/>
                  <a:gd name="T88" fmla="*/ 32 w 218"/>
                  <a:gd name="T8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96">
                    <a:moveTo>
                      <a:pt x="32" y="0"/>
                    </a:moveTo>
                    <a:lnTo>
                      <a:pt x="46" y="4"/>
                    </a:lnTo>
                    <a:lnTo>
                      <a:pt x="70" y="8"/>
                    </a:lnTo>
                    <a:lnTo>
                      <a:pt x="82" y="14"/>
                    </a:lnTo>
                    <a:lnTo>
                      <a:pt x="88" y="24"/>
                    </a:lnTo>
                    <a:lnTo>
                      <a:pt x="94" y="30"/>
                    </a:lnTo>
                    <a:lnTo>
                      <a:pt x="110" y="30"/>
                    </a:lnTo>
                    <a:lnTo>
                      <a:pt x="120" y="38"/>
                    </a:lnTo>
                    <a:lnTo>
                      <a:pt x="138" y="48"/>
                    </a:lnTo>
                    <a:lnTo>
                      <a:pt x="150" y="36"/>
                    </a:lnTo>
                    <a:lnTo>
                      <a:pt x="152" y="26"/>
                    </a:lnTo>
                    <a:lnTo>
                      <a:pt x="146" y="20"/>
                    </a:lnTo>
                    <a:lnTo>
                      <a:pt x="156" y="10"/>
                    </a:lnTo>
                    <a:lnTo>
                      <a:pt x="168" y="6"/>
                    </a:lnTo>
                    <a:lnTo>
                      <a:pt x="184" y="8"/>
                    </a:lnTo>
                    <a:lnTo>
                      <a:pt x="196" y="14"/>
                    </a:lnTo>
                    <a:lnTo>
                      <a:pt x="208" y="20"/>
                    </a:lnTo>
                    <a:lnTo>
                      <a:pt x="218" y="22"/>
                    </a:lnTo>
                    <a:lnTo>
                      <a:pt x="218" y="40"/>
                    </a:lnTo>
                    <a:lnTo>
                      <a:pt x="214" y="42"/>
                    </a:lnTo>
                    <a:lnTo>
                      <a:pt x="216" y="54"/>
                    </a:lnTo>
                    <a:lnTo>
                      <a:pt x="218" y="56"/>
                    </a:lnTo>
                    <a:lnTo>
                      <a:pt x="218" y="166"/>
                    </a:lnTo>
                    <a:lnTo>
                      <a:pt x="218" y="196"/>
                    </a:lnTo>
                    <a:lnTo>
                      <a:pt x="202" y="196"/>
                    </a:lnTo>
                    <a:lnTo>
                      <a:pt x="86" y="148"/>
                    </a:lnTo>
                    <a:lnTo>
                      <a:pt x="80" y="154"/>
                    </a:lnTo>
                    <a:lnTo>
                      <a:pt x="70" y="160"/>
                    </a:lnTo>
                    <a:lnTo>
                      <a:pt x="60" y="152"/>
                    </a:lnTo>
                    <a:lnTo>
                      <a:pt x="52" y="148"/>
                    </a:lnTo>
                    <a:lnTo>
                      <a:pt x="38" y="146"/>
                    </a:lnTo>
                    <a:lnTo>
                      <a:pt x="32" y="140"/>
                    </a:lnTo>
                    <a:lnTo>
                      <a:pt x="30" y="132"/>
                    </a:lnTo>
                    <a:lnTo>
                      <a:pt x="12" y="132"/>
                    </a:lnTo>
                    <a:lnTo>
                      <a:pt x="8" y="120"/>
                    </a:lnTo>
                    <a:lnTo>
                      <a:pt x="4" y="112"/>
                    </a:lnTo>
                    <a:lnTo>
                      <a:pt x="0" y="102"/>
                    </a:lnTo>
                    <a:lnTo>
                      <a:pt x="8" y="100"/>
                    </a:lnTo>
                    <a:lnTo>
                      <a:pt x="8" y="58"/>
                    </a:lnTo>
                    <a:lnTo>
                      <a:pt x="4" y="42"/>
                    </a:lnTo>
                    <a:lnTo>
                      <a:pt x="10" y="38"/>
                    </a:lnTo>
                    <a:lnTo>
                      <a:pt x="10" y="24"/>
                    </a:lnTo>
                    <a:lnTo>
                      <a:pt x="30" y="10"/>
                    </a:lnTo>
                    <a:lnTo>
                      <a:pt x="32"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5" name="Freeform 345"/>
              <p:cNvSpPr>
                <a:spLocks/>
              </p:cNvSpPr>
              <p:nvPr/>
            </p:nvSpPr>
            <p:spPr bwMode="auto">
              <a:xfrm>
                <a:off x="2995" y="2035"/>
                <a:ext cx="226" cy="204"/>
              </a:xfrm>
              <a:custGeom>
                <a:avLst/>
                <a:gdLst>
                  <a:gd name="T0" fmla="*/ 36 w 226"/>
                  <a:gd name="T1" fmla="*/ 0 h 204"/>
                  <a:gd name="T2" fmla="*/ 32 w 226"/>
                  <a:gd name="T3" fmla="*/ 2 h 204"/>
                  <a:gd name="T4" fmla="*/ 32 w 226"/>
                  <a:gd name="T5" fmla="*/ 12 h 204"/>
                  <a:gd name="T6" fmla="*/ 12 w 226"/>
                  <a:gd name="T7" fmla="*/ 24 h 204"/>
                  <a:gd name="T8" fmla="*/ 10 w 226"/>
                  <a:gd name="T9" fmla="*/ 28 h 204"/>
                  <a:gd name="T10" fmla="*/ 6 w 226"/>
                  <a:gd name="T11" fmla="*/ 44 h 204"/>
                  <a:gd name="T12" fmla="*/ 4 w 226"/>
                  <a:gd name="T13" fmla="*/ 46 h 204"/>
                  <a:gd name="T14" fmla="*/ 8 w 226"/>
                  <a:gd name="T15" fmla="*/ 62 h 204"/>
                  <a:gd name="T16" fmla="*/ 2 w 226"/>
                  <a:gd name="T17" fmla="*/ 104 h 204"/>
                  <a:gd name="T18" fmla="*/ 0 w 226"/>
                  <a:gd name="T19" fmla="*/ 106 h 204"/>
                  <a:gd name="T20" fmla="*/ 4 w 226"/>
                  <a:gd name="T21" fmla="*/ 118 h 204"/>
                  <a:gd name="T22" fmla="*/ 14 w 226"/>
                  <a:gd name="T23" fmla="*/ 136 h 204"/>
                  <a:gd name="T24" fmla="*/ 16 w 226"/>
                  <a:gd name="T25" fmla="*/ 140 h 204"/>
                  <a:gd name="T26" fmla="*/ 34 w 226"/>
                  <a:gd name="T27" fmla="*/ 146 h 204"/>
                  <a:gd name="T28" fmla="*/ 34 w 226"/>
                  <a:gd name="T29" fmla="*/ 146 h 204"/>
                  <a:gd name="T30" fmla="*/ 40 w 226"/>
                  <a:gd name="T31" fmla="*/ 152 h 204"/>
                  <a:gd name="T32" fmla="*/ 54 w 226"/>
                  <a:gd name="T33" fmla="*/ 156 h 204"/>
                  <a:gd name="T34" fmla="*/ 72 w 226"/>
                  <a:gd name="T35" fmla="*/ 166 h 204"/>
                  <a:gd name="T36" fmla="*/ 74 w 226"/>
                  <a:gd name="T37" fmla="*/ 168 h 204"/>
                  <a:gd name="T38" fmla="*/ 76 w 226"/>
                  <a:gd name="T39" fmla="*/ 166 h 204"/>
                  <a:gd name="T40" fmla="*/ 86 w 226"/>
                  <a:gd name="T41" fmla="*/ 162 h 204"/>
                  <a:gd name="T42" fmla="*/ 90 w 226"/>
                  <a:gd name="T43" fmla="*/ 158 h 204"/>
                  <a:gd name="T44" fmla="*/ 206 w 226"/>
                  <a:gd name="T45" fmla="*/ 204 h 204"/>
                  <a:gd name="T46" fmla="*/ 222 w 226"/>
                  <a:gd name="T47" fmla="*/ 204 h 204"/>
                  <a:gd name="T48" fmla="*/ 226 w 226"/>
                  <a:gd name="T49" fmla="*/ 204 h 204"/>
                  <a:gd name="T50" fmla="*/ 226 w 226"/>
                  <a:gd name="T51" fmla="*/ 170 h 204"/>
                  <a:gd name="T52" fmla="*/ 226 w 226"/>
                  <a:gd name="T53" fmla="*/ 60 h 204"/>
                  <a:gd name="T54" fmla="*/ 222 w 226"/>
                  <a:gd name="T55" fmla="*/ 54 h 204"/>
                  <a:gd name="T56" fmla="*/ 224 w 226"/>
                  <a:gd name="T57" fmla="*/ 46 h 204"/>
                  <a:gd name="T58" fmla="*/ 226 w 226"/>
                  <a:gd name="T59" fmla="*/ 44 h 204"/>
                  <a:gd name="T60" fmla="*/ 226 w 226"/>
                  <a:gd name="T61" fmla="*/ 26 h 204"/>
                  <a:gd name="T62" fmla="*/ 224 w 226"/>
                  <a:gd name="T63" fmla="*/ 22 h 204"/>
                  <a:gd name="T64" fmla="*/ 202 w 226"/>
                  <a:gd name="T65" fmla="*/ 14 h 204"/>
                  <a:gd name="T66" fmla="*/ 190 w 226"/>
                  <a:gd name="T67" fmla="*/ 8 h 204"/>
                  <a:gd name="T68" fmla="*/ 172 w 226"/>
                  <a:gd name="T69" fmla="*/ 6 h 204"/>
                  <a:gd name="T70" fmla="*/ 172 w 226"/>
                  <a:gd name="T71" fmla="*/ 6 h 204"/>
                  <a:gd name="T72" fmla="*/ 170 w 226"/>
                  <a:gd name="T73" fmla="*/ 6 h 204"/>
                  <a:gd name="T74" fmla="*/ 158 w 226"/>
                  <a:gd name="T75" fmla="*/ 12 h 204"/>
                  <a:gd name="T76" fmla="*/ 148 w 226"/>
                  <a:gd name="T77" fmla="*/ 20 h 204"/>
                  <a:gd name="T78" fmla="*/ 146 w 226"/>
                  <a:gd name="T79" fmla="*/ 24 h 204"/>
                  <a:gd name="T80" fmla="*/ 152 w 226"/>
                  <a:gd name="T81" fmla="*/ 32 h 204"/>
                  <a:gd name="T82" fmla="*/ 142 w 226"/>
                  <a:gd name="T83" fmla="*/ 46 h 204"/>
                  <a:gd name="T84" fmla="*/ 116 w 226"/>
                  <a:gd name="T85" fmla="*/ 30 h 204"/>
                  <a:gd name="T86" fmla="*/ 114 w 226"/>
                  <a:gd name="T87" fmla="*/ 30 h 204"/>
                  <a:gd name="T88" fmla="*/ 94 w 226"/>
                  <a:gd name="T89" fmla="*/ 26 h 204"/>
                  <a:gd name="T90" fmla="*/ 90 w 226"/>
                  <a:gd name="T91" fmla="*/ 16 h 204"/>
                  <a:gd name="T92" fmla="*/ 76 w 226"/>
                  <a:gd name="T93" fmla="*/ 8 h 204"/>
                  <a:gd name="T94" fmla="*/ 74 w 226"/>
                  <a:gd name="T95" fmla="*/ 8 h 204"/>
                  <a:gd name="T96" fmla="*/ 36 w 226"/>
                  <a:gd name="T97" fmla="*/ 0 h 204"/>
                  <a:gd name="T98" fmla="*/ 36 w 226"/>
                  <a:gd name="T9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 h="204">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6" name="Freeform 346"/>
              <p:cNvSpPr>
                <a:spLocks/>
              </p:cNvSpPr>
              <p:nvPr/>
            </p:nvSpPr>
            <p:spPr bwMode="auto">
              <a:xfrm>
                <a:off x="2969" y="1969"/>
                <a:ext cx="60" cy="112"/>
              </a:xfrm>
              <a:custGeom>
                <a:avLst/>
                <a:gdLst>
                  <a:gd name="T0" fmla="*/ 32 w 60"/>
                  <a:gd name="T1" fmla="*/ 112 h 112"/>
                  <a:gd name="T2" fmla="*/ 26 w 60"/>
                  <a:gd name="T3" fmla="*/ 110 h 112"/>
                  <a:gd name="T4" fmla="*/ 24 w 60"/>
                  <a:gd name="T5" fmla="*/ 108 h 112"/>
                  <a:gd name="T6" fmla="*/ 22 w 60"/>
                  <a:gd name="T7" fmla="*/ 84 h 112"/>
                  <a:gd name="T8" fmla="*/ 0 w 60"/>
                  <a:gd name="T9" fmla="*/ 60 h 112"/>
                  <a:gd name="T10" fmla="*/ 0 w 60"/>
                  <a:gd name="T11" fmla="*/ 58 h 112"/>
                  <a:gd name="T12" fmla="*/ 0 w 60"/>
                  <a:gd name="T13" fmla="*/ 52 h 112"/>
                  <a:gd name="T14" fmla="*/ 10 w 60"/>
                  <a:gd name="T15" fmla="*/ 42 h 112"/>
                  <a:gd name="T16" fmla="*/ 10 w 60"/>
                  <a:gd name="T17" fmla="*/ 12 h 112"/>
                  <a:gd name="T18" fmla="*/ 14 w 60"/>
                  <a:gd name="T19" fmla="*/ 6 h 112"/>
                  <a:gd name="T20" fmla="*/ 28 w 60"/>
                  <a:gd name="T21" fmla="*/ 2 h 112"/>
                  <a:gd name="T22" fmla="*/ 36 w 60"/>
                  <a:gd name="T23" fmla="*/ 0 h 112"/>
                  <a:gd name="T24" fmla="*/ 36 w 60"/>
                  <a:gd name="T25" fmla="*/ 2 h 112"/>
                  <a:gd name="T26" fmla="*/ 44 w 60"/>
                  <a:gd name="T27" fmla="*/ 10 h 112"/>
                  <a:gd name="T28" fmla="*/ 48 w 60"/>
                  <a:gd name="T29" fmla="*/ 6 h 112"/>
                  <a:gd name="T30" fmla="*/ 48 w 60"/>
                  <a:gd name="T31" fmla="*/ 6 h 112"/>
                  <a:gd name="T32" fmla="*/ 54 w 60"/>
                  <a:gd name="T33" fmla="*/ 8 h 112"/>
                  <a:gd name="T34" fmla="*/ 54 w 60"/>
                  <a:gd name="T35" fmla="*/ 10 h 112"/>
                  <a:gd name="T36" fmla="*/ 52 w 60"/>
                  <a:gd name="T37" fmla="*/ 16 h 112"/>
                  <a:gd name="T38" fmla="*/ 46 w 60"/>
                  <a:gd name="T39" fmla="*/ 18 h 112"/>
                  <a:gd name="T40" fmla="*/ 46 w 60"/>
                  <a:gd name="T41" fmla="*/ 26 h 112"/>
                  <a:gd name="T42" fmla="*/ 54 w 60"/>
                  <a:gd name="T43" fmla="*/ 30 h 112"/>
                  <a:gd name="T44" fmla="*/ 54 w 60"/>
                  <a:gd name="T45" fmla="*/ 36 h 112"/>
                  <a:gd name="T46" fmla="*/ 54 w 60"/>
                  <a:gd name="T47" fmla="*/ 38 h 112"/>
                  <a:gd name="T48" fmla="*/ 48 w 60"/>
                  <a:gd name="T49" fmla="*/ 42 h 112"/>
                  <a:gd name="T50" fmla="*/ 44 w 60"/>
                  <a:gd name="T51" fmla="*/ 44 h 112"/>
                  <a:gd name="T52" fmla="*/ 42 w 60"/>
                  <a:gd name="T53" fmla="*/ 56 h 112"/>
                  <a:gd name="T54" fmla="*/ 48 w 60"/>
                  <a:gd name="T55" fmla="*/ 56 h 112"/>
                  <a:gd name="T56" fmla="*/ 54 w 60"/>
                  <a:gd name="T57" fmla="*/ 62 h 112"/>
                  <a:gd name="T58" fmla="*/ 60 w 60"/>
                  <a:gd name="T59" fmla="*/ 66 h 112"/>
                  <a:gd name="T60" fmla="*/ 60 w 60"/>
                  <a:gd name="T61" fmla="*/ 76 h 112"/>
                  <a:gd name="T62" fmla="*/ 60 w 60"/>
                  <a:gd name="T63" fmla="*/ 78 h 112"/>
                  <a:gd name="T64" fmla="*/ 40 w 60"/>
                  <a:gd name="T65" fmla="*/ 104 h 112"/>
                  <a:gd name="T66" fmla="*/ 40 w 60"/>
                  <a:gd name="T67" fmla="*/ 106 h 112"/>
                  <a:gd name="T68" fmla="*/ 32 w 60"/>
                  <a:gd name="T69" fmla="*/ 112 h 112"/>
                  <a:gd name="T70" fmla="*/ 32 w 60"/>
                  <a:gd name="T7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112">
                    <a:moveTo>
                      <a:pt x="32" y="112"/>
                    </a:moveTo>
                    <a:lnTo>
                      <a:pt x="32" y="112"/>
                    </a:lnTo>
                    <a:lnTo>
                      <a:pt x="32" y="112"/>
                    </a:lnTo>
                    <a:lnTo>
                      <a:pt x="26" y="110"/>
                    </a:lnTo>
                    <a:lnTo>
                      <a:pt x="26" y="110"/>
                    </a:lnTo>
                    <a:lnTo>
                      <a:pt x="24" y="108"/>
                    </a:lnTo>
                    <a:lnTo>
                      <a:pt x="22" y="98"/>
                    </a:lnTo>
                    <a:lnTo>
                      <a:pt x="22" y="84"/>
                    </a:lnTo>
                    <a:lnTo>
                      <a:pt x="10" y="70"/>
                    </a:lnTo>
                    <a:lnTo>
                      <a:pt x="0" y="60"/>
                    </a:lnTo>
                    <a:lnTo>
                      <a:pt x="0" y="60"/>
                    </a:lnTo>
                    <a:lnTo>
                      <a:pt x="0" y="58"/>
                    </a:lnTo>
                    <a:lnTo>
                      <a:pt x="0" y="52"/>
                    </a:lnTo>
                    <a:lnTo>
                      <a:pt x="0" y="52"/>
                    </a:lnTo>
                    <a:lnTo>
                      <a:pt x="2" y="50"/>
                    </a:lnTo>
                    <a:lnTo>
                      <a:pt x="10" y="42"/>
                    </a:lnTo>
                    <a:lnTo>
                      <a:pt x="10" y="12"/>
                    </a:lnTo>
                    <a:lnTo>
                      <a:pt x="10" y="12"/>
                    </a:lnTo>
                    <a:lnTo>
                      <a:pt x="12" y="10"/>
                    </a:lnTo>
                    <a:lnTo>
                      <a:pt x="14" y="6"/>
                    </a:lnTo>
                    <a:lnTo>
                      <a:pt x="28" y="2"/>
                    </a:lnTo>
                    <a:lnTo>
                      <a:pt x="28" y="2"/>
                    </a:lnTo>
                    <a:lnTo>
                      <a:pt x="28" y="0"/>
                    </a:lnTo>
                    <a:lnTo>
                      <a:pt x="36" y="0"/>
                    </a:lnTo>
                    <a:lnTo>
                      <a:pt x="36" y="0"/>
                    </a:lnTo>
                    <a:lnTo>
                      <a:pt x="36" y="2"/>
                    </a:lnTo>
                    <a:lnTo>
                      <a:pt x="40" y="8"/>
                    </a:lnTo>
                    <a:lnTo>
                      <a:pt x="44" y="10"/>
                    </a:lnTo>
                    <a:lnTo>
                      <a:pt x="48" y="6"/>
                    </a:lnTo>
                    <a:lnTo>
                      <a:pt x="48" y="6"/>
                    </a:lnTo>
                    <a:lnTo>
                      <a:pt x="48" y="6"/>
                    </a:lnTo>
                    <a:lnTo>
                      <a:pt x="48" y="6"/>
                    </a:lnTo>
                    <a:lnTo>
                      <a:pt x="50" y="6"/>
                    </a:lnTo>
                    <a:lnTo>
                      <a:pt x="54" y="8"/>
                    </a:lnTo>
                    <a:lnTo>
                      <a:pt x="54" y="8"/>
                    </a:lnTo>
                    <a:lnTo>
                      <a:pt x="54" y="10"/>
                    </a:lnTo>
                    <a:lnTo>
                      <a:pt x="52" y="16"/>
                    </a:lnTo>
                    <a:lnTo>
                      <a:pt x="52" y="16"/>
                    </a:lnTo>
                    <a:lnTo>
                      <a:pt x="52" y="16"/>
                    </a:lnTo>
                    <a:lnTo>
                      <a:pt x="46" y="18"/>
                    </a:lnTo>
                    <a:lnTo>
                      <a:pt x="44" y="24"/>
                    </a:lnTo>
                    <a:lnTo>
                      <a:pt x="46" y="26"/>
                    </a:lnTo>
                    <a:lnTo>
                      <a:pt x="54" y="30"/>
                    </a:lnTo>
                    <a:lnTo>
                      <a:pt x="54" y="30"/>
                    </a:lnTo>
                    <a:lnTo>
                      <a:pt x="54" y="30"/>
                    </a:lnTo>
                    <a:lnTo>
                      <a:pt x="54" y="36"/>
                    </a:lnTo>
                    <a:lnTo>
                      <a:pt x="54" y="36"/>
                    </a:lnTo>
                    <a:lnTo>
                      <a:pt x="54" y="38"/>
                    </a:lnTo>
                    <a:lnTo>
                      <a:pt x="48" y="42"/>
                    </a:lnTo>
                    <a:lnTo>
                      <a:pt x="48" y="42"/>
                    </a:lnTo>
                    <a:lnTo>
                      <a:pt x="48" y="44"/>
                    </a:lnTo>
                    <a:lnTo>
                      <a:pt x="44" y="44"/>
                    </a:lnTo>
                    <a:lnTo>
                      <a:pt x="40" y="50"/>
                    </a:lnTo>
                    <a:lnTo>
                      <a:pt x="42" y="56"/>
                    </a:lnTo>
                    <a:lnTo>
                      <a:pt x="48" y="56"/>
                    </a:lnTo>
                    <a:lnTo>
                      <a:pt x="48" y="56"/>
                    </a:lnTo>
                    <a:lnTo>
                      <a:pt x="50" y="58"/>
                    </a:lnTo>
                    <a:lnTo>
                      <a:pt x="54" y="62"/>
                    </a:lnTo>
                    <a:lnTo>
                      <a:pt x="60" y="66"/>
                    </a:lnTo>
                    <a:lnTo>
                      <a:pt x="60" y="66"/>
                    </a:lnTo>
                    <a:lnTo>
                      <a:pt x="60" y="68"/>
                    </a:lnTo>
                    <a:lnTo>
                      <a:pt x="60" y="76"/>
                    </a:lnTo>
                    <a:lnTo>
                      <a:pt x="60" y="76"/>
                    </a:lnTo>
                    <a:lnTo>
                      <a:pt x="60" y="78"/>
                    </a:lnTo>
                    <a:lnTo>
                      <a:pt x="40" y="92"/>
                    </a:lnTo>
                    <a:lnTo>
                      <a:pt x="40" y="104"/>
                    </a:lnTo>
                    <a:lnTo>
                      <a:pt x="40" y="104"/>
                    </a:lnTo>
                    <a:lnTo>
                      <a:pt x="40" y="106"/>
                    </a:lnTo>
                    <a:lnTo>
                      <a:pt x="32" y="112"/>
                    </a:lnTo>
                    <a:lnTo>
                      <a:pt x="32" y="112"/>
                    </a:lnTo>
                    <a:lnTo>
                      <a:pt x="32" y="112"/>
                    </a:lnTo>
                    <a:lnTo>
                      <a:pt x="32"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7" name="Freeform 347"/>
              <p:cNvSpPr>
                <a:spLocks noEditPoints="1"/>
              </p:cNvSpPr>
              <p:nvPr/>
            </p:nvSpPr>
            <p:spPr bwMode="auto">
              <a:xfrm>
                <a:off x="2967" y="1967"/>
                <a:ext cx="64" cy="116"/>
              </a:xfrm>
              <a:custGeom>
                <a:avLst/>
                <a:gdLst>
                  <a:gd name="T0" fmla="*/ 40 w 64"/>
                  <a:gd name="T1" fmla="*/ 12 h 116"/>
                  <a:gd name="T2" fmla="*/ 50 w 64"/>
                  <a:gd name="T3" fmla="*/ 10 h 116"/>
                  <a:gd name="T4" fmla="*/ 52 w 64"/>
                  <a:gd name="T5" fmla="*/ 18 h 116"/>
                  <a:gd name="T6" fmla="*/ 44 w 64"/>
                  <a:gd name="T7" fmla="*/ 26 h 116"/>
                  <a:gd name="T8" fmla="*/ 54 w 64"/>
                  <a:gd name="T9" fmla="*/ 32 h 116"/>
                  <a:gd name="T10" fmla="*/ 50 w 64"/>
                  <a:gd name="T11" fmla="*/ 44 h 116"/>
                  <a:gd name="T12" fmla="*/ 38 w 64"/>
                  <a:gd name="T13" fmla="*/ 52 h 116"/>
                  <a:gd name="T14" fmla="*/ 50 w 64"/>
                  <a:gd name="T15" fmla="*/ 60 h 116"/>
                  <a:gd name="T16" fmla="*/ 60 w 64"/>
                  <a:gd name="T17" fmla="*/ 70 h 116"/>
                  <a:gd name="T18" fmla="*/ 40 w 64"/>
                  <a:gd name="T19" fmla="*/ 92 h 116"/>
                  <a:gd name="T20" fmla="*/ 34 w 64"/>
                  <a:gd name="T21" fmla="*/ 112 h 116"/>
                  <a:gd name="T22" fmla="*/ 26 w 64"/>
                  <a:gd name="T23" fmla="*/ 100 h 116"/>
                  <a:gd name="T24" fmla="*/ 14 w 64"/>
                  <a:gd name="T25" fmla="*/ 72 h 116"/>
                  <a:gd name="T26" fmla="*/ 4 w 64"/>
                  <a:gd name="T27" fmla="*/ 54 h 116"/>
                  <a:gd name="T28" fmla="*/ 14 w 64"/>
                  <a:gd name="T29" fmla="*/ 14 h 116"/>
                  <a:gd name="T30" fmla="*/ 30 w 64"/>
                  <a:gd name="T31" fmla="*/ 4 h 116"/>
                  <a:gd name="T32" fmla="*/ 38 w 64"/>
                  <a:gd name="T33" fmla="*/ 0 h 116"/>
                  <a:gd name="T34" fmla="*/ 30 w 64"/>
                  <a:gd name="T35" fmla="*/ 0 h 116"/>
                  <a:gd name="T36" fmla="*/ 16 w 64"/>
                  <a:gd name="T37" fmla="*/ 6 h 116"/>
                  <a:gd name="T38" fmla="*/ 16 w 64"/>
                  <a:gd name="T39" fmla="*/ 8 h 116"/>
                  <a:gd name="T40" fmla="*/ 12 w 64"/>
                  <a:gd name="T41" fmla="*/ 10 h 116"/>
                  <a:gd name="T42" fmla="*/ 10 w 64"/>
                  <a:gd name="T43" fmla="*/ 44 h 116"/>
                  <a:gd name="T44" fmla="*/ 2 w 64"/>
                  <a:gd name="T45" fmla="*/ 50 h 116"/>
                  <a:gd name="T46" fmla="*/ 0 w 64"/>
                  <a:gd name="T47" fmla="*/ 60 h 116"/>
                  <a:gd name="T48" fmla="*/ 2 w 64"/>
                  <a:gd name="T49" fmla="*/ 64 h 116"/>
                  <a:gd name="T50" fmla="*/ 22 w 64"/>
                  <a:gd name="T51" fmla="*/ 86 h 116"/>
                  <a:gd name="T52" fmla="*/ 24 w 64"/>
                  <a:gd name="T53" fmla="*/ 110 h 116"/>
                  <a:gd name="T54" fmla="*/ 28 w 64"/>
                  <a:gd name="T55" fmla="*/ 114 h 116"/>
                  <a:gd name="T56" fmla="*/ 32 w 64"/>
                  <a:gd name="T57" fmla="*/ 116 h 116"/>
                  <a:gd name="T58" fmla="*/ 34 w 64"/>
                  <a:gd name="T59" fmla="*/ 116 h 116"/>
                  <a:gd name="T60" fmla="*/ 44 w 64"/>
                  <a:gd name="T61" fmla="*/ 110 h 116"/>
                  <a:gd name="T62" fmla="*/ 44 w 64"/>
                  <a:gd name="T63" fmla="*/ 106 h 116"/>
                  <a:gd name="T64" fmla="*/ 62 w 64"/>
                  <a:gd name="T65" fmla="*/ 82 h 116"/>
                  <a:gd name="T66" fmla="*/ 64 w 64"/>
                  <a:gd name="T67" fmla="*/ 78 h 116"/>
                  <a:gd name="T68" fmla="*/ 64 w 64"/>
                  <a:gd name="T69" fmla="*/ 70 h 116"/>
                  <a:gd name="T70" fmla="*/ 58 w 64"/>
                  <a:gd name="T71" fmla="*/ 64 h 116"/>
                  <a:gd name="T72" fmla="*/ 54 w 64"/>
                  <a:gd name="T73" fmla="*/ 58 h 116"/>
                  <a:gd name="T74" fmla="*/ 46 w 64"/>
                  <a:gd name="T75" fmla="*/ 56 h 116"/>
                  <a:gd name="T76" fmla="*/ 46 w 64"/>
                  <a:gd name="T77" fmla="*/ 48 h 116"/>
                  <a:gd name="T78" fmla="*/ 50 w 64"/>
                  <a:gd name="T79" fmla="*/ 48 h 116"/>
                  <a:gd name="T80" fmla="*/ 58 w 64"/>
                  <a:gd name="T81" fmla="*/ 40 h 116"/>
                  <a:gd name="T82" fmla="*/ 58 w 64"/>
                  <a:gd name="T83" fmla="*/ 38 h 116"/>
                  <a:gd name="T84" fmla="*/ 58 w 64"/>
                  <a:gd name="T85" fmla="*/ 32 h 116"/>
                  <a:gd name="T86" fmla="*/ 50 w 64"/>
                  <a:gd name="T87" fmla="*/ 26 h 116"/>
                  <a:gd name="T88" fmla="*/ 50 w 64"/>
                  <a:gd name="T89" fmla="*/ 22 h 116"/>
                  <a:gd name="T90" fmla="*/ 54 w 64"/>
                  <a:gd name="T91" fmla="*/ 20 h 116"/>
                  <a:gd name="T92" fmla="*/ 58 w 64"/>
                  <a:gd name="T93" fmla="*/ 14 h 116"/>
                  <a:gd name="T94" fmla="*/ 58 w 64"/>
                  <a:gd name="T95" fmla="*/ 10 h 116"/>
                  <a:gd name="T96" fmla="*/ 52 w 64"/>
                  <a:gd name="T97" fmla="*/ 6 h 116"/>
                  <a:gd name="T98" fmla="*/ 50 w 64"/>
                  <a:gd name="T99" fmla="*/ 6 h 116"/>
                  <a:gd name="T100" fmla="*/ 48 w 64"/>
                  <a:gd name="T101" fmla="*/ 6 h 116"/>
                  <a:gd name="T102" fmla="*/ 44 w 64"/>
                  <a:gd name="T103" fmla="*/ 8 h 116"/>
                  <a:gd name="T104" fmla="*/ 40 w 64"/>
                  <a:gd name="T105" fmla="*/ 4 h 116"/>
                  <a:gd name="T106" fmla="*/ 38 w 64"/>
                  <a:gd name="T10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116">
                    <a:moveTo>
                      <a:pt x="38" y="4"/>
                    </a:moveTo>
                    <a:lnTo>
                      <a:pt x="40" y="12"/>
                    </a:lnTo>
                    <a:lnTo>
                      <a:pt x="46" y="14"/>
                    </a:lnTo>
                    <a:lnTo>
                      <a:pt x="50" y="10"/>
                    </a:lnTo>
                    <a:lnTo>
                      <a:pt x="54" y="12"/>
                    </a:lnTo>
                    <a:lnTo>
                      <a:pt x="52" y="18"/>
                    </a:lnTo>
                    <a:lnTo>
                      <a:pt x="48" y="18"/>
                    </a:lnTo>
                    <a:lnTo>
                      <a:pt x="44" y="26"/>
                    </a:lnTo>
                    <a:lnTo>
                      <a:pt x="48" y="30"/>
                    </a:lnTo>
                    <a:lnTo>
                      <a:pt x="54" y="32"/>
                    </a:lnTo>
                    <a:lnTo>
                      <a:pt x="54" y="38"/>
                    </a:lnTo>
                    <a:lnTo>
                      <a:pt x="50" y="44"/>
                    </a:lnTo>
                    <a:lnTo>
                      <a:pt x="44" y="46"/>
                    </a:lnTo>
                    <a:lnTo>
                      <a:pt x="38" y="52"/>
                    </a:lnTo>
                    <a:lnTo>
                      <a:pt x="42" y="60"/>
                    </a:lnTo>
                    <a:lnTo>
                      <a:pt x="50" y="60"/>
                    </a:lnTo>
                    <a:lnTo>
                      <a:pt x="54" y="66"/>
                    </a:lnTo>
                    <a:lnTo>
                      <a:pt x="60" y="70"/>
                    </a:lnTo>
                    <a:lnTo>
                      <a:pt x="60" y="78"/>
                    </a:lnTo>
                    <a:lnTo>
                      <a:pt x="40" y="92"/>
                    </a:lnTo>
                    <a:lnTo>
                      <a:pt x="40" y="106"/>
                    </a:lnTo>
                    <a:lnTo>
                      <a:pt x="34" y="112"/>
                    </a:lnTo>
                    <a:lnTo>
                      <a:pt x="28" y="110"/>
                    </a:lnTo>
                    <a:lnTo>
                      <a:pt x="26" y="100"/>
                    </a:lnTo>
                    <a:lnTo>
                      <a:pt x="26" y="86"/>
                    </a:lnTo>
                    <a:lnTo>
                      <a:pt x="14" y="72"/>
                    </a:lnTo>
                    <a:lnTo>
                      <a:pt x="4" y="60"/>
                    </a:lnTo>
                    <a:lnTo>
                      <a:pt x="4" y="54"/>
                    </a:lnTo>
                    <a:lnTo>
                      <a:pt x="14" y="46"/>
                    </a:lnTo>
                    <a:lnTo>
                      <a:pt x="14" y="14"/>
                    </a:lnTo>
                    <a:lnTo>
                      <a:pt x="18" y="10"/>
                    </a:lnTo>
                    <a:lnTo>
                      <a:pt x="30" y="4"/>
                    </a:lnTo>
                    <a:lnTo>
                      <a:pt x="38" y="4"/>
                    </a:lnTo>
                    <a:close/>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8" name="Freeform 348"/>
              <p:cNvSpPr>
                <a:spLocks/>
              </p:cNvSpPr>
              <p:nvPr/>
            </p:nvSpPr>
            <p:spPr bwMode="auto">
              <a:xfrm>
                <a:off x="2971" y="1971"/>
                <a:ext cx="56" cy="108"/>
              </a:xfrm>
              <a:custGeom>
                <a:avLst/>
                <a:gdLst>
                  <a:gd name="T0" fmla="*/ 34 w 56"/>
                  <a:gd name="T1" fmla="*/ 0 h 108"/>
                  <a:gd name="T2" fmla="*/ 36 w 56"/>
                  <a:gd name="T3" fmla="*/ 8 h 108"/>
                  <a:gd name="T4" fmla="*/ 42 w 56"/>
                  <a:gd name="T5" fmla="*/ 10 h 108"/>
                  <a:gd name="T6" fmla="*/ 46 w 56"/>
                  <a:gd name="T7" fmla="*/ 6 h 108"/>
                  <a:gd name="T8" fmla="*/ 50 w 56"/>
                  <a:gd name="T9" fmla="*/ 8 h 108"/>
                  <a:gd name="T10" fmla="*/ 48 w 56"/>
                  <a:gd name="T11" fmla="*/ 14 h 108"/>
                  <a:gd name="T12" fmla="*/ 44 w 56"/>
                  <a:gd name="T13" fmla="*/ 14 h 108"/>
                  <a:gd name="T14" fmla="*/ 40 w 56"/>
                  <a:gd name="T15" fmla="*/ 22 h 108"/>
                  <a:gd name="T16" fmla="*/ 44 w 56"/>
                  <a:gd name="T17" fmla="*/ 26 h 108"/>
                  <a:gd name="T18" fmla="*/ 50 w 56"/>
                  <a:gd name="T19" fmla="*/ 28 h 108"/>
                  <a:gd name="T20" fmla="*/ 50 w 56"/>
                  <a:gd name="T21" fmla="*/ 34 h 108"/>
                  <a:gd name="T22" fmla="*/ 46 w 56"/>
                  <a:gd name="T23" fmla="*/ 40 h 108"/>
                  <a:gd name="T24" fmla="*/ 40 w 56"/>
                  <a:gd name="T25" fmla="*/ 42 h 108"/>
                  <a:gd name="T26" fmla="*/ 34 w 56"/>
                  <a:gd name="T27" fmla="*/ 48 h 108"/>
                  <a:gd name="T28" fmla="*/ 38 w 56"/>
                  <a:gd name="T29" fmla="*/ 56 h 108"/>
                  <a:gd name="T30" fmla="*/ 46 w 56"/>
                  <a:gd name="T31" fmla="*/ 56 h 108"/>
                  <a:gd name="T32" fmla="*/ 50 w 56"/>
                  <a:gd name="T33" fmla="*/ 62 h 108"/>
                  <a:gd name="T34" fmla="*/ 56 w 56"/>
                  <a:gd name="T35" fmla="*/ 66 h 108"/>
                  <a:gd name="T36" fmla="*/ 56 w 56"/>
                  <a:gd name="T37" fmla="*/ 74 h 108"/>
                  <a:gd name="T38" fmla="*/ 36 w 56"/>
                  <a:gd name="T39" fmla="*/ 88 h 108"/>
                  <a:gd name="T40" fmla="*/ 36 w 56"/>
                  <a:gd name="T41" fmla="*/ 102 h 108"/>
                  <a:gd name="T42" fmla="*/ 30 w 56"/>
                  <a:gd name="T43" fmla="*/ 108 h 108"/>
                  <a:gd name="T44" fmla="*/ 24 w 56"/>
                  <a:gd name="T45" fmla="*/ 106 h 108"/>
                  <a:gd name="T46" fmla="*/ 22 w 56"/>
                  <a:gd name="T47" fmla="*/ 96 h 108"/>
                  <a:gd name="T48" fmla="*/ 22 w 56"/>
                  <a:gd name="T49" fmla="*/ 82 h 108"/>
                  <a:gd name="T50" fmla="*/ 10 w 56"/>
                  <a:gd name="T51" fmla="*/ 68 h 108"/>
                  <a:gd name="T52" fmla="*/ 0 w 56"/>
                  <a:gd name="T53" fmla="*/ 56 h 108"/>
                  <a:gd name="T54" fmla="*/ 0 w 56"/>
                  <a:gd name="T55" fmla="*/ 50 h 108"/>
                  <a:gd name="T56" fmla="*/ 10 w 56"/>
                  <a:gd name="T57" fmla="*/ 42 h 108"/>
                  <a:gd name="T58" fmla="*/ 10 w 56"/>
                  <a:gd name="T59" fmla="*/ 10 h 108"/>
                  <a:gd name="T60" fmla="*/ 14 w 56"/>
                  <a:gd name="T61" fmla="*/ 6 h 108"/>
                  <a:gd name="T62" fmla="*/ 26 w 56"/>
                  <a:gd name="T63" fmla="*/ 0 h 108"/>
                  <a:gd name="T64" fmla="*/ 34 w 56"/>
                  <a:gd name="T6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08">
                    <a:moveTo>
                      <a:pt x="34" y="0"/>
                    </a:moveTo>
                    <a:lnTo>
                      <a:pt x="36" y="8"/>
                    </a:lnTo>
                    <a:lnTo>
                      <a:pt x="42" y="10"/>
                    </a:lnTo>
                    <a:lnTo>
                      <a:pt x="46" y="6"/>
                    </a:lnTo>
                    <a:lnTo>
                      <a:pt x="50" y="8"/>
                    </a:lnTo>
                    <a:lnTo>
                      <a:pt x="48" y="14"/>
                    </a:lnTo>
                    <a:lnTo>
                      <a:pt x="44" y="14"/>
                    </a:lnTo>
                    <a:lnTo>
                      <a:pt x="40" y="22"/>
                    </a:lnTo>
                    <a:lnTo>
                      <a:pt x="44" y="26"/>
                    </a:lnTo>
                    <a:lnTo>
                      <a:pt x="50" y="28"/>
                    </a:lnTo>
                    <a:lnTo>
                      <a:pt x="50" y="34"/>
                    </a:lnTo>
                    <a:lnTo>
                      <a:pt x="46" y="40"/>
                    </a:lnTo>
                    <a:lnTo>
                      <a:pt x="40" y="42"/>
                    </a:lnTo>
                    <a:lnTo>
                      <a:pt x="34" y="48"/>
                    </a:lnTo>
                    <a:lnTo>
                      <a:pt x="38" y="56"/>
                    </a:lnTo>
                    <a:lnTo>
                      <a:pt x="46" y="56"/>
                    </a:lnTo>
                    <a:lnTo>
                      <a:pt x="50" y="62"/>
                    </a:lnTo>
                    <a:lnTo>
                      <a:pt x="56" y="66"/>
                    </a:lnTo>
                    <a:lnTo>
                      <a:pt x="56" y="74"/>
                    </a:lnTo>
                    <a:lnTo>
                      <a:pt x="36" y="88"/>
                    </a:lnTo>
                    <a:lnTo>
                      <a:pt x="36" y="102"/>
                    </a:lnTo>
                    <a:lnTo>
                      <a:pt x="30" y="108"/>
                    </a:lnTo>
                    <a:lnTo>
                      <a:pt x="24" y="106"/>
                    </a:lnTo>
                    <a:lnTo>
                      <a:pt x="22" y="96"/>
                    </a:lnTo>
                    <a:lnTo>
                      <a:pt x="22" y="82"/>
                    </a:lnTo>
                    <a:lnTo>
                      <a:pt x="10" y="68"/>
                    </a:lnTo>
                    <a:lnTo>
                      <a:pt x="0" y="56"/>
                    </a:lnTo>
                    <a:lnTo>
                      <a:pt x="0" y="50"/>
                    </a:lnTo>
                    <a:lnTo>
                      <a:pt x="10" y="42"/>
                    </a:lnTo>
                    <a:lnTo>
                      <a:pt x="10" y="10"/>
                    </a:lnTo>
                    <a:lnTo>
                      <a:pt x="14" y="6"/>
                    </a:lnTo>
                    <a:lnTo>
                      <a:pt x="26"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9" name="Freeform 349"/>
              <p:cNvSpPr>
                <a:spLocks/>
              </p:cNvSpPr>
              <p:nvPr/>
            </p:nvSpPr>
            <p:spPr bwMode="auto">
              <a:xfrm>
                <a:off x="2967" y="1967"/>
                <a:ext cx="64" cy="116"/>
              </a:xfrm>
              <a:custGeom>
                <a:avLst/>
                <a:gdLst>
                  <a:gd name="T0" fmla="*/ 30 w 64"/>
                  <a:gd name="T1" fmla="*/ 0 h 116"/>
                  <a:gd name="T2" fmla="*/ 28 w 64"/>
                  <a:gd name="T3" fmla="*/ 2 h 116"/>
                  <a:gd name="T4" fmla="*/ 16 w 64"/>
                  <a:gd name="T5" fmla="*/ 6 h 116"/>
                  <a:gd name="T6" fmla="*/ 12 w 64"/>
                  <a:gd name="T7" fmla="*/ 10 h 116"/>
                  <a:gd name="T8" fmla="*/ 10 w 64"/>
                  <a:gd name="T9" fmla="*/ 14 h 116"/>
                  <a:gd name="T10" fmla="*/ 2 w 64"/>
                  <a:gd name="T11" fmla="*/ 50 h 116"/>
                  <a:gd name="T12" fmla="*/ 0 w 64"/>
                  <a:gd name="T13" fmla="*/ 54 h 116"/>
                  <a:gd name="T14" fmla="*/ 0 w 64"/>
                  <a:gd name="T15" fmla="*/ 60 h 116"/>
                  <a:gd name="T16" fmla="*/ 10 w 64"/>
                  <a:gd name="T17" fmla="*/ 74 h 116"/>
                  <a:gd name="T18" fmla="*/ 22 w 64"/>
                  <a:gd name="T19" fmla="*/ 100 h 116"/>
                  <a:gd name="T20" fmla="*/ 24 w 64"/>
                  <a:gd name="T21" fmla="*/ 110 h 116"/>
                  <a:gd name="T22" fmla="*/ 32 w 64"/>
                  <a:gd name="T23" fmla="*/ 116 h 116"/>
                  <a:gd name="T24" fmla="*/ 34 w 64"/>
                  <a:gd name="T25" fmla="*/ 116 h 116"/>
                  <a:gd name="T26" fmla="*/ 36 w 64"/>
                  <a:gd name="T27" fmla="*/ 114 h 116"/>
                  <a:gd name="T28" fmla="*/ 44 w 64"/>
                  <a:gd name="T29" fmla="*/ 110 h 116"/>
                  <a:gd name="T30" fmla="*/ 44 w 64"/>
                  <a:gd name="T31" fmla="*/ 94 h 116"/>
                  <a:gd name="T32" fmla="*/ 62 w 64"/>
                  <a:gd name="T33" fmla="*/ 82 h 116"/>
                  <a:gd name="T34" fmla="*/ 64 w 64"/>
                  <a:gd name="T35" fmla="*/ 70 h 116"/>
                  <a:gd name="T36" fmla="*/ 62 w 64"/>
                  <a:gd name="T37" fmla="*/ 66 h 116"/>
                  <a:gd name="T38" fmla="*/ 54 w 64"/>
                  <a:gd name="T39" fmla="*/ 58 h 116"/>
                  <a:gd name="T40" fmla="*/ 50 w 64"/>
                  <a:gd name="T41" fmla="*/ 56 h 116"/>
                  <a:gd name="T42" fmla="*/ 44 w 64"/>
                  <a:gd name="T43" fmla="*/ 52 h 116"/>
                  <a:gd name="T44" fmla="*/ 50 w 64"/>
                  <a:gd name="T45" fmla="*/ 48 h 116"/>
                  <a:gd name="T46" fmla="*/ 52 w 64"/>
                  <a:gd name="T47" fmla="*/ 46 h 116"/>
                  <a:gd name="T48" fmla="*/ 58 w 64"/>
                  <a:gd name="T49" fmla="*/ 40 h 116"/>
                  <a:gd name="T50" fmla="*/ 58 w 64"/>
                  <a:gd name="T51" fmla="*/ 32 h 116"/>
                  <a:gd name="T52" fmla="*/ 56 w 64"/>
                  <a:gd name="T53" fmla="*/ 30 h 116"/>
                  <a:gd name="T54" fmla="*/ 48 w 64"/>
                  <a:gd name="T55" fmla="*/ 26 h 116"/>
                  <a:gd name="T56" fmla="*/ 54 w 64"/>
                  <a:gd name="T57" fmla="*/ 20 h 116"/>
                  <a:gd name="T58" fmla="*/ 56 w 64"/>
                  <a:gd name="T59" fmla="*/ 18 h 116"/>
                  <a:gd name="T60" fmla="*/ 58 w 64"/>
                  <a:gd name="T61" fmla="*/ 14 h 116"/>
                  <a:gd name="T62" fmla="*/ 56 w 64"/>
                  <a:gd name="T63" fmla="*/ 8 h 116"/>
                  <a:gd name="T64" fmla="*/ 52 w 64"/>
                  <a:gd name="T65" fmla="*/ 6 h 116"/>
                  <a:gd name="T66" fmla="*/ 50 w 64"/>
                  <a:gd name="T67" fmla="*/ 6 h 116"/>
                  <a:gd name="T68" fmla="*/ 46 w 64"/>
                  <a:gd name="T69" fmla="*/ 10 h 116"/>
                  <a:gd name="T70" fmla="*/ 40 w 64"/>
                  <a:gd name="T71" fmla="*/ 4 h 116"/>
                  <a:gd name="T72" fmla="*/ 40 w 64"/>
                  <a:gd name="T73" fmla="*/ 2 h 116"/>
                  <a:gd name="T74" fmla="*/ 38 w 64"/>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6">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0" name="Freeform 350"/>
              <p:cNvSpPr>
                <a:spLocks/>
              </p:cNvSpPr>
              <p:nvPr/>
            </p:nvSpPr>
            <p:spPr bwMode="auto">
              <a:xfrm>
                <a:off x="2741" y="1975"/>
                <a:ext cx="294" cy="280"/>
              </a:xfrm>
              <a:custGeom>
                <a:avLst/>
                <a:gdLst>
                  <a:gd name="T0" fmla="*/ 166 w 294"/>
                  <a:gd name="T1" fmla="*/ 280 h 280"/>
                  <a:gd name="T2" fmla="*/ 164 w 294"/>
                  <a:gd name="T3" fmla="*/ 278 h 280"/>
                  <a:gd name="T4" fmla="*/ 166 w 294"/>
                  <a:gd name="T5" fmla="*/ 264 h 280"/>
                  <a:gd name="T6" fmla="*/ 150 w 294"/>
                  <a:gd name="T7" fmla="*/ 258 h 280"/>
                  <a:gd name="T8" fmla="*/ 140 w 294"/>
                  <a:gd name="T9" fmla="*/ 248 h 280"/>
                  <a:gd name="T10" fmla="*/ 0 w 294"/>
                  <a:gd name="T11" fmla="*/ 150 h 280"/>
                  <a:gd name="T12" fmla="*/ 0 w 294"/>
                  <a:gd name="T13" fmla="*/ 132 h 280"/>
                  <a:gd name="T14" fmla="*/ 0 w 294"/>
                  <a:gd name="T15" fmla="*/ 130 h 280"/>
                  <a:gd name="T16" fmla="*/ 28 w 294"/>
                  <a:gd name="T17" fmla="*/ 112 h 280"/>
                  <a:gd name="T18" fmla="*/ 48 w 294"/>
                  <a:gd name="T19" fmla="*/ 110 h 280"/>
                  <a:gd name="T20" fmla="*/ 70 w 294"/>
                  <a:gd name="T21" fmla="*/ 88 h 280"/>
                  <a:gd name="T22" fmla="*/ 70 w 294"/>
                  <a:gd name="T23" fmla="*/ 86 h 280"/>
                  <a:gd name="T24" fmla="*/ 84 w 294"/>
                  <a:gd name="T25" fmla="*/ 78 h 280"/>
                  <a:gd name="T26" fmla="*/ 104 w 294"/>
                  <a:gd name="T27" fmla="*/ 76 h 280"/>
                  <a:gd name="T28" fmla="*/ 98 w 294"/>
                  <a:gd name="T29" fmla="*/ 62 h 280"/>
                  <a:gd name="T30" fmla="*/ 98 w 294"/>
                  <a:gd name="T31" fmla="*/ 60 h 280"/>
                  <a:gd name="T32" fmla="*/ 96 w 294"/>
                  <a:gd name="T33" fmla="*/ 34 h 280"/>
                  <a:gd name="T34" fmla="*/ 96 w 294"/>
                  <a:gd name="T35" fmla="*/ 32 h 280"/>
                  <a:gd name="T36" fmla="*/ 110 w 294"/>
                  <a:gd name="T37" fmla="*/ 20 h 280"/>
                  <a:gd name="T38" fmla="*/ 122 w 294"/>
                  <a:gd name="T39" fmla="*/ 18 h 280"/>
                  <a:gd name="T40" fmla="*/ 136 w 294"/>
                  <a:gd name="T41" fmla="*/ 10 h 280"/>
                  <a:gd name="T42" fmla="*/ 158 w 294"/>
                  <a:gd name="T43" fmla="*/ 6 h 280"/>
                  <a:gd name="T44" fmla="*/ 192 w 294"/>
                  <a:gd name="T45" fmla="*/ 4 h 280"/>
                  <a:gd name="T46" fmla="*/ 210 w 294"/>
                  <a:gd name="T47" fmla="*/ 0 h 280"/>
                  <a:gd name="T48" fmla="*/ 210 w 294"/>
                  <a:gd name="T49" fmla="*/ 0 h 280"/>
                  <a:gd name="T50" fmla="*/ 232 w 294"/>
                  <a:gd name="T51" fmla="*/ 0 h 280"/>
                  <a:gd name="T52" fmla="*/ 240 w 294"/>
                  <a:gd name="T53" fmla="*/ 4 h 280"/>
                  <a:gd name="T54" fmla="*/ 240 w 294"/>
                  <a:gd name="T55" fmla="*/ 6 h 280"/>
                  <a:gd name="T56" fmla="*/ 240 w 294"/>
                  <a:gd name="T57" fmla="*/ 38 h 280"/>
                  <a:gd name="T58" fmla="*/ 230 w 294"/>
                  <a:gd name="T59" fmla="*/ 48 h 280"/>
                  <a:gd name="T60" fmla="*/ 250 w 294"/>
                  <a:gd name="T61" fmla="*/ 78 h 280"/>
                  <a:gd name="T62" fmla="*/ 250 w 294"/>
                  <a:gd name="T63" fmla="*/ 78 h 280"/>
                  <a:gd name="T64" fmla="*/ 258 w 294"/>
                  <a:gd name="T65" fmla="*/ 104 h 280"/>
                  <a:gd name="T66" fmla="*/ 260 w 294"/>
                  <a:gd name="T67" fmla="*/ 106 h 280"/>
                  <a:gd name="T68" fmla="*/ 264 w 294"/>
                  <a:gd name="T69" fmla="*/ 162 h 280"/>
                  <a:gd name="T70" fmla="*/ 262 w 294"/>
                  <a:gd name="T71" fmla="*/ 164 h 280"/>
                  <a:gd name="T72" fmla="*/ 260 w 294"/>
                  <a:gd name="T73" fmla="*/ 174 h 280"/>
                  <a:gd name="T74" fmla="*/ 284 w 294"/>
                  <a:gd name="T75" fmla="*/ 194 h 280"/>
                  <a:gd name="T76" fmla="*/ 286 w 294"/>
                  <a:gd name="T77" fmla="*/ 194 h 280"/>
                  <a:gd name="T78" fmla="*/ 294 w 294"/>
                  <a:gd name="T79" fmla="*/ 206 h 280"/>
                  <a:gd name="T80" fmla="*/ 294 w 294"/>
                  <a:gd name="T81" fmla="*/ 208 h 280"/>
                  <a:gd name="T82" fmla="*/ 294 w 294"/>
                  <a:gd name="T83" fmla="*/ 210 h 280"/>
                  <a:gd name="T84" fmla="*/ 202 w 294"/>
                  <a:gd name="T85" fmla="*/ 274 h 280"/>
                  <a:gd name="T86" fmla="*/ 200 w 294"/>
                  <a:gd name="T87" fmla="*/ 274 h 280"/>
                  <a:gd name="T88" fmla="*/ 182 w 294"/>
                  <a:gd name="T89" fmla="*/ 278 h 280"/>
                  <a:gd name="T90" fmla="*/ 166 w 294"/>
                  <a:gd name="T91"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 h="280">
                    <a:moveTo>
                      <a:pt x="166" y="280"/>
                    </a:moveTo>
                    <a:lnTo>
                      <a:pt x="166" y="280"/>
                    </a:lnTo>
                    <a:lnTo>
                      <a:pt x="164" y="278"/>
                    </a:lnTo>
                    <a:lnTo>
                      <a:pt x="164" y="278"/>
                    </a:lnTo>
                    <a:lnTo>
                      <a:pt x="164" y="278"/>
                    </a:lnTo>
                    <a:lnTo>
                      <a:pt x="166" y="264"/>
                    </a:lnTo>
                    <a:lnTo>
                      <a:pt x="150" y="258"/>
                    </a:lnTo>
                    <a:lnTo>
                      <a:pt x="150" y="258"/>
                    </a:lnTo>
                    <a:lnTo>
                      <a:pt x="150" y="258"/>
                    </a:lnTo>
                    <a:lnTo>
                      <a:pt x="140" y="248"/>
                    </a:lnTo>
                    <a:lnTo>
                      <a:pt x="0" y="150"/>
                    </a:lnTo>
                    <a:lnTo>
                      <a:pt x="0" y="150"/>
                    </a:lnTo>
                    <a:lnTo>
                      <a:pt x="0" y="148"/>
                    </a:lnTo>
                    <a:lnTo>
                      <a:pt x="0" y="132"/>
                    </a:lnTo>
                    <a:lnTo>
                      <a:pt x="0" y="132"/>
                    </a:lnTo>
                    <a:lnTo>
                      <a:pt x="0" y="130"/>
                    </a:lnTo>
                    <a:lnTo>
                      <a:pt x="28" y="112"/>
                    </a:lnTo>
                    <a:lnTo>
                      <a:pt x="28" y="112"/>
                    </a:lnTo>
                    <a:lnTo>
                      <a:pt x="30" y="112"/>
                    </a:lnTo>
                    <a:lnTo>
                      <a:pt x="48" y="110"/>
                    </a:lnTo>
                    <a:lnTo>
                      <a:pt x="68" y="94"/>
                    </a:lnTo>
                    <a:lnTo>
                      <a:pt x="70" y="88"/>
                    </a:lnTo>
                    <a:lnTo>
                      <a:pt x="70" y="88"/>
                    </a:lnTo>
                    <a:lnTo>
                      <a:pt x="70" y="86"/>
                    </a:lnTo>
                    <a:lnTo>
                      <a:pt x="84" y="78"/>
                    </a:lnTo>
                    <a:lnTo>
                      <a:pt x="84" y="78"/>
                    </a:lnTo>
                    <a:lnTo>
                      <a:pt x="86" y="76"/>
                    </a:lnTo>
                    <a:lnTo>
                      <a:pt x="104" y="76"/>
                    </a:lnTo>
                    <a:lnTo>
                      <a:pt x="104" y="70"/>
                    </a:lnTo>
                    <a:lnTo>
                      <a:pt x="98" y="62"/>
                    </a:lnTo>
                    <a:lnTo>
                      <a:pt x="98" y="62"/>
                    </a:lnTo>
                    <a:lnTo>
                      <a:pt x="98" y="60"/>
                    </a:lnTo>
                    <a:lnTo>
                      <a:pt x="98" y="38"/>
                    </a:lnTo>
                    <a:lnTo>
                      <a:pt x="96" y="34"/>
                    </a:lnTo>
                    <a:lnTo>
                      <a:pt x="96" y="34"/>
                    </a:lnTo>
                    <a:lnTo>
                      <a:pt x="96" y="32"/>
                    </a:lnTo>
                    <a:lnTo>
                      <a:pt x="110" y="20"/>
                    </a:lnTo>
                    <a:lnTo>
                      <a:pt x="110" y="20"/>
                    </a:lnTo>
                    <a:lnTo>
                      <a:pt x="112" y="20"/>
                    </a:lnTo>
                    <a:lnTo>
                      <a:pt x="122" y="18"/>
                    </a:lnTo>
                    <a:lnTo>
                      <a:pt x="136" y="10"/>
                    </a:lnTo>
                    <a:lnTo>
                      <a:pt x="136" y="10"/>
                    </a:lnTo>
                    <a:lnTo>
                      <a:pt x="136" y="10"/>
                    </a:lnTo>
                    <a:lnTo>
                      <a:pt x="158" y="6"/>
                    </a:lnTo>
                    <a:lnTo>
                      <a:pt x="180" y="2"/>
                    </a:lnTo>
                    <a:lnTo>
                      <a:pt x="192" y="4"/>
                    </a:lnTo>
                    <a:lnTo>
                      <a:pt x="200" y="6"/>
                    </a:lnTo>
                    <a:lnTo>
                      <a:pt x="210" y="0"/>
                    </a:lnTo>
                    <a:lnTo>
                      <a:pt x="210" y="0"/>
                    </a:lnTo>
                    <a:lnTo>
                      <a:pt x="210" y="0"/>
                    </a:lnTo>
                    <a:lnTo>
                      <a:pt x="232" y="0"/>
                    </a:lnTo>
                    <a:lnTo>
                      <a:pt x="232" y="0"/>
                    </a:lnTo>
                    <a:lnTo>
                      <a:pt x="232" y="0"/>
                    </a:lnTo>
                    <a:lnTo>
                      <a:pt x="240" y="4"/>
                    </a:lnTo>
                    <a:lnTo>
                      <a:pt x="240" y="4"/>
                    </a:lnTo>
                    <a:lnTo>
                      <a:pt x="240" y="6"/>
                    </a:lnTo>
                    <a:lnTo>
                      <a:pt x="240" y="38"/>
                    </a:lnTo>
                    <a:lnTo>
                      <a:pt x="240" y="38"/>
                    </a:lnTo>
                    <a:lnTo>
                      <a:pt x="240" y="40"/>
                    </a:lnTo>
                    <a:lnTo>
                      <a:pt x="230" y="48"/>
                    </a:lnTo>
                    <a:lnTo>
                      <a:pt x="230" y="54"/>
                    </a:lnTo>
                    <a:lnTo>
                      <a:pt x="250" y="78"/>
                    </a:lnTo>
                    <a:lnTo>
                      <a:pt x="250" y="78"/>
                    </a:lnTo>
                    <a:lnTo>
                      <a:pt x="250" y="78"/>
                    </a:lnTo>
                    <a:lnTo>
                      <a:pt x="254" y="102"/>
                    </a:lnTo>
                    <a:lnTo>
                      <a:pt x="258" y="104"/>
                    </a:lnTo>
                    <a:lnTo>
                      <a:pt x="258" y="104"/>
                    </a:lnTo>
                    <a:lnTo>
                      <a:pt x="260" y="106"/>
                    </a:lnTo>
                    <a:lnTo>
                      <a:pt x="262" y="120"/>
                    </a:lnTo>
                    <a:lnTo>
                      <a:pt x="264" y="162"/>
                    </a:lnTo>
                    <a:lnTo>
                      <a:pt x="264" y="162"/>
                    </a:lnTo>
                    <a:lnTo>
                      <a:pt x="262" y="164"/>
                    </a:lnTo>
                    <a:lnTo>
                      <a:pt x="256" y="166"/>
                    </a:lnTo>
                    <a:lnTo>
                      <a:pt x="260" y="174"/>
                    </a:lnTo>
                    <a:lnTo>
                      <a:pt x="268" y="192"/>
                    </a:lnTo>
                    <a:lnTo>
                      <a:pt x="284" y="194"/>
                    </a:lnTo>
                    <a:lnTo>
                      <a:pt x="284" y="194"/>
                    </a:lnTo>
                    <a:lnTo>
                      <a:pt x="286" y="194"/>
                    </a:lnTo>
                    <a:lnTo>
                      <a:pt x="288" y="202"/>
                    </a:lnTo>
                    <a:lnTo>
                      <a:pt x="294" y="206"/>
                    </a:lnTo>
                    <a:lnTo>
                      <a:pt x="294" y="206"/>
                    </a:lnTo>
                    <a:lnTo>
                      <a:pt x="294" y="208"/>
                    </a:lnTo>
                    <a:lnTo>
                      <a:pt x="294" y="208"/>
                    </a:lnTo>
                    <a:lnTo>
                      <a:pt x="294" y="210"/>
                    </a:lnTo>
                    <a:lnTo>
                      <a:pt x="234" y="246"/>
                    </a:lnTo>
                    <a:lnTo>
                      <a:pt x="202" y="274"/>
                    </a:lnTo>
                    <a:lnTo>
                      <a:pt x="202" y="274"/>
                    </a:lnTo>
                    <a:lnTo>
                      <a:pt x="200" y="274"/>
                    </a:lnTo>
                    <a:lnTo>
                      <a:pt x="182" y="278"/>
                    </a:lnTo>
                    <a:lnTo>
                      <a:pt x="182" y="278"/>
                    </a:lnTo>
                    <a:lnTo>
                      <a:pt x="166" y="280"/>
                    </a:lnTo>
                    <a:lnTo>
                      <a:pt x="166" y="2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1" name="Freeform 351"/>
              <p:cNvSpPr>
                <a:spLocks noEditPoints="1"/>
              </p:cNvSpPr>
              <p:nvPr/>
            </p:nvSpPr>
            <p:spPr bwMode="auto">
              <a:xfrm>
                <a:off x="2739" y="1973"/>
                <a:ext cx="298" cy="284"/>
              </a:xfrm>
              <a:custGeom>
                <a:avLst/>
                <a:gdLst>
                  <a:gd name="T0" fmla="*/ 240 w 298"/>
                  <a:gd name="T1" fmla="*/ 40 h 284"/>
                  <a:gd name="T2" fmla="*/ 250 w 298"/>
                  <a:gd name="T3" fmla="*/ 80 h 284"/>
                  <a:gd name="T4" fmla="*/ 262 w 298"/>
                  <a:gd name="T5" fmla="*/ 122 h 284"/>
                  <a:gd name="T6" fmla="*/ 260 w 298"/>
                  <a:gd name="T7" fmla="*/ 176 h 284"/>
                  <a:gd name="T8" fmla="*/ 288 w 298"/>
                  <a:gd name="T9" fmla="*/ 204 h 284"/>
                  <a:gd name="T10" fmla="*/ 202 w 298"/>
                  <a:gd name="T11" fmla="*/ 274 h 284"/>
                  <a:gd name="T12" fmla="*/ 170 w 298"/>
                  <a:gd name="T13" fmla="*/ 266 h 284"/>
                  <a:gd name="T14" fmla="*/ 4 w 298"/>
                  <a:gd name="T15" fmla="*/ 150 h 284"/>
                  <a:gd name="T16" fmla="*/ 50 w 298"/>
                  <a:gd name="T17" fmla="*/ 114 h 284"/>
                  <a:gd name="T18" fmla="*/ 88 w 298"/>
                  <a:gd name="T19" fmla="*/ 80 h 284"/>
                  <a:gd name="T20" fmla="*/ 102 w 298"/>
                  <a:gd name="T21" fmla="*/ 62 h 284"/>
                  <a:gd name="T22" fmla="*/ 114 w 298"/>
                  <a:gd name="T23" fmla="*/ 24 h 284"/>
                  <a:gd name="T24" fmla="*/ 162 w 298"/>
                  <a:gd name="T25" fmla="*/ 10 h 284"/>
                  <a:gd name="T26" fmla="*/ 202 w 298"/>
                  <a:gd name="T27" fmla="*/ 10 h 284"/>
                  <a:gd name="T28" fmla="*/ 234 w 298"/>
                  <a:gd name="T29" fmla="*/ 4 h 284"/>
                  <a:gd name="T30" fmla="*/ 212 w 298"/>
                  <a:gd name="T31" fmla="*/ 0 h 284"/>
                  <a:gd name="T32" fmla="*/ 202 w 298"/>
                  <a:gd name="T33" fmla="*/ 6 h 284"/>
                  <a:gd name="T34" fmla="*/ 196 w 298"/>
                  <a:gd name="T35" fmla="*/ 4 h 284"/>
                  <a:gd name="T36" fmla="*/ 182 w 298"/>
                  <a:gd name="T37" fmla="*/ 2 h 284"/>
                  <a:gd name="T38" fmla="*/ 160 w 298"/>
                  <a:gd name="T39" fmla="*/ 6 h 284"/>
                  <a:gd name="T40" fmla="*/ 136 w 298"/>
                  <a:gd name="T41" fmla="*/ 10 h 284"/>
                  <a:gd name="T42" fmla="*/ 114 w 298"/>
                  <a:gd name="T43" fmla="*/ 20 h 284"/>
                  <a:gd name="T44" fmla="*/ 98 w 298"/>
                  <a:gd name="T45" fmla="*/ 32 h 284"/>
                  <a:gd name="T46" fmla="*/ 98 w 298"/>
                  <a:gd name="T47" fmla="*/ 40 h 284"/>
                  <a:gd name="T48" fmla="*/ 98 w 298"/>
                  <a:gd name="T49" fmla="*/ 66 h 284"/>
                  <a:gd name="T50" fmla="*/ 88 w 298"/>
                  <a:gd name="T51" fmla="*/ 76 h 284"/>
                  <a:gd name="T52" fmla="*/ 72 w 298"/>
                  <a:gd name="T53" fmla="*/ 86 h 284"/>
                  <a:gd name="T54" fmla="*/ 68 w 298"/>
                  <a:gd name="T55" fmla="*/ 94 h 284"/>
                  <a:gd name="T56" fmla="*/ 30 w 298"/>
                  <a:gd name="T57" fmla="*/ 112 h 284"/>
                  <a:gd name="T58" fmla="*/ 0 w 298"/>
                  <a:gd name="T59" fmla="*/ 130 h 284"/>
                  <a:gd name="T60" fmla="*/ 0 w 298"/>
                  <a:gd name="T61" fmla="*/ 150 h 284"/>
                  <a:gd name="T62" fmla="*/ 150 w 298"/>
                  <a:gd name="T63" fmla="*/ 260 h 284"/>
                  <a:gd name="T64" fmla="*/ 166 w 298"/>
                  <a:gd name="T65" fmla="*/ 268 h 284"/>
                  <a:gd name="T66" fmla="*/ 166 w 298"/>
                  <a:gd name="T67" fmla="*/ 282 h 284"/>
                  <a:gd name="T68" fmla="*/ 168 w 298"/>
                  <a:gd name="T69" fmla="*/ 284 h 284"/>
                  <a:gd name="T70" fmla="*/ 202 w 298"/>
                  <a:gd name="T71" fmla="*/ 278 h 284"/>
                  <a:gd name="T72" fmla="*/ 238 w 298"/>
                  <a:gd name="T73" fmla="*/ 248 h 284"/>
                  <a:gd name="T74" fmla="*/ 298 w 298"/>
                  <a:gd name="T75" fmla="*/ 210 h 284"/>
                  <a:gd name="T76" fmla="*/ 292 w 298"/>
                  <a:gd name="T77" fmla="*/ 202 h 284"/>
                  <a:gd name="T78" fmla="*/ 286 w 298"/>
                  <a:gd name="T79" fmla="*/ 194 h 284"/>
                  <a:gd name="T80" fmla="*/ 262 w 298"/>
                  <a:gd name="T81" fmla="*/ 170 h 284"/>
                  <a:gd name="T82" fmla="*/ 266 w 298"/>
                  <a:gd name="T83" fmla="*/ 166 h 284"/>
                  <a:gd name="T84" fmla="*/ 264 w 298"/>
                  <a:gd name="T85" fmla="*/ 106 h 284"/>
                  <a:gd name="T86" fmla="*/ 262 w 298"/>
                  <a:gd name="T87" fmla="*/ 104 h 284"/>
                  <a:gd name="T88" fmla="*/ 254 w 298"/>
                  <a:gd name="T89" fmla="*/ 80 h 284"/>
                  <a:gd name="T90" fmla="*/ 234 w 298"/>
                  <a:gd name="T91" fmla="*/ 50 h 284"/>
                  <a:gd name="T92" fmla="*/ 244 w 298"/>
                  <a:gd name="T93" fmla="*/ 40 h 284"/>
                  <a:gd name="T94" fmla="*/ 242 w 298"/>
                  <a:gd name="T95" fmla="*/ 4 h 284"/>
                  <a:gd name="T96" fmla="*/ 234 w 298"/>
                  <a:gd name="T9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284">
                    <a:moveTo>
                      <a:pt x="234" y="4"/>
                    </a:moveTo>
                    <a:lnTo>
                      <a:pt x="240" y="8"/>
                    </a:lnTo>
                    <a:lnTo>
                      <a:pt x="240" y="40"/>
                    </a:lnTo>
                    <a:lnTo>
                      <a:pt x="230" y="48"/>
                    </a:lnTo>
                    <a:lnTo>
                      <a:pt x="230" y="56"/>
                    </a:lnTo>
                    <a:lnTo>
                      <a:pt x="250" y="80"/>
                    </a:lnTo>
                    <a:lnTo>
                      <a:pt x="254" y="106"/>
                    </a:lnTo>
                    <a:lnTo>
                      <a:pt x="260" y="108"/>
                    </a:lnTo>
                    <a:lnTo>
                      <a:pt x="262" y="122"/>
                    </a:lnTo>
                    <a:lnTo>
                      <a:pt x="264" y="164"/>
                    </a:lnTo>
                    <a:lnTo>
                      <a:pt x="256" y="168"/>
                    </a:lnTo>
                    <a:lnTo>
                      <a:pt x="260" y="176"/>
                    </a:lnTo>
                    <a:lnTo>
                      <a:pt x="268" y="196"/>
                    </a:lnTo>
                    <a:lnTo>
                      <a:pt x="286" y="198"/>
                    </a:lnTo>
                    <a:lnTo>
                      <a:pt x="288" y="204"/>
                    </a:lnTo>
                    <a:lnTo>
                      <a:pt x="294" y="210"/>
                    </a:lnTo>
                    <a:lnTo>
                      <a:pt x="236" y="246"/>
                    </a:lnTo>
                    <a:lnTo>
                      <a:pt x="202" y="274"/>
                    </a:lnTo>
                    <a:lnTo>
                      <a:pt x="184" y="278"/>
                    </a:lnTo>
                    <a:lnTo>
                      <a:pt x="168" y="280"/>
                    </a:lnTo>
                    <a:lnTo>
                      <a:pt x="170" y="266"/>
                    </a:lnTo>
                    <a:lnTo>
                      <a:pt x="152" y="258"/>
                    </a:lnTo>
                    <a:lnTo>
                      <a:pt x="144" y="250"/>
                    </a:lnTo>
                    <a:lnTo>
                      <a:pt x="4" y="150"/>
                    </a:lnTo>
                    <a:lnTo>
                      <a:pt x="4" y="134"/>
                    </a:lnTo>
                    <a:lnTo>
                      <a:pt x="32" y="116"/>
                    </a:lnTo>
                    <a:lnTo>
                      <a:pt x="50" y="114"/>
                    </a:lnTo>
                    <a:lnTo>
                      <a:pt x="72" y="96"/>
                    </a:lnTo>
                    <a:lnTo>
                      <a:pt x="74" y="90"/>
                    </a:lnTo>
                    <a:lnTo>
                      <a:pt x="88" y="80"/>
                    </a:lnTo>
                    <a:lnTo>
                      <a:pt x="108" y="78"/>
                    </a:lnTo>
                    <a:lnTo>
                      <a:pt x="108" y="72"/>
                    </a:lnTo>
                    <a:lnTo>
                      <a:pt x="102" y="62"/>
                    </a:lnTo>
                    <a:lnTo>
                      <a:pt x="102" y="40"/>
                    </a:lnTo>
                    <a:lnTo>
                      <a:pt x="100" y="34"/>
                    </a:lnTo>
                    <a:lnTo>
                      <a:pt x="114" y="24"/>
                    </a:lnTo>
                    <a:lnTo>
                      <a:pt x="124" y="22"/>
                    </a:lnTo>
                    <a:lnTo>
                      <a:pt x="138" y="14"/>
                    </a:lnTo>
                    <a:lnTo>
                      <a:pt x="162" y="10"/>
                    </a:lnTo>
                    <a:lnTo>
                      <a:pt x="182" y="6"/>
                    </a:lnTo>
                    <a:lnTo>
                      <a:pt x="194" y="8"/>
                    </a:lnTo>
                    <a:lnTo>
                      <a:pt x="202" y="10"/>
                    </a:lnTo>
                    <a:lnTo>
                      <a:pt x="212" y="4"/>
                    </a:lnTo>
                    <a:lnTo>
                      <a:pt x="226" y="4"/>
                    </a:lnTo>
                    <a:lnTo>
                      <a:pt x="234" y="4"/>
                    </a:lnTo>
                    <a:close/>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2" name="Freeform 352"/>
              <p:cNvSpPr>
                <a:spLocks/>
              </p:cNvSpPr>
              <p:nvPr/>
            </p:nvSpPr>
            <p:spPr bwMode="auto">
              <a:xfrm>
                <a:off x="2743" y="1977"/>
                <a:ext cx="290" cy="276"/>
              </a:xfrm>
              <a:custGeom>
                <a:avLst/>
                <a:gdLst>
                  <a:gd name="T0" fmla="*/ 230 w 290"/>
                  <a:gd name="T1" fmla="*/ 0 h 276"/>
                  <a:gd name="T2" fmla="*/ 236 w 290"/>
                  <a:gd name="T3" fmla="*/ 4 h 276"/>
                  <a:gd name="T4" fmla="*/ 236 w 290"/>
                  <a:gd name="T5" fmla="*/ 36 h 276"/>
                  <a:gd name="T6" fmla="*/ 226 w 290"/>
                  <a:gd name="T7" fmla="*/ 44 h 276"/>
                  <a:gd name="T8" fmla="*/ 226 w 290"/>
                  <a:gd name="T9" fmla="*/ 52 h 276"/>
                  <a:gd name="T10" fmla="*/ 246 w 290"/>
                  <a:gd name="T11" fmla="*/ 76 h 276"/>
                  <a:gd name="T12" fmla="*/ 250 w 290"/>
                  <a:gd name="T13" fmla="*/ 102 h 276"/>
                  <a:gd name="T14" fmla="*/ 256 w 290"/>
                  <a:gd name="T15" fmla="*/ 104 h 276"/>
                  <a:gd name="T16" fmla="*/ 258 w 290"/>
                  <a:gd name="T17" fmla="*/ 118 h 276"/>
                  <a:gd name="T18" fmla="*/ 260 w 290"/>
                  <a:gd name="T19" fmla="*/ 160 h 276"/>
                  <a:gd name="T20" fmla="*/ 252 w 290"/>
                  <a:gd name="T21" fmla="*/ 164 h 276"/>
                  <a:gd name="T22" fmla="*/ 256 w 290"/>
                  <a:gd name="T23" fmla="*/ 172 h 276"/>
                  <a:gd name="T24" fmla="*/ 264 w 290"/>
                  <a:gd name="T25" fmla="*/ 192 h 276"/>
                  <a:gd name="T26" fmla="*/ 282 w 290"/>
                  <a:gd name="T27" fmla="*/ 194 h 276"/>
                  <a:gd name="T28" fmla="*/ 284 w 290"/>
                  <a:gd name="T29" fmla="*/ 200 h 276"/>
                  <a:gd name="T30" fmla="*/ 290 w 290"/>
                  <a:gd name="T31" fmla="*/ 206 h 276"/>
                  <a:gd name="T32" fmla="*/ 232 w 290"/>
                  <a:gd name="T33" fmla="*/ 242 h 276"/>
                  <a:gd name="T34" fmla="*/ 198 w 290"/>
                  <a:gd name="T35" fmla="*/ 270 h 276"/>
                  <a:gd name="T36" fmla="*/ 180 w 290"/>
                  <a:gd name="T37" fmla="*/ 274 h 276"/>
                  <a:gd name="T38" fmla="*/ 164 w 290"/>
                  <a:gd name="T39" fmla="*/ 276 h 276"/>
                  <a:gd name="T40" fmla="*/ 166 w 290"/>
                  <a:gd name="T41" fmla="*/ 262 h 276"/>
                  <a:gd name="T42" fmla="*/ 148 w 290"/>
                  <a:gd name="T43" fmla="*/ 254 h 276"/>
                  <a:gd name="T44" fmla="*/ 140 w 290"/>
                  <a:gd name="T45" fmla="*/ 246 h 276"/>
                  <a:gd name="T46" fmla="*/ 0 w 290"/>
                  <a:gd name="T47" fmla="*/ 146 h 276"/>
                  <a:gd name="T48" fmla="*/ 0 w 290"/>
                  <a:gd name="T49" fmla="*/ 130 h 276"/>
                  <a:gd name="T50" fmla="*/ 28 w 290"/>
                  <a:gd name="T51" fmla="*/ 112 h 276"/>
                  <a:gd name="T52" fmla="*/ 46 w 290"/>
                  <a:gd name="T53" fmla="*/ 110 h 276"/>
                  <a:gd name="T54" fmla="*/ 68 w 290"/>
                  <a:gd name="T55" fmla="*/ 92 h 276"/>
                  <a:gd name="T56" fmla="*/ 70 w 290"/>
                  <a:gd name="T57" fmla="*/ 86 h 276"/>
                  <a:gd name="T58" fmla="*/ 84 w 290"/>
                  <a:gd name="T59" fmla="*/ 76 h 276"/>
                  <a:gd name="T60" fmla="*/ 104 w 290"/>
                  <a:gd name="T61" fmla="*/ 74 h 276"/>
                  <a:gd name="T62" fmla="*/ 104 w 290"/>
                  <a:gd name="T63" fmla="*/ 68 h 276"/>
                  <a:gd name="T64" fmla="*/ 98 w 290"/>
                  <a:gd name="T65" fmla="*/ 58 h 276"/>
                  <a:gd name="T66" fmla="*/ 98 w 290"/>
                  <a:gd name="T67" fmla="*/ 36 h 276"/>
                  <a:gd name="T68" fmla="*/ 96 w 290"/>
                  <a:gd name="T69" fmla="*/ 30 h 276"/>
                  <a:gd name="T70" fmla="*/ 110 w 290"/>
                  <a:gd name="T71" fmla="*/ 20 h 276"/>
                  <a:gd name="T72" fmla="*/ 120 w 290"/>
                  <a:gd name="T73" fmla="*/ 18 h 276"/>
                  <a:gd name="T74" fmla="*/ 134 w 290"/>
                  <a:gd name="T75" fmla="*/ 10 h 276"/>
                  <a:gd name="T76" fmla="*/ 158 w 290"/>
                  <a:gd name="T77" fmla="*/ 6 h 276"/>
                  <a:gd name="T78" fmla="*/ 178 w 290"/>
                  <a:gd name="T79" fmla="*/ 2 h 276"/>
                  <a:gd name="T80" fmla="*/ 190 w 290"/>
                  <a:gd name="T81" fmla="*/ 4 h 276"/>
                  <a:gd name="T82" fmla="*/ 198 w 290"/>
                  <a:gd name="T83" fmla="*/ 6 h 276"/>
                  <a:gd name="T84" fmla="*/ 208 w 290"/>
                  <a:gd name="T85" fmla="*/ 0 h 276"/>
                  <a:gd name="T86" fmla="*/ 222 w 290"/>
                  <a:gd name="T87" fmla="*/ 0 h 276"/>
                  <a:gd name="T88" fmla="*/ 230 w 290"/>
                  <a:gd name="T8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0" h="276">
                    <a:moveTo>
                      <a:pt x="230" y="0"/>
                    </a:moveTo>
                    <a:lnTo>
                      <a:pt x="236" y="4"/>
                    </a:lnTo>
                    <a:lnTo>
                      <a:pt x="236" y="36"/>
                    </a:lnTo>
                    <a:lnTo>
                      <a:pt x="226" y="44"/>
                    </a:lnTo>
                    <a:lnTo>
                      <a:pt x="226" y="52"/>
                    </a:lnTo>
                    <a:lnTo>
                      <a:pt x="246" y="76"/>
                    </a:lnTo>
                    <a:lnTo>
                      <a:pt x="250" y="102"/>
                    </a:lnTo>
                    <a:lnTo>
                      <a:pt x="256" y="104"/>
                    </a:lnTo>
                    <a:lnTo>
                      <a:pt x="258" y="118"/>
                    </a:lnTo>
                    <a:lnTo>
                      <a:pt x="260" y="160"/>
                    </a:lnTo>
                    <a:lnTo>
                      <a:pt x="252" y="164"/>
                    </a:lnTo>
                    <a:lnTo>
                      <a:pt x="256" y="172"/>
                    </a:lnTo>
                    <a:lnTo>
                      <a:pt x="264" y="192"/>
                    </a:lnTo>
                    <a:lnTo>
                      <a:pt x="282" y="194"/>
                    </a:lnTo>
                    <a:lnTo>
                      <a:pt x="284" y="200"/>
                    </a:lnTo>
                    <a:lnTo>
                      <a:pt x="290" y="206"/>
                    </a:lnTo>
                    <a:lnTo>
                      <a:pt x="232" y="242"/>
                    </a:lnTo>
                    <a:lnTo>
                      <a:pt x="198" y="270"/>
                    </a:lnTo>
                    <a:lnTo>
                      <a:pt x="180" y="274"/>
                    </a:lnTo>
                    <a:lnTo>
                      <a:pt x="164" y="276"/>
                    </a:lnTo>
                    <a:lnTo>
                      <a:pt x="166" y="262"/>
                    </a:lnTo>
                    <a:lnTo>
                      <a:pt x="148" y="254"/>
                    </a:lnTo>
                    <a:lnTo>
                      <a:pt x="140" y="246"/>
                    </a:lnTo>
                    <a:lnTo>
                      <a:pt x="0" y="146"/>
                    </a:lnTo>
                    <a:lnTo>
                      <a:pt x="0" y="130"/>
                    </a:lnTo>
                    <a:lnTo>
                      <a:pt x="28" y="112"/>
                    </a:lnTo>
                    <a:lnTo>
                      <a:pt x="46" y="110"/>
                    </a:lnTo>
                    <a:lnTo>
                      <a:pt x="68" y="92"/>
                    </a:lnTo>
                    <a:lnTo>
                      <a:pt x="70" y="86"/>
                    </a:lnTo>
                    <a:lnTo>
                      <a:pt x="84" y="76"/>
                    </a:lnTo>
                    <a:lnTo>
                      <a:pt x="104" y="74"/>
                    </a:lnTo>
                    <a:lnTo>
                      <a:pt x="104" y="68"/>
                    </a:lnTo>
                    <a:lnTo>
                      <a:pt x="98" y="58"/>
                    </a:lnTo>
                    <a:lnTo>
                      <a:pt x="98" y="36"/>
                    </a:lnTo>
                    <a:lnTo>
                      <a:pt x="96" y="30"/>
                    </a:lnTo>
                    <a:lnTo>
                      <a:pt x="110" y="20"/>
                    </a:lnTo>
                    <a:lnTo>
                      <a:pt x="120" y="18"/>
                    </a:lnTo>
                    <a:lnTo>
                      <a:pt x="134" y="10"/>
                    </a:lnTo>
                    <a:lnTo>
                      <a:pt x="158" y="6"/>
                    </a:lnTo>
                    <a:lnTo>
                      <a:pt x="178" y="2"/>
                    </a:lnTo>
                    <a:lnTo>
                      <a:pt x="190" y="4"/>
                    </a:lnTo>
                    <a:lnTo>
                      <a:pt x="198" y="6"/>
                    </a:lnTo>
                    <a:lnTo>
                      <a:pt x="208" y="0"/>
                    </a:lnTo>
                    <a:lnTo>
                      <a:pt x="222" y="0"/>
                    </a:lnTo>
                    <a:lnTo>
                      <a:pt x="2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3" name="Freeform 353"/>
              <p:cNvSpPr>
                <a:spLocks/>
              </p:cNvSpPr>
              <p:nvPr/>
            </p:nvSpPr>
            <p:spPr bwMode="auto">
              <a:xfrm>
                <a:off x="2739" y="1973"/>
                <a:ext cx="298" cy="284"/>
              </a:xfrm>
              <a:custGeom>
                <a:avLst/>
                <a:gdLst>
                  <a:gd name="T0" fmla="*/ 226 w 298"/>
                  <a:gd name="T1" fmla="*/ 0 h 284"/>
                  <a:gd name="T2" fmla="*/ 212 w 298"/>
                  <a:gd name="T3" fmla="*/ 0 h 284"/>
                  <a:gd name="T4" fmla="*/ 202 w 298"/>
                  <a:gd name="T5" fmla="*/ 6 h 284"/>
                  <a:gd name="T6" fmla="*/ 196 w 298"/>
                  <a:gd name="T7" fmla="*/ 4 h 284"/>
                  <a:gd name="T8" fmla="*/ 182 w 298"/>
                  <a:gd name="T9" fmla="*/ 2 h 284"/>
                  <a:gd name="T10" fmla="*/ 182 w 298"/>
                  <a:gd name="T11" fmla="*/ 2 h 284"/>
                  <a:gd name="T12" fmla="*/ 182 w 298"/>
                  <a:gd name="T13" fmla="*/ 2 h 284"/>
                  <a:gd name="T14" fmla="*/ 138 w 298"/>
                  <a:gd name="T15" fmla="*/ 10 h 284"/>
                  <a:gd name="T16" fmla="*/ 136 w 298"/>
                  <a:gd name="T17" fmla="*/ 10 h 284"/>
                  <a:gd name="T18" fmla="*/ 114 w 298"/>
                  <a:gd name="T19" fmla="*/ 20 h 284"/>
                  <a:gd name="T20" fmla="*/ 112 w 298"/>
                  <a:gd name="T21" fmla="*/ 20 h 284"/>
                  <a:gd name="T22" fmla="*/ 98 w 298"/>
                  <a:gd name="T23" fmla="*/ 32 h 284"/>
                  <a:gd name="T24" fmla="*/ 96 w 298"/>
                  <a:gd name="T25" fmla="*/ 36 h 284"/>
                  <a:gd name="T26" fmla="*/ 98 w 298"/>
                  <a:gd name="T27" fmla="*/ 62 h 284"/>
                  <a:gd name="T28" fmla="*/ 98 w 298"/>
                  <a:gd name="T29" fmla="*/ 66 h 284"/>
                  <a:gd name="T30" fmla="*/ 104 w 298"/>
                  <a:gd name="T31" fmla="*/ 76 h 284"/>
                  <a:gd name="T32" fmla="*/ 88 w 298"/>
                  <a:gd name="T33" fmla="*/ 76 h 284"/>
                  <a:gd name="T34" fmla="*/ 72 w 298"/>
                  <a:gd name="T35" fmla="*/ 86 h 284"/>
                  <a:gd name="T36" fmla="*/ 70 w 298"/>
                  <a:gd name="T37" fmla="*/ 88 h 284"/>
                  <a:gd name="T38" fmla="*/ 48 w 298"/>
                  <a:gd name="T39" fmla="*/ 110 h 284"/>
                  <a:gd name="T40" fmla="*/ 30 w 298"/>
                  <a:gd name="T41" fmla="*/ 112 h 284"/>
                  <a:gd name="T42" fmla="*/ 0 w 298"/>
                  <a:gd name="T43" fmla="*/ 130 h 284"/>
                  <a:gd name="T44" fmla="*/ 0 w 298"/>
                  <a:gd name="T45" fmla="*/ 134 h 284"/>
                  <a:gd name="T46" fmla="*/ 0 w 298"/>
                  <a:gd name="T47" fmla="*/ 150 h 284"/>
                  <a:gd name="T48" fmla="*/ 142 w 298"/>
                  <a:gd name="T49" fmla="*/ 252 h 284"/>
                  <a:gd name="T50" fmla="*/ 150 w 298"/>
                  <a:gd name="T51" fmla="*/ 260 h 284"/>
                  <a:gd name="T52" fmla="*/ 166 w 298"/>
                  <a:gd name="T53" fmla="*/ 268 h 284"/>
                  <a:gd name="T54" fmla="*/ 164 w 298"/>
                  <a:gd name="T55" fmla="*/ 278 h 284"/>
                  <a:gd name="T56" fmla="*/ 166 w 298"/>
                  <a:gd name="T57" fmla="*/ 282 h 284"/>
                  <a:gd name="T58" fmla="*/ 168 w 298"/>
                  <a:gd name="T59" fmla="*/ 284 h 284"/>
                  <a:gd name="T60" fmla="*/ 184 w 298"/>
                  <a:gd name="T61" fmla="*/ 282 h 284"/>
                  <a:gd name="T62" fmla="*/ 202 w 298"/>
                  <a:gd name="T63" fmla="*/ 278 h 284"/>
                  <a:gd name="T64" fmla="*/ 238 w 298"/>
                  <a:gd name="T65" fmla="*/ 248 h 284"/>
                  <a:gd name="T66" fmla="*/ 296 w 298"/>
                  <a:gd name="T67" fmla="*/ 214 h 284"/>
                  <a:gd name="T68" fmla="*/ 298 w 298"/>
                  <a:gd name="T69" fmla="*/ 210 h 284"/>
                  <a:gd name="T70" fmla="*/ 292 w 298"/>
                  <a:gd name="T71" fmla="*/ 202 h 284"/>
                  <a:gd name="T72" fmla="*/ 288 w 298"/>
                  <a:gd name="T73" fmla="*/ 196 h 284"/>
                  <a:gd name="T74" fmla="*/ 272 w 298"/>
                  <a:gd name="T75" fmla="*/ 192 h 284"/>
                  <a:gd name="T76" fmla="*/ 262 w 298"/>
                  <a:gd name="T77" fmla="*/ 170 h 284"/>
                  <a:gd name="T78" fmla="*/ 266 w 298"/>
                  <a:gd name="T79" fmla="*/ 168 h 284"/>
                  <a:gd name="T80" fmla="*/ 268 w 298"/>
                  <a:gd name="T81" fmla="*/ 164 h 284"/>
                  <a:gd name="T82" fmla="*/ 264 w 298"/>
                  <a:gd name="T83" fmla="*/ 106 h 284"/>
                  <a:gd name="T84" fmla="*/ 262 w 298"/>
                  <a:gd name="T85" fmla="*/ 104 h 284"/>
                  <a:gd name="T86" fmla="*/ 258 w 298"/>
                  <a:gd name="T87" fmla="*/ 102 h 284"/>
                  <a:gd name="T88" fmla="*/ 254 w 298"/>
                  <a:gd name="T89" fmla="*/ 80 h 284"/>
                  <a:gd name="T90" fmla="*/ 234 w 298"/>
                  <a:gd name="T91" fmla="*/ 54 h 284"/>
                  <a:gd name="T92" fmla="*/ 242 w 298"/>
                  <a:gd name="T93" fmla="*/ 42 h 284"/>
                  <a:gd name="T94" fmla="*/ 244 w 298"/>
                  <a:gd name="T95" fmla="*/ 40 h 284"/>
                  <a:gd name="T96" fmla="*/ 244 w 298"/>
                  <a:gd name="T97" fmla="*/ 8 h 284"/>
                  <a:gd name="T98" fmla="*/ 236 w 298"/>
                  <a:gd name="T99" fmla="*/ 0 h 284"/>
                  <a:gd name="T100" fmla="*/ 234 w 298"/>
                  <a:gd name="T10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8" h="284">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4" name="Freeform 354"/>
              <p:cNvSpPr>
                <a:spLocks/>
              </p:cNvSpPr>
              <p:nvPr/>
            </p:nvSpPr>
            <p:spPr bwMode="auto">
              <a:xfrm>
                <a:off x="2679" y="1993"/>
                <a:ext cx="172" cy="132"/>
              </a:xfrm>
              <a:custGeom>
                <a:avLst/>
                <a:gdLst>
                  <a:gd name="T0" fmla="*/ 2 w 172"/>
                  <a:gd name="T1" fmla="*/ 132 h 132"/>
                  <a:gd name="T2" fmla="*/ 2 w 172"/>
                  <a:gd name="T3" fmla="*/ 132 h 132"/>
                  <a:gd name="T4" fmla="*/ 0 w 172"/>
                  <a:gd name="T5" fmla="*/ 130 h 132"/>
                  <a:gd name="T6" fmla="*/ 0 w 172"/>
                  <a:gd name="T7" fmla="*/ 130 h 132"/>
                  <a:gd name="T8" fmla="*/ 0 w 172"/>
                  <a:gd name="T9" fmla="*/ 128 h 132"/>
                  <a:gd name="T10" fmla="*/ 10 w 172"/>
                  <a:gd name="T11" fmla="*/ 124 h 132"/>
                  <a:gd name="T12" fmla="*/ 26 w 172"/>
                  <a:gd name="T13" fmla="*/ 114 h 132"/>
                  <a:gd name="T14" fmla="*/ 44 w 172"/>
                  <a:gd name="T15" fmla="*/ 98 h 132"/>
                  <a:gd name="T16" fmla="*/ 46 w 172"/>
                  <a:gd name="T17" fmla="*/ 94 h 132"/>
                  <a:gd name="T18" fmla="*/ 46 w 172"/>
                  <a:gd name="T19" fmla="*/ 62 h 132"/>
                  <a:gd name="T20" fmla="*/ 46 w 172"/>
                  <a:gd name="T21" fmla="*/ 62 h 132"/>
                  <a:gd name="T22" fmla="*/ 46 w 172"/>
                  <a:gd name="T23" fmla="*/ 60 h 132"/>
                  <a:gd name="T24" fmla="*/ 56 w 172"/>
                  <a:gd name="T25" fmla="*/ 50 h 132"/>
                  <a:gd name="T26" fmla="*/ 66 w 172"/>
                  <a:gd name="T27" fmla="*/ 40 h 132"/>
                  <a:gd name="T28" fmla="*/ 66 w 172"/>
                  <a:gd name="T29" fmla="*/ 40 h 132"/>
                  <a:gd name="T30" fmla="*/ 68 w 172"/>
                  <a:gd name="T31" fmla="*/ 38 h 132"/>
                  <a:gd name="T32" fmla="*/ 80 w 172"/>
                  <a:gd name="T33" fmla="*/ 36 h 132"/>
                  <a:gd name="T34" fmla="*/ 90 w 172"/>
                  <a:gd name="T35" fmla="*/ 26 h 132"/>
                  <a:gd name="T36" fmla="*/ 96 w 172"/>
                  <a:gd name="T37" fmla="*/ 14 h 132"/>
                  <a:gd name="T38" fmla="*/ 100 w 172"/>
                  <a:gd name="T39" fmla="*/ 4 h 132"/>
                  <a:gd name="T40" fmla="*/ 100 w 172"/>
                  <a:gd name="T41" fmla="*/ 4 h 132"/>
                  <a:gd name="T42" fmla="*/ 100 w 172"/>
                  <a:gd name="T43" fmla="*/ 4 h 132"/>
                  <a:gd name="T44" fmla="*/ 104 w 172"/>
                  <a:gd name="T45" fmla="*/ 0 h 132"/>
                  <a:gd name="T46" fmla="*/ 104 w 172"/>
                  <a:gd name="T47" fmla="*/ 0 h 132"/>
                  <a:gd name="T48" fmla="*/ 106 w 172"/>
                  <a:gd name="T49" fmla="*/ 0 h 132"/>
                  <a:gd name="T50" fmla="*/ 110 w 172"/>
                  <a:gd name="T51" fmla="*/ 0 h 132"/>
                  <a:gd name="T52" fmla="*/ 110 w 172"/>
                  <a:gd name="T53" fmla="*/ 0 h 132"/>
                  <a:gd name="T54" fmla="*/ 112 w 172"/>
                  <a:gd name="T55" fmla="*/ 0 h 132"/>
                  <a:gd name="T56" fmla="*/ 116 w 172"/>
                  <a:gd name="T57" fmla="*/ 8 h 132"/>
                  <a:gd name="T58" fmla="*/ 120 w 172"/>
                  <a:gd name="T59" fmla="*/ 10 h 132"/>
                  <a:gd name="T60" fmla="*/ 138 w 172"/>
                  <a:gd name="T61" fmla="*/ 8 h 132"/>
                  <a:gd name="T62" fmla="*/ 148 w 172"/>
                  <a:gd name="T63" fmla="*/ 8 h 132"/>
                  <a:gd name="T64" fmla="*/ 148 w 172"/>
                  <a:gd name="T65" fmla="*/ 8 h 132"/>
                  <a:gd name="T66" fmla="*/ 150 w 172"/>
                  <a:gd name="T67" fmla="*/ 8 h 132"/>
                  <a:gd name="T68" fmla="*/ 152 w 172"/>
                  <a:gd name="T69" fmla="*/ 12 h 132"/>
                  <a:gd name="T70" fmla="*/ 160 w 172"/>
                  <a:gd name="T71" fmla="*/ 12 h 132"/>
                  <a:gd name="T72" fmla="*/ 160 w 172"/>
                  <a:gd name="T73" fmla="*/ 12 h 132"/>
                  <a:gd name="T74" fmla="*/ 162 w 172"/>
                  <a:gd name="T75" fmla="*/ 14 h 132"/>
                  <a:gd name="T76" fmla="*/ 164 w 172"/>
                  <a:gd name="T77" fmla="*/ 18 h 132"/>
                  <a:gd name="T78" fmla="*/ 164 w 172"/>
                  <a:gd name="T79" fmla="*/ 42 h 132"/>
                  <a:gd name="T80" fmla="*/ 170 w 172"/>
                  <a:gd name="T81" fmla="*/ 50 h 132"/>
                  <a:gd name="T82" fmla="*/ 170 w 172"/>
                  <a:gd name="T83" fmla="*/ 50 h 132"/>
                  <a:gd name="T84" fmla="*/ 172 w 172"/>
                  <a:gd name="T85" fmla="*/ 52 h 132"/>
                  <a:gd name="T86" fmla="*/ 172 w 172"/>
                  <a:gd name="T87" fmla="*/ 58 h 132"/>
                  <a:gd name="T88" fmla="*/ 172 w 172"/>
                  <a:gd name="T89" fmla="*/ 58 h 132"/>
                  <a:gd name="T90" fmla="*/ 170 w 172"/>
                  <a:gd name="T91" fmla="*/ 60 h 132"/>
                  <a:gd name="T92" fmla="*/ 148 w 172"/>
                  <a:gd name="T93" fmla="*/ 62 h 132"/>
                  <a:gd name="T94" fmla="*/ 136 w 172"/>
                  <a:gd name="T95" fmla="*/ 70 h 132"/>
                  <a:gd name="T96" fmla="*/ 134 w 172"/>
                  <a:gd name="T97" fmla="*/ 78 h 132"/>
                  <a:gd name="T98" fmla="*/ 134 w 172"/>
                  <a:gd name="T99" fmla="*/ 78 h 132"/>
                  <a:gd name="T100" fmla="*/ 134 w 172"/>
                  <a:gd name="T101" fmla="*/ 78 h 132"/>
                  <a:gd name="T102" fmla="*/ 112 w 172"/>
                  <a:gd name="T103" fmla="*/ 96 h 132"/>
                  <a:gd name="T104" fmla="*/ 112 w 172"/>
                  <a:gd name="T105" fmla="*/ 96 h 132"/>
                  <a:gd name="T106" fmla="*/ 110 w 172"/>
                  <a:gd name="T107" fmla="*/ 96 h 132"/>
                  <a:gd name="T108" fmla="*/ 92 w 172"/>
                  <a:gd name="T109" fmla="*/ 98 h 132"/>
                  <a:gd name="T110" fmla="*/ 64 w 172"/>
                  <a:gd name="T111" fmla="*/ 116 h 132"/>
                  <a:gd name="T112" fmla="*/ 64 w 172"/>
                  <a:gd name="T113" fmla="*/ 130 h 132"/>
                  <a:gd name="T114" fmla="*/ 64 w 172"/>
                  <a:gd name="T115" fmla="*/ 130 h 132"/>
                  <a:gd name="T116" fmla="*/ 62 w 172"/>
                  <a:gd name="T117" fmla="*/ 132 h 132"/>
                  <a:gd name="T118" fmla="*/ 2 w 172"/>
                  <a:gd name="T1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132">
                    <a:moveTo>
                      <a:pt x="2" y="132"/>
                    </a:moveTo>
                    <a:lnTo>
                      <a:pt x="2" y="132"/>
                    </a:lnTo>
                    <a:lnTo>
                      <a:pt x="0" y="130"/>
                    </a:lnTo>
                    <a:lnTo>
                      <a:pt x="0" y="130"/>
                    </a:lnTo>
                    <a:lnTo>
                      <a:pt x="0" y="128"/>
                    </a:lnTo>
                    <a:lnTo>
                      <a:pt x="10" y="124"/>
                    </a:lnTo>
                    <a:lnTo>
                      <a:pt x="26" y="114"/>
                    </a:lnTo>
                    <a:lnTo>
                      <a:pt x="44" y="98"/>
                    </a:lnTo>
                    <a:lnTo>
                      <a:pt x="46" y="94"/>
                    </a:lnTo>
                    <a:lnTo>
                      <a:pt x="46" y="62"/>
                    </a:lnTo>
                    <a:lnTo>
                      <a:pt x="46" y="62"/>
                    </a:lnTo>
                    <a:lnTo>
                      <a:pt x="46" y="60"/>
                    </a:lnTo>
                    <a:lnTo>
                      <a:pt x="56" y="50"/>
                    </a:lnTo>
                    <a:lnTo>
                      <a:pt x="66" y="40"/>
                    </a:lnTo>
                    <a:lnTo>
                      <a:pt x="66" y="40"/>
                    </a:lnTo>
                    <a:lnTo>
                      <a:pt x="68" y="38"/>
                    </a:lnTo>
                    <a:lnTo>
                      <a:pt x="80" y="36"/>
                    </a:lnTo>
                    <a:lnTo>
                      <a:pt x="90" y="26"/>
                    </a:lnTo>
                    <a:lnTo>
                      <a:pt x="96" y="14"/>
                    </a:lnTo>
                    <a:lnTo>
                      <a:pt x="100" y="4"/>
                    </a:lnTo>
                    <a:lnTo>
                      <a:pt x="100" y="4"/>
                    </a:lnTo>
                    <a:lnTo>
                      <a:pt x="100" y="4"/>
                    </a:lnTo>
                    <a:lnTo>
                      <a:pt x="104" y="0"/>
                    </a:lnTo>
                    <a:lnTo>
                      <a:pt x="104" y="0"/>
                    </a:lnTo>
                    <a:lnTo>
                      <a:pt x="106" y="0"/>
                    </a:lnTo>
                    <a:lnTo>
                      <a:pt x="110" y="0"/>
                    </a:lnTo>
                    <a:lnTo>
                      <a:pt x="110" y="0"/>
                    </a:lnTo>
                    <a:lnTo>
                      <a:pt x="112" y="0"/>
                    </a:lnTo>
                    <a:lnTo>
                      <a:pt x="116" y="8"/>
                    </a:lnTo>
                    <a:lnTo>
                      <a:pt x="120" y="10"/>
                    </a:lnTo>
                    <a:lnTo>
                      <a:pt x="138" y="8"/>
                    </a:lnTo>
                    <a:lnTo>
                      <a:pt x="148" y="8"/>
                    </a:lnTo>
                    <a:lnTo>
                      <a:pt x="148" y="8"/>
                    </a:lnTo>
                    <a:lnTo>
                      <a:pt x="150" y="8"/>
                    </a:lnTo>
                    <a:lnTo>
                      <a:pt x="152" y="12"/>
                    </a:lnTo>
                    <a:lnTo>
                      <a:pt x="160" y="12"/>
                    </a:lnTo>
                    <a:lnTo>
                      <a:pt x="160" y="12"/>
                    </a:lnTo>
                    <a:lnTo>
                      <a:pt x="162" y="14"/>
                    </a:lnTo>
                    <a:lnTo>
                      <a:pt x="164" y="18"/>
                    </a:lnTo>
                    <a:lnTo>
                      <a:pt x="164" y="42"/>
                    </a:lnTo>
                    <a:lnTo>
                      <a:pt x="170" y="50"/>
                    </a:lnTo>
                    <a:lnTo>
                      <a:pt x="170" y="50"/>
                    </a:lnTo>
                    <a:lnTo>
                      <a:pt x="172" y="52"/>
                    </a:lnTo>
                    <a:lnTo>
                      <a:pt x="172" y="58"/>
                    </a:lnTo>
                    <a:lnTo>
                      <a:pt x="172" y="58"/>
                    </a:lnTo>
                    <a:lnTo>
                      <a:pt x="170" y="60"/>
                    </a:lnTo>
                    <a:lnTo>
                      <a:pt x="148" y="62"/>
                    </a:lnTo>
                    <a:lnTo>
                      <a:pt x="136" y="70"/>
                    </a:lnTo>
                    <a:lnTo>
                      <a:pt x="134" y="78"/>
                    </a:lnTo>
                    <a:lnTo>
                      <a:pt x="134" y="78"/>
                    </a:lnTo>
                    <a:lnTo>
                      <a:pt x="134" y="78"/>
                    </a:lnTo>
                    <a:lnTo>
                      <a:pt x="112" y="96"/>
                    </a:lnTo>
                    <a:lnTo>
                      <a:pt x="112" y="96"/>
                    </a:lnTo>
                    <a:lnTo>
                      <a:pt x="110" y="96"/>
                    </a:lnTo>
                    <a:lnTo>
                      <a:pt x="92" y="98"/>
                    </a:lnTo>
                    <a:lnTo>
                      <a:pt x="64" y="116"/>
                    </a:lnTo>
                    <a:lnTo>
                      <a:pt x="64" y="130"/>
                    </a:lnTo>
                    <a:lnTo>
                      <a:pt x="64" y="130"/>
                    </a:lnTo>
                    <a:lnTo>
                      <a:pt x="62" y="132"/>
                    </a:lnTo>
                    <a:lnTo>
                      <a:pt x="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5" name="Freeform 355"/>
              <p:cNvSpPr>
                <a:spLocks noEditPoints="1"/>
              </p:cNvSpPr>
              <p:nvPr/>
            </p:nvSpPr>
            <p:spPr bwMode="auto">
              <a:xfrm>
                <a:off x="2677" y="1991"/>
                <a:ext cx="176" cy="136"/>
              </a:xfrm>
              <a:custGeom>
                <a:avLst/>
                <a:gdLst>
                  <a:gd name="T0" fmla="*/ 116 w 176"/>
                  <a:gd name="T1" fmla="*/ 10 h 136"/>
                  <a:gd name="T2" fmla="*/ 142 w 176"/>
                  <a:gd name="T3" fmla="*/ 12 h 136"/>
                  <a:gd name="T4" fmla="*/ 154 w 176"/>
                  <a:gd name="T5" fmla="*/ 16 h 136"/>
                  <a:gd name="T6" fmla="*/ 164 w 176"/>
                  <a:gd name="T7" fmla="*/ 22 h 136"/>
                  <a:gd name="T8" fmla="*/ 172 w 176"/>
                  <a:gd name="T9" fmla="*/ 54 h 136"/>
                  <a:gd name="T10" fmla="*/ 150 w 176"/>
                  <a:gd name="T11" fmla="*/ 62 h 136"/>
                  <a:gd name="T12" fmla="*/ 134 w 176"/>
                  <a:gd name="T13" fmla="*/ 78 h 136"/>
                  <a:gd name="T14" fmla="*/ 92 w 176"/>
                  <a:gd name="T15" fmla="*/ 98 h 136"/>
                  <a:gd name="T16" fmla="*/ 64 w 176"/>
                  <a:gd name="T17" fmla="*/ 132 h 136"/>
                  <a:gd name="T18" fmla="*/ 12 w 176"/>
                  <a:gd name="T19" fmla="*/ 126 h 136"/>
                  <a:gd name="T20" fmla="*/ 48 w 176"/>
                  <a:gd name="T21" fmla="*/ 102 h 136"/>
                  <a:gd name="T22" fmla="*/ 50 w 176"/>
                  <a:gd name="T23" fmla="*/ 64 h 136"/>
                  <a:gd name="T24" fmla="*/ 70 w 176"/>
                  <a:gd name="T25" fmla="*/ 42 h 136"/>
                  <a:gd name="T26" fmla="*/ 94 w 176"/>
                  <a:gd name="T27" fmla="*/ 30 h 136"/>
                  <a:gd name="T28" fmla="*/ 104 w 176"/>
                  <a:gd name="T29" fmla="*/ 6 h 136"/>
                  <a:gd name="T30" fmla="*/ 112 w 176"/>
                  <a:gd name="T31" fmla="*/ 4 h 136"/>
                  <a:gd name="T32" fmla="*/ 108 w 176"/>
                  <a:gd name="T33" fmla="*/ 0 h 136"/>
                  <a:gd name="T34" fmla="*/ 104 w 176"/>
                  <a:gd name="T35" fmla="*/ 0 h 136"/>
                  <a:gd name="T36" fmla="*/ 100 w 176"/>
                  <a:gd name="T37" fmla="*/ 4 h 136"/>
                  <a:gd name="T38" fmla="*/ 96 w 176"/>
                  <a:gd name="T39" fmla="*/ 14 h 136"/>
                  <a:gd name="T40" fmla="*/ 80 w 176"/>
                  <a:gd name="T41" fmla="*/ 36 h 136"/>
                  <a:gd name="T42" fmla="*/ 68 w 176"/>
                  <a:gd name="T43" fmla="*/ 38 h 136"/>
                  <a:gd name="T44" fmla="*/ 56 w 176"/>
                  <a:gd name="T45" fmla="*/ 50 h 136"/>
                  <a:gd name="T46" fmla="*/ 46 w 176"/>
                  <a:gd name="T47" fmla="*/ 62 h 136"/>
                  <a:gd name="T48" fmla="*/ 46 w 176"/>
                  <a:gd name="T49" fmla="*/ 96 h 136"/>
                  <a:gd name="T50" fmla="*/ 26 w 176"/>
                  <a:gd name="T51" fmla="*/ 114 h 136"/>
                  <a:gd name="T52" fmla="*/ 2 w 176"/>
                  <a:gd name="T53" fmla="*/ 128 h 136"/>
                  <a:gd name="T54" fmla="*/ 0 w 176"/>
                  <a:gd name="T55" fmla="*/ 130 h 136"/>
                  <a:gd name="T56" fmla="*/ 0 w 176"/>
                  <a:gd name="T57" fmla="*/ 134 h 136"/>
                  <a:gd name="T58" fmla="*/ 4 w 176"/>
                  <a:gd name="T59" fmla="*/ 136 h 136"/>
                  <a:gd name="T60" fmla="*/ 64 w 176"/>
                  <a:gd name="T61" fmla="*/ 136 h 136"/>
                  <a:gd name="T62" fmla="*/ 68 w 176"/>
                  <a:gd name="T63" fmla="*/ 132 h 136"/>
                  <a:gd name="T64" fmla="*/ 94 w 176"/>
                  <a:gd name="T65" fmla="*/ 102 h 136"/>
                  <a:gd name="T66" fmla="*/ 112 w 176"/>
                  <a:gd name="T67" fmla="*/ 100 h 136"/>
                  <a:gd name="T68" fmla="*/ 136 w 176"/>
                  <a:gd name="T69" fmla="*/ 82 h 136"/>
                  <a:gd name="T70" fmla="*/ 138 w 176"/>
                  <a:gd name="T71" fmla="*/ 80 h 136"/>
                  <a:gd name="T72" fmla="*/ 152 w 176"/>
                  <a:gd name="T73" fmla="*/ 66 h 136"/>
                  <a:gd name="T74" fmla="*/ 172 w 176"/>
                  <a:gd name="T75" fmla="*/ 64 h 136"/>
                  <a:gd name="T76" fmla="*/ 176 w 176"/>
                  <a:gd name="T77" fmla="*/ 60 h 136"/>
                  <a:gd name="T78" fmla="*/ 176 w 176"/>
                  <a:gd name="T79" fmla="*/ 54 h 136"/>
                  <a:gd name="T80" fmla="*/ 168 w 176"/>
                  <a:gd name="T81" fmla="*/ 44 h 136"/>
                  <a:gd name="T82" fmla="*/ 168 w 176"/>
                  <a:gd name="T83" fmla="*/ 22 h 136"/>
                  <a:gd name="T84" fmla="*/ 166 w 176"/>
                  <a:gd name="T85" fmla="*/ 14 h 136"/>
                  <a:gd name="T86" fmla="*/ 164 w 176"/>
                  <a:gd name="T87" fmla="*/ 12 h 136"/>
                  <a:gd name="T88" fmla="*/ 156 w 176"/>
                  <a:gd name="T89" fmla="*/ 12 h 136"/>
                  <a:gd name="T90" fmla="*/ 152 w 176"/>
                  <a:gd name="T91" fmla="*/ 10 h 136"/>
                  <a:gd name="T92" fmla="*/ 142 w 176"/>
                  <a:gd name="T93" fmla="*/ 8 h 136"/>
                  <a:gd name="T94" fmla="*/ 120 w 176"/>
                  <a:gd name="T95" fmla="*/ 8 h 136"/>
                  <a:gd name="T96" fmla="*/ 116 w 176"/>
                  <a:gd name="T97" fmla="*/ 2 h 136"/>
                  <a:gd name="T98" fmla="*/ 112 w 176"/>
                  <a:gd name="T9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6">
                    <a:moveTo>
                      <a:pt x="112" y="4"/>
                    </a:moveTo>
                    <a:lnTo>
                      <a:pt x="116" y="10"/>
                    </a:lnTo>
                    <a:lnTo>
                      <a:pt x="122" y="14"/>
                    </a:lnTo>
                    <a:lnTo>
                      <a:pt x="142" y="12"/>
                    </a:lnTo>
                    <a:lnTo>
                      <a:pt x="150" y="12"/>
                    </a:lnTo>
                    <a:lnTo>
                      <a:pt x="154" y="16"/>
                    </a:lnTo>
                    <a:lnTo>
                      <a:pt x="162" y="16"/>
                    </a:lnTo>
                    <a:lnTo>
                      <a:pt x="164" y="22"/>
                    </a:lnTo>
                    <a:lnTo>
                      <a:pt x="164" y="44"/>
                    </a:lnTo>
                    <a:lnTo>
                      <a:pt x="172" y="54"/>
                    </a:lnTo>
                    <a:lnTo>
                      <a:pt x="172" y="60"/>
                    </a:lnTo>
                    <a:lnTo>
                      <a:pt x="150" y="62"/>
                    </a:lnTo>
                    <a:lnTo>
                      <a:pt x="136" y="72"/>
                    </a:lnTo>
                    <a:lnTo>
                      <a:pt x="134" y="78"/>
                    </a:lnTo>
                    <a:lnTo>
                      <a:pt x="112" y="96"/>
                    </a:lnTo>
                    <a:lnTo>
                      <a:pt x="92" y="98"/>
                    </a:lnTo>
                    <a:lnTo>
                      <a:pt x="64" y="116"/>
                    </a:lnTo>
                    <a:lnTo>
                      <a:pt x="64" y="132"/>
                    </a:lnTo>
                    <a:lnTo>
                      <a:pt x="4" y="132"/>
                    </a:lnTo>
                    <a:lnTo>
                      <a:pt x="12" y="126"/>
                    </a:lnTo>
                    <a:lnTo>
                      <a:pt x="28" y="118"/>
                    </a:lnTo>
                    <a:lnTo>
                      <a:pt x="48" y="102"/>
                    </a:lnTo>
                    <a:lnTo>
                      <a:pt x="50" y="96"/>
                    </a:lnTo>
                    <a:lnTo>
                      <a:pt x="50" y="64"/>
                    </a:lnTo>
                    <a:lnTo>
                      <a:pt x="58" y="54"/>
                    </a:lnTo>
                    <a:lnTo>
                      <a:pt x="70" y="42"/>
                    </a:lnTo>
                    <a:lnTo>
                      <a:pt x="82" y="40"/>
                    </a:lnTo>
                    <a:lnTo>
                      <a:pt x="94" y="30"/>
                    </a:lnTo>
                    <a:lnTo>
                      <a:pt x="100" y="16"/>
                    </a:lnTo>
                    <a:lnTo>
                      <a:pt x="104" y="6"/>
                    </a:lnTo>
                    <a:lnTo>
                      <a:pt x="108" y="4"/>
                    </a:lnTo>
                    <a:lnTo>
                      <a:pt x="112" y="4"/>
                    </a:lnTo>
                    <a:close/>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6" name="Freeform 356"/>
              <p:cNvSpPr>
                <a:spLocks/>
              </p:cNvSpPr>
              <p:nvPr/>
            </p:nvSpPr>
            <p:spPr bwMode="auto">
              <a:xfrm>
                <a:off x="2681" y="1995"/>
                <a:ext cx="168" cy="128"/>
              </a:xfrm>
              <a:custGeom>
                <a:avLst/>
                <a:gdLst>
                  <a:gd name="T0" fmla="*/ 108 w 168"/>
                  <a:gd name="T1" fmla="*/ 0 h 128"/>
                  <a:gd name="T2" fmla="*/ 112 w 168"/>
                  <a:gd name="T3" fmla="*/ 6 h 128"/>
                  <a:gd name="T4" fmla="*/ 118 w 168"/>
                  <a:gd name="T5" fmla="*/ 10 h 128"/>
                  <a:gd name="T6" fmla="*/ 138 w 168"/>
                  <a:gd name="T7" fmla="*/ 8 h 128"/>
                  <a:gd name="T8" fmla="*/ 146 w 168"/>
                  <a:gd name="T9" fmla="*/ 8 h 128"/>
                  <a:gd name="T10" fmla="*/ 150 w 168"/>
                  <a:gd name="T11" fmla="*/ 12 h 128"/>
                  <a:gd name="T12" fmla="*/ 158 w 168"/>
                  <a:gd name="T13" fmla="*/ 12 h 128"/>
                  <a:gd name="T14" fmla="*/ 160 w 168"/>
                  <a:gd name="T15" fmla="*/ 18 h 128"/>
                  <a:gd name="T16" fmla="*/ 160 w 168"/>
                  <a:gd name="T17" fmla="*/ 40 h 128"/>
                  <a:gd name="T18" fmla="*/ 168 w 168"/>
                  <a:gd name="T19" fmla="*/ 50 h 128"/>
                  <a:gd name="T20" fmla="*/ 168 w 168"/>
                  <a:gd name="T21" fmla="*/ 56 h 128"/>
                  <a:gd name="T22" fmla="*/ 146 w 168"/>
                  <a:gd name="T23" fmla="*/ 58 h 128"/>
                  <a:gd name="T24" fmla="*/ 132 w 168"/>
                  <a:gd name="T25" fmla="*/ 68 h 128"/>
                  <a:gd name="T26" fmla="*/ 130 w 168"/>
                  <a:gd name="T27" fmla="*/ 74 h 128"/>
                  <a:gd name="T28" fmla="*/ 108 w 168"/>
                  <a:gd name="T29" fmla="*/ 92 h 128"/>
                  <a:gd name="T30" fmla="*/ 88 w 168"/>
                  <a:gd name="T31" fmla="*/ 94 h 128"/>
                  <a:gd name="T32" fmla="*/ 60 w 168"/>
                  <a:gd name="T33" fmla="*/ 112 h 128"/>
                  <a:gd name="T34" fmla="*/ 60 w 168"/>
                  <a:gd name="T35" fmla="*/ 128 h 128"/>
                  <a:gd name="T36" fmla="*/ 0 w 168"/>
                  <a:gd name="T37" fmla="*/ 128 h 128"/>
                  <a:gd name="T38" fmla="*/ 8 w 168"/>
                  <a:gd name="T39" fmla="*/ 122 h 128"/>
                  <a:gd name="T40" fmla="*/ 24 w 168"/>
                  <a:gd name="T41" fmla="*/ 114 h 128"/>
                  <a:gd name="T42" fmla="*/ 44 w 168"/>
                  <a:gd name="T43" fmla="*/ 98 h 128"/>
                  <a:gd name="T44" fmla="*/ 46 w 168"/>
                  <a:gd name="T45" fmla="*/ 92 h 128"/>
                  <a:gd name="T46" fmla="*/ 46 w 168"/>
                  <a:gd name="T47" fmla="*/ 60 h 128"/>
                  <a:gd name="T48" fmla="*/ 54 w 168"/>
                  <a:gd name="T49" fmla="*/ 50 h 128"/>
                  <a:gd name="T50" fmla="*/ 66 w 168"/>
                  <a:gd name="T51" fmla="*/ 38 h 128"/>
                  <a:gd name="T52" fmla="*/ 78 w 168"/>
                  <a:gd name="T53" fmla="*/ 36 h 128"/>
                  <a:gd name="T54" fmla="*/ 90 w 168"/>
                  <a:gd name="T55" fmla="*/ 26 h 128"/>
                  <a:gd name="T56" fmla="*/ 96 w 168"/>
                  <a:gd name="T57" fmla="*/ 12 h 128"/>
                  <a:gd name="T58" fmla="*/ 100 w 168"/>
                  <a:gd name="T59" fmla="*/ 2 h 128"/>
                  <a:gd name="T60" fmla="*/ 104 w 168"/>
                  <a:gd name="T61" fmla="*/ 0 h 128"/>
                  <a:gd name="T62" fmla="*/ 108 w 168"/>
                  <a:gd name="T6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28">
                    <a:moveTo>
                      <a:pt x="108" y="0"/>
                    </a:moveTo>
                    <a:lnTo>
                      <a:pt x="112" y="6"/>
                    </a:lnTo>
                    <a:lnTo>
                      <a:pt x="118" y="10"/>
                    </a:lnTo>
                    <a:lnTo>
                      <a:pt x="138" y="8"/>
                    </a:lnTo>
                    <a:lnTo>
                      <a:pt x="146" y="8"/>
                    </a:lnTo>
                    <a:lnTo>
                      <a:pt x="150" y="12"/>
                    </a:lnTo>
                    <a:lnTo>
                      <a:pt x="158" y="12"/>
                    </a:lnTo>
                    <a:lnTo>
                      <a:pt x="160" y="18"/>
                    </a:lnTo>
                    <a:lnTo>
                      <a:pt x="160" y="40"/>
                    </a:lnTo>
                    <a:lnTo>
                      <a:pt x="168" y="50"/>
                    </a:lnTo>
                    <a:lnTo>
                      <a:pt x="168" y="56"/>
                    </a:lnTo>
                    <a:lnTo>
                      <a:pt x="146" y="58"/>
                    </a:lnTo>
                    <a:lnTo>
                      <a:pt x="132" y="68"/>
                    </a:lnTo>
                    <a:lnTo>
                      <a:pt x="130" y="74"/>
                    </a:lnTo>
                    <a:lnTo>
                      <a:pt x="108" y="92"/>
                    </a:lnTo>
                    <a:lnTo>
                      <a:pt x="88" y="94"/>
                    </a:lnTo>
                    <a:lnTo>
                      <a:pt x="60" y="112"/>
                    </a:lnTo>
                    <a:lnTo>
                      <a:pt x="60" y="128"/>
                    </a:lnTo>
                    <a:lnTo>
                      <a:pt x="0" y="128"/>
                    </a:lnTo>
                    <a:lnTo>
                      <a:pt x="8" y="122"/>
                    </a:lnTo>
                    <a:lnTo>
                      <a:pt x="24" y="114"/>
                    </a:lnTo>
                    <a:lnTo>
                      <a:pt x="44" y="98"/>
                    </a:lnTo>
                    <a:lnTo>
                      <a:pt x="46" y="92"/>
                    </a:lnTo>
                    <a:lnTo>
                      <a:pt x="46" y="60"/>
                    </a:lnTo>
                    <a:lnTo>
                      <a:pt x="54" y="50"/>
                    </a:lnTo>
                    <a:lnTo>
                      <a:pt x="66" y="38"/>
                    </a:lnTo>
                    <a:lnTo>
                      <a:pt x="78" y="36"/>
                    </a:lnTo>
                    <a:lnTo>
                      <a:pt x="90" y="26"/>
                    </a:lnTo>
                    <a:lnTo>
                      <a:pt x="96" y="12"/>
                    </a:lnTo>
                    <a:lnTo>
                      <a:pt x="100" y="2"/>
                    </a:lnTo>
                    <a:lnTo>
                      <a:pt x="104"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7" name="Freeform 357"/>
              <p:cNvSpPr>
                <a:spLocks/>
              </p:cNvSpPr>
              <p:nvPr/>
            </p:nvSpPr>
            <p:spPr bwMode="auto">
              <a:xfrm>
                <a:off x="2677" y="1991"/>
                <a:ext cx="176" cy="136"/>
              </a:xfrm>
              <a:custGeom>
                <a:avLst/>
                <a:gdLst>
                  <a:gd name="T0" fmla="*/ 108 w 176"/>
                  <a:gd name="T1" fmla="*/ 0 h 136"/>
                  <a:gd name="T2" fmla="*/ 104 w 176"/>
                  <a:gd name="T3" fmla="*/ 0 h 136"/>
                  <a:gd name="T4" fmla="*/ 100 w 176"/>
                  <a:gd name="T5" fmla="*/ 4 h 136"/>
                  <a:gd name="T6" fmla="*/ 96 w 176"/>
                  <a:gd name="T7" fmla="*/ 14 h 136"/>
                  <a:gd name="T8" fmla="*/ 80 w 176"/>
                  <a:gd name="T9" fmla="*/ 36 h 136"/>
                  <a:gd name="T10" fmla="*/ 68 w 176"/>
                  <a:gd name="T11" fmla="*/ 38 h 136"/>
                  <a:gd name="T12" fmla="*/ 56 w 176"/>
                  <a:gd name="T13" fmla="*/ 50 h 136"/>
                  <a:gd name="T14" fmla="*/ 46 w 176"/>
                  <a:gd name="T15" fmla="*/ 62 h 136"/>
                  <a:gd name="T16" fmla="*/ 46 w 176"/>
                  <a:gd name="T17" fmla="*/ 96 h 136"/>
                  <a:gd name="T18" fmla="*/ 26 w 176"/>
                  <a:gd name="T19" fmla="*/ 114 h 136"/>
                  <a:gd name="T20" fmla="*/ 2 w 176"/>
                  <a:gd name="T21" fmla="*/ 128 h 136"/>
                  <a:gd name="T22" fmla="*/ 0 w 176"/>
                  <a:gd name="T23" fmla="*/ 130 h 136"/>
                  <a:gd name="T24" fmla="*/ 0 w 176"/>
                  <a:gd name="T25" fmla="*/ 134 h 136"/>
                  <a:gd name="T26" fmla="*/ 4 w 176"/>
                  <a:gd name="T27" fmla="*/ 136 h 136"/>
                  <a:gd name="T28" fmla="*/ 64 w 176"/>
                  <a:gd name="T29" fmla="*/ 136 h 136"/>
                  <a:gd name="T30" fmla="*/ 68 w 176"/>
                  <a:gd name="T31" fmla="*/ 132 h 136"/>
                  <a:gd name="T32" fmla="*/ 94 w 176"/>
                  <a:gd name="T33" fmla="*/ 102 h 136"/>
                  <a:gd name="T34" fmla="*/ 112 w 176"/>
                  <a:gd name="T35" fmla="*/ 100 h 136"/>
                  <a:gd name="T36" fmla="*/ 136 w 176"/>
                  <a:gd name="T37" fmla="*/ 82 h 136"/>
                  <a:gd name="T38" fmla="*/ 138 w 176"/>
                  <a:gd name="T39" fmla="*/ 80 h 136"/>
                  <a:gd name="T40" fmla="*/ 152 w 176"/>
                  <a:gd name="T41" fmla="*/ 66 h 136"/>
                  <a:gd name="T42" fmla="*/ 172 w 176"/>
                  <a:gd name="T43" fmla="*/ 64 h 136"/>
                  <a:gd name="T44" fmla="*/ 176 w 176"/>
                  <a:gd name="T45" fmla="*/ 60 h 136"/>
                  <a:gd name="T46" fmla="*/ 176 w 176"/>
                  <a:gd name="T47" fmla="*/ 54 h 136"/>
                  <a:gd name="T48" fmla="*/ 168 w 176"/>
                  <a:gd name="T49" fmla="*/ 44 h 136"/>
                  <a:gd name="T50" fmla="*/ 168 w 176"/>
                  <a:gd name="T51" fmla="*/ 22 h 136"/>
                  <a:gd name="T52" fmla="*/ 166 w 176"/>
                  <a:gd name="T53" fmla="*/ 14 h 136"/>
                  <a:gd name="T54" fmla="*/ 164 w 176"/>
                  <a:gd name="T55" fmla="*/ 12 h 136"/>
                  <a:gd name="T56" fmla="*/ 156 w 176"/>
                  <a:gd name="T57" fmla="*/ 12 h 136"/>
                  <a:gd name="T58" fmla="*/ 152 w 176"/>
                  <a:gd name="T59" fmla="*/ 10 h 136"/>
                  <a:gd name="T60" fmla="*/ 142 w 176"/>
                  <a:gd name="T61" fmla="*/ 8 h 136"/>
                  <a:gd name="T62" fmla="*/ 120 w 176"/>
                  <a:gd name="T63" fmla="*/ 8 h 136"/>
                  <a:gd name="T64" fmla="*/ 116 w 176"/>
                  <a:gd name="T65" fmla="*/ 2 h 136"/>
                  <a:gd name="T66" fmla="*/ 112 w 176"/>
                  <a:gd name="T6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36">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8" name="Freeform 358"/>
              <p:cNvSpPr>
                <a:spLocks/>
              </p:cNvSpPr>
              <p:nvPr/>
            </p:nvSpPr>
            <p:spPr bwMode="auto">
              <a:xfrm>
                <a:off x="2623" y="2121"/>
                <a:ext cx="122" cy="100"/>
              </a:xfrm>
              <a:custGeom>
                <a:avLst/>
                <a:gdLst>
                  <a:gd name="T0" fmla="*/ 2 w 122"/>
                  <a:gd name="T1" fmla="*/ 100 h 100"/>
                  <a:gd name="T2" fmla="*/ 2 w 122"/>
                  <a:gd name="T3" fmla="*/ 100 h 100"/>
                  <a:gd name="T4" fmla="*/ 0 w 122"/>
                  <a:gd name="T5" fmla="*/ 98 h 100"/>
                  <a:gd name="T6" fmla="*/ 0 w 122"/>
                  <a:gd name="T7" fmla="*/ 98 h 100"/>
                  <a:gd name="T8" fmla="*/ 0 w 122"/>
                  <a:gd name="T9" fmla="*/ 98 h 100"/>
                  <a:gd name="T10" fmla="*/ 4 w 122"/>
                  <a:gd name="T11" fmla="*/ 86 h 100"/>
                  <a:gd name="T12" fmla="*/ 12 w 122"/>
                  <a:gd name="T13" fmla="*/ 72 h 100"/>
                  <a:gd name="T14" fmla="*/ 18 w 122"/>
                  <a:gd name="T15" fmla="*/ 58 h 100"/>
                  <a:gd name="T16" fmla="*/ 18 w 122"/>
                  <a:gd name="T17" fmla="*/ 58 h 100"/>
                  <a:gd name="T18" fmla="*/ 18 w 122"/>
                  <a:gd name="T19" fmla="*/ 56 h 100"/>
                  <a:gd name="T20" fmla="*/ 26 w 122"/>
                  <a:gd name="T21" fmla="*/ 50 h 100"/>
                  <a:gd name="T22" fmla="*/ 32 w 122"/>
                  <a:gd name="T23" fmla="*/ 36 h 100"/>
                  <a:gd name="T24" fmla="*/ 40 w 122"/>
                  <a:gd name="T25" fmla="*/ 22 h 100"/>
                  <a:gd name="T26" fmla="*/ 46 w 122"/>
                  <a:gd name="T27" fmla="*/ 18 h 100"/>
                  <a:gd name="T28" fmla="*/ 54 w 122"/>
                  <a:gd name="T29" fmla="*/ 8 h 100"/>
                  <a:gd name="T30" fmla="*/ 56 w 122"/>
                  <a:gd name="T31" fmla="*/ 2 h 100"/>
                  <a:gd name="T32" fmla="*/ 56 w 122"/>
                  <a:gd name="T33" fmla="*/ 2 h 100"/>
                  <a:gd name="T34" fmla="*/ 58 w 122"/>
                  <a:gd name="T35" fmla="*/ 0 h 100"/>
                  <a:gd name="T36" fmla="*/ 120 w 122"/>
                  <a:gd name="T37" fmla="*/ 0 h 100"/>
                  <a:gd name="T38" fmla="*/ 120 w 122"/>
                  <a:gd name="T39" fmla="*/ 0 h 100"/>
                  <a:gd name="T40" fmla="*/ 122 w 122"/>
                  <a:gd name="T41" fmla="*/ 2 h 100"/>
                  <a:gd name="T42" fmla="*/ 122 w 122"/>
                  <a:gd name="T43" fmla="*/ 28 h 100"/>
                  <a:gd name="T44" fmla="*/ 122 w 122"/>
                  <a:gd name="T45" fmla="*/ 28 h 100"/>
                  <a:gd name="T46" fmla="*/ 120 w 122"/>
                  <a:gd name="T47" fmla="*/ 30 h 100"/>
                  <a:gd name="T48" fmla="*/ 76 w 122"/>
                  <a:gd name="T49" fmla="*/ 30 h 100"/>
                  <a:gd name="T50" fmla="*/ 76 w 122"/>
                  <a:gd name="T51" fmla="*/ 66 h 100"/>
                  <a:gd name="T52" fmla="*/ 76 w 122"/>
                  <a:gd name="T53" fmla="*/ 66 h 100"/>
                  <a:gd name="T54" fmla="*/ 74 w 122"/>
                  <a:gd name="T55" fmla="*/ 68 h 100"/>
                  <a:gd name="T56" fmla="*/ 66 w 122"/>
                  <a:gd name="T57" fmla="*/ 68 h 100"/>
                  <a:gd name="T58" fmla="*/ 60 w 122"/>
                  <a:gd name="T59" fmla="*/ 70 h 100"/>
                  <a:gd name="T60" fmla="*/ 60 w 122"/>
                  <a:gd name="T61" fmla="*/ 98 h 100"/>
                  <a:gd name="T62" fmla="*/ 60 w 122"/>
                  <a:gd name="T63" fmla="*/ 98 h 100"/>
                  <a:gd name="T64" fmla="*/ 58 w 122"/>
                  <a:gd name="T65" fmla="*/ 100 h 100"/>
                  <a:gd name="T66" fmla="*/ 2 w 122"/>
                  <a:gd name="T6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00">
                    <a:moveTo>
                      <a:pt x="2" y="100"/>
                    </a:moveTo>
                    <a:lnTo>
                      <a:pt x="2" y="100"/>
                    </a:lnTo>
                    <a:lnTo>
                      <a:pt x="0" y="98"/>
                    </a:lnTo>
                    <a:lnTo>
                      <a:pt x="0" y="98"/>
                    </a:lnTo>
                    <a:lnTo>
                      <a:pt x="0" y="98"/>
                    </a:lnTo>
                    <a:lnTo>
                      <a:pt x="4" y="86"/>
                    </a:lnTo>
                    <a:lnTo>
                      <a:pt x="12" y="72"/>
                    </a:lnTo>
                    <a:lnTo>
                      <a:pt x="18" y="58"/>
                    </a:lnTo>
                    <a:lnTo>
                      <a:pt x="18" y="58"/>
                    </a:lnTo>
                    <a:lnTo>
                      <a:pt x="18" y="56"/>
                    </a:lnTo>
                    <a:lnTo>
                      <a:pt x="26" y="50"/>
                    </a:lnTo>
                    <a:lnTo>
                      <a:pt x="32" y="36"/>
                    </a:lnTo>
                    <a:lnTo>
                      <a:pt x="40" y="22"/>
                    </a:lnTo>
                    <a:lnTo>
                      <a:pt x="46" y="18"/>
                    </a:lnTo>
                    <a:lnTo>
                      <a:pt x="54" y="8"/>
                    </a:lnTo>
                    <a:lnTo>
                      <a:pt x="56" y="2"/>
                    </a:lnTo>
                    <a:lnTo>
                      <a:pt x="56" y="2"/>
                    </a:lnTo>
                    <a:lnTo>
                      <a:pt x="58" y="0"/>
                    </a:lnTo>
                    <a:lnTo>
                      <a:pt x="120" y="0"/>
                    </a:lnTo>
                    <a:lnTo>
                      <a:pt x="120" y="0"/>
                    </a:lnTo>
                    <a:lnTo>
                      <a:pt x="122" y="2"/>
                    </a:lnTo>
                    <a:lnTo>
                      <a:pt x="122" y="28"/>
                    </a:lnTo>
                    <a:lnTo>
                      <a:pt x="122" y="28"/>
                    </a:lnTo>
                    <a:lnTo>
                      <a:pt x="120" y="30"/>
                    </a:lnTo>
                    <a:lnTo>
                      <a:pt x="76" y="30"/>
                    </a:lnTo>
                    <a:lnTo>
                      <a:pt x="76" y="66"/>
                    </a:lnTo>
                    <a:lnTo>
                      <a:pt x="76" y="66"/>
                    </a:lnTo>
                    <a:lnTo>
                      <a:pt x="74" y="68"/>
                    </a:lnTo>
                    <a:lnTo>
                      <a:pt x="66" y="68"/>
                    </a:lnTo>
                    <a:lnTo>
                      <a:pt x="60" y="70"/>
                    </a:lnTo>
                    <a:lnTo>
                      <a:pt x="60" y="98"/>
                    </a:lnTo>
                    <a:lnTo>
                      <a:pt x="60" y="98"/>
                    </a:lnTo>
                    <a:lnTo>
                      <a:pt x="58" y="100"/>
                    </a:lnTo>
                    <a:lnTo>
                      <a:pt x="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9" name="Freeform 359"/>
              <p:cNvSpPr>
                <a:spLocks noEditPoints="1"/>
              </p:cNvSpPr>
              <p:nvPr/>
            </p:nvSpPr>
            <p:spPr bwMode="auto">
              <a:xfrm>
                <a:off x="2621" y="2119"/>
                <a:ext cx="126" cy="104"/>
              </a:xfrm>
              <a:custGeom>
                <a:avLst/>
                <a:gdLst>
                  <a:gd name="T0" fmla="*/ 122 w 126"/>
                  <a:gd name="T1" fmla="*/ 30 h 104"/>
                  <a:gd name="T2" fmla="*/ 76 w 126"/>
                  <a:gd name="T3" fmla="*/ 68 h 104"/>
                  <a:gd name="T4" fmla="*/ 60 w 126"/>
                  <a:gd name="T5" fmla="*/ 70 h 104"/>
                  <a:gd name="T6" fmla="*/ 60 w 126"/>
                  <a:gd name="T7" fmla="*/ 100 h 104"/>
                  <a:gd name="T8" fmla="*/ 8 w 126"/>
                  <a:gd name="T9" fmla="*/ 88 h 104"/>
                  <a:gd name="T10" fmla="*/ 22 w 126"/>
                  <a:gd name="T11" fmla="*/ 60 h 104"/>
                  <a:gd name="T12" fmla="*/ 36 w 126"/>
                  <a:gd name="T13" fmla="*/ 38 h 104"/>
                  <a:gd name="T14" fmla="*/ 50 w 126"/>
                  <a:gd name="T15" fmla="*/ 20 h 104"/>
                  <a:gd name="T16" fmla="*/ 60 w 126"/>
                  <a:gd name="T17" fmla="*/ 4 h 104"/>
                  <a:gd name="T18" fmla="*/ 122 w 126"/>
                  <a:gd name="T19" fmla="*/ 0 h 104"/>
                  <a:gd name="T20" fmla="*/ 60 w 126"/>
                  <a:gd name="T21" fmla="*/ 0 h 104"/>
                  <a:gd name="T22" fmla="*/ 56 w 126"/>
                  <a:gd name="T23" fmla="*/ 2 h 104"/>
                  <a:gd name="T24" fmla="*/ 46 w 126"/>
                  <a:gd name="T25" fmla="*/ 18 h 104"/>
                  <a:gd name="T26" fmla="*/ 42 w 126"/>
                  <a:gd name="T27" fmla="*/ 24 h 104"/>
                  <a:gd name="T28" fmla="*/ 32 w 126"/>
                  <a:gd name="T29" fmla="*/ 36 h 104"/>
                  <a:gd name="T30" fmla="*/ 32 w 126"/>
                  <a:gd name="T31" fmla="*/ 38 h 104"/>
                  <a:gd name="T32" fmla="*/ 18 w 126"/>
                  <a:gd name="T33" fmla="*/ 56 h 104"/>
                  <a:gd name="T34" fmla="*/ 18 w 126"/>
                  <a:gd name="T35" fmla="*/ 58 h 104"/>
                  <a:gd name="T36" fmla="*/ 4 w 126"/>
                  <a:gd name="T37" fmla="*/ 86 h 104"/>
                  <a:gd name="T38" fmla="*/ 4 w 126"/>
                  <a:gd name="T39" fmla="*/ 88 h 104"/>
                  <a:gd name="T40" fmla="*/ 0 w 126"/>
                  <a:gd name="T41" fmla="*/ 98 h 104"/>
                  <a:gd name="T42" fmla="*/ 0 w 126"/>
                  <a:gd name="T43" fmla="*/ 102 h 104"/>
                  <a:gd name="T44" fmla="*/ 60 w 126"/>
                  <a:gd name="T45" fmla="*/ 104 h 104"/>
                  <a:gd name="T46" fmla="*/ 64 w 126"/>
                  <a:gd name="T47" fmla="*/ 102 h 104"/>
                  <a:gd name="T48" fmla="*/ 64 w 126"/>
                  <a:gd name="T49" fmla="*/ 78 h 104"/>
                  <a:gd name="T50" fmla="*/ 68 w 126"/>
                  <a:gd name="T51" fmla="*/ 72 h 104"/>
                  <a:gd name="T52" fmla="*/ 76 w 126"/>
                  <a:gd name="T53" fmla="*/ 72 h 104"/>
                  <a:gd name="T54" fmla="*/ 80 w 126"/>
                  <a:gd name="T55" fmla="*/ 68 h 104"/>
                  <a:gd name="T56" fmla="*/ 122 w 126"/>
                  <a:gd name="T57" fmla="*/ 34 h 104"/>
                  <a:gd name="T58" fmla="*/ 124 w 126"/>
                  <a:gd name="T59" fmla="*/ 32 h 104"/>
                  <a:gd name="T60" fmla="*/ 126 w 126"/>
                  <a:gd name="T61" fmla="*/ 4 h 104"/>
                  <a:gd name="T62" fmla="*/ 124 w 126"/>
                  <a:gd name="T63" fmla="*/ 2 h 104"/>
                  <a:gd name="T64" fmla="*/ 122 w 126"/>
                  <a:gd name="T6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104">
                    <a:moveTo>
                      <a:pt x="122" y="4"/>
                    </a:moveTo>
                    <a:lnTo>
                      <a:pt x="122" y="30"/>
                    </a:lnTo>
                    <a:lnTo>
                      <a:pt x="76" y="30"/>
                    </a:lnTo>
                    <a:lnTo>
                      <a:pt x="76" y="68"/>
                    </a:lnTo>
                    <a:lnTo>
                      <a:pt x="68" y="68"/>
                    </a:lnTo>
                    <a:lnTo>
                      <a:pt x="60" y="70"/>
                    </a:lnTo>
                    <a:lnTo>
                      <a:pt x="60" y="78"/>
                    </a:lnTo>
                    <a:lnTo>
                      <a:pt x="60" y="100"/>
                    </a:lnTo>
                    <a:lnTo>
                      <a:pt x="4" y="100"/>
                    </a:lnTo>
                    <a:lnTo>
                      <a:pt x="8" y="88"/>
                    </a:lnTo>
                    <a:lnTo>
                      <a:pt x="16" y="74"/>
                    </a:lnTo>
                    <a:lnTo>
                      <a:pt x="22" y="60"/>
                    </a:lnTo>
                    <a:lnTo>
                      <a:pt x="30" y="52"/>
                    </a:lnTo>
                    <a:lnTo>
                      <a:pt x="36" y="38"/>
                    </a:lnTo>
                    <a:lnTo>
                      <a:pt x="44" y="26"/>
                    </a:lnTo>
                    <a:lnTo>
                      <a:pt x="50" y="20"/>
                    </a:lnTo>
                    <a:lnTo>
                      <a:pt x="58" y="12"/>
                    </a:lnTo>
                    <a:lnTo>
                      <a:pt x="60" y="4"/>
                    </a:lnTo>
                    <a:lnTo>
                      <a:pt x="122" y="4"/>
                    </a:lnTo>
                    <a:close/>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0" name="Freeform 360"/>
              <p:cNvSpPr>
                <a:spLocks/>
              </p:cNvSpPr>
              <p:nvPr/>
            </p:nvSpPr>
            <p:spPr bwMode="auto">
              <a:xfrm>
                <a:off x="2625" y="2123"/>
                <a:ext cx="118" cy="96"/>
              </a:xfrm>
              <a:custGeom>
                <a:avLst/>
                <a:gdLst>
                  <a:gd name="T0" fmla="*/ 118 w 118"/>
                  <a:gd name="T1" fmla="*/ 0 h 96"/>
                  <a:gd name="T2" fmla="*/ 118 w 118"/>
                  <a:gd name="T3" fmla="*/ 26 h 96"/>
                  <a:gd name="T4" fmla="*/ 72 w 118"/>
                  <a:gd name="T5" fmla="*/ 26 h 96"/>
                  <a:gd name="T6" fmla="*/ 72 w 118"/>
                  <a:gd name="T7" fmla="*/ 64 h 96"/>
                  <a:gd name="T8" fmla="*/ 64 w 118"/>
                  <a:gd name="T9" fmla="*/ 64 h 96"/>
                  <a:gd name="T10" fmla="*/ 56 w 118"/>
                  <a:gd name="T11" fmla="*/ 66 h 96"/>
                  <a:gd name="T12" fmla="*/ 56 w 118"/>
                  <a:gd name="T13" fmla="*/ 74 h 96"/>
                  <a:gd name="T14" fmla="*/ 56 w 118"/>
                  <a:gd name="T15" fmla="*/ 96 h 96"/>
                  <a:gd name="T16" fmla="*/ 0 w 118"/>
                  <a:gd name="T17" fmla="*/ 96 h 96"/>
                  <a:gd name="T18" fmla="*/ 4 w 118"/>
                  <a:gd name="T19" fmla="*/ 84 h 96"/>
                  <a:gd name="T20" fmla="*/ 12 w 118"/>
                  <a:gd name="T21" fmla="*/ 70 h 96"/>
                  <a:gd name="T22" fmla="*/ 18 w 118"/>
                  <a:gd name="T23" fmla="*/ 56 h 96"/>
                  <a:gd name="T24" fmla="*/ 26 w 118"/>
                  <a:gd name="T25" fmla="*/ 48 h 96"/>
                  <a:gd name="T26" fmla="*/ 32 w 118"/>
                  <a:gd name="T27" fmla="*/ 34 h 96"/>
                  <a:gd name="T28" fmla="*/ 40 w 118"/>
                  <a:gd name="T29" fmla="*/ 22 h 96"/>
                  <a:gd name="T30" fmla="*/ 46 w 118"/>
                  <a:gd name="T31" fmla="*/ 16 h 96"/>
                  <a:gd name="T32" fmla="*/ 54 w 118"/>
                  <a:gd name="T33" fmla="*/ 8 h 96"/>
                  <a:gd name="T34" fmla="*/ 56 w 118"/>
                  <a:gd name="T35" fmla="*/ 0 h 96"/>
                  <a:gd name="T36" fmla="*/ 118 w 118"/>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96">
                    <a:moveTo>
                      <a:pt x="118" y="0"/>
                    </a:moveTo>
                    <a:lnTo>
                      <a:pt x="118" y="26"/>
                    </a:lnTo>
                    <a:lnTo>
                      <a:pt x="72" y="26"/>
                    </a:lnTo>
                    <a:lnTo>
                      <a:pt x="72" y="64"/>
                    </a:lnTo>
                    <a:lnTo>
                      <a:pt x="64" y="64"/>
                    </a:lnTo>
                    <a:lnTo>
                      <a:pt x="56" y="66"/>
                    </a:lnTo>
                    <a:lnTo>
                      <a:pt x="56" y="74"/>
                    </a:lnTo>
                    <a:lnTo>
                      <a:pt x="56" y="96"/>
                    </a:lnTo>
                    <a:lnTo>
                      <a:pt x="0" y="96"/>
                    </a:lnTo>
                    <a:lnTo>
                      <a:pt x="4" y="84"/>
                    </a:lnTo>
                    <a:lnTo>
                      <a:pt x="12" y="70"/>
                    </a:lnTo>
                    <a:lnTo>
                      <a:pt x="18" y="56"/>
                    </a:lnTo>
                    <a:lnTo>
                      <a:pt x="26" y="48"/>
                    </a:lnTo>
                    <a:lnTo>
                      <a:pt x="32" y="34"/>
                    </a:lnTo>
                    <a:lnTo>
                      <a:pt x="40" y="22"/>
                    </a:lnTo>
                    <a:lnTo>
                      <a:pt x="46" y="16"/>
                    </a:lnTo>
                    <a:lnTo>
                      <a:pt x="54" y="8"/>
                    </a:lnTo>
                    <a:lnTo>
                      <a:pt x="56" y="0"/>
                    </a:lnTo>
                    <a:lnTo>
                      <a:pt x="1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1" name="Freeform 361"/>
              <p:cNvSpPr>
                <a:spLocks/>
              </p:cNvSpPr>
              <p:nvPr/>
            </p:nvSpPr>
            <p:spPr bwMode="auto">
              <a:xfrm>
                <a:off x="2621" y="2119"/>
                <a:ext cx="126" cy="104"/>
              </a:xfrm>
              <a:custGeom>
                <a:avLst/>
                <a:gdLst>
                  <a:gd name="T0" fmla="*/ 122 w 126"/>
                  <a:gd name="T1" fmla="*/ 0 h 104"/>
                  <a:gd name="T2" fmla="*/ 60 w 126"/>
                  <a:gd name="T3" fmla="*/ 0 h 104"/>
                  <a:gd name="T4" fmla="*/ 60 w 126"/>
                  <a:gd name="T5" fmla="*/ 0 h 104"/>
                  <a:gd name="T6" fmla="*/ 58 w 126"/>
                  <a:gd name="T7" fmla="*/ 0 h 104"/>
                  <a:gd name="T8" fmla="*/ 56 w 126"/>
                  <a:gd name="T9" fmla="*/ 2 h 104"/>
                  <a:gd name="T10" fmla="*/ 54 w 126"/>
                  <a:gd name="T11" fmla="*/ 10 h 104"/>
                  <a:gd name="T12" fmla="*/ 46 w 126"/>
                  <a:gd name="T13" fmla="*/ 18 h 104"/>
                  <a:gd name="T14" fmla="*/ 42 w 126"/>
                  <a:gd name="T15" fmla="*/ 24 h 104"/>
                  <a:gd name="T16" fmla="*/ 42 w 126"/>
                  <a:gd name="T17" fmla="*/ 24 h 104"/>
                  <a:gd name="T18" fmla="*/ 42 w 126"/>
                  <a:gd name="T19" fmla="*/ 24 h 104"/>
                  <a:gd name="T20" fmla="*/ 32 w 126"/>
                  <a:gd name="T21" fmla="*/ 36 h 104"/>
                  <a:gd name="T22" fmla="*/ 32 w 126"/>
                  <a:gd name="T23" fmla="*/ 36 h 104"/>
                  <a:gd name="T24" fmla="*/ 32 w 126"/>
                  <a:gd name="T25" fmla="*/ 38 h 104"/>
                  <a:gd name="T26" fmla="*/ 26 w 126"/>
                  <a:gd name="T27" fmla="*/ 50 h 104"/>
                  <a:gd name="T28" fmla="*/ 18 w 126"/>
                  <a:gd name="T29" fmla="*/ 56 h 104"/>
                  <a:gd name="T30" fmla="*/ 18 w 126"/>
                  <a:gd name="T31" fmla="*/ 56 h 104"/>
                  <a:gd name="T32" fmla="*/ 18 w 126"/>
                  <a:gd name="T33" fmla="*/ 58 h 104"/>
                  <a:gd name="T34" fmla="*/ 12 w 126"/>
                  <a:gd name="T35" fmla="*/ 72 h 104"/>
                  <a:gd name="T36" fmla="*/ 4 w 126"/>
                  <a:gd name="T37" fmla="*/ 86 h 104"/>
                  <a:gd name="T38" fmla="*/ 4 w 126"/>
                  <a:gd name="T39" fmla="*/ 86 h 104"/>
                  <a:gd name="T40" fmla="*/ 4 w 126"/>
                  <a:gd name="T41" fmla="*/ 88 h 104"/>
                  <a:gd name="T42" fmla="*/ 0 w 126"/>
                  <a:gd name="T43" fmla="*/ 98 h 104"/>
                  <a:gd name="T44" fmla="*/ 0 w 126"/>
                  <a:gd name="T45" fmla="*/ 98 h 104"/>
                  <a:gd name="T46" fmla="*/ 0 w 126"/>
                  <a:gd name="T47" fmla="*/ 102 h 104"/>
                  <a:gd name="T48" fmla="*/ 0 w 126"/>
                  <a:gd name="T49" fmla="*/ 102 h 104"/>
                  <a:gd name="T50" fmla="*/ 4 w 126"/>
                  <a:gd name="T51" fmla="*/ 104 h 104"/>
                  <a:gd name="T52" fmla="*/ 60 w 126"/>
                  <a:gd name="T53" fmla="*/ 104 h 104"/>
                  <a:gd name="T54" fmla="*/ 60 w 126"/>
                  <a:gd name="T55" fmla="*/ 104 h 104"/>
                  <a:gd name="T56" fmla="*/ 64 w 126"/>
                  <a:gd name="T57" fmla="*/ 102 h 104"/>
                  <a:gd name="T58" fmla="*/ 64 w 126"/>
                  <a:gd name="T59" fmla="*/ 100 h 104"/>
                  <a:gd name="T60" fmla="*/ 64 w 126"/>
                  <a:gd name="T61" fmla="*/ 78 h 104"/>
                  <a:gd name="T62" fmla="*/ 64 w 126"/>
                  <a:gd name="T63" fmla="*/ 74 h 104"/>
                  <a:gd name="T64" fmla="*/ 68 w 126"/>
                  <a:gd name="T65" fmla="*/ 72 h 104"/>
                  <a:gd name="T66" fmla="*/ 76 w 126"/>
                  <a:gd name="T67" fmla="*/ 72 h 104"/>
                  <a:gd name="T68" fmla="*/ 76 w 126"/>
                  <a:gd name="T69" fmla="*/ 72 h 104"/>
                  <a:gd name="T70" fmla="*/ 80 w 126"/>
                  <a:gd name="T71" fmla="*/ 70 h 104"/>
                  <a:gd name="T72" fmla="*/ 80 w 126"/>
                  <a:gd name="T73" fmla="*/ 68 h 104"/>
                  <a:gd name="T74" fmla="*/ 80 w 126"/>
                  <a:gd name="T75" fmla="*/ 34 h 104"/>
                  <a:gd name="T76" fmla="*/ 122 w 126"/>
                  <a:gd name="T77" fmla="*/ 34 h 104"/>
                  <a:gd name="T78" fmla="*/ 122 w 126"/>
                  <a:gd name="T79" fmla="*/ 34 h 104"/>
                  <a:gd name="T80" fmla="*/ 124 w 126"/>
                  <a:gd name="T81" fmla="*/ 32 h 104"/>
                  <a:gd name="T82" fmla="*/ 126 w 126"/>
                  <a:gd name="T83" fmla="*/ 30 h 104"/>
                  <a:gd name="T84" fmla="*/ 126 w 126"/>
                  <a:gd name="T85" fmla="*/ 4 h 104"/>
                  <a:gd name="T86" fmla="*/ 126 w 126"/>
                  <a:gd name="T87" fmla="*/ 4 h 104"/>
                  <a:gd name="T88" fmla="*/ 124 w 126"/>
                  <a:gd name="T89" fmla="*/ 2 h 104"/>
                  <a:gd name="T90" fmla="*/ 122 w 126"/>
                  <a:gd name="T91" fmla="*/ 0 h 104"/>
                  <a:gd name="T92" fmla="*/ 122 w 126"/>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04">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2" name="Freeform 362"/>
              <p:cNvSpPr>
                <a:spLocks/>
              </p:cNvSpPr>
              <p:nvPr/>
            </p:nvSpPr>
            <p:spPr bwMode="auto">
              <a:xfrm>
                <a:off x="2629" y="2341"/>
                <a:ext cx="48" cy="26"/>
              </a:xfrm>
              <a:custGeom>
                <a:avLst/>
                <a:gdLst>
                  <a:gd name="T0" fmla="*/ 22 w 48"/>
                  <a:gd name="T1" fmla="*/ 26 h 26"/>
                  <a:gd name="T2" fmla="*/ 22 w 48"/>
                  <a:gd name="T3" fmla="*/ 26 h 26"/>
                  <a:gd name="T4" fmla="*/ 20 w 48"/>
                  <a:gd name="T5" fmla="*/ 26 h 26"/>
                  <a:gd name="T6" fmla="*/ 0 w 48"/>
                  <a:gd name="T7" fmla="*/ 8 h 26"/>
                  <a:gd name="T8" fmla="*/ 0 w 48"/>
                  <a:gd name="T9" fmla="*/ 8 h 26"/>
                  <a:gd name="T10" fmla="*/ 0 w 48"/>
                  <a:gd name="T11" fmla="*/ 6 h 26"/>
                  <a:gd name="T12" fmla="*/ 0 w 48"/>
                  <a:gd name="T13" fmla="*/ 6 h 26"/>
                  <a:gd name="T14" fmla="*/ 2 w 48"/>
                  <a:gd name="T15" fmla="*/ 4 h 26"/>
                  <a:gd name="T16" fmla="*/ 18 w 48"/>
                  <a:gd name="T17" fmla="*/ 2 h 26"/>
                  <a:gd name="T18" fmla="*/ 20 w 48"/>
                  <a:gd name="T19" fmla="*/ 0 h 26"/>
                  <a:gd name="T20" fmla="*/ 20 w 48"/>
                  <a:gd name="T21" fmla="*/ 0 h 26"/>
                  <a:gd name="T22" fmla="*/ 22 w 48"/>
                  <a:gd name="T23" fmla="*/ 0 h 26"/>
                  <a:gd name="T24" fmla="*/ 46 w 48"/>
                  <a:gd name="T25" fmla="*/ 0 h 26"/>
                  <a:gd name="T26" fmla="*/ 46 w 48"/>
                  <a:gd name="T27" fmla="*/ 0 h 26"/>
                  <a:gd name="T28" fmla="*/ 48 w 48"/>
                  <a:gd name="T29" fmla="*/ 0 h 26"/>
                  <a:gd name="T30" fmla="*/ 48 w 48"/>
                  <a:gd name="T31" fmla="*/ 0 h 26"/>
                  <a:gd name="T32" fmla="*/ 48 w 48"/>
                  <a:gd name="T33" fmla="*/ 2 h 26"/>
                  <a:gd name="T34" fmla="*/ 44 w 48"/>
                  <a:gd name="T35" fmla="*/ 10 h 26"/>
                  <a:gd name="T36" fmla="*/ 42 w 48"/>
                  <a:gd name="T37" fmla="*/ 14 h 26"/>
                  <a:gd name="T38" fmla="*/ 42 w 48"/>
                  <a:gd name="T39" fmla="*/ 14 h 26"/>
                  <a:gd name="T40" fmla="*/ 40 w 48"/>
                  <a:gd name="T41" fmla="*/ 16 h 26"/>
                  <a:gd name="T42" fmla="*/ 30 w 48"/>
                  <a:gd name="T43" fmla="*/ 18 h 26"/>
                  <a:gd name="T44" fmla="*/ 24 w 48"/>
                  <a:gd name="T45" fmla="*/ 26 h 26"/>
                  <a:gd name="T46" fmla="*/ 24 w 48"/>
                  <a:gd name="T47" fmla="*/ 26 h 26"/>
                  <a:gd name="T48" fmla="*/ 22 w 48"/>
                  <a:gd name="T49" fmla="*/ 26 h 26"/>
                  <a:gd name="T50" fmla="*/ 22 w 48"/>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6">
                    <a:moveTo>
                      <a:pt x="22" y="26"/>
                    </a:moveTo>
                    <a:lnTo>
                      <a:pt x="22" y="26"/>
                    </a:lnTo>
                    <a:lnTo>
                      <a:pt x="20" y="26"/>
                    </a:lnTo>
                    <a:lnTo>
                      <a:pt x="0" y="8"/>
                    </a:lnTo>
                    <a:lnTo>
                      <a:pt x="0" y="8"/>
                    </a:lnTo>
                    <a:lnTo>
                      <a:pt x="0" y="6"/>
                    </a:lnTo>
                    <a:lnTo>
                      <a:pt x="0" y="6"/>
                    </a:lnTo>
                    <a:lnTo>
                      <a:pt x="2" y="4"/>
                    </a:lnTo>
                    <a:lnTo>
                      <a:pt x="18" y="2"/>
                    </a:lnTo>
                    <a:lnTo>
                      <a:pt x="20" y="0"/>
                    </a:lnTo>
                    <a:lnTo>
                      <a:pt x="20" y="0"/>
                    </a:lnTo>
                    <a:lnTo>
                      <a:pt x="22" y="0"/>
                    </a:lnTo>
                    <a:lnTo>
                      <a:pt x="46" y="0"/>
                    </a:lnTo>
                    <a:lnTo>
                      <a:pt x="46" y="0"/>
                    </a:lnTo>
                    <a:lnTo>
                      <a:pt x="48" y="0"/>
                    </a:lnTo>
                    <a:lnTo>
                      <a:pt x="48" y="0"/>
                    </a:lnTo>
                    <a:lnTo>
                      <a:pt x="48" y="2"/>
                    </a:lnTo>
                    <a:lnTo>
                      <a:pt x="44" y="10"/>
                    </a:lnTo>
                    <a:lnTo>
                      <a:pt x="42" y="14"/>
                    </a:lnTo>
                    <a:lnTo>
                      <a:pt x="42" y="14"/>
                    </a:lnTo>
                    <a:lnTo>
                      <a:pt x="40" y="16"/>
                    </a:lnTo>
                    <a:lnTo>
                      <a:pt x="30" y="18"/>
                    </a:lnTo>
                    <a:lnTo>
                      <a:pt x="24" y="26"/>
                    </a:lnTo>
                    <a:lnTo>
                      <a:pt x="24" y="26"/>
                    </a:lnTo>
                    <a:lnTo>
                      <a:pt x="22" y="26"/>
                    </a:lnTo>
                    <a:lnTo>
                      <a:pt x="2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3" name="Freeform 363"/>
              <p:cNvSpPr>
                <a:spLocks noEditPoints="1"/>
              </p:cNvSpPr>
              <p:nvPr/>
            </p:nvSpPr>
            <p:spPr bwMode="auto">
              <a:xfrm>
                <a:off x="2627" y="2339"/>
                <a:ext cx="52" cy="30"/>
              </a:xfrm>
              <a:custGeom>
                <a:avLst/>
                <a:gdLst>
                  <a:gd name="T0" fmla="*/ 48 w 52"/>
                  <a:gd name="T1" fmla="*/ 4 h 30"/>
                  <a:gd name="T2" fmla="*/ 44 w 52"/>
                  <a:gd name="T3" fmla="*/ 12 h 30"/>
                  <a:gd name="T4" fmla="*/ 42 w 52"/>
                  <a:gd name="T5" fmla="*/ 16 h 30"/>
                  <a:gd name="T6" fmla="*/ 32 w 52"/>
                  <a:gd name="T7" fmla="*/ 20 h 30"/>
                  <a:gd name="T8" fmla="*/ 24 w 52"/>
                  <a:gd name="T9" fmla="*/ 26 h 30"/>
                  <a:gd name="T10" fmla="*/ 18 w 52"/>
                  <a:gd name="T11" fmla="*/ 20 h 30"/>
                  <a:gd name="T12" fmla="*/ 10 w 52"/>
                  <a:gd name="T13" fmla="*/ 14 h 30"/>
                  <a:gd name="T14" fmla="*/ 8 w 52"/>
                  <a:gd name="T15" fmla="*/ 12 h 30"/>
                  <a:gd name="T16" fmla="*/ 4 w 52"/>
                  <a:gd name="T17" fmla="*/ 8 h 30"/>
                  <a:gd name="T18" fmla="*/ 20 w 52"/>
                  <a:gd name="T19" fmla="*/ 6 h 30"/>
                  <a:gd name="T20" fmla="*/ 24 w 52"/>
                  <a:gd name="T21" fmla="*/ 4 h 30"/>
                  <a:gd name="T22" fmla="*/ 48 w 52"/>
                  <a:gd name="T23" fmla="*/ 4 h 30"/>
                  <a:gd name="T24" fmla="*/ 48 w 52"/>
                  <a:gd name="T25" fmla="*/ 0 h 30"/>
                  <a:gd name="T26" fmla="*/ 24 w 52"/>
                  <a:gd name="T27" fmla="*/ 0 h 30"/>
                  <a:gd name="T28" fmla="*/ 24 w 52"/>
                  <a:gd name="T29" fmla="*/ 0 h 30"/>
                  <a:gd name="T30" fmla="*/ 22 w 52"/>
                  <a:gd name="T31" fmla="*/ 0 h 30"/>
                  <a:gd name="T32" fmla="*/ 18 w 52"/>
                  <a:gd name="T33" fmla="*/ 2 h 30"/>
                  <a:gd name="T34" fmla="*/ 2 w 52"/>
                  <a:gd name="T35" fmla="*/ 4 h 30"/>
                  <a:gd name="T36" fmla="*/ 2 w 52"/>
                  <a:gd name="T37" fmla="*/ 4 h 30"/>
                  <a:gd name="T38" fmla="*/ 0 w 52"/>
                  <a:gd name="T39" fmla="*/ 4 h 30"/>
                  <a:gd name="T40" fmla="*/ 0 w 52"/>
                  <a:gd name="T41" fmla="*/ 6 h 30"/>
                  <a:gd name="T42" fmla="*/ 0 w 52"/>
                  <a:gd name="T43" fmla="*/ 6 h 30"/>
                  <a:gd name="T44" fmla="*/ 0 w 52"/>
                  <a:gd name="T45" fmla="*/ 10 h 30"/>
                  <a:gd name="T46" fmla="*/ 0 w 52"/>
                  <a:gd name="T47" fmla="*/ 10 h 30"/>
                  <a:gd name="T48" fmla="*/ 6 w 52"/>
                  <a:gd name="T49" fmla="*/ 16 h 30"/>
                  <a:gd name="T50" fmla="*/ 8 w 52"/>
                  <a:gd name="T51" fmla="*/ 18 h 30"/>
                  <a:gd name="T52" fmla="*/ 16 w 52"/>
                  <a:gd name="T53" fmla="*/ 24 h 30"/>
                  <a:gd name="T54" fmla="*/ 22 w 52"/>
                  <a:gd name="T55" fmla="*/ 28 h 30"/>
                  <a:gd name="T56" fmla="*/ 22 w 52"/>
                  <a:gd name="T57" fmla="*/ 28 h 30"/>
                  <a:gd name="T58" fmla="*/ 24 w 52"/>
                  <a:gd name="T59" fmla="*/ 30 h 30"/>
                  <a:gd name="T60" fmla="*/ 24 w 52"/>
                  <a:gd name="T61" fmla="*/ 30 h 30"/>
                  <a:gd name="T62" fmla="*/ 26 w 52"/>
                  <a:gd name="T63" fmla="*/ 28 h 30"/>
                  <a:gd name="T64" fmla="*/ 34 w 52"/>
                  <a:gd name="T65" fmla="*/ 22 h 30"/>
                  <a:gd name="T66" fmla="*/ 44 w 52"/>
                  <a:gd name="T67" fmla="*/ 20 h 30"/>
                  <a:gd name="T68" fmla="*/ 44 w 52"/>
                  <a:gd name="T69" fmla="*/ 20 h 30"/>
                  <a:gd name="T70" fmla="*/ 46 w 52"/>
                  <a:gd name="T71" fmla="*/ 18 h 30"/>
                  <a:gd name="T72" fmla="*/ 48 w 52"/>
                  <a:gd name="T73" fmla="*/ 12 h 30"/>
                  <a:gd name="T74" fmla="*/ 52 w 52"/>
                  <a:gd name="T75" fmla="*/ 4 h 30"/>
                  <a:gd name="T76" fmla="*/ 52 w 52"/>
                  <a:gd name="T77" fmla="*/ 4 h 30"/>
                  <a:gd name="T78" fmla="*/ 52 w 52"/>
                  <a:gd name="T79" fmla="*/ 0 h 30"/>
                  <a:gd name="T80" fmla="*/ 52 w 52"/>
                  <a:gd name="T81" fmla="*/ 0 h 30"/>
                  <a:gd name="T82" fmla="*/ 48 w 52"/>
                  <a:gd name="T83" fmla="*/ 0 h 30"/>
                  <a:gd name="T84" fmla="*/ 48 w 52"/>
                  <a:gd name="T8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30">
                    <a:moveTo>
                      <a:pt x="48" y="4"/>
                    </a:moveTo>
                    <a:lnTo>
                      <a:pt x="44" y="12"/>
                    </a:lnTo>
                    <a:lnTo>
                      <a:pt x="42" y="16"/>
                    </a:lnTo>
                    <a:lnTo>
                      <a:pt x="32" y="20"/>
                    </a:lnTo>
                    <a:lnTo>
                      <a:pt x="24" y="26"/>
                    </a:lnTo>
                    <a:lnTo>
                      <a:pt x="18" y="20"/>
                    </a:lnTo>
                    <a:lnTo>
                      <a:pt x="10" y="14"/>
                    </a:lnTo>
                    <a:lnTo>
                      <a:pt x="8" y="12"/>
                    </a:lnTo>
                    <a:lnTo>
                      <a:pt x="4" y="8"/>
                    </a:lnTo>
                    <a:lnTo>
                      <a:pt x="20" y="6"/>
                    </a:lnTo>
                    <a:lnTo>
                      <a:pt x="24" y="4"/>
                    </a:lnTo>
                    <a:lnTo>
                      <a:pt x="48" y="4"/>
                    </a:lnTo>
                    <a:close/>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4" name="Freeform 364"/>
              <p:cNvSpPr>
                <a:spLocks/>
              </p:cNvSpPr>
              <p:nvPr/>
            </p:nvSpPr>
            <p:spPr bwMode="auto">
              <a:xfrm>
                <a:off x="2631" y="2343"/>
                <a:ext cx="44" cy="22"/>
              </a:xfrm>
              <a:custGeom>
                <a:avLst/>
                <a:gdLst>
                  <a:gd name="T0" fmla="*/ 44 w 44"/>
                  <a:gd name="T1" fmla="*/ 0 h 22"/>
                  <a:gd name="T2" fmla="*/ 40 w 44"/>
                  <a:gd name="T3" fmla="*/ 8 h 22"/>
                  <a:gd name="T4" fmla="*/ 38 w 44"/>
                  <a:gd name="T5" fmla="*/ 12 h 22"/>
                  <a:gd name="T6" fmla="*/ 28 w 44"/>
                  <a:gd name="T7" fmla="*/ 16 h 22"/>
                  <a:gd name="T8" fmla="*/ 20 w 44"/>
                  <a:gd name="T9" fmla="*/ 22 h 22"/>
                  <a:gd name="T10" fmla="*/ 14 w 44"/>
                  <a:gd name="T11" fmla="*/ 16 h 22"/>
                  <a:gd name="T12" fmla="*/ 6 w 44"/>
                  <a:gd name="T13" fmla="*/ 10 h 22"/>
                  <a:gd name="T14" fmla="*/ 4 w 44"/>
                  <a:gd name="T15" fmla="*/ 8 h 22"/>
                  <a:gd name="T16" fmla="*/ 0 w 44"/>
                  <a:gd name="T17" fmla="*/ 4 h 22"/>
                  <a:gd name="T18" fmla="*/ 16 w 44"/>
                  <a:gd name="T19" fmla="*/ 2 h 22"/>
                  <a:gd name="T20" fmla="*/ 20 w 44"/>
                  <a:gd name="T21" fmla="*/ 0 h 22"/>
                  <a:gd name="T22" fmla="*/ 44 w 4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2">
                    <a:moveTo>
                      <a:pt x="44" y="0"/>
                    </a:moveTo>
                    <a:lnTo>
                      <a:pt x="40" y="8"/>
                    </a:lnTo>
                    <a:lnTo>
                      <a:pt x="38" y="12"/>
                    </a:lnTo>
                    <a:lnTo>
                      <a:pt x="28" y="16"/>
                    </a:lnTo>
                    <a:lnTo>
                      <a:pt x="20" y="22"/>
                    </a:lnTo>
                    <a:lnTo>
                      <a:pt x="14" y="16"/>
                    </a:lnTo>
                    <a:lnTo>
                      <a:pt x="6" y="10"/>
                    </a:lnTo>
                    <a:lnTo>
                      <a:pt x="4" y="8"/>
                    </a:lnTo>
                    <a:lnTo>
                      <a:pt x="0" y="4"/>
                    </a:lnTo>
                    <a:lnTo>
                      <a:pt x="16" y="2"/>
                    </a:lnTo>
                    <a:lnTo>
                      <a:pt x="20"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5" name="Freeform 365"/>
              <p:cNvSpPr>
                <a:spLocks/>
              </p:cNvSpPr>
              <p:nvPr/>
            </p:nvSpPr>
            <p:spPr bwMode="auto">
              <a:xfrm>
                <a:off x="2627" y="2339"/>
                <a:ext cx="52" cy="30"/>
              </a:xfrm>
              <a:custGeom>
                <a:avLst/>
                <a:gdLst>
                  <a:gd name="T0" fmla="*/ 48 w 52"/>
                  <a:gd name="T1" fmla="*/ 0 h 30"/>
                  <a:gd name="T2" fmla="*/ 24 w 52"/>
                  <a:gd name="T3" fmla="*/ 0 h 30"/>
                  <a:gd name="T4" fmla="*/ 24 w 52"/>
                  <a:gd name="T5" fmla="*/ 0 h 30"/>
                  <a:gd name="T6" fmla="*/ 22 w 52"/>
                  <a:gd name="T7" fmla="*/ 0 h 30"/>
                  <a:gd name="T8" fmla="*/ 18 w 52"/>
                  <a:gd name="T9" fmla="*/ 2 h 30"/>
                  <a:gd name="T10" fmla="*/ 2 w 52"/>
                  <a:gd name="T11" fmla="*/ 4 h 30"/>
                  <a:gd name="T12" fmla="*/ 2 w 52"/>
                  <a:gd name="T13" fmla="*/ 4 h 30"/>
                  <a:gd name="T14" fmla="*/ 0 w 52"/>
                  <a:gd name="T15" fmla="*/ 4 h 30"/>
                  <a:gd name="T16" fmla="*/ 0 w 52"/>
                  <a:gd name="T17" fmla="*/ 6 h 30"/>
                  <a:gd name="T18" fmla="*/ 0 w 52"/>
                  <a:gd name="T19" fmla="*/ 6 h 30"/>
                  <a:gd name="T20" fmla="*/ 0 w 52"/>
                  <a:gd name="T21" fmla="*/ 10 h 30"/>
                  <a:gd name="T22" fmla="*/ 0 w 52"/>
                  <a:gd name="T23" fmla="*/ 10 h 30"/>
                  <a:gd name="T24" fmla="*/ 6 w 52"/>
                  <a:gd name="T25" fmla="*/ 16 h 30"/>
                  <a:gd name="T26" fmla="*/ 8 w 52"/>
                  <a:gd name="T27" fmla="*/ 18 h 30"/>
                  <a:gd name="T28" fmla="*/ 16 w 52"/>
                  <a:gd name="T29" fmla="*/ 24 h 30"/>
                  <a:gd name="T30" fmla="*/ 22 w 52"/>
                  <a:gd name="T31" fmla="*/ 28 h 30"/>
                  <a:gd name="T32" fmla="*/ 22 w 52"/>
                  <a:gd name="T33" fmla="*/ 28 h 30"/>
                  <a:gd name="T34" fmla="*/ 24 w 52"/>
                  <a:gd name="T35" fmla="*/ 30 h 30"/>
                  <a:gd name="T36" fmla="*/ 24 w 52"/>
                  <a:gd name="T37" fmla="*/ 30 h 30"/>
                  <a:gd name="T38" fmla="*/ 26 w 52"/>
                  <a:gd name="T39" fmla="*/ 28 h 30"/>
                  <a:gd name="T40" fmla="*/ 34 w 52"/>
                  <a:gd name="T41" fmla="*/ 22 h 30"/>
                  <a:gd name="T42" fmla="*/ 44 w 52"/>
                  <a:gd name="T43" fmla="*/ 20 h 30"/>
                  <a:gd name="T44" fmla="*/ 44 w 52"/>
                  <a:gd name="T45" fmla="*/ 20 h 30"/>
                  <a:gd name="T46" fmla="*/ 46 w 52"/>
                  <a:gd name="T47" fmla="*/ 18 h 30"/>
                  <a:gd name="T48" fmla="*/ 48 w 52"/>
                  <a:gd name="T49" fmla="*/ 12 h 30"/>
                  <a:gd name="T50" fmla="*/ 52 w 52"/>
                  <a:gd name="T51" fmla="*/ 4 h 30"/>
                  <a:gd name="T52" fmla="*/ 52 w 52"/>
                  <a:gd name="T53" fmla="*/ 4 h 30"/>
                  <a:gd name="T54" fmla="*/ 52 w 52"/>
                  <a:gd name="T55" fmla="*/ 0 h 30"/>
                  <a:gd name="T56" fmla="*/ 52 w 52"/>
                  <a:gd name="T57" fmla="*/ 0 h 30"/>
                  <a:gd name="T58" fmla="*/ 48 w 52"/>
                  <a:gd name="T59" fmla="*/ 0 h 30"/>
                  <a:gd name="T60" fmla="*/ 48 w 52"/>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30">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6" name="Freeform 366"/>
              <p:cNvSpPr>
                <a:spLocks/>
              </p:cNvSpPr>
              <p:nvPr/>
            </p:nvSpPr>
            <p:spPr bwMode="auto">
              <a:xfrm>
                <a:off x="2679" y="2379"/>
                <a:ext cx="42" cy="50"/>
              </a:xfrm>
              <a:custGeom>
                <a:avLst/>
                <a:gdLst>
                  <a:gd name="T0" fmla="*/ 22 w 42"/>
                  <a:gd name="T1" fmla="*/ 50 h 50"/>
                  <a:gd name="T2" fmla="*/ 22 w 42"/>
                  <a:gd name="T3" fmla="*/ 50 h 50"/>
                  <a:gd name="T4" fmla="*/ 22 w 42"/>
                  <a:gd name="T5" fmla="*/ 50 h 50"/>
                  <a:gd name="T6" fmla="*/ 14 w 42"/>
                  <a:gd name="T7" fmla="*/ 46 h 50"/>
                  <a:gd name="T8" fmla="*/ 4 w 42"/>
                  <a:gd name="T9" fmla="*/ 34 h 50"/>
                  <a:gd name="T10" fmla="*/ 0 w 42"/>
                  <a:gd name="T11" fmla="*/ 26 h 50"/>
                  <a:gd name="T12" fmla="*/ 0 w 42"/>
                  <a:gd name="T13" fmla="*/ 26 h 50"/>
                  <a:gd name="T14" fmla="*/ 0 w 42"/>
                  <a:gd name="T15" fmla="*/ 24 h 50"/>
                  <a:gd name="T16" fmla="*/ 0 w 42"/>
                  <a:gd name="T17" fmla="*/ 18 h 50"/>
                  <a:gd name="T18" fmla="*/ 0 w 42"/>
                  <a:gd name="T19" fmla="*/ 18 h 50"/>
                  <a:gd name="T20" fmla="*/ 0 w 42"/>
                  <a:gd name="T21" fmla="*/ 16 h 50"/>
                  <a:gd name="T22" fmla="*/ 8 w 42"/>
                  <a:gd name="T23" fmla="*/ 8 h 50"/>
                  <a:gd name="T24" fmla="*/ 14 w 42"/>
                  <a:gd name="T25" fmla="*/ 2 h 50"/>
                  <a:gd name="T26" fmla="*/ 14 w 42"/>
                  <a:gd name="T27" fmla="*/ 2 h 50"/>
                  <a:gd name="T28" fmla="*/ 16 w 42"/>
                  <a:gd name="T29" fmla="*/ 2 h 50"/>
                  <a:gd name="T30" fmla="*/ 16 w 42"/>
                  <a:gd name="T31" fmla="*/ 2 h 50"/>
                  <a:gd name="T32" fmla="*/ 28 w 42"/>
                  <a:gd name="T33" fmla="*/ 0 h 50"/>
                  <a:gd name="T34" fmla="*/ 28 w 42"/>
                  <a:gd name="T35" fmla="*/ 0 h 50"/>
                  <a:gd name="T36" fmla="*/ 30 w 42"/>
                  <a:gd name="T37" fmla="*/ 2 h 50"/>
                  <a:gd name="T38" fmla="*/ 36 w 42"/>
                  <a:gd name="T39" fmla="*/ 8 h 50"/>
                  <a:gd name="T40" fmla="*/ 42 w 42"/>
                  <a:gd name="T41" fmla="*/ 16 h 50"/>
                  <a:gd name="T42" fmla="*/ 42 w 42"/>
                  <a:gd name="T43" fmla="*/ 16 h 50"/>
                  <a:gd name="T44" fmla="*/ 42 w 42"/>
                  <a:gd name="T45" fmla="*/ 18 h 50"/>
                  <a:gd name="T46" fmla="*/ 40 w 42"/>
                  <a:gd name="T47" fmla="*/ 32 h 50"/>
                  <a:gd name="T48" fmla="*/ 34 w 42"/>
                  <a:gd name="T49" fmla="*/ 40 h 50"/>
                  <a:gd name="T50" fmla="*/ 24 w 42"/>
                  <a:gd name="T51" fmla="*/ 48 h 50"/>
                  <a:gd name="T52" fmla="*/ 24 w 42"/>
                  <a:gd name="T53" fmla="*/ 48 h 50"/>
                  <a:gd name="T54" fmla="*/ 22 w 42"/>
                  <a:gd name="T55" fmla="*/ 50 h 50"/>
                  <a:gd name="T56" fmla="*/ 22 w 42"/>
                  <a:gd name="T5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50">
                    <a:moveTo>
                      <a:pt x="22" y="50"/>
                    </a:moveTo>
                    <a:lnTo>
                      <a:pt x="22" y="50"/>
                    </a:lnTo>
                    <a:lnTo>
                      <a:pt x="22" y="50"/>
                    </a:lnTo>
                    <a:lnTo>
                      <a:pt x="14" y="46"/>
                    </a:lnTo>
                    <a:lnTo>
                      <a:pt x="4" y="34"/>
                    </a:lnTo>
                    <a:lnTo>
                      <a:pt x="0" y="26"/>
                    </a:lnTo>
                    <a:lnTo>
                      <a:pt x="0" y="26"/>
                    </a:lnTo>
                    <a:lnTo>
                      <a:pt x="0" y="24"/>
                    </a:lnTo>
                    <a:lnTo>
                      <a:pt x="0" y="18"/>
                    </a:lnTo>
                    <a:lnTo>
                      <a:pt x="0" y="18"/>
                    </a:lnTo>
                    <a:lnTo>
                      <a:pt x="0" y="16"/>
                    </a:lnTo>
                    <a:lnTo>
                      <a:pt x="8" y="8"/>
                    </a:lnTo>
                    <a:lnTo>
                      <a:pt x="14" y="2"/>
                    </a:lnTo>
                    <a:lnTo>
                      <a:pt x="14" y="2"/>
                    </a:lnTo>
                    <a:lnTo>
                      <a:pt x="16" y="2"/>
                    </a:lnTo>
                    <a:lnTo>
                      <a:pt x="16" y="2"/>
                    </a:lnTo>
                    <a:lnTo>
                      <a:pt x="28" y="0"/>
                    </a:lnTo>
                    <a:lnTo>
                      <a:pt x="28" y="0"/>
                    </a:lnTo>
                    <a:lnTo>
                      <a:pt x="30" y="2"/>
                    </a:lnTo>
                    <a:lnTo>
                      <a:pt x="36" y="8"/>
                    </a:lnTo>
                    <a:lnTo>
                      <a:pt x="42" y="16"/>
                    </a:lnTo>
                    <a:lnTo>
                      <a:pt x="42" y="16"/>
                    </a:lnTo>
                    <a:lnTo>
                      <a:pt x="42" y="18"/>
                    </a:lnTo>
                    <a:lnTo>
                      <a:pt x="40" y="32"/>
                    </a:lnTo>
                    <a:lnTo>
                      <a:pt x="34" y="40"/>
                    </a:lnTo>
                    <a:lnTo>
                      <a:pt x="24" y="48"/>
                    </a:lnTo>
                    <a:lnTo>
                      <a:pt x="24" y="48"/>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7" name="Freeform 367"/>
              <p:cNvSpPr>
                <a:spLocks noEditPoints="1"/>
              </p:cNvSpPr>
              <p:nvPr/>
            </p:nvSpPr>
            <p:spPr bwMode="auto">
              <a:xfrm>
                <a:off x="2677" y="2377"/>
                <a:ext cx="46" cy="54"/>
              </a:xfrm>
              <a:custGeom>
                <a:avLst/>
                <a:gdLst>
                  <a:gd name="T0" fmla="*/ 30 w 46"/>
                  <a:gd name="T1" fmla="*/ 4 h 54"/>
                  <a:gd name="T2" fmla="*/ 38 w 46"/>
                  <a:gd name="T3" fmla="*/ 12 h 54"/>
                  <a:gd name="T4" fmla="*/ 42 w 46"/>
                  <a:gd name="T5" fmla="*/ 20 h 54"/>
                  <a:gd name="T6" fmla="*/ 40 w 46"/>
                  <a:gd name="T7" fmla="*/ 26 h 54"/>
                  <a:gd name="T8" fmla="*/ 40 w 46"/>
                  <a:gd name="T9" fmla="*/ 34 h 54"/>
                  <a:gd name="T10" fmla="*/ 34 w 46"/>
                  <a:gd name="T11" fmla="*/ 42 h 54"/>
                  <a:gd name="T12" fmla="*/ 24 w 46"/>
                  <a:gd name="T13" fmla="*/ 50 h 54"/>
                  <a:gd name="T14" fmla="*/ 18 w 46"/>
                  <a:gd name="T15" fmla="*/ 46 h 54"/>
                  <a:gd name="T16" fmla="*/ 8 w 46"/>
                  <a:gd name="T17" fmla="*/ 34 h 54"/>
                  <a:gd name="T18" fmla="*/ 4 w 46"/>
                  <a:gd name="T19" fmla="*/ 26 h 54"/>
                  <a:gd name="T20" fmla="*/ 4 w 46"/>
                  <a:gd name="T21" fmla="*/ 20 h 54"/>
                  <a:gd name="T22" fmla="*/ 10 w 46"/>
                  <a:gd name="T23" fmla="*/ 12 h 54"/>
                  <a:gd name="T24" fmla="*/ 18 w 46"/>
                  <a:gd name="T25" fmla="*/ 6 h 54"/>
                  <a:gd name="T26" fmla="*/ 30 w 46"/>
                  <a:gd name="T27" fmla="*/ 4 h 54"/>
                  <a:gd name="T28" fmla="*/ 30 w 46"/>
                  <a:gd name="T29" fmla="*/ 0 h 54"/>
                  <a:gd name="T30" fmla="*/ 30 w 46"/>
                  <a:gd name="T31" fmla="*/ 0 h 54"/>
                  <a:gd name="T32" fmla="*/ 30 w 46"/>
                  <a:gd name="T33" fmla="*/ 0 h 54"/>
                  <a:gd name="T34" fmla="*/ 18 w 46"/>
                  <a:gd name="T35" fmla="*/ 2 h 54"/>
                  <a:gd name="T36" fmla="*/ 18 w 46"/>
                  <a:gd name="T37" fmla="*/ 2 h 54"/>
                  <a:gd name="T38" fmla="*/ 16 w 46"/>
                  <a:gd name="T39" fmla="*/ 4 h 54"/>
                  <a:gd name="T40" fmla="*/ 8 w 46"/>
                  <a:gd name="T41" fmla="*/ 8 h 54"/>
                  <a:gd name="T42" fmla="*/ 8 w 46"/>
                  <a:gd name="T43" fmla="*/ 8 h 54"/>
                  <a:gd name="T44" fmla="*/ 8 w 46"/>
                  <a:gd name="T45" fmla="*/ 10 h 54"/>
                  <a:gd name="T46" fmla="*/ 0 w 46"/>
                  <a:gd name="T47" fmla="*/ 16 h 54"/>
                  <a:gd name="T48" fmla="*/ 0 w 46"/>
                  <a:gd name="T49" fmla="*/ 16 h 54"/>
                  <a:gd name="T50" fmla="*/ 0 w 46"/>
                  <a:gd name="T51" fmla="*/ 20 h 54"/>
                  <a:gd name="T52" fmla="*/ 0 w 46"/>
                  <a:gd name="T53" fmla="*/ 26 h 54"/>
                  <a:gd name="T54" fmla="*/ 0 w 46"/>
                  <a:gd name="T55" fmla="*/ 26 h 54"/>
                  <a:gd name="T56" fmla="*/ 0 w 46"/>
                  <a:gd name="T57" fmla="*/ 28 h 54"/>
                  <a:gd name="T58" fmla="*/ 4 w 46"/>
                  <a:gd name="T59" fmla="*/ 36 h 54"/>
                  <a:gd name="T60" fmla="*/ 4 w 46"/>
                  <a:gd name="T61" fmla="*/ 36 h 54"/>
                  <a:gd name="T62" fmla="*/ 4 w 46"/>
                  <a:gd name="T63" fmla="*/ 38 h 54"/>
                  <a:gd name="T64" fmla="*/ 14 w 46"/>
                  <a:gd name="T65" fmla="*/ 48 h 54"/>
                  <a:gd name="T66" fmla="*/ 14 w 46"/>
                  <a:gd name="T67" fmla="*/ 48 h 54"/>
                  <a:gd name="T68" fmla="*/ 16 w 46"/>
                  <a:gd name="T69" fmla="*/ 50 h 54"/>
                  <a:gd name="T70" fmla="*/ 24 w 46"/>
                  <a:gd name="T71" fmla="*/ 52 h 54"/>
                  <a:gd name="T72" fmla="*/ 24 w 46"/>
                  <a:gd name="T73" fmla="*/ 52 h 54"/>
                  <a:gd name="T74" fmla="*/ 24 w 46"/>
                  <a:gd name="T75" fmla="*/ 54 h 54"/>
                  <a:gd name="T76" fmla="*/ 24 w 46"/>
                  <a:gd name="T77" fmla="*/ 54 h 54"/>
                  <a:gd name="T78" fmla="*/ 28 w 46"/>
                  <a:gd name="T79" fmla="*/ 52 h 54"/>
                  <a:gd name="T80" fmla="*/ 36 w 46"/>
                  <a:gd name="T81" fmla="*/ 44 h 54"/>
                  <a:gd name="T82" fmla="*/ 36 w 46"/>
                  <a:gd name="T83" fmla="*/ 44 h 54"/>
                  <a:gd name="T84" fmla="*/ 38 w 46"/>
                  <a:gd name="T85" fmla="*/ 44 h 54"/>
                  <a:gd name="T86" fmla="*/ 42 w 46"/>
                  <a:gd name="T87" fmla="*/ 36 h 54"/>
                  <a:gd name="T88" fmla="*/ 42 w 46"/>
                  <a:gd name="T89" fmla="*/ 36 h 54"/>
                  <a:gd name="T90" fmla="*/ 44 w 46"/>
                  <a:gd name="T91" fmla="*/ 36 h 54"/>
                  <a:gd name="T92" fmla="*/ 44 w 46"/>
                  <a:gd name="T93" fmla="*/ 28 h 54"/>
                  <a:gd name="T94" fmla="*/ 46 w 46"/>
                  <a:gd name="T95" fmla="*/ 20 h 54"/>
                  <a:gd name="T96" fmla="*/ 46 w 46"/>
                  <a:gd name="T97" fmla="*/ 20 h 54"/>
                  <a:gd name="T98" fmla="*/ 46 w 46"/>
                  <a:gd name="T99" fmla="*/ 18 h 54"/>
                  <a:gd name="T100" fmla="*/ 40 w 46"/>
                  <a:gd name="T101" fmla="*/ 10 h 54"/>
                  <a:gd name="T102" fmla="*/ 40 w 46"/>
                  <a:gd name="T103" fmla="*/ 10 h 54"/>
                  <a:gd name="T104" fmla="*/ 40 w 46"/>
                  <a:gd name="T105" fmla="*/ 10 h 54"/>
                  <a:gd name="T106" fmla="*/ 34 w 46"/>
                  <a:gd name="T107" fmla="*/ 2 h 54"/>
                  <a:gd name="T108" fmla="*/ 34 w 46"/>
                  <a:gd name="T109" fmla="*/ 2 h 54"/>
                  <a:gd name="T110" fmla="*/ 30 w 46"/>
                  <a:gd name="T111" fmla="*/ 0 h 54"/>
                  <a:gd name="T112" fmla="*/ 30 w 46"/>
                  <a:gd name="T11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54">
                    <a:moveTo>
                      <a:pt x="30" y="4"/>
                    </a:moveTo>
                    <a:lnTo>
                      <a:pt x="38" y="12"/>
                    </a:lnTo>
                    <a:lnTo>
                      <a:pt x="42" y="20"/>
                    </a:lnTo>
                    <a:lnTo>
                      <a:pt x="40" y="26"/>
                    </a:lnTo>
                    <a:lnTo>
                      <a:pt x="40" y="34"/>
                    </a:lnTo>
                    <a:lnTo>
                      <a:pt x="34" y="42"/>
                    </a:lnTo>
                    <a:lnTo>
                      <a:pt x="24" y="50"/>
                    </a:lnTo>
                    <a:lnTo>
                      <a:pt x="18" y="46"/>
                    </a:lnTo>
                    <a:lnTo>
                      <a:pt x="8" y="34"/>
                    </a:lnTo>
                    <a:lnTo>
                      <a:pt x="4" y="26"/>
                    </a:lnTo>
                    <a:lnTo>
                      <a:pt x="4" y="20"/>
                    </a:lnTo>
                    <a:lnTo>
                      <a:pt x="10" y="12"/>
                    </a:lnTo>
                    <a:lnTo>
                      <a:pt x="18" y="6"/>
                    </a:lnTo>
                    <a:lnTo>
                      <a:pt x="30" y="4"/>
                    </a:lnTo>
                    <a:close/>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8" name="Freeform 368"/>
              <p:cNvSpPr>
                <a:spLocks/>
              </p:cNvSpPr>
              <p:nvPr/>
            </p:nvSpPr>
            <p:spPr bwMode="auto">
              <a:xfrm>
                <a:off x="2681" y="2381"/>
                <a:ext cx="38" cy="46"/>
              </a:xfrm>
              <a:custGeom>
                <a:avLst/>
                <a:gdLst>
                  <a:gd name="T0" fmla="*/ 26 w 38"/>
                  <a:gd name="T1" fmla="*/ 0 h 46"/>
                  <a:gd name="T2" fmla="*/ 34 w 38"/>
                  <a:gd name="T3" fmla="*/ 8 h 46"/>
                  <a:gd name="T4" fmla="*/ 38 w 38"/>
                  <a:gd name="T5" fmla="*/ 16 h 46"/>
                  <a:gd name="T6" fmla="*/ 36 w 38"/>
                  <a:gd name="T7" fmla="*/ 22 h 46"/>
                  <a:gd name="T8" fmla="*/ 36 w 38"/>
                  <a:gd name="T9" fmla="*/ 30 h 46"/>
                  <a:gd name="T10" fmla="*/ 30 w 38"/>
                  <a:gd name="T11" fmla="*/ 38 h 46"/>
                  <a:gd name="T12" fmla="*/ 20 w 38"/>
                  <a:gd name="T13" fmla="*/ 46 h 46"/>
                  <a:gd name="T14" fmla="*/ 14 w 38"/>
                  <a:gd name="T15" fmla="*/ 42 h 46"/>
                  <a:gd name="T16" fmla="*/ 4 w 38"/>
                  <a:gd name="T17" fmla="*/ 30 h 46"/>
                  <a:gd name="T18" fmla="*/ 0 w 38"/>
                  <a:gd name="T19" fmla="*/ 22 h 46"/>
                  <a:gd name="T20" fmla="*/ 0 w 38"/>
                  <a:gd name="T21" fmla="*/ 16 h 46"/>
                  <a:gd name="T22" fmla="*/ 6 w 38"/>
                  <a:gd name="T23" fmla="*/ 8 h 46"/>
                  <a:gd name="T24" fmla="*/ 14 w 38"/>
                  <a:gd name="T25" fmla="*/ 2 h 46"/>
                  <a:gd name="T26" fmla="*/ 26 w 38"/>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6">
                    <a:moveTo>
                      <a:pt x="26" y="0"/>
                    </a:moveTo>
                    <a:lnTo>
                      <a:pt x="34" y="8"/>
                    </a:lnTo>
                    <a:lnTo>
                      <a:pt x="38" y="16"/>
                    </a:lnTo>
                    <a:lnTo>
                      <a:pt x="36" y="22"/>
                    </a:lnTo>
                    <a:lnTo>
                      <a:pt x="36" y="30"/>
                    </a:lnTo>
                    <a:lnTo>
                      <a:pt x="30" y="38"/>
                    </a:lnTo>
                    <a:lnTo>
                      <a:pt x="20" y="46"/>
                    </a:lnTo>
                    <a:lnTo>
                      <a:pt x="14" y="42"/>
                    </a:lnTo>
                    <a:lnTo>
                      <a:pt x="4" y="30"/>
                    </a:lnTo>
                    <a:lnTo>
                      <a:pt x="0" y="22"/>
                    </a:lnTo>
                    <a:lnTo>
                      <a:pt x="0" y="16"/>
                    </a:lnTo>
                    <a:lnTo>
                      <a:pt x="6" y="8"/>
                    </a:lnTo>
                    <a:lnTo>
                      <a:pt x="14"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9" name="Freeform 369"/>
              <p:cNvSpPr>
                <a:spLocks/>
              </p:cNvSpPr>
              <p:nvPr/>
            </p:nvSpPr>
            <p:spPr bwMode="auto">
              <a:xfrm>
                <a:off x="2677" y="2377"/>
                <a:ext cx="46" cy="54"/>
              </a:xfrm>
              <a:custGeom>
                <a:avLst/>
                <a:gdLst>
                  <a:gd name="T0" fmla="*/ 30 w 46"/>
                  <a:gd name="T1" fmla="*/ 0 h 54"/>
                  <a:gd name="T2" fmla="*/ 30 w 46"/>
                  <a:gd name="T3" fmla="*/ 0 h 54"/>
                  <a:gd name="T4" fmla="*/ 30 w 46"/>
                  <a:gd name="T5" fmla="*/ 0 h 54"/>
                  <a:gd name="T6" fmla="*/ 18 w 46"/>
                  <a:gd name="T7" fmla="*/ 2 h 54"/>
                  <a:gd name="T8" fmla="*/ 18 w 46"/>
                  <a:gd name="T9" fmla="*/ 2 h 54"/>
                  <a:gd name="T10" fmla="*/ 16 w 46"/>
                  <a:gd name="T11" fmla="*/ 4 h 54"/>
                  <a:gd name="T12" fmla="*/ 8 w 46"/>
                  <a:gd name="T13" fmla="*/ 8 h 54"/>
                  <a:gd name="T14" fmla="*/ 8 w 46"/>
                  <a:gd name="T15" fmla="*/ 8 h 54"/>
                  <a:gd name="T16" fmla="*/ 8 w 46"/>
                  <a:gd name="T17" fmla="*/ 10 h 54"/>
                  <a:gd name="T18" fmla="*/ 0 w 46"/>
                  <a:gd name="T19" fmla="*/ 16 h 54"/>
                  <a:gd name="T20" fmla="*/ 0 w 46"/>
                  <a:gd name="T21" fmla="*/ 16 h 54"/>
                  <a:gd name="T22" fmla="*/ 0 w 46"/>
                  <a:gd name="T23" fmla="*/ 20 h 54"/>
                  <a:gd name="T24" fmla="*/ 0 w 46"/>
                  <a:gd name="T25" fmla="*/ 26 h 54"/>
                  <a:gd name="T26" fmla="*/ 0 w 46"/>
                  <a:gd name="T27" fmla="*/ 26 h 54"/>
                  <a:gd name="T28" fmla="*/ 0 w 46"/>
                  <a:gd name="T29" fmla="*/ 28 h 54"/>
                  <a:gd name="T30" fmla="*/ 4 w 46"/>
                  <a:gd name="T31" fmla="*/ 36 h 54"/>
                  <a:gd name="T32" fmla="*/ 4 w 46"/>
                  <a:gd name="T33" fmla="*/ 36 h 54"/>
                  <a:gd name="T34" fmla="*/ 4 w 46"/>
                  <a:gd name="T35" fmla="*/ 38 h 54"/>
                  <a:gd name="T36" fmla="*/ 14 w 46"/>
                  <a:gd name="T37" fmla="*/ 48 h 54"/>
                  <a:gd name="T38" fmla="*/ 14 w 46"/>
                  <a:gd name="T39" fmla="*/ 48 h 54"/>
                  <a:gd name="T40" fmla="*/ 16 w 46"/>
                  <a:gd name="T41" fmla="*/ 50 h 54"/>
                  <a:gd name="T42" fmla="*/ 24 w 46"/>
                  <a:gd name="T43" fmla="*/ 52 h 54"/>
                  <a:gd name="T44" fmla="*/ 24 w 46"/>
                  <a:gd name="T45" fmla="*/ 52 h 54"/>
                  <a:gd name="T46" fmla="*/ 24 w 46"/>
                  <a:gd name="T47" fmla="*/ 54 h 54"/>
                  <a:gd name="T48" fmla="*/ 24 w 46"/>
                  <a:gd name="T49" fmla="*/ 54 h 54"/>
                  <a:gd name="T50" fmla="*/ 28 w 46"/>
                  <a:gd name="T51" fmla="*/ 52 h 54"/>
                  <a:gd name="T52" fmla="*/ 36 w 46"/>
                  <a:gd name="T53" fmla="*/ 44 h 54"/>
                  <a:gd name="T54" fmla="*/ 36 w 46"/>
                  <a:gd name="T55" fmla="*/ 44 h 54"/>
                  <a:gd name="T56" fmla="*/ 38 w 46"/>
                  <a:gd name="T57" fmla="*/ 44 h 54"/>
                  <a:gd name="T58" fmla="*/ 42 w 46"/>
                  <a:gd name="T59" fmla="*/ 36 h 54"/>
                  <a:gd name="T60" fmla="*/ 42 w 46"/>
                  <a:gd name="T61" fmla="*/ 36 h 54"/>
                  <a:gd name="T62" fmla="*/ 44 w 46"/>
                  <a:gd name="T63" fmla="*/ 36 h 54"/>
                  <a:gd name="T64" fmla="*/ 44 w 46"/>
                  <a:gd name="T65" fmla="*/ 28 h 54"/>
                  <a:gd name="T66" fmla="*/ 46 w 46"/>
                  <a:gd name="T67" fmla="*/ 20 h 54"/>
                  <a:gd name="T68" fmla="*/ 46 w 46"/>
                  <a:gd name="T69" fmla="*/ 20 h 54"/>
                  <a:gd name="T70" fmla="*/ 46 w 46"/>
                  <a:gd name="T71" fmla="*/ 18 h 54"/>
                  <a:gd name="T72" fmla="*/ 40 w 46"/>
                  <a:gd name="T73" fmla="*/ 10 h 54"/>
                  <a:gd name="T74" fmla="*/ 40 w 46"/>
                  <a:gd name="T75" fmla="*/ 10 h 54"/>
                  <a:gd name="T76" fmla="*/ 40 w 46"/>
                  <a:gd name="T77" fmla="*/ 10 h 54"/>
                  <a:gd name="T78" fmla="*/ 34 w 46"/>
                  <a:gd name="T79" fmla="*/ 2 h 54"/>
                  <a:gd name="T80" fmla="*/ 34 w 46"/>
                  <a:gd name="T81" fmla="*/ 2 h 54"/>
                  <a:gd name="T82" fmla="*/ 30 w 46"/>
                  <a:gd name="T83" fmla="*/ 0 h 54"/>
                  <a:gd name="T84" fmla="*/ 30 w 46"/>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 h="54">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0" name="Freeform 370"/>
              <p:cNvSpPr>
                <a:spLocks/>
              </p:cNvSpPr>
              <p:nvPr/>
            </p:nvSpPr>
            <p:spPr bwMode="auto">
              <a:xfrm>
                <a:off x="2623" y="2121"/>
                <a:ext cx="176" cy="196"/>
              </a:xfrm>
              <a:custGeom>
                <a:avLst/>
                <a:gdLst>
                  <a:gd name="T0" fmla="*/ 70 w 176"/>
                  <a:gd name="T1" fmla="*/ 196 h 196"/>
                  <a:gd name="T2" fmla="*/ 60 w 176"/>
                  <a:gd name="T3" fmla="*/ 188 h 196"/>
                  <a:gd name="T4" fmla="*/ 46 w 176"/>
                  <a:gd name="T5" fmla="*/ 172 h 196"/>
                  <a:gd name="T6" fmla="*/ 24 w 176"/>
                  <a:gd name="T7" fmla="*/ 166 h 196"/>
                  <a:gd name="T8" fmla="*/ 12 w 176"/>
                  <a:gd name="T9" fmla="*/ 168 h 196"/>
                  <a:gd name="T10" fmla="*/ 10 w 176"/>
                  <a:gd name="T11" fmla="*/ 168 h 196"/>
                  <a:gd name="T12" fmla="*/ 10 w 176"/>
                  <a:gd name="T13" fmla="*/ 166 h 196"/>
                  <a:gd name="T14" fmla="*/ 16 w 176"/>
                  <a:gd name="T15" fmla="*/ 138 h 196"/>
                  <a:gd name="T16" fmla="*/ 6 w 176"/>
                  <a:gd name="T17" fmla="*/ 126 h 196"/>
                  <a:gd name="T18" fmla="*/ 6 w 176"/>
                  <a:gd name="T19" fmla="*/ 124 h 196"/>
                  <a:gd name="T20" fmla="*/ 10 w 176"/>
                  <a:gd name="T21" fmla="*/ 112 h 196"/>
                  <a:gd name="T22" fmla="*/ 0 w 176"/>
                  <a:gd name="T23" fmla="*/ 104 h 196"/>
                  <a:gd name="T24" fmla="*/ 0 w 176"/>
                  <a:gd name="T25" fmla="*/ 102 h 196"/>
                  <a:gd name="T26" fmla="*/ 0 w 176"/>
                  <a:gd name="T27" fmla="*/ 96 h 196"/>
                  <a:gd name="T28" fmla="*/ 56 w 176"/>
                  <a:gd name="T29" fmla="*/ 94 h 196"/>
                  <a:gd name="T30" fmla="*/ 56 w 176"/>
                  <a:gd name="T31" fmla="*/ 68 h 196"/>
                  <a:gd name="T32" fmla="*/ 64 w 176"/>
                  <a:gd name="T33" fmla="*/ 62 h 196"/>
                  <a:gd name="T34" fmla="*/ 64 w 176"/>
                  <a:gd name="T35" fmla="*/ 62 h 196"/>
                  <a:gd name="T36" fmla="*/ 72 w 176"/>
                  <a:gd name="T37" fmla="*/ 28 h 196"/>
                  <a:gd name="T38" fmla="*/ 74 w 176"/>
                  <a:gd name="T39" fmla="*/ 26 h 196"/>
                  <a:gd name="T40" fmla="*/ 116 w 176"/>
                  <a:gd name="T41" fmla="*/ 2 h 196"/>
                  <a:gd name="T42" fmla="*/ 116 w 176"/>
                  <a:gd name="T43" fmla="*/ 0 h 196"/>
                  <a:gd name="T44" fmla="*/ 118 w 176"/>
                  <a:gd name="T45" fmla="*/ 0 h 196"/>
                  <a:gd name="T46" fmla="*/ 118 w 176"/>
                  <a:gd name="T47" fmla="*/ 0 h 196"/>
                  <a:gd name="T48" fmla="*/ 176 w 176"/>
                  <a:gd name="T49" fmla="*/ 44 h 196"/>
                  <a:gd name="T50" fmla="*/ 176 w 176"/>
                  <a:gd name="T51" fmla="*/ 46 h 196"/>
                  <a:gd name="T52" fmla="*/ 150 w 176"/>
                  <a:gd name="T53" fmla="*/ 48 h 196"/>
                  <a:gd name="T54" fmla="*/ 166 w 176"/>
                  <a:gd name="T55" fmla="*/ 172 h 196"/>
                  <a:gd name="T56" fmla="*/ 166 w 176"/>
                  <a:gd name="T57" fmla="*/ 174 h 196"/>
                  <a:gd name="T58" fmla="*/ 164 w 176"/>
                  <a:gd name="T59" fmla="*/ 182 h 196"/>
                  <a:gd name="T60" fmla="*/ 162 w 176"/>
                  <a:gd name="T61" fmla="*/ 184 h 196"/>
                  <a:gd name="T62" fmla="*/ 72 w 176"/>
                  <a:gd name="T63" fmla="*/ 194 h 196"/>
                  <a:gd name="T64" fmla="*/ 70 w 176"/>
                  <a:gd name="T65" fmla="*/ 196 h 196"/>
                  <a:gd name="T66" fmla="*/ 70 w 176"/>
                  <a:gd name="T6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96">
                    <a:moveTo>
                      <a:pt x="70" y="196"/>
                    </a:moveTo>
                    <a:lnTo>
                      <a:pt x="70" y="196"/>
                    </a:lnTo>
                    <a:lnTo>
                      <a:pt x="68" y="194"/>
                    </a:lnTo>
                    <a:lnTo>
                      <a:pt x="60" y="188"/>
                    </a:lnTo>
                    <a:lnTo>
                      <a:pt x="52" y="176"/>
                    </a:lnTo>
                    <a:lnTo>
                      <a:pt x="46" y="172"/>
                    </a:lnTo>
                    <a:lnTo>
                      <a:pt x="36" y="166"/>
                    </a:lnTo>
                    <a:lnTo>
                      <a:pt x="24" y="166"/>
                    </a:lnTo>
                    <a:lnTo>
                      <a:pt x="24" y="166"/>
                    </a:lnTo>
                    <a:lnTo>
                      <a:pt x="12" y="168"/>
                    </a:lnTo>
                    <a:lnTo>
                      <a:pt x="12" y="168"/>
                    </a:lnTo>
                    <a:lnTo>
                      <a:pt x="10" y="168"/>
                    </a:lnTo>
                    <a:lnTo>
                      <a:pt x="10" y="168"/>
                    </a:lnTo>
                    <a:lnTo>
                      <a:pt x="10" y="166"/>
                    </a:lnTo>
                    <a:lnTo>
                      <a:pt x="10" y="156"/>
                    </a:lnTo>
                    <a:lnTo>
                      <a:pt x="16" y="138"/>
                    </a:lnTo>
                    <a:lnTo>
                      <a:pt x="10" y="132"/>
                    </a:lnTo>
                    <a:lnTo>
                      <a:pt x="6" y="126"/>
                    </a:lnTo>
                    <a:lnTo>
                      <a:pt x="6" y="126"/>
                    </a:lnTo>
                    <a:lnTo>
                      <a:pt x="6" y="124"/>
                    </a:lnTo>
                    <a:lnTo>
                      <a:pt x="10" y="118"/>
                    </a:lnTo>
                    <a:lnTo>
                      <a:pt x="10" y="112"/>
                    </a:lnTo>
                    <a:lnTo>
                      <a:pt x="8" y="108"/>
                    </a:lnTo>
                    <a:lnTo>
                      <a:pt x="0" y="104"/>
                    </a:lnTo>
                    <a:lnTo>
                      <a:pt x="0" y="104"/>
                    </a:lnTo>
                    <a:lnTo>
                      <a:pt x="0" y="102"/>
                    </a:lnTo>
                    <a:lnTo>
                      <a:pt x="0" y="96"/>
                    </a:lnTo>
                    <a:lnTo>
                      <a:pt x="0" y="96"/>
                    </a:lnTo>
                    <a:lnTo>
                      <a:pt x="2" y="94"/>
                    </a:lnTo>
                    <a:lnTo>
                      <a:pt x="56" y="94"/>
                    </a:lnTo>
                    <a:lnTo>
                      <a:pt x="56" y="68"/>
                    </a:lnTo>
                    <a:lnTo>
                      <a:pt x="56" y="68"/>
                    </a:lnTo>
                    <a:lnTo>
                      <a:pt x="56" y="66"/>
                    </a:lnTo>
                    <a:lnTo>
                      <a:pt x="64" y="62"/>
                    </a:lnTo>
                    <a:lnTo>
                      <a:pt x="64" y="62"/>
                    </a:lnTo>
                    <a:lnTo>
                      <a:pt x="64" y="62"/>
                    </a:lnTo>
                    <a:lnTo>
                      <a:pt x="72" y="62"/>
                    </a:lnTo>
                    <a:lnTo>
                      <a:pt x="72" y="28"/>
                    </a:lnTo>
                    <a:lnTo>
                      <a:pt x="72" y="28"/>
                    </a:lnTo>
                    <a:lnTo>
                      <a:pt x="74" y="26"/>
                    </a:lnTo>
                    <a:lnTo>
                      <a:pt x="116" y="26"/>
                    </a:lnTo>
                    <a:lnTo>
                      <a:pt x="116" y="2"/>
                    </a:lnTo>
                    <a:lnTo>
                      <a:pt x="116" y="2"/>
                    </a:lnTo>
                    <a:lnTo>
                      <a:pt x="116" y="0"/>
                    </a:lnTo>
                    <a:lnTo>
                      <a:pt x="116" y="0"/>
                    </a:lnTo>
                    <a:lnTo>
                      <a:pt x="118" y="0"/>
                    </a:lnTo>
                    <a:lnTo>
                      <a:pt x="118" y="0"/>
                    </a:lnTo>
                    <a:lnTo>
                      <a:pt x="118" y="0"/>
                    </a:lnTo>
                    <a:lnTo>
                      <a:pt x="176" y="44"/>
                    </a:lnTo>
                    <a:lnTo>
                      <a:pt x="176" y="44"/>
                    </a:lnTo>
                    <a:lnTo>
                      <a:pt x="176" y="46"/>
                    </a:lnTo>
                    <a:lnTo>
                      <a:pt x="176" y="46"/>
                    </a:lnTo>
                    <a:lnTo>
                      <a:pt x="176" y="48"/>
                    </a:lnTo>
                    <a:lnTo>
                      <a:pt x="150" y="48"/>
                    </a:lnTo>
                    <a:lnTo>
                      <a:pt x="162" y="166"/>
                    </a:lnTo>
                    <a:lnTo>
                      <a:pt x="166" y="172"/>
                    </a:lnTo>
                    <a:lnTo>
                      <a:pt x="166" y="172"/>
                    </a:lnTo>
                    <a:lnTo>
                      <a:pt x="166" y="174"/>
                    </a:lnTo>
                    <a:lnTo>
                      <a:pt x="164" y="182"/>
                    </a:lnTo>
                    <a:lnTo>
                      <a:pt x="164" y="182"/>
                    </a:lnTo>
                    <a:lnTo>
                      <a:pt x="162" y="184"/>
                    </a:lnTo>
                    <a:lnTo>
                      <a:pt x="162" y="184"/>
                    </a:lnTo>
                    <a:lnTo>
                      <a:pt x="76" y="182"/>
                    </a:lnTo>
                    <a:lnTo>
                      <a:pt x="72" y="194"/>
                    </a:lnTo>
                    <a:lnTo>
                      <a:pt x="72" y="194"/>
                    </a:lnTo>
                    <a:lnTo>
                      <a:pt x="70" y="196"/>
                    </a:lnTo>
                    <a:lnTo>
                      <a:pt x="70" y="196"/>
                    </a:lnTo>
                    <a:lnTo>
                      <a:pt x="70" y="196"/>
                    </a:lnTo>
                    <a:lnTo>
                      <a:pt x="70"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1" name="Freeform 371"/>
              <p:cNvSpPr>
                <a:spLocks noEditPoints="1"/>
              </p:cNvSpPr>
              <p:nvPr/>
            </p:nvSpPr>
            <p:spPr bwMode="auto">
              <a:xfrm>
                <a:off x="2621" y="2119"/>
                <a:ext cx="180" cy="200"/>
              </a:xfrm>
              <a:custGeom>
                <a:avLst/>
                <a:gdLst>
                  <a:gd name="T0" fmla="*/ 178 w 180"/>
                  <a:gd name="T1" fmla="*/ 48 h 200"/>
                  <a:gd name="T2" fmla="*/ 162 w 180"/>
                  <a:gd name="T3" fmla="*/ 168 h 200"/>
                  <a:gd name="T4" fmla="*/ 164 w 180"/>
                  <a:gd name="T5" fmla="*/ 184 h 200"/>
                  <a:gd name="T6" fmla="*/ 72 w 180"/>
                  <a:gd name="T7" fmla="*/ 196 h 200"/>
                  <a:gd name="T8" fmla="*/ 56 w 180"/>
                  <a:gd name="T9" fmla="*/ 178 h 200"/>
                  <a:gd name="T10" fmla="*/ 38 w 180"/>
                  <a:gd name="T11" fmla="*/ 166 h 200"/>
                  <a:gd name="T12" fmla="*/ 14 w 180"/>
                  <a:gd name="T13" fmla="*/ 168 h 200"/>
                  <a:gd name="T14" fmla="*/ 20 w 180"/>
                  <a:gd name="T15" fmla="*/ 140 h 200"/>
                  <a:gd name="T16" fmla="*/ 10 w 180"/>
                  <a:gd name="T17" fmla="*/ 128 h 200"/>
                  <a:gd name="T18" fmla="*/ 14 w 180"/>
                  <a:gd name="T19" fmla="*/ 114 h 200"/>
                  <a:gd name="T20" fmla="*/ 4 w 180"/>
                  <a:gd name="T21" fmla="*/ 104 h 200"/>
                  <a:gd name="T22" fmla="*/ 60 w 180"/>
                  <a:gd name="T23" fmla="*/ 98 h 200"/>
                  <a:gd name="T24" fmla="*/ 60 w 180"/>
                  <a:gd name="T25" fmla="*/ 70 h 200"/>
                  <a:gd name="T26" fmla="*/ 66 w 180"/>
                  <a:gd name="T27" fmla="*/ 66 h 200"/>
                  <a:gd name="T28" fmla="*/ 76 w 180"/>
                  <a:gd name="T29" fmla="*/ 30 h 200"/>
                  <a:gd name="T30" fmla="*/ 120 w 180"/>
                  <a:gd name="T31" fmla="*/ 4 h 200"/>
                  <a:gd name="T32" fmla="*/ 120 w 180"/>
                  <a:gd name="T33" fmla="*/ 0 h 200"/>
                  <a:gd name="T34" fmla="*/ 118 w 180"/>
                  <a:gd name="T35" fmla="*/ 0 h 200"/>
                  <a:gd name="T36" fmla="*/ 116 w 180"/>
                  <a:gd name="T37" fmla="*/ 26 h 200"/>
                  <a:gd name="T38" fmla="*/ 76 w 180"/>
                  <a:gd name="T39" fmla="*/ 26 h 200"/>
                  <a:gd name="T40" fmla="*/ 72 w 180"/>
                  <a:gd name="T41" fmla="*/ 30 h 200"/>
                  <a:gd name="T42" fmla="*/ 66 w 180"/>
                  <a:gd name="T43" fmla="*/ 62 h 200"/>
                  <a:gd name="T44" fmla="*/ 64 w 180"/>
                  <a:gd name="T45" fmla="*/ 64 h 200"/>
                  <a:gd name="T46" fmla="*/ 58 w 180"/>
                  <a:gd name="T47" fmla="*/ 66 h 200"/>
                  <a:gd name="T48" fmla="*/ 56 w 180"/>
                  <a:gd name="T49" fmla="*/ 70 h 200"/>
                  <a:gd name="T50" fmla="*/ 56 w 180"/>
                  <a:gd name="T51" fmla="*/ 94 h 200"/>
                  <a:gd name="T52" fmla="*/ 4 w 180"/>
                  <a:gd name="T53" fmla="*/ 94 h 200"/>
                  <a:gd name="T54" fmla="*/ 0 w 180"/>
                  <a:gd name="T55" fmla="*/ 98 h 200"/>
                  <a:gd name="T56" fmla="*/ 0 w 180"/>
                  <a:gd name="T57" fmla="*/ 104 h 200"/>
                  <a:gd name="T58" fmla="*/ 8 w 180"/>
                  <a:gd name="T59" fmla="*/ 110 h 200"/>
                  <a:gd name="T60" fmla="*/ 10 w 180"/>
                  <a:gd name="T61" fmla="*/ 120 h 200"/>
                  <a:gd name="T62" fmla="*/ 8 w 180"/>
                  <a:gd name="T63" fmla="*/ 126 h 200"/>
                  <a:gd name="T64" fmla="*/ 10 w 180"/>
                  <a:gd name="T65" fmla="*/ 134 h 200"/>
                  <a:gd name="T66" fmla="*/ 10 w 180"/>
                  <a:gd name="T67" fmla="*/ 156 h 200"/>
                  <a:gd name="T68" fmla="*/ 10 w 180"/>
                  <a:gd name="T69" fmla="*/ 158 h 200"/>
                  <a:gd name="T70" fmla="*/ 10 w 180"/>
                  <a:gd name="T71" fmla="*/ 168 h 200"/>
                  <a:gd name="T72" fmla="*/ 12 w 180"/>
                  <a:gd name="T73" fmla="*/ 172 h 200"/>
                  <a:gd name="T74" fmla="*/ 14 w 180"/>
                  <a:gd name="T75" fmla="*/ 172 h 200"/>
                  <a:gd name="T76" fmla="*/ 26 w 180"/>
                  <a:gd name="T77" fmla="*/ 170 h 200"/>
                  <a:gd name="T78" fmla="*/ 48 w 180"/>
                  <a:gd name="T79" fmla="*/ 176 h 200"/>
                  <a:gd name="T80" fmla="*/ 60 w 180"/>
                  <a:gd name="T81" fmla="*/ 190 h 200"/>
                  <a:gd name="T82" fmla="*/ 60 w 180"/>
                  <a:gd name="T83" fmla="*/ 192 h 200"/>
                  <a:gd name="T84" fmla="*/ 70 w 180"/>
                  <a:gd name="T85" fmla="*/ 198 h 200"/>
                  <a:gd name="T86" fmla="*/ 72 w 180"/>
                  <a:gd name="T87" fmla="*/ 200 h 200"/>
                  <a:gd name="T88" fmla="*/ 72 w 180"/>
                  <a:gd name="T89" fmla="*/ 198 h 200"/>
                  <a:gd name="T90" fmla="*/ 80 w 180"/>
                  <a:gd name="T91" fmla="*/ 186 h 200"/>
                  <a:gd name="T92" fmla="*/ 164 w 180"/>
                  <a:gd name="T93" fmla="*/ 188 h 200"/>
                  <a:gd name="T94" fmla="*/ 164 w 180"/>
                  <a:gd name="T95" fmla="*/ 188 h 200"/>
                  <a:gd name="T96" fmla="*/ 168 w 180"/>
                  <a:gd name="T97" fmla="*/ 186 h 200"/>
                  <a:gd name="T98" fmla="*/ 170 w 180"/>
                  <a:gd name="T99" fmla="*/ 176 h 200"/>
                  <a:gd name="T100" fmla="*/ 166 w 180"/>
                  <a:gd name="T101" fmla="*/ 166 h 200"/>
                  <a:gd name="T102" fmla="*/ 178 w 180"/>
                  <a:gd name="T103" fmla="*/ 52 h 200"/>
                  <a:gd name="T104" fmla="*/ 180 w 180"/>
                  <a:gd name="T105" fmla="*/ 50 h 200"/>
                  <a:gd name="T106" fmla="*/ 180 w 180"/>
                  <a:gd name="T107" fmla="*/ 48 h 200"/>
                  <a:gd name="T108" fmla="*/ 180 w 180"/>
                  <a:gd name="T109" fmla="*/ 44 h 200"/>
                  <a:gd name="T110" fmla="*/ 122 w 180"/>
                  <a:gd name="T111" fmla="*/ 2 h 200"/>
                  <a:gd name="T112" fmla="*/ 120 w 180"/>
                  <a:gd name="T11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200">
                    <a:moveTo>
                      <a:pt x="120" y="4"/>
                    </a:moveTo>
                    <a:lnTo>
                      <a:pt x="178" y="48"/>
                    </a:lnTo>
                    <a:lnTo>
                      <a:pt x="150" y="48"/>
                    </a:lnTo>
                    <a:lnTo>
                      <a:pt x="162" y="168"/>
                    </a:lnTo>
                    <a:lnTo>
                      <a:pt x="166" y="176"/>
                    </a:lnTo>
                    <a:lnTo>
                      <a:pt x="164" y="184"/>
                    </a:lnTo>
                    <a:lnTo>
                      <a:pt x="78" y="182"/>
                    </a:lnTo>
                    <a:lnTo>
                      <a:pt x="72" y="196"/>
                    </a:lnTo>
                    <a:lnTo>
                      <a:pt x="64" y="188"/>
                    </a:lnTo>
                    <a:lnTo>
                      <a:pt x="56" y="178"/>
                    </a:lnTo>
                    <a:lnTo>
                      <a:pt x="50" y="172"/>
                    </a:lnTo>
                    <a:lnTo>
                      <a:pt x="38" y="166"/>
                    </a:lnTo>
                    <a:lnTo>
                      <a:pt x="26" y="166"/>
                    </a:lnTo>
                    <a:lnTo>
                      <a:pt x="14" y="168"/>
                    </a:lnTo>
                    <a:lnTo>
                      <a:pt x="14" y="158"/>
                    </a:lnTo>
                    <a:lnTo>
                      <a:pt x="20" y="140"/>
                    </a:lnTo>
                    <a:lnTo>
                      <a:pt x="14" y="132"/>
                    </a:lnTo>
                    <a:lnTo>
                      <a:pt x="10" y="128"/>
                    </a:lnTo>
                    <a:lnTo>
                      <a:pt x="14" y="120"/>
                    </a:lnTo>
                    <a:lnTo>
                      <a:pt x="14" y="114"/>
                    </a:lnTo>
                    <a:lnTo>
                      <a:pt x="10" y="108"/>
                    </a:lnTo>
                    <a:lnTo>
                      <a:pt x="4" y="104"/>
                    </a:lnTo>
                    <a:lnTo>
                      <a:pt x="4" y="98"/>
                    </a:lnTo>
                    <a:lnTo>
                      <a:pt x="60" y="98"/>
                    </a:lnTo>
                    <a:lnTo>
                      <a:pt x="60" y="78"/>
                    </a:lnTo>
                    <a:lnTo>
                      <a:pt x="60" y="70"/>
                    </a:lnTo>
                    <a:lnTo>
                      <a:pt x="64" y="68"/>
                    </a:lnTo>
                    <a:lnTo>
                      <a:pt x="66" y="66"/>
                    </a:lnTo>
                    <a:lnTo>
                      <a:pt x="76" y="66"/>
                    </a:lnTo>
                    <a:lnTo>
                      <a:pt x="76" y="30"/>
                    </a:lnTo>
                    <a:lnTo>
                      <a:pt x="120" y="30"/>
                    </a:lnTo>
                    <a:lnTo>
                      <a:pt x="120" y="4"/>
                    </a:lnTo>
                    <a:close/>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2" name="Freeform 372"/>
              <p:cNvSpPr>
                <a:spLocks/>
              </p:cNvSpPr>
              <p:nvPr/>
            </p:nvSpPr>
            <p:spPr bwMode="auto">
              <a:xfrm>
                <a:off x="2625" y="2123"/>
                <a:ext cx="174" cy="192"/>
              </a:xfrm>
              <a:custGeom>
                <a:avLst/>
                <a:gdLst>
                  <a:gd name="T0" fmla="*/ 116 w 174"/>
                  <a:gd name="T1" fmla="*/ 0 h 192"/>
                  <a:gd name="T2" fmla="*/ 174 w 174"/>
                  <a:gd name="T3" fmla="*/ 44 h 192"/>
                  <a:gd name="T4" fmla="*/ 146 w 174"/>
                  <a:gd name="T5" fmla="*/ 44 h 192"/>
                  <a:gd name="T6" fmla="*/ 158 w 174"/>
                  <a:gd name="T7" fmla="*/ 164 h 192"/>
                  <a:gd name="T8" fmla="*/ 162 w 174"/>
                  <a:gd name="T9" fmla="*/ 172 h 192"/>
                  <a:gd name="T10" fmla="*/ 160 w 174"/>
                  <a:gd name="T11" fmla="*/ 180 h 192"/>
                  <a:gd name="T12" fmla="*/ 74 w 174"/>
                  <a:gd name="T13" fmla="*/ 178 h 192"/>
                  <a:gd name="T14" fmla="*/ 68 w 174"/>
                  <a:gd name="T15" fmla="*/ 192 h 192"/>
                  <a:gd name="T16" fmla="*/ 60 w 174"/>
                  <a:gd name="T17" fmla="*/ 184 h 192"/>
                  <a:gd name="T18" fmla="*/ 52 w 174"/>
                  <a:gd name="T19" fmla="*/ 174 h 192"/>
                  <a:gd name="T20" fmla="*/ 46 w 174"/>
                  <a:gd name="T21" fmla="*/ 168 h 192"/>
                  <a:gd name="T22" fmla="*/ 34 w 174"/>
                  <a:gd name="T23" fmla="*/ 162 h 192"/>
                  <a:gd name="T24" fmla="*/ 22 w 174"/>
                  <a:gd name="T25" fmla="*/ 162 h 192"/>
                  <a:gd name="T26" fmla="*/ 10 w 174"/>
                  <a:gd name="T27" fmla="*/ 164 h 192"/>
                  <a:gd name="T28" fmla="*/ 10 w 174"/>
                  <a:gd name="T29" fmla="*/ 154 h 192"/>
                  <a:gd name="T30" fmla="*/ 16 w 174"/>
                  <a:gd name="T31" fmla="*/ 136 h 192"/>
                  <a:gd name="T32" fmla="*/ 10 w 174"/>
                  <a:gd name="T33" fmla="*/ 128 h 192"/>
                  <a:gd name="T34" fmla="*/ 6 w 174"/>
                  <a:gd name="T35" fmla="*/ 124 h 192"/>
                  <a:gd name="T36" fmla="*/ 10 w 174"/>
                  <a:gd name="T37" fmla="*/ 116 h 192"/>
                  <a:gd name="T38" fmla="*/ 10 w 174"/>
                  <a:gd name="T39" fmla="*/ 110 h 192"/>
                  <a:gd name="T40" fmla="*/ 6 w 174"/>
                  <a:gd name="T41" fmla="*/ 104 h 192"/>
                  <a:gd name="T42" fmla="*/ 0 w 174"/>
                  <a:gd name="T43" fmla="*/ 100 h 192"/>
                  <a:gd name="T44" fmla="*/ 0 w 174"/>
                  <a:gd name="T45" fmla="*/ 94 h 192"/>
                  <a:gd name="T46" fmla="*/ 56 w 174"/>
                  <a:gd name="T47" fmla="*/ 94 h 192"/>
                  <a:gd name="T48" fmla="*/ 56 w 174"/>
                  <a:gd name="T49" fmla="*/ 74 h 192"/>
                  <a:gd name="T50" fmla="*/ 56 w 174"/>
                  <a:gd name="T51" fmla="*/ 66 h 192"/>
                  <a:gd name="T52" fmla="*/ 60 w 174"/>
                  <a:gd name="T53" fmla="*/ 64 h 192"/>
                  <a:gd name="T54" fmla="*/ 62 w 174"/>
                  <a:gd name="T55" fmla="*/ 62 h 192"/>
                  <a:gd name="T56" fmla="*/ 72 w 174"/>
                  <a:gd name="T57" fmla="*/ 62 h 192"/>
                  <a:gd name="T58" fmla="*/ 72 w 174"/>
                  <a:gd name="T59" fmla="*/ 26 h 192"/>
                  <a:gd name="T60" fmla="*/ 116 w 174"/>
                  <a:gd name="T61" fmla="*/ 26 h 192"/>
                  <a:gd name="T62" fmla="*/ 116 w 174"/>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4" h="192">
                    <a:moveTo>
                      <a:pt x="116" y="0"/>
                    </a:moveTo>
                    <a:lnTo>
                      <a:pt x="174" y="44"/>
                    </a:lnTo>
                    <a:lnTo>
                      <a:pt x="146" y="44"/>
                    </a:lnTo>
                    <a:lnTo>
                      <a:pt x="158" y="164"/>
                    </a:lnTo>
                    <a:lnTo>
                      <a:pt x="162" y="172"/>
                    </a:lnTo>
                    <a:lnTo>
                      <a:pt x="160" y="180"/>
                    </a:lnTo>
                    <a:lnTo>
                      <a:pt x="74" y="178"/>
                    </a:lnTo>
                    <a:lnTo>
                      <a:pt x="68" y="192"/>
                    </a:lnTo>
                    <a:lnTo>
                      <a:pt x="60" y="184"/>
                    </a:lnTo>
                    <a:lnTo>
                      <a:pt x="52" y="174"/>
                    </a:lnTo>
                    <a:lnTo>
                      <a:pt x="46" y="168"/>
                    </a:lnTo>
                    <a:lnTo>
                      <a:pt x="34" y="162"/>
                    </a:lnTo>
                    <a:lnTo>
                      <a:pt x="22" y="162"/>
                    </a:lnTo>
                    <a:lnTo>
                      <a:pt x="10" y="164"/>
                    </a:lnTo>
                    <a:lnTo>
                      <a:pt x="10" y="154"/>
                    </a:lnTo>
                    <a:lnTo>
                      <a:pt x="16" y="136"/>
                    </a:lnTo>
                    <a:lnTo>
                      <a:pt x="10" y="128"/>
                    </a:lnTo>
                    <a:lnTo>
                      <a:pt x="6" y="124"/>
                    </a:lnTo>
                    <a:lnTo>
                      <a:pt x="10" y="116"/>
                    </a:lnTo>
                    <a:lnTo>
                      <a:pt x="10" y="110"/>
                    </a:lnTo>
                    <a:lnTo>
                      <a:pt x="6" y="104"/>
                    </a:lnTo>
                    <a:lnTo>
                      <a:pt x="0" y="100"/>
                    </a:lnTo>
                    <a:lnTo>
                      <a:pt x="0" y="94"/>
                    </a:lnTo>
                    <a:lnTo>
                      <a:pt x="56" y="94"/>
                    </a:lnTo>
                    <a:lnTo>
                      <a:pt x="56" y="74"/>
                    </a:lnTo>
                    <a:lnTo>
                      <a:pt x="56" y="66"/>
                    </a:lnTo>
                    <a:lnTo>
                      <a:pt x="60" y="64"/>
                    </a:lnTo>
                    <a:lnTo>
                      <a:pt x="62" y="62"/>
                    </a:lnTo>
                    <a:lnTo>
                      <a:pt x="72" y="62"/>
                    </a:lnTo>
                    <a:lnTo>
                      <a:pt x="72" y="26"/>
                    </a:lnTo>
                    <a:lnTo>
                      <a:pt x="116" y="26"/>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3" name="Freeform 373"/>
              <p:cNvSpPr>
                <a:spLocks/>
              </p:cNvSpPr>
              <p:nvPr/>
            </p:nvSpPr>
            <p:spPr bwMode="auto">
              <a:xfrm>
                <a:off x="2621" y="2119"/>
                <a:ext cx="180" cy="200"/>
              </a:xfrm>
              <a:custGeom>
                <a:avLst/>
                <a:gdLst>
                  <a:gd name="T0" fmla="*/ 120 w 180"/>
                  <a:gd name="T1" fmla="*/ 0 h 200"/>
                  <a:gd name="T2" fmla="*/ 118 w 180"/>
                  <a:gd name="T3" fmla="*/ 0 h 200"/>
                  <a:gd name="T4" fmla="*/ 116 w 180"/>
                  <a:gd name="T5" fmla="*/ 26 h 200"/>
                  <a:gd name="T6" fmla="*/ 76 w 180"/>
                  <a:gd name="T7" fmla="*/ 26 h 200"/>
                  <a:gd name="T8" fmla="*/ 72 w 180"/>
                  <a:gd name="T9" fmla="*/ 30 h 200"/>
                  <a:gd name="T10" fmla="*/ 66 w 180"/>
                  <a:gd name="T11" fmla="*/ 62 h 200"/>
                  <a:gd name="T12" fmla="*/ 64 w 180"/>
                  <a:gd name="T13" fmla="*/ 64 h 200"/>
                  <a:gd name="T14" fmla="*/ 58 w 180"/>
                  <a:gd name="T15" fmla="*/ 66 h 200"/>
                  <a:gd name="T16" fmla="*/ 56 w 180"/>
                  <a:gd name="T17" fmla="*/ 70 h 200"/>
                  <a:gd name="T18" fmla="*/ 56 w 180"/>
                  <a:gd name="T19" fmla="*/ 94 h 200"/>
                  <a:gd name="T20" fmla="*/ 4 w 180"/>
                  <a:gd name="T21" fmla="*/ 94 h 200"/>
                  <a:gd name="T22" fmla="*/ 0 w 180"/>
                  <a:gd name="T23" fmla="*/ 98 h 200"/>
                  <a:gd name="T24" fmla="*/ 0 w 180"/>
                  <a:gd name="T25" fmla="*/ 104 h 200"/>
                  <a:gd name="T26" fmla="*/ 8 w 180"/>
                  <a:gd name="T27" fmla="*/ 110 h 200"/>
                  <a:gd name="T28" fmla="*/ 10 w 180"/>
                  <a:gd name="T29" fmla="*/ 120 h 200"/>
                  <a:gd name="T30" fmla="*/ 8 w 180"/>
                  <a:gd name="T31" fmla="*/ 126 h 200"/>
                  <a:gd name="T32" fmla="*/ 10 w 180"/>
                  <a:gd name="T33" fmla="*/ 134 h 200"/>
                  <a:gd name="T34" fmla="*/ 10 w 180"/>
                  <a:gd name="T35" fmla="*/ 156 h 200"/>
                  <a:gd name="T36" fmla="*/ 10 w 180"/>
                  <a:gd name="T37" fmla="*/ 158 h 200"/>
                  <a:gd name="T38" fmla="*/ 10 w 180"/>
                  <a:gd name="T39" fmla="*/ 168 h 200"/>
                  <a:gd name="T40" fmla="*/ 12 w 180"/>
                  <a:gd name="T41" fmla="*/ 172 h 200"/>
                  <a:gd name="T42" fmla="*/ 14 w 180"/>
                  <a:gd name="T43" fmla="*/ 172 h 200"/>
                  <a:gd name="T44" fmla="*/ 26 w 180"/>
                  <a:gd name="T45" fmla="*/ 170 h 200"/>
                  <a:gd name="T46" fmla="*/ 48 w 180"/>
                  <a:gd name="T47" fmla="*/ 176 h 200"/>
                  <a:gd name="T48" fmla="*/ 60 w 180"/>
                  <a:gd name="T49" fmla="*/ 190 h 200"/>
                  <a:gd name="T50" fmla="*/ 60 w 180"/>
                  <a:gd name="T51" fmla="*/ 192 h 200"/>
                  <a:gd name="T52" fmla="*/ 70 w 180"/>
                  <a:gd name="T53" fmla="*/ 198 h 200"/>
                  <a:gd name="T54" fmla="*/ 72 w 180"/>
                  <a:gd name="T55" fmla="*/ 200 h 200"/>
                  <a:gd name="T56" fmla="*/ 72 w 180"/>
                  <a:gd name="T57" fmla="*/ 198 h 200"/>
                  <a:gd name="T58" fmla="*/ 80 w 180"/>
                  <a:gd name="T59" fmla="*/ 186 h 200"/>
                  <a:gd name="T60" fmla="*/ 164 w 180"/>
                  <a:gd name="T61" fmla="*/ 188 h 200"/>
                  <a:gd name="T62" fmla="*/ 164 w 180"/>
                  <a:gd name="T63" fmla="*/ 188 h 200"/>
                  <a:gd name="T64" fmla="*/ 168 w 180"/>
                  <a:gd name="T65" fmla="*/ 186 h 200"/>
                  <a:gd name="T66" fmla="*/ 170 w 180"/>
                  <a:gd name="T67" fmla="*/ 176 h 200"/>
                  <a:gd name="T68" fmla="*/ 166 w 180"/>
                  <a:gd name="T69" fmla="*/ 166 h 200"/>
                  <a:gd name="T70" fmla="*/ 178 w 180"/>
                  <a:gd name="T71" fmla="*/ 52 h 200"/>
                  <a:gd name="T72" fmla="*/ 180 w 180"/>
                  <a:gd name="T73" fmla="*/ 50 h 200"/>
                  <a:gd name="T74" fmla="*/ 180 w 180"/>
                  <a:gd name="T75" fmla="*/ 48 h 200"/>
                  <a:gd name="T76" fmla="*/ 180 w 180"/>
                  <a:gd name="T77" fmla="*/ 44 h 200"/>
                  <a:gd name="T78" fmla="*/ 122 w 180"/>
                  <a:gd name="T79" fmla="*/ 2 h 200"/>
                  <a:gd name="T80" fmla="*/ 120 w 180"/>
                  <a:gd name="T8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200">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4" name="Freeform 374"/>
              <p:cNvSpPr>
                <a:spLocks/>
              </p:cNvSpPr>
              <p:nvPr/>
            </p:nvSpPr>
            <p:spPr bwMode="auto">
              <a:xfrm>
                <a:off x="2645" y="2341"/>
                <a:ext cx="110" cy="82"/>
              </a:xfrm>
              <a:custGeom>
                <a:avLst/>
                <a:gdLst>
                  <a:gd name="T0" fmla="*/ 90 w 110"/>
                  <a:gd name="T1" fmla="*/ 82 h 82"/>
                  <a:gd name="T2" fmla="*/ 84 w 110"/>
                  <a:gd name="T3" fmla="*/ 80 h 82"/>
                  <a:gd name="T4" fmla="*/ 82 w 110"/>
                  <a:gd name="T5" fmla="*/ 78 h 82"/>
                  <a:gd name="T6" fmla="*/ 76 w 110"/>
                  <a:gd name="T7" fmla="*/ 66 h 82"/>
                  <a:gd name="T8" fmla="*/ 70 w 110"/>
                  <a:gd name="T9" fmla="*/ 64 h 82"/>
                  <a:gd name="T10" fmla="*/ 68 w 110"/>
                  <a:gd name="T11" fmla="*/ 62 h 82"/>
                  <a:gd name="T12" fmla="*/ 70 w 110"/>
                  <a:gd name="T13" fmla="*/ 56 h 82"/>
                  <a:gd name="T14" fmla="*/ 58 w 110"/>
                  <a:gd name="T15" fmla="*/ 42 h 82"/>
                  <a:gd name="T16" fmla="*/ 40 w 110"/>
                  <a:gd name="T17" fmla="*/ 50 h 82"/>
                  <a:gd name="T18" fmla="*/ 32 w 110"/>
                  <a:gd name="T19" fmla="*/ 56 h 82"/>
                  <a:gd name="T20" fmla="*/ 32 w 110"/>
                  <a:gd name="T21" fmla="*/ 56 h 82"/>
                  <a:gd name="T22" fmla="*/ 32 w 110"/>
                  <a:gd name="T23" fmla="*/ 56 h 82"/>
                  <a:gd name="T24" fmla="*/ 22 w 110"/>
                  <a:gd name="T25" fmla="*/ 48 h 82"/>
                  <a:gd name="T26" fmla="*/ 8 w 110"/>
                  <a:gd name="T27" fmla="*/ 36 h 82"/>
                  <a:gd name="T28" fmla="*/ 6 w 110"/>
                  <a:gd name="T29" fmla="*/ 36 h 82"/>
                  <a:gd name="T30" fmla="*/ 0 w 110"/>
                  <a:gd name="T31" fmla="*/ 28 h 82"/>
                  <a:gd name="T32" fmla="*/ 8 w 110"/>
                  <a:gd name="T33" fmla="*/ 18 h 82"/>
                  <a:gd name="T34" fmla="*/ 8 w 110"/>
                  <a:gd name="T35" fmla="*/ 18 h 82"/>
                  <a:gd name="T36" fmla="*/ 20 w 110"/>
                  <a:gd name="T37" fmla="*/ 10 h 82"/>
                  <a:gd name="T38" fmla="*/ 24 w 110"/>
                  <a:gd name="T39" fmla="*/ 0 h 82"/>
                  <a:gd name="T40" fmla="*/ 32 w 110"/>
                  <a:gd name="T41" fmla="*/ 0 h 82"/>
                  <a:gd name="T42" fmla="*/ 32 w 110"/>
                  <a:gd name="T43" fmla="*/ 0 h 82"/>
                  <a:gd name="T44" fmla="*/ 48 w 110"/>
                  <a:gd name="T45" fmla="*/ 2 h 82"/>
                  <a:gd name="T46" fmla="*/ 58 w 110"/>
                  <a:gd name="T47" fmla="*/ 4 h 82"/>
                  <a:gd name="T48" fmla="*/ 58 w 110"/>
                  <a:gd name="T49" fmla="*/ 6 h 82"/>
                  <a:gd name="T50" fmla="*/ 78 w 110"/>
                  <a:gd name="T51" fmla="*/ 6 h 82"/>
                  <a:gd name="T52" fmla="*/ 92 w 110"/>
                  <a:gd name="T53" fmla="*/ 4 h 82"/>
                  <a:gd name="T54" fmla="*/ 94 w 110"/>
                  <a:gd name="T55" fmla="*/ 6 h 82"/>
                  <a:gd name="T56" fmla="*/ 100 w 110"/>
                  <a:gd name="T57" fmla="*/ 22 h 82"/>
                  <a:gd name="T58" fmla="*/ 106 w 110"/>
                  <a:gd name="T59" fmla="*/ 34 h 82"/>
                  <a:gd name="T60" fmla="*/ 104 w 110"/>
                  <a:gd name="T61" fmla="*/ 42 h 82"/>
                  <a:gd name="T62" fmla="*/ 110 w 110"/>
                  <a:gd name="T63" fmla="*/ 62 h 82"/>
                  <a:gd name="T64" fmla="*/ 108 w 110"/>
                  <a:gd name="T65" fmla="*/ 64 h 82"/>
                  <a:gd name="T66" fmla="*/ 106 w 110"/>
                  <a:gd name="T67" fmla="*/ 72 h 82"/>
                  <a:gd name="T68" fmla="*/ 106 w 110"/>
                  <a:gd name="T69" fmla="*/ 74 h 82"/>
                  <a:gd name="T70" fmla="*/ 100 w 110"/>
                  <a:gd name="T71" fmla="*/ 78 h 82"/>
                  <a:gd name="T72" fmla="*/ 100 w 110"/>
                  <a:gd name="T73" fmla="*/ 78 h 82"/>
                  <a:gd name="T74" fmla="*/ 94 w 110"/>
                  <a:gd name="T75" fmla="*/ 76 h 82"/>
                  <a:gd name="T76" fmla="*/ 92 w 110"/>
                  <a:gd name="T77" fmla="*/ 80 h 82"/>
                  <a:gd name="T78" fmla="*/ 90 w 110"/>
                  <a:gd name="T7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82">
                    <a:moveTo>
                      <a:pt x="90" y="82"/>
                    </a:moveTo>
                    <a:lnTo>
                      <a:pt x="90" y="82"/>
                    </a:lnTo>
                    <a:lnTo>
                      <a:pt x="90" y="82"/>
                    </a:lnTo>
                    <a:lnTo>
                      <a:pt x="84" y="80"/>
                    </a:lnTo>
                    <a:lnTo>
                      <a:pt x="84" y="80"/>
                    </a:lnTo>
                    <a:lnTo>
                      <a:pt x="82" y="78"/>
                    </a:lnTo>
                    <a:lnTo>
                      <a:pt x="80" y="66"/>
                    </a:lnTo>
                    <a:lnTo>
                      <a:pt x="76" y="66"/>
                    </a:lnTo>
                    <a:lnTo>
                      <a:pt x="70" y="64"/>
                    </a:lnTo>
                    <a:lnTo>
                      <a:pt x="70" y="64"/>
                    </a:lnTo>
                    <a:lnTo>
                      <a:pt x="68" y="62"/>
                    </a:lnTo>
                    <a:lnTo>
                      <a:pt x="68" y="62"/>
                    </a:lnTo>
                    <a:lnTo>
                      <a:pt x="68" y="62"/>
                    </a:lnTo>
                    <a:lnTo>
                      <a:pt x="70" y="56"/>
                    </a:lnTo>
                    <a:lnTo>
                      <a:pt x="64" y="48"/>
                    </a:lnTo>
                    <a:lnTo>
                      <a:pt x="58" y="42"/>
                    </a:lnTo>
                    <a:lnTo>
                      <a:pt x="46" y="44"/>
                    </a:lnTo>
                    <a:lnTo>
                      <a:pt x="40" y="50"/>
                    </a:lnTo>
                    <a:lnTo>
                      <a:pt x="32" y="56"/>
                    </a:lnTo>
                    <a:lnTo>
                      <a:pt x="32" y="56"/>
                    </a:lnTo>
                    <a:lnTo>
                      <a:pt x="32" y="56"/>
                    </a:lnTo>
                    <a:lnTo>
                      <a:pt x="32" y="56"/>
                    </a:lnTo>
                    <a:lnTo>
                      <a:pt x="32" y="56"/>
                    </a:lnTo>
                    <a:lnTo>
                      <a:pt x="32" y="56"/>
                    </a:lnTo>
                    <a:lnTo>
                      <a:pt x="30" y="56"/>
                    </a:lnTo>
                    <a:lnTo>
                      <a:pt x="22" y="48"/>
                    </a:lnTo>
                    <a:lnTo>
                      <a:pt x="14" y="38"/>
                    </a:lnTo>
                    <a:lnTo>
                      <a:pt x="8" y="36"/>
                    </a:lnTo>
                    <a:lnTo>
                      <a:pt x="8" y="36"/>
                    </a:lnTo>
                    <a:lnTo>
                      <a:pt x="6" y="36"/>
                    </a:lnTo>
                    <a:lnTo>
                      <a:pt x="0" y="28"/>
                    </a:lnTo>
                    <a:lnTo>
                      <a:pt x="0" y="28"/>
                    </a:lnTo>
                    <a:lnTo>
                      <a:pt x="0" y="24"/>
                    </a:lnTo>
                    <a:lnTo>
                      <a:pt x="8" y="18"/>
                    </a:lnTo>
                    <a:lnTo>
                      <a:pt x="8" y="18"/>
                    </a:lnTo>
                    <a:lnTo>
                      <a:pt x="8" y="18"/>
                    </a:lnTo>
                    <a:lnTo>
                      <a:pt x="18" y="14"/>
                    </a:lnTo>
                    <a:lnTo>
                      <a:pt x="20" y="10"/>
                    </a:lnTo>
                    <a:lnTo>
                      <a:pt x="24" y="0"/>
                    </a:lnTo>
                    <a:lnTo>
                      <a:pt x="24" y="0"/>
                    </a:lnTo>
                    <a:lnTo>
                      <a:pt x="26" y="0"/>
                    </a:lnTo>
                    <a:lnTo>
                      <a:pt x="32" y="0"/>
                    </a:lnTo>
                    <a:lnTo>
                      <a:pt x="32" y="0"/>
                    </a:lnTo>
                    <a:lnTo>
                      <a:pt x="32" y="0"/>
                    </a:lnTo>
                    <a:lnTo>
                      <a:pt x="38" y="2"/>
                    </a:lnTo>
                    <a:lnTo>
                      <a:pt x="48" y="2"/>
                    </a:lnTo>
                    <a:lnTo>
                      <a:pt x="58" y="4"/>
                    </a:lnTo>
                    <a:lnTo>
                      <a:pt x="58" y="4"/>
                    </a:lnTo>
                    <a:lnTo>
                      <a:pt x="58" y="6"/>
                    </a:lnTo>
                    <a:lnTo>
                      <a:pt x="58" y="6"/>
                    </a:lnTo>
                    <a:lnTo>
                      <a:pt x="68" y="10"/>
                    </a:lnTo>
                    <a:lnTo>
                      <a:pt x="78" y="6"/>
                    </a:lnTo>
                    <a:lnTo>
                      <a:pt x="78" y="6"/>
                    </a:lnTo>
                    <a:lnTo>
                      <a:pt x="92" y="4"/>
                    </a:lnTo>
                    <a:lnTo>
                      <a:pt x="92" y="4"/>
                    </a:lnTo>
                    <a:lnTo>
                      <a:pt x="94" y="6"/>
                    </a:lnTo>
                    <a:lnTo>
                      <a:pt x="96" y="14"/>
                    </a:lnTo>
                    <a:lnTo>
                      <a:pt x="100" y="22"/>
                    </a:lnTo>
                    <a:lnTo>
                      <a:pt x="106" y="34"/>
                    </a:lnTo>
                    <a:lnTo>
                      <a:pt x="106" y="34"/>
                    </a:lnTo>
                    <a:lnTo>
                      <a:pt x="106" y="36"/>
                    </a:lnTo>
                    <a:lnTo>
                      <a:pt x="104" y="42"/>
                    </a:lnTo>
                    <a:lnTo>
                      <a:pt x="108" y="48"/>
                    </a:lnTo>
                    <a:lnTo>
                      <a:pt x="110" y="62"/>
                    </a:lnTo>
                    <a:lnTo>
                      <a:pt x="110" y="62"/>
                    </a:lnTo>
                    <a:lnTo>
                      <a:pt x="108" y="64"/>
                    </a:lnTo>
                    <a:lnTo>
                      <a:pt x="106" y="64"/>
                    </a:lnTo>
                    <a:lnTo>
                      <a:pt x="106" y="72"/>
                    </a:lnTo>
                    <a:lnTo>
                      <a:pt x="106" y="72"/>
                    </a:lnTo>
                    <a:lnTo>
                      <a:pt x="106" y="74"/>
                    </a:lnTo>
                    <a:lnTo>
                      <a:pt x="100" y="78"/>
                    </a:lnTo>
                    <a:lnTo>
                      <a:pt x="100" y="78"/>
                    </a:lnTo>
                    <a:lnTo>
                      <a:pt x="100" y="78"/>
                    </a:lnTo>
                    <a:lnTo>
                      <a:pt x="100" y="78"/>
                    </a:lnTo>
                    <a:lnTo>
                      <a:pt x="98" y="78"/>
                    </a:lnTo>
                    <a:lnTo>
                      <a:pt x="94" y="76"/>
                    </a:lnTo>
                    <a:lnTo>
                      <a:pt x="92" y="80"/>
                    </a:lnTo>
                    <a:lnTo>
                      <a:pt x="92" y="80"/>
                    </a:lnTo>
                    <a:lnTo>
                      <a:pt x="90" y="82"/>
                    </a:lnTo>
                    <a:lnTo>
                      <a:pt x="9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5" name="Freeform 375"/>
              <p:cNvSpPr>
                <a:spLocks noEditPoints="1"/>
              </p:cNvSpPr>
              <p:nvPr/>
            </p:nvSpPr>
            <p:spPr bwMode="auto">
              <a:xfrm>
                <a:off x="2643" y="2339"/>
                <a:ext cx="114" cy="86"/>
              </a:xfrm>
              <a:custGeom>
                <a:avLst/>
                <a:gdLst>
                  <a:gd name="T0" fmla="*/ 50 w 114"/>
                  <a:gd name="T1" fmla="*/ 6 h 86"/>
                  <a:gd name="T2" fmla="*/ 70 w 114"/>
                  <a:gd name="T3" fmla="*/ 14 h 86"/>
                  <a:gd name="T4" fmla="*/ 96 w 114"/>
                  <a:gd name="T5" fmla="*/ 16 h 86"/>
                  <a:gd name="T6" fmla="*/ 104 w 114"/>
                  <a:gd name="T7" fmla="*/ 44 h 86"/>
                  <a:gd name="T8" fmla="*/ 110 w 114"/>
                  <a:gd name="T9" fmla="*/ 64 h 86"/>
                  <a:gd name="T10" fmla="*/ 102 w 114"/>
                  <a:gd name="T11" fmla="*/ 78 h 86"/>
                  <a:gd name="T12" fmla="*/ 86 w 114"/>
                  <a:gd name="T13" fmla="*/ 80 h 86"/>
                  <a:gd name="T14" fmla="*/ 72 w 114"/>
                  <a:gd name="T15" fmla="*/ 64 h 86"/>
                  <a:gd name="T16" fmla="*/ 60 w 114"/>
                  <a:gd name="T17" fmla="*/ 42 h 86"/>
                  <a:gd name="T18" fmla="*/ 34 w 114"/>
                  <a:gd name="T19" fmla="*/ 56 h 86"/>
                  <a:gd name="T20" fmla="*/ 10 w 114"/>
                  <a:gd name="T21" fmla="*/ 38 h 86"/>
                  <a:gd name="T22" fmla="*/ 22 w 114"/>
                  <a:gd name="T23" fmla="*/ 18 h 86"/>
                  <a:gd name="T24" fmla="*/ 34 w 114"/>
                  <a:gd name="T25" fmla="*/ 4 h 86"/>
                  <a:gd name="T26" fmla="*/ 28 w 114"/>
                  <a:gd name="T27" fmla="*/ 0 h 86"/>
                  <a:gd name="T28" fmla="*/ 20 w 114"/>
                  <a:gd name="T29" fmla="*/ 10 h 86"/>
                  <a:gd name="T30" fmla="*/ 10 w 114"/>
                  <a:gd name="T31" fmla="*/ 18 h 86"/>
                  <a:gd name="T32" fmla="*/ 2 w 114"/>
                  <a:gd name="T33" fmla="*/ 26 h 86"/>
                  <a:gd name="T34" fmla="*/ 6 w 114"/>
                  <a:gd name="T35" fmla="*/ 40 h 86"/>
                  <a:gd name="T36" fmla="*/ 14 w 114"/>
                  <a:gd name="T37" fmla="*/ 42 h 86"/>
                  <a:gd name="T38" fmla="*/ 30 w 114"/>
                  <a:gd name="T39" fmla="*/ 60 h 86"/>
                  <a:gd name="T40" fmla="*/ 34 w 114"/>
                  <a:gd name="T41" fmla="*/ 60 h 86"/>
                  <a:gd name="T42" fmla="*/ 44 w 114"/>
                  <a:gd name="T43" fmla="*/ 52 h 86"/>
                  <a:gd name="T44" fmla="*/ 66 w 114"/>
                  <a:gd name="T45" fmla="*/ 52 h 86"/>
                  <a:gd name="T46" fmla="*/ 68 w 114"/>
                  <a:gd name="T47" fmla="*/ 62 h 86"/>
                  <a:gd name="T48" fmla="*/ 70 w 114"/>
                  <a:gd name="T49" fmla="*/ 68 h 86"/>
                  <a:gd name="T50" fmla="*/ 82 w 114"/>
                  <a:gd name="T51" fmla="*/ 80 h 86"/>
                  <a:gd name="T52" fmla="*/ 86 w 114"/>
                  <a:gd name="T53" fmla="*/ 84 h 86"/>
                  <a:gd name="T54" fmla="*/ 92 w 114"/>
                  <a:gd name="T55" fmla="*/ 86 h 86"/>
                  <a:gd name="T56" fmla="*/ 98 w 114"/>
                  <a:gd name="T57" fmla="*/ 82 h 86"/>
                  <a:gd name="T58" fmla="*/ 102 w 114"/>
                  <a:gd name="T59" fmla="*/ 82 h 86"/>
                  <a:gd name="T60" fmla="*/ 108 w 114"/>
                  <a:gd name="T61" fmla="*/ 78 h 86"/>
                  <a:gd name="T62" fmla="*/ 110 w 114"/>
                  <a:gd name="T63" fmla="*/ 74 h 86"/>
                  <a:gd name="T64" fmla="*/ 112 w 114"/>
                  <a:gd name="T65" fmla="*/ 68 h 86"/>
                  <a:gd name="T66" fmla="*/ 112 w 114"/>
                  <a:gd name="T67" fmla="*/ 50 h 86"/>
                  <a:gd name="T68" fmla="*/ 110 w 114"/>
                  <a:gd name="T69" fmla="*/ 46 h 86"/>
                  <a:gd name="T70" fmla="*/ 110 w 114"/>
                  <a:gd name="T71" fmla="*/ 38 h 86"/>
                  <a:gd name="T72" fmla="*/ 104 w 114"/>
                  <a:gd name="T73" fmla="*/ 22 h 86"/>
                  <a:gd name="T74" fmla="*/ 98 w 114"/>
                  <a:gd name="T75" fmla="*/ 8 h 86"/>
                  <a:gd name="T76" fmla="*/ 94 w 114"/>
                  <a:gd name="T77" fmla="*/ 4 h 86"/>
                  <a:gd name="T78" fmla="*/ 80 w 114"/>
                  <a:gd name="T79" fmla="*/ 6 h 86"/>
                  <a:gd name="T80" fmla="*/ 70 w 114"/>
                  <a:gd name="T81" fmla="*/ 10 h 86"/>
                  <a:gd name="T82" fmla="*/ 60 w 114"/>
                  <a:gd name="T83" fmla="*/ 4 h 86"/>
                  <a:gd name="T84" fmla="*/ 50 w 114"/>
                  <a:gd name="T85" fmla="*/ 2 h 86"/>
                  <a:gd name="T86" fmla="*/ 36 w 114"/>
                  <a:gd name="T8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86">
                    <a:moveTo>
                      <a:pt x="34" y="4"/>
                    </a:moveTo>
                    <a:lnTo>
                      <a:pt x="38" y="6"/>
                    </a:lnTo>
                    <a:lnTo>
                      <a:pt x="50" y="6"/>
                    </a:lnTo>
                    <a:lnTo>
                      <a:pt x="58" y="8"/>
                    </a:lnTo>
                    <a:lnTo>
                      <a:pt x="58" y="10"/>
                    </a:lnTo>
                    <a:lnTo>
                      <a:pt x="70" y="14"/>
                    </a:lnTo>
                    <a:lnTo>
                      <a:pt x="80" y="10"/>
                    </a:lnTo>
                    <a:lnTo>
                      <a:pt x="94" y="8"/>
                    </a:lnTo>
                    <a:lnTo>
                      <a:pt x="96" y="16"/>
                    </a:lnTo>
                    <a:lnTo>
                      <a:pt x="102" y="24"/>
                    </a:lnTo>
                    <a:lnTo>
                      <a:pt x="106" y="38"/>
                    </a:lnTo>
                    <a:lnTo>
                      <a:pt x="104" y="44"/>
                    </a:lnTo>
                    <a:lnTo>
                      <a:pt x="106" y="48"/>
                    </a:lnTo>
                    <a:lnTo>
                      <a:pt x="108" y="52"/>
                    </a:lnTo>
                    <a:lnTo>
                      <a:pt x="110" y="64"/>
                    </a:lnTo>
                    <a:lnTo>
                      <a:pt x="104" y="66"/>
                    </a:lnTo>
                    <a:lnTo>
                      <a:pt x="106" y="74"/>
                    </a:lnTo>
                    <a:lnTo>
                      <a:pt x="102" y="78"/>
                    </a:lnTo>
                    <a:lnTo>
                      <a:pt x="96" y="76"/>
                    </a:lnTo>
                    <a:lnTo>
                      <a:pt x="92" y="82"/>
                    </a:lnTo>
                    <a:lnTo>
                      <a:pt x="86" y="80"/>
                    </a:lnTo>
                    <a:lnTo>
                      <a:pt x="84" y="68"/>
                    </a:lnTo>
                    <a:lnTo>
                      <a:pt x="80" y="66"/>
                    </a:lnTo>
                    <a:lnTo>
                      <a:pt x="72" y="64"/>
                    </a:lnTo>
                    <a:lnTo>
                      <a:pt x="74" y="56"/>
                    </a:lnTo>
                    <a:lnTo>
                      <a:pt x="68" y="50"/>
                    </a:lnTo>
                    <a:lnTo>
                      <a:pt x="60" y="42"/>
                    </a:lnTo>
                    <a:lnTo>
                      <a:pt x="48" y="44"/>
                    </a:lnTo>
                    <a:lnTo>
                      <a:pt x="40" y="50"/>
                    </a:lnTo>
                    <a:lnTo>
                      <a:pt x="34" y="56"/>
                    </a:lnTo>
                    <a:lnTo>
                      <a:pt x="26" y="48"/>
                    </a:lnTo>
                    <a:lnTo>
                      <a:pt x="16" y="38"/>
                    </a:lnTo>
                    <a:lnTo>
                      <a:pt x="10" y="38"/>
                    </a:lnTo>
                    <a:lnTo>
                      <a:pt x="4" y="28"/>
                    </a:lnTo>
                    <a:lnTo>
                      <a:pt x="12" y="20"/>
                    </a:lnTo>
                    <a:lnTo>
                      <a:pt x="22" y="18"/>
                    </a:lnTo>
                    <a:lnTo>
                      <a:pt x="24" y="12"/>
                    </a:lnTo>
                    <a:lnTo>
                      <a:pt x="28" y="4"/>
                    </a:lnTo>
                    <a:lnTo>
                      <a:pt x="34" y="4"/>
                    </a:lnTo>
                    <a:close/>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6" name="Freeform 376"/>
              <p:cNvSpPr>
                <a:spLocks/>
              </p:cNvSpPr>
              <p:nvPr/>
            </p:nvSpPr>
            <p:spPr bwMode="auto">
              <a:xfrm>
                <a:off x="2647" y="2343"/>
                <a:ext cx="106" cy="78"/>
              </a:xfrm>
              <a:custGeom>
                <a:avLst/>
                <a:gdLst>
                  <a:gd name="T0" fmla="*/ 30 w 106"/>
                  <a:gd name="T1" fmla="*/ 0 h 78"/>
                  <a:gd name="T2" fmla="*/ 34 w 106"/>
                  <a:gd name="T3" fmla="*/ 2 h 78"/>
                  <a:gd name="T4" fmla="*/ 46 w 106"/>
                  <a:gd name="T5" fmla="*/ 2 h 78"/>
                  <a:gd name="T6" fmla="*/ 54 w 106"/>
                  <a:gd name="T7" fmla="*/ 4 h 78"/>
                  <a:gd name="T8" fmla="*/ 54 w 106"/>
                  <a:gd name="T9" fmla="*/ 6 h 78"/>
                  <a:gd name="T10" fmla="*/ 66 w 106"/>
                  <a:gd name="T11" fmla="*/ 10 h 78"/>
                  <a:gd name="T12" fmla="*/ 76 w 106"/>
                  <a:gd name="T13" fmla="*/ 6 h 78"/>
                  <a:gd name="T14" fmla="*/ 90 w 106"/>
                  <a:gd name="T15" fmla="*/ 4 h 78"/>
                  <a:gd name="T16" fmla="*/ 92 w 106"/>
                  <a:gd name="T17" fmla="*/ 12 h 78"/>
                  <a:gd name="T18" fmla="*/ 98 w 106"/>
                  <a:gd name="T19" fmla="*/ 20 h 78"/>
                  <a:gd name="T20" fmla="*/ 102 w 106"/>
                  <a:gd name="T21" fmla="*/ 34 h 78"/>
                  <a:gd name="T22" fmla="*/ 100 w 106"/>
                  <a:gd name="T23" fmla="*/ 40 h 78"/>
                  <a:gd name="T24" fmla="*/ 102 w 106"/>
                  <a:gd name="T25" fmla="*/ 44 h 78"/>
                  <a:gd name="T26" fmla="*/ 104 w 106"/>
                  <a:gd name="T27" fmla="*/ 48 h 78"/>
                  <a:gd name="T28" fmla="*/ 106 w 106"/>
                  <a:gd name="T29" fmla="*/ 60 h 78"/>
                  <a:gd name="T30" fmla="*/ 100 w 106"/>
                  <a:gd name="T31" fmla="*/ 62 h 78"/>
                  <a:gd name="T32" fmla="*/ 102 w 106"/>
                  <a:gd name="T33" fmla="*/ 70 h 78"/>
                  <a:gd name="T34" fmla="*/ 98 w 106"/>
                  <a:gd name="T35" fmla="*/ 74 h 78"/>
                  <a:gd name="T36" fmla="*/ 92 w 106"/>
                  <a:gd name="T37" fmla="*/ 72 h 78"/>
                  <a:gd name="T38" fmla="*/ 88 w 106"/>
                  <a:gd name="T39" fmla="*/ 78 h 78"/>
                  <a:gd name="T40" fmla="*/ 82 w 106"/>
                  <a:gd name="T41" fmla="*/ 76 h 78"/>
                  <a:gd name="T42" fmla="*/ 80 w 106"/>
                  <a:gd name="T43" fmla="*/ 64 h 78"/>
                  <a:gd name="T44" fmla="*/ 76 w 106"/>
                  <a:gd name="T45" fmla="*/ 62 h 78"/>
                  <a:gd name="T46" fmla="*/ 68 w 106"/>
                  <a:gd name="T47" fmla="*/ 60 h 78"/>
                  <a:gd name="T48" fmla="*/ 70 w 106"/>
                  <a:gd name="T49" fmla="*/ 52 h 78"/>
                  <a:gd name="T50" fmla="*/ 64 w 106"/>
                  <a:gd name="T51" fmla="*/ 46 h 78"/>
                  <a:gd name="T52" fmla="*/ 56 w 106"/>
                  <a:gd name="T53" fmla="*/ 38 h 78"/>
                  <a:gd name="T54" fmla="*/ 44 w 106"/>
                  <a:gd name="T55" fmla="*/ 40 h 78"/>
                  <a:gd name="T56" fmla="*/ 36 w 106"/>
                  <a:gd name="T57" fmla="*/ 46 h 78"/>
                  <a:gd name="T58" fmla="*/ 30 w 106"/>
                  <a:gd name="T59" fmla="*/ 52 h 78"/>
                  <a:gd name="T60" fmla="*/ 22 w 106"/>
                  <a:gd name="T61" fmla="*/ 44 h 78"/>
                  <a:gd name="T62" fmla="*/ 12 w 106"/>
                  <a:gd name="T63" fmla="*/ 34 h 78"/>
                  <a:gd name="T64" fmla="*/ 6 w 106"/>
                  <a:gd name="T65" fmla="*/ 34 h 78"/>
                  <a:gd name="T66" fmla="*/ 0 w 106"/>
                  <a:gd name="T67" fmla="*/ 24 h 78"/>
                  <a:gd name="T68" fmla="*/ 8 w 106"/>
                  <a:gd name="T69" fmla="*/ 16 h 78"/>
                  <a:gd name="T70" fmla="*/ 18 w 106"/>
                  <a:gd name="T71" fmla="*/ 14 h 78"/>
                  <a:gd name="T72" fmla="*/ 20 w 106"/>
                  <a:gd name="T73" fmla="*/ 8 h 78"/>
                  <a:gd name="T74" fmla="*/ 24 w 106"/>
                  <a:gd name="T75" fmla="*/ 0 h 78"/>
                  <a:gd name="T76" fmla="*/ 30 w 106"/>
                  <a:gd name="T7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78">
                    <a:moveTo>
                      <a:pt x="30" y="0"/>
                    </a:moveTo>
                    <a:lnTo>
                      <a:pt x="34" y="2"/>
                    </a:lnTo>
                    <a:lnTo>
                      <a:pt x="46" y="2"/>
                    </a:lnTo>
                    <a:lnTo>
                      <a:pt x="54" y="4"/>
                    </a:lnTo>
                    <a:lnTo>
                      <a:pt x="54" y="6"/>
                    </a:lnTo>
                    <a:lnTo>
                      <a:pt x="66" y="10"/>
                    </a:lnTo>
                    <a:lnTo>
                      <a:pt x="76" y="6"/>
                    </a:lnTo>
                    <a:lnTo>
                      <a:pt x="90" y="4"/>
                    </a:lnTo>
                    <a:lnTo>
                      <a:pt x="92" y="12"/>
                    </a:lnTo>
                    <a:lnTo>
                      <a:pt x="98" y="20"/>
                    </a:lnTo>
                    <a:lnTo>
                      <a:pt x="102" y="34"/>
                    </a:lnTo>
                    <a:lnTo>
                      <a:pt x="100" y="40"/>
                    </a:lnTo>
                    <a:lnTo>
                      <a:pt x="102" y="44"/>
                    </a:lnTo>
                    <a:lnTo>
                      <a:pt x="104" y="48"/>
                    </a:lnTo>
                    <a:lnTo>
                      <a:pt x="106" y="60"/>
                    </a:lnTo>
                    <a:lnTo>
                      <a:pt x="100" y="62"/>
                    </a:lnTo>
                    <a:lnTo>
                      <a:pt x="102" y="70"/>
                    </a:lnTo>
                    <a:lnTo>
                      <a:pt x="98" y="74"/>
                    </a:lnTo>
                    <a:lnTo>
                      <a:pt x="92" y="72"/>
                    </a:lnTo>
                    <a:lnTo>
                      <a:pt x="88" y="78"/>
                    </a:lnTo>
                    <a:lnTo>
                      <a:pt x="82" y="76"/>
                    </a:lnTo>
                    <a:lnTo>
                      <a:pt x="80" y="64"/>
                    </a:lnTo>
                    <a:lnTo>
                      <a:pt x="76" y="62"/>
                    </a:lnTo>
                    <a:lnTo>
                      <a:pt x="68" y="60"/>
                    </a:lnTo>
                    <a:lnTo>
                      <a:pt x="70" y="52"/>
                    </a:lnTo>
                    <a:lnTo>
                      <a:pt x="64" y="46"/>
                    </a:lnTo>
                    <a:lnTo>
                      <a:pt x="56" y="38"/>
                    </a:lnTo>
                    <a:lnTo>
                      <a:pt x="44" y="40"/>
                    </a:lnTo>
                    <a:lnTo>
                      <a:pt x="36" y="46"/>
                    </a:lnTo>
                    <a:lnTo>
                      <a:pt x="30" y="52"/>
                    </a:lnTo>
                    <a:lnTo>
                      <a:pt x="22" y="44"/>
                    </a:lnTo>
                    <a:lnTo>
                      <a:pt x="12" y="34"/>
                    </a:lnTo>
                    <a:lnTo>
                      <a:pt x="6" y="34"/>
                    </a:lnTo>
                    <a:lnTo>
                      <a:pt x="0" y="24"/>
                    </a:lnTo>
                    <a:lnTo>
                      <a:pt x="8" y="16"/>
                    </a:lnTo>
                    <a:lnTo>
                      <a:pt x="18" y="14"/>
                    </a:lnTo>
                    <a:lnTo>
                      <a:pt x="20" y="8"/>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7" name="Freeform 377"/>
              <p:cNvSpPr>
                <a:spLocks/>
              </p:cNvSpPr>
              <p:nvPr/>
            </p:nvSpPr>
            <p:spPr bwMode="auto">
              <a:xfrm>
                <a:off x="2643" y="2339"/>
                <a:ext cx="114" cy="86"/>
              </a:xfrm>
              <a:custGeom>
                <a:avLst/>
                <a:gdLst>
                  <a:gd name="T0" fmla="*/ 28 w 114"/>
                  <a:gd name="T1" fmla="*/ 0 h 86"/>
                  <a:gd name="T2" fmla="*/ 26 w 114"/>
                  <a:gd name="T3" fmla="*/ 0 h 86"/>
                  <a:gd name="T4" fmla="*/ 20 w 114"/>
                  <a:gd name="T5" fmla="*/ 10 h 86"/>
                  <a:gd name="T6" fmla="*/ 10 w 114"/>
                  <a:gd name="T7" fmla="*/ 18 h 86"/>
                  <a:gd name="T8" fmla="*/ 8 w 114"/>
                  <a:gd name="T9" fmla="*/ 18 h 86"/>
                  <a:gd name="T10" fmla="*/ 2 w 114"/>
                  <a:gd name="T11" fmla="*/ 26 h 86"/>
                  <a:gd name="T12" fmla="*/ 0 w 114"/>
                  <a:gd name="T13" fmla="*/ 30 h 86"/>
                  <a:gd name="T14" fmla="*/ 6 w 114"/>
                  <a:gd name="T15" fmla="*/ 40 h 86"/>
                  <a:gd name="T16" fmla="*/ 14 w 114"/>
                  <a:gd name="T17" fmla="*/ 42 h 86"/>
                  <a:gd name="T18" fmla="*/ 30 w 114"/>
                  <a:gd name="T19" fmla="*/ 60 h 86"/>
                  <a:gd name="T20" fmla="*/ 34 w 114"/>
                  <a:gd name="T21" fmla="*/ 60 h 86"/>
                  <a:gd name="T22" fmla="*/ 34 w 114"/>
                  <a:gd name="T23" fmla="*/ 60 h 86"/>
                  <a:gd name="T24" fmla="*/ 36 w 114"/>
                  <a:gd name="T25" fmla="*/ 60 h 86"/>
                  <a:gd name="T26" fmla="*/ 50 w 114"/>
                  <a:gd name="T27" fmla="*/ 48 h 86"/>
                  <a:gd name="T28" fmla="*/ 66 w 114"/>
                  <a:gd name="T29" fmla="*/ 52 h 86"/>
                  <a:gd name="T30" fmla="*/ 68 w 114"/>
                  <a:gd name="T31" fmla="*/ 62 h 86"/>
                  <a:gd name="T32" fmla="*/ 68 w 114"/>
                  <a:gd name="T33" fmla="*/ 66 h 86"/>
                  <a:gd name="T34" fmla="*/ 70 w 114"/>
                  <a:gd name="T35" fmla="*/ 68 h 86"/>
                  <a:gd name="T36" fmla="*/ 82 w 114"/>
                  <a:gd name="T37" fmla="*/ 70 h 86"/>
                  <a:gd name="T38" fmla="*/ 82 w 114"/>
                  <a:gd name="T39" fmla="*/ 80 h 86"/>
                  <a:gd name="T40" fmla="*/ 86 w 114"/>
                  <a:gd name="T41" fmla="*/ 84 h 86"/>
                  <a:gd name="T42" fmla="*/ 90 w 114"/>
                  <a:gd name="T43" fmla="*/ 86 h 86"/>
                  <a:gd name="T44" fmla="*/ 92 w 114"/>
                  <a:gd name="T45" fmla="*/ 86 h 86"/>
                  <a:gd name="T46" fmla="*/ 98 w 114"/>
                  <a:gd name="T47" fmla="*/ 82 h 86"/>
                  <a:gd name="T48" fmla="*/ 100 w 114"/>
                  <a:gd name="T49" fmla="*/ 82 h 86"/>
                  <a:gd name="T50" fmla="*/ 102 w 114"/>
                  <a:gd name="T51" fmla="*/ 82 h 86"/>
                  <a:gd name="T52" fmla="*/ 108 w 114"/>
                  <a:gd name="T53" fmla="*/ 78 h 86"/>
                  <a:gd name="T54" fmla="*/ 110 w 114"/>
                  <a:gd name="T55" fmla="*/ 76 h 86"/>
                  <a:gd name="T56" fmla="*/ 110 w 114"/>
                  <a:gd name="T57" fmla="*/ 68 h 86"/>
                  <a:gd name="T58" fmla="*/ 112 w 114"/>
                  <a:gd name="T59" fmla="*/ 68 h 86"/>
                  <a:gd name="T60" fmla="*/ 114 w 114"/>
                  <a:gd name="T61" fmla="*/ 64 h 86"/>
                  <a:gd name="T62" fmla="*/ 112 w 114"/>
                  <a:gd name="T63" fmla="*/ 50 h 86"/>
                  <a:gd name="T64" fmla="*/ 110 w 114"/>
                  <a:gd name="T65" fmla="*/ 46 h 86"/>
                  <a:gd name="T66" fmla="*/ 110 w 114"/>
                  <a:gd name="T67" fmla="*/ 38 h 86"/>
                  <a:gd name="T68" fmla="*/ 110 w 114"/>
                  <a:gd name="T69" fmla="*/ 36 h 86"/>
                  <a:gd name="T70" fmla="*/ 104 w 114"/>
                  <a:gd name="T71" fmla="*/ 22 h 86"/>
                  <a:gd name="T72" fmla="*/ 100 w 114"/>
                  <a:gd name="T73" fmla="*/ 14 h 86"/>
                  <a:gd name="T74" fmla="*/ 98 w 114"/>
                  <a:gd name="T75" fmla="*/ 8 h 86"/>
                  <a:gd name="T76" fmla="*/ 94 w 114"/>
                  <a:gd name="T77" fmla="*/ 4 h 86"/>
                  <a:gd name="T78" fmla="*/ 94 w 114"/>
                  <a:gd name="T79" fmla="*/ 4 h 86"/>
                  <a:gd name="T80" fmla="*/ 80 w 114"/>
                  <a:gd name="T81" fmla="*/ 6 h 86"/>
                  <a:gd name="T82" fmla="*/ 70 w 114"/>
                  <a:gd name="T83" fmla="*/ 10 h 86"/>
                  <a:gd name="T84" fmla="*/ 62 w 114"/>
                  <a:gd name="T85" fmla="*/ 8 h 86"/>
                  <a:gd name="T86" fmla="*/ 50 w 114"/>
                  <a:gd name="T87" fmla="*/ 2 h 86"/>
                  <a:gd name="T88" fmla="*/ 50 w 114"/>
                  <a:gd name="T89" fmla="*/ 2 h 86"/>
                  <a:gd name="T90" fmla="*/ 36 w 114"/>
                  <a:gd name="T91" fmla="*/ 0 h 86"/>
                  <a:gd name="T92" fmla="*/ 34 w 11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86">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8" name="Freeform 378"/>
              <p:cNvSpPr>
                <a:spLocks/>
              </p:cNvSpPr>
              <p:nvPr/>
            </p:nvSpPr>
            <p:spPr bwMode="auto">
              <a:xfrm>
                <a:off x="2695" y="2401"/>
                <a:ext cx="66" cy="60"/>
              </a:xfrm>
              <a:custGeom>
                <a:avLst/>
                <a:gdLst>
                  <a:gd name="T0" fmla="*/ 60 w 66"/>
                  <a:gd name="T1" fmla="*/ 60 h 60"/>
                  <a:gd name="T2" fmla="*/ 60 w 66"/>
                  <a:gd name="T3" fmla="*/ 60 h 60"/>
                  <a:gd name="T4" fmla="*/ 60 w 66"/>
                  <a:gd name="T5" fmla="*/ 60 h 60"/>
                  <a:gd name="T6" fmla="*/ 48 w 66"/>
                  <a:gd name="T7" fmla="*/ 58 h 60"/>
                  <a:gd name="T8" fmla="*/ 36 w 66"/>
                  <a:gd name="T9" fmla="*/ 50 h 60"/>
                  <a:gd name="T10" fmla="*/ 28 w 66"/>
                  <a:gd name="T11" fmla="*/ 42 h 60"/>
                  <a:gd name="T12" fmla="*/ 18 w 66"/>
                  <a:gd name="T13" fmla="*/ 36 h 60"/>
                  <a:gd name="T14" fmla="*/ 10 w 66"/>
                  <a:gd name="T15" fmla="*/ 32 h 60"/>
                  <a:gd name="T16" fmla="*/ 0 w 66"/>
                  <a:gd name="T17" fmla="*/ 24 h 60"/>
                  <a:gd name="T18" fmla="*/ 0 w 66"/>
                  <a:gd name="T19" fmla="*/ 24 h 60"/>
                  <a:gd name="T20" fmla="*/ 0 w 66"/>
                  <a:gd name="T21" fmla="*/ 24 h 60"/>
                  <a:gd name="T22" fmla="*/ 0 w 66"/>
                  <a:gd name="T23" fmla="*/ 24 h 60"/>
                  <a:gd name="T24" fmla="*/ 0 w 66"/>
                  <a:gd name="T25" fmla="*/ 22 h 60"/>
                  <a:gd name="T26" fmla="*/ 16 w 66"/>
                  <a:gd name="T27" fmla="*/ 8 h 60"/>
                  <a:gd name="T28" fmla="*/ 18 w 66"/>
                  <a:gd name="T29" fmla="*/ 2 h 60"/>
                  <a:gd name="T30" fmla="*/ 18 w 66"/>
                  <a:gd name="T31" fmla="*/ 2 h 60"/>
                  <a:gd name="T32" fmla="*/ 20 w 66"/>
                  <a:gd name="T33" fmla="*/ 0 h 60"/>
                  <a:gd name="T34" fmla="*/ 24 w 66"/>
                  <a:gd name="T35" fmla="*/ 0 h 60"/>
                  <a:gd name="T36" fmla="*/ 24 w 66"/>
                  <a:gd name="T37" fmla="*/ 0 h 60"/>
                  <a:gd name="T38" fmla="*/ 26 w 66"/>
                  <a:gd name="T39" fmla="*/ 2 h 60"/>
                  <a:gd name="T40" fmla="*/ 32 w 66"/>
                  <a:gd name="T41" fmla="*/ 4 h 60"/>
                  <a:gd name="T42" fmla="*/ 32 w 66"/>
                  <a:gd name="T43" fmla="*/ 4 h 60"/>
                  <a:gd name="T44" fmla="*/ 34 w 66"/>
                  <a:gd name="T45" fmla="*/ 6 h 60"/>
                  <a:gd name="T46" fmla="*/ 36 w 66"/>
                  <a:gd name="T47" fmla="*/ 16 h 60"/>
                  <a:gd name="T48" fmla="*/ 38 w 66"/>
                  <a:gd name="T49" fmla="*/ 18 h 60"/>
                  <a:gd name="T50" fmla="*/ 42 w 66"/>
                  <a:gd name="T51" fmla="*/ 14 h 60"/>
                  <a:gd name="T52" fmla="*/ 42 w 66"/>
                  <a:gd name="T53" fmla="*/ 14 h 60"/>
                  <a:gd name="T54" fmla="*/ 44 w 66"/>
                  <a:gd name="T55" fmla="*/ 12 h 60"/>
                  <a:gd name="T56" fmla="*/ 44 w 66"/>
                  <a:gd name="T57" fmla="*/ 12 h 60"/>
                  <a:gd name="T58" fmla="*/ 44 w 66"/>
                  <a:gd name="T59" fmla="*/ 12 h 60"/>
                  <a:gd name="T60" fmla="*/ 50 w 66"/>
                  <a:gd name="T61" fmla="*/ 14 h 60"/>
                  <a:gd name="T62" fmla="*/ 50 w 66"/>
                  <a:gd name="T63" fmla="*/ 14 h 60"/>
                  <a:gd name="T64" fmla="*/ 50 w 66"/>
                  <a:gd name="T65" fmla="*/ 16 h 60"/>
                  <a:gd name="T66" fmla="*/ 50 w 66"/>
                  <a:gd name="T67" fmla="*/ 30 h 60"/>
                  <a:gd name="T68" fmla="*/ 56 w 66"/>
                  <a:gd name="T69" fmla="*/ 32 h 60"/>
                  <a:gd name="T70" fmla="*/ 64 w 66"/>
                  <a:gd name="T71" fmla="*/ 36 h 60"/>
                  <a:gd name="T72" fmla="*/ 64 w 66"/>
                  <a:gd name="T73" fmla="*/ 36 h 60"/>
                  <a:gd name="T74" fmla="*/ 64 w 66"/>
                  <a:gd name="T75" fmla="*/ 36 h 60"/>
                  <a:gd name="T76" fmla="*/ 66 w 66"/>
                  <a:gd name="T77" fmla="*/ 42 h 60"/>
                  <a:gd name="T78" fmla="*/ 66 w 66"/>
                  <a:gd name="T79" fmla="*/ 48 h 60"/>
                  <a:gd name="T80" fmla="*/ 62 w 66"/>
                  <a:gd name="T81" fmla="*/ 60 h 60"/>
                  <a:gd name="T82" fmla="*/ 62 w 66"/>
                  <a:gd name="T83" fmla="*/ 60 h 60"/>
                  <a:gd name="T84" fmla="*/ 60 w 66"/>
                  <a:gd name="T85" fmla="*/ 60 h 60"/>
                  <a:gd name="T86" fmla="*/ 60 w 6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60">
                    <a:moveTo>
                      <a:pt x="60" y="60"/>
                    </a:moveTo>
                    <a:lnTo>
                      <a:pt x="60" y="60"/>
                    </a:lnTo>
                    <a:lnTo>
                      <a:pt x="60" y="60"/>
                    </a:lnTo>
                    <a:lnTo>
                      <a:pt x="48" y="58"/>
                    </a:lnTo>
                    <a:lnTo>
                      <a:pt x="36" y="50"/>
                    </a:lnTo>
                    <a:lnTo>
                      <a:pt x="28" y="42"/>
                    </a:lnTo>
                    <a:lnTo>
                      <a:pt x="18" y="36"/>
                    </a:lnTo>
                    <a:lnTo>
                      <a:pt x="10" y="32"/>
                    </a:lnTo>
                    <a:lnTo>
                      <a:pt x="0" y="24"/>
                    </a:lnTo>
                    <a:lnTo>
                      <a:pt x="0" y="24"/>
                    </a:lnTo>
                    <a:lnTo>
                      <a:pt x="0" y="24"/>
                    </a:lnTo>
                    <a:lnTo>
                      <a:pt x="0" y="24"/>
                    </a:lnTo>
                    <a:lnTo>
                      <a:pt x="0" y="22"/>
                    </a:lnTo>
                    <a:lnTo>
                      <a:pt x="16" y="8"/>
                    </a:lnTo>
                    <a:lnTo>
                      <a:pt x="18" y="2"/>
                    </a:lnTo>
                    <a:lnTo>
                      <a:pt x="18" y="2"/>
                    </a:lnTo>
                    <a:lnTo>
                      <a:pt x="20" y="0"/>
                    </a:lnTo>
                    <a:lnTo>
                      <a:pt x="24" y="0"/>
                    </a:lnTo>
                    <a:lnTo>
                      <a:pt x="24" y="0"/>
                    </a:lnTo>
                    <a:lnTo>
                      <a:pt x="26" y="2"/>
                    </a:lnTo>
                    <a:lnTo>
                      <a:pt x="32" y="4"/>
                    </a:lnTo>
                    <a:lnTo>
                      <a:pt x="32" y="4"/>
                    </a:lnTo>
                    <a:lnTo>
                      <a:pt x="34" y="6"/>
                    </a:lnTo>
                    <a:lnTo>
                      <a:pt x="36" y="16"/>
                    </a:lnTo>
                    <a:lnTo>
                      <a:pt x="38" y="18"/>
                    </a:lnTo>
                    <a:lnTo>
                      <a:pt x="42" y="14"/>
                    </a:lnTo>
                    <a:lnTo>
                      <a:pt x="42" y="14"/>
                    </a:lnTo>
                    <a:lnTo>
                      <a:pt x="44" y="12"/>
                    </a:lnTo>
                    <a:lnTo>
                      <a:pt x="44" y="12"/>
                    </a:lnTo>
                    <a:lnTo>
                      <a:pt x="44" y="12"/>
                    </a:lnTo>
                    <a:lnTo>
                      <a:pt x="50" y="14"/>
                    </a:lnTo>
                    <a:lnTo>
                      <a:pt x="50" y="14"/>
                    </a:lnTo>
                    <a:lnTo>
                      <a:pt x="50" y="16"/>
                    </a:lnTo>
                    <a:lnTo>
                      <a:pt x="50" y="30"/>
                    </a:lnTo>
                    <a:lnTo>
                      <a:pt x="56" y="32"/>
                    </a:lnTo>
                    <a:lnTo>
                      <a:pt x="64" y="36"/>
                    </a:lnTo>
                    <a:lnTo>
                      <a:pt x="64" y="36"/>
                    </a:lnTo>
                    <a:lnTo>
                      <a:pt x="64" y="36"/>
                    </a:lnTo>
                    <a:lnTo>
                      <a:pt x="66" y="42"/>
                    </a:lnTo>
                    <a:lnTo>
                      <a:pt x="66" y="48"/>
                    </a:lnTo>
                    <a:lnTo>
                      <a:pt x="62" y="60"/>
                    </a:lnTo>
                    <a:lnTo>
                      <a:pt x="62" y="60"/>
                    </a:lnTo>
                    <a:lnTo>
                      <a:pt x="60" y="60"/>
                    </a:lnTo>
                    <a:lnTo>
                      <a:pt x="6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9" name="Freeform 379"/>
              <p:cNvSpPr>
                <a:spLocks noEditPoints="1"/>
              </p:cNvSpPr>
              <p:nvPr/>
            </p:nvSpPr>
            <p:spPr bwMode="auto">
              <a:xfrm>
                <a:off x="2693" y="2399"/>
                <a:ext cx="70" cy="64"/>
              </a:xfrm>
              <a:custGeom>
                <a:avLst/>
                <a:gdLst>
                  <a:gd name="T0" fmla="*/ 34 w 70"/>
                  <a:gd name="T1" fmla="*/ 8 h 64"/>
                  <a:gd name="T2" fmla="*/ 42 w 70"/>
                  <a:gd name="T3" fmla="*/ 22 h 64"/>
                  <a:gd name="T4" fmla="*/ 50 w 70"/>
                  <a:gd name="T5" fmla="*/ 18 h 64"/>
                  <a:gd name="T6" fmla="*/ 50 w 70"/>
                  <a:gd name="T7" fmla="*/ 34 h 64"/>
                  <a:gd name="T8" fmla="*/ 64 w 70"/>
                  <a:gd name="T9" fmla="*/ 38 h 64"/>
                  <a:gd name="T10" fmla="*/ 66 w 70"/>
                  <a:gd name="T11" fmla="*/ 50 h 64"/>
                  <a:gd name="T12" fmla="*/ 50 w 70"/>
                  <a:gd name="T13" fmla="*/ 58 h 64"/>
                  <a:gd name="T14" fmla="*/ 32 w 70"/>
                  <a:gd name="T15" fmla="*/ 42 h 64"/>
                  <a:gd name="T16" fmla="*/ 12 w 70"/>
                  <a:gd name="T17" fmla="*/ 32 h 64"/>
                  <a:gd name="T18" fmla="*/ 20 w 70"/>
                  <a:gd name="T19" fmla="*/ 12 h 64"/>
                  <a:gd name="T20" fmla="*/ 26 w 70"/>
                  <a:gd name="T21" fmla="*/ 4 h 64"/>
                  <a:gd name="T22" fmla="*/ 22 w 70"/>
                  <a:gd name="T23" fmla="*/ 0 h 64"/>
                  <a:gd name="T24" fmla="*/ 18 w 70"/>
                  <a:gd name="T25" fmla="*/ 2 h 64"/>
                  <a:gd name="T26" fmla="*/ 16 w 70"/>
                  <a:gd name="T27" fmla="*/ 10 h 64"/>
                  <a:gd name="T28" fmla="*/ 2 w 70"/>
                  <a:gd name="T29" fmla="*/ 22 h 64"/>
                  <a:gd name="T30" fmla="*/ 0 w 70"/>
                  <a:gd name="T31" fmla="*/ 26 h 64"/>
                  <a:gd name="T32" fmla="*/ 10 w 70"/>
                  <a:gd name="T33" fmla="*/ 34 h 64"/>
                  <a:gd name="T34" fmla="*/ 10 w 70"/>
                  <a:gd name="T35" fmla="*/ 36 h 64"/>
                  <a:gd name="T36" fmla="*/ 30 w 70"/>
                  <a:gd name="T37" fmla="*/ 46 h 64"/>
                  <a:gd name="T38" fmla="*/ 36 w 70"/>
                  <a:gd name="T39" fmla="*/ 54 h 64"/>
                  <a:gd name="T40" fmla="*/ 48 w 70"/>
                  <a:gd name="T41" fmla="*/ 60 h 64"/>
                  <a:gd name="T42" fmla="*/ 50 w 70"/>
                  <a:gd name="T43" fmla="*/ 62 h 64"/>
                  <a:gd name="T44" fmla="*/ 60 w 70"/>
                  <a:gd name="T45" fmla="*/ 64 h 64"/>
                  <a:gd name="T46" fmla="*/ 62 w 70"/>
                  <a:gd name="T47" fmla="*/ 64 h 64"/>
                  <a:gd name="T48" fmla="*/ 66 w 70"/>
                  <a:gd name="T49" fmla="*/ 62 h 64"/>
                  <a:gd name="T50" fmla="*/ 70 w 70"/>
                  <a:gd name="T51" fmla="*/ 52 h 64"/>
                  <a:gd name="T52" fmla="*/ 70 w 70"/>
                  <a:gd name="T53" fmla="*/ 44 h 64"/>
                  <a:gd name="T54" fmla="*/ 70 w 70"/>
                  <a:gd name="T55" fmla="*/ 42 h 64"/>
                  <a:gd name="T56" fmla="*/ 68 w 70"/>
                  <a:gd name="T57" fmla="*/ 38 h 64"/>
                  <a:gd name="T58" fmla="*/ 60 w 70"/>
                  <a:gd name="T59" fmla="*/ 32 h 64"/>
                  <a:gd name="T60" fmla="*/ 60 w 70"/>
                  <a:gd name="T61" fmla="*/ 32 h 64"/>
                  <a:gd name="T62" fmla="*/ 54 w 70"/>
                  <a:gd name="T63" fmla="*/ 26 h 64"/>
                  <a:gd name="T64" fmla="*/ 54 w 70"/>
                  <a:gd name="T65" fmla="*/ 18 h 64"/>
                  <a:gd name="T66" fmla="*/ 52 w 70"/>
                  <a:gd name="T67" fmla="*/ 14 h 64"/>
                  <a:gd name="T68" fmla="*/ 46 w 70"/>
                  <a:gd name="T69" fmla="*/ 12 h 64"/>
                  <a:gd name="T70" fmla="*/ 46 w 70"/>
                  <a:gd name="T71" fmla="*/ 12 h 64"/>
                  <a:gd name="T72" fmla="*/ 40 w 70"/>
                  <a:gd name="T73" fmla="*/ 18 h 64"/>
                  <a:gd name="T74" fmla="*/ 38 w 70"/>
                  <a:gd name="T75" fmla="*/ 8 h 64"/>
                  <a:gd name="T76" fmla="*/ 36 w 70"/>
                  <a:gd name="T77" fmla="*/ 4 h 64"/>
                  <a:gd name="T78" fmla="*/ 28 w 70"/>
                  <a:gd name="T79" fmla="*/ 2 h 64"/>
                  <a:gd name="T80" fmla="*/ 26 w 70"/>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64">
                    <a:moveTo>
                      <a:pt x="26" y="4"/>
                    </a:moveTo>
                    <a:lnTo>
                      <a:pt x="34" y="8"/>
                    </a:lnTo>
                    <a:lnTo>
                      <a:pt x="36" y="20"/>
                    </a:lnTo>
                    <a:lnTo>
                      <a:pt x="42" y="22"/>
                    </a:lnTo>
                    <a:lnTo>
                      <a:pt x="46" y="16"/>
                    </a:lnTo>
                    <a:lnTo>
                      <a:pt x="50" y="18"/>
                    </a:lnTo>
                    <a:lnTo>
                      <a:pt x="50" y="26"/>
                    </a:lnTo>
                    <a:lnTo>
                      <a:pt x="50" y="34"/>
                    </a:lnTo>
                    <a:lnTo>
                      <a:pt x="58" y="36"/>
                    </a:lnTo>
                    <a:lnTo>
                      <a:pt x="64" y="38"/>
                    </a:lnTo>
                    <a:lnTo>
                      <a:pt x="66" y="44"/>
                    </a:lnTo>
                    <a:lnTo>
                      <a:pt x="66" y="50"/>
                    </a:lnTo>
                    <a:lnTo>
                      <a:pt x="62" y="60"/>
                    </a:lnTo>
                    <a:lnTo>
                      <a:pt x="50" y="58"/>
                    </a:lnTo>
                    <a:lnTo>
                      <a:pt x="40" y="50"/>
                    </a:lnTo>
                    <a:lnTo>
                      <a:pt x="32" y="42"/>
                    </a:lnTo>
                    <a:lnTo>
                      <a:pt x="22" y="36"/>
                    </a:lnTo>
                    <a:lnTo>
                      <a:pt x="12" y="32"/>
                    </a:lnTo>
                    <a:lnTo>
                      <a:pt x="4" y="26"/>
                    </a:lnTo>
                    <a:lnTo>
                      <a:pt x="20" y="12"/>
                    </a:lnTo>
                    <a:lnTo>
                      <a:pt x="22" y="4"/>
                    </a:lnTo>
                    <a:lnTo>
                      <a:pt x="26" y="4"/>
                    </a:lnTo>
                    <a:close/>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0" name="Freeform 380"/>
              <p:cNvSpPr>
                <a:spLocks/>
              </p:cNvSpPr>
              <p:nvPr/>
            </p:nvSpPr>
            <p:spPr bwMode="auto">
              <a:xfrm>
                <a:off x="2697" y="2403"/>
                <a:ext cx="62" cy="56"/>
              </a:xfrm>
              <a:custGeom>
                <a:avLst/>
                <a:gdLst>
                  <a:gd name="T0" fmla="*/ 22 w 62"/>
                  <a:gd name="T1" fmla="*/ 0 h 56"/>
                  <a:gd name="T2" fmla="*/ 30 w 62"/>
                  <a:gd name="T3" fmla="*/ 4 h 56"/>
                  <a:gd name="T4" fmla="*/ 32 w 62"/>
                  <a:gd name="T5" fmla="*/ 16 h 56"/>
                  <a:gd name="T6" fmla="*/ 38 w 62"/>
                  <a:gd name="T7" fmla="*/ 18 h 56"/>
                  <a:gd name="T8" fmla="*/ 42 w 62"/>
                  <a:gd name="T9" fmla="*/ 12 h 56"/>
                  <a:gd name="T10" fmla="*/ 46 w 62"/>
                  <a:gd name="T11" fmla="*/ 14 h 56"/>
                  <a:gd name="T12" fmla="*/ 46 w 62"/>
                  <a:gd name="T13" fmla="*/ 22 h 56"/>
                  <a:gd name="T14" fmla="*/ 46 w 62"/>
                  <a:gd name="T15" fmla="*/ 30 h 56"/>
                  <a:gd name="T16" fmla="*/ 54 w 62"/>
                  <a:gd name="T17" fmla="*/ 32 h 56"/>
                  <a:gd name="T18" fmla="*/ 60 w 62"/>
                  <a:gd name="T19" fmla="*/ 34 h 56"/>
                  <a:gd name="T20" fmla="*/ 62 w 62"/>
                  <a:gd name="T21" fmla="*/ 40 h 56"/>
                  <a:gd name="T22" fmla="*/ 62 w 62"/>
                  <a:gd name="T23" fmla="*/ 46 h 56"/>
                  <a:gd name="T24" fmla="*/ 58 w 62"/>
                  <a:gd name="T25" fmla="*/ 56 h 56"/>
                  <a:gd name="T26" fmla="*/ 46 w 62"/>
                  <a:gd name="T27" fmla="*/ 54 h 56"/>
                  <a:gd name="T28" fmla="*/ 36 w 62"/>
                  <a:gd name="T29" fmla="*/ 46 h 56"/>
                  <a:gd name="T30" fmla="*/ 28 w 62"/>
                  <a:gd name="T31" fmla="*/ 38 h 56"/>
                  <a:gd name="T32" fmla="*/ 18 w 62"/>
                  <a:gd name="T33" fmla="*/ 32 h 56"/>
                  <a:gd name="T34" fmla="*/ 8 w 62"/>
                  <a:gd name="T35" fmla="*/ 28 h 56"/>
                  <a:gd name="T36" fmla="*/ 0 w 62"/>
                  <a:gd name="T37" fmla="*/ 22 h 56"/>
                  <a:gd name="T38" fmla="*/ 16 w 62"/>
                  <a:gd name="T39" fmla="*/ 8 h 56"/>
                  <a:gd name="T40" fmla="*/ 18 w 62"/>
                  <a:gd name="T41" fmla="*/ 0 h 56"/>
                  <a:gd name="T42" fmla="*/ 22 w 6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56">
                    <a:moveTo>
                      <a:pt x="22" y="0"/>
                    </a:moveTo>
                    <a:lnTo>
                      <a:pt x="30" y="4"/>
                    </a:lnTo>
                    <a:lnTo>
                      <a:pt x="32" y="16"/>
                    </a:lnTo>
                    <a:lnTo>
                      <a:pt x="38" y="18"/>
                    </a:lnTo>
                    <a:lnTo>
                      <a:pt x="42" y="12"/>
                    </a:lnTo>
                    <a:lnTo>
                      <a:pt x="46" y="14"/>
                    </a:lnTo>
                    <a:lnTo>
                      <a:pt x="46" y="22"/>
                    </a:lnTo>
                    <a:lnTo>
                      <a:pt x="46" y="30"/>
                    </a:lnTo>
                    <a:lnTo>
                      <a:pt x="54" y="32"/>
                    </a:lnTo>
                    <a:lnTo>
                      <a:pt x="60" y="34"/>
                    </a:lnTo>
                    <a:lnTo>
                      <a:pt x="62" y="40"/>
                    </a:lnTo>
                    <a:lnTo>
                      <a:pt x="62" y="46"/>
                    </a:lnTo>
                    <a:lnTo>
                      <a:pt x="58" y="56"/>
                    </a:lnTo>
                    <a:lnTo>
                      <a:pt x="46" y="54"/>
                    </a:lnTo>
                    <a:lnTo>
                      <a:pt x="36" y="46"/>
                    </a:lnTo>
                    <a:lnTo>
                      <a:pt x="28" y="38"/>
                    </a:lnTo>
                    <a:lnTo>
                      <a:pt x="18" y="32"/>
                    </a:lnTo>
                    <a:lnTo>
                      <a:pt x="8" y="28"/>
                    </a:lnTo>
                    <a:lnTo>
                      <a:pt x="0" y="22"/>
                    </a:lnTo>
                    <a:lnTo>
                      <a:pt x="16" y="8"/>
                    </a:lnTo>
                    <a:lnTo>
                      <a:pt x="18"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1" name="Freeform 381"/>
              <p:cNvSpPr>
                <a:spLocks/>
              </p:cNvSpPr>
              <p:nvPr/>
            </p:nvSpPr>
            <p:spPr bwMode="auto">
              <a:xfrm>
                <a:off x="2693" y="2399"/>
                <a:ext cx="70" cy="64"/>
              </a:xfrm>
              <a:custGeom>
                <a:avLst/>
                <a:gdLst>
                  <a:gd name="T0" fmla="*/ 26 w 70"/>
                  <a:gd name="T1" fmla="*/ 0 h 64"/>
                  <a:gd name="T2" fmla="*/ 22 w 70"/>
                  <a:gd name="T3" fmla="*/ 0 h 64"/>
                  <a:gd name="T4" fmla="*/ 22 w 70"/>
                  <a:gd name="T5" fmla="*/ 0 h 64"/>
                  <a:gd name="T6" fmla="*/ 18 w 70"/>
                  <a:gd name="T7" fmla="*/ 2 h 64"/>
                  <a:gd name="T8" fmla="*/ 18 w 70"/>
                  <a:gd name="T9" fmla="*/ 4 h 64"/>
                  <a:gd name="T10" fmla="*/ 16 w 70"/>
                  <a:gd name="T11" fmla="*/ 10 h 64"/>
                  <a:gd name="T12" fmla="*/ 2 w 70"/>
                  <a:gd name="T13" fmla="*/ 22 h 64"/>
                  <a:gd name="T14" fmla="*/ 2 w 70"/>
                  <a:gd name="T15" fmla="*/ 22 h 64"/>
                  <a:gd name="T16" fmla="*/ 0 w 70"/>
                  <a:gd name="T17" fmla="*/ 26 h 64"/>
                  <a:gd name="T18" fmla="*/ 0 w 70"/>
                  <a:gd name="T19" fmla="*/ 26 h 64"/>
                  <a:gd name="T20" fmla="*/ 2 w 70"/>
                  <a:gd name="T21" fmla="*/ 28 h 64"/>
                  <a:gd name="T22" fmla="*/ 10 w 70"/>
                  <a:gd name="T23" fmla="*/ 34 h 64"/>
                  <a:gd name="T24" fmla="*/ 10 w 70"/>
                  <a:gd name="T25" fmla="*/ 34 h 64"/>
                  <a:gd name="T26" fmla="*/ 10 w 70"/>
                  <a:gd name="T27" fmla="*/ 36 h 64"/>
                  <a:gd name="T28" fmla="*/ 20 w 70"/>
                  <a:gd name="T29" fmla="*/ 40 h 64"/>
                  <a:gd name="T30" fmla="*/ 30 w 70"/>
                  <a:gd name="T31" fmla="*/ 46 h 64"/>
                  <a:gd name="T32" fmla="*/ 36 w 70"/>
                  <a:gd name="T33" fmla="*/ 54 h 64"/>
                  <a:gd name="T34" fmla="*/ 36 w 70"/>
                  <a:gd name="T35" fmla="*/ 54 h 64"/>
                  <a:gd name="T36" fmla="*/ 38 w 70"/>
                  <a:gd name="T37" fmla="*/ 54 h 64"/>
                  <a:gd name="T38" fmla="*/ 48 w 70"/>
                  <a:gd name="T39" fmla="*/ 60 h 64"/>
                  <a:gd name="T40" fmla="*/ 48 w 70"/>
                  <a:gd name="T41" fmla="*/ 60 h 64"/>
                  <a:gd name="T42" fmla="*/ 50 w 70"/>
                  <a:gd name="T43" fmla="*/ 62 h 64"/>
                  <a:gd name="T44" fmla="*/ 60 w 70"/>
                  <a:gd name="T45" fmla="*/ 64 h 64"/>
                  <a:gd name="T46" fmla="*/ 60 w 70"/>
                  <a:gd name="T47" fmla="*/ 64 h 64"/>
                  <a:gd name="T48" fmla="*/ 62 w 70"/>
                  <a:gd name="T49" fmla="*/ 64 h 64"/>
                  <a:gd name="T50" fmla="*/ 62 w 70"/>
                  <a:gd name="T51" fmla="*/ 64 h 64"/>
                  <a:gd name="T52" fmla="*/ 64 w 70"/>
                  <a:gd name="T53" fmla="*/ 64 h 64"/>
                  <a:gd name="T54" fmla="*/ 66 w 70"/>
                  <a:gd name="T55" fmla="*/ 62 h 64"/>
                  <a:gd name="T56" fmla="*/ 70 w 70"/>
                  <a:gd name="T57" fmla="*/ 52 h 64"/>
                  <a:gd name="T58" fmla="*/ 70 w 70"/>
                  <a:gd name="T59" fmla="*/ 52 h 64"/>
                  <a:gd name="T60" fmla="*/ 70 w 70"/>
                  <a:gd name="T61" fmla="*/ 50 h 64"/>
                  <a:gd name="T62" fmla="*/ 70 w 70"/>
                  <a:gd name="T63" fmla="*/ 44 h 64"/>
                  <a:gd name="T64" fmla="*/ 70 w 70"/>
                  <a:gd name="T65" fmla="*/ 44 h 64"/>
                  <a:gd name="T66" fmla="*/ 70 w 70"/>
                  <a:gd name="T67" fmla="*/ 42 h 64"/>
                  <a:gd name="T68" fmla="*/ 68 w 70"/>
                  <a:gd name="T69" fmla="*/ 38 h 64"/>
                  <a:gd name="T70" fmla="*/ 68 w 70"/>
                  <a:gd name="T71" fmla="*/ 38 h 64"/>
                  <a:gd name="T72" fmla="*/ 66 w 70"/>
                  <a:gd name="T73" fmla="*/ 36 h 64"/>
                  <a:gd name="T74" fmla="*/ 60 w 70"/>
                  <a:gd name="T75" fmla="*/ 32 h 64"/>
                  <a:gd name="T76" fmla="*/ 60 w 70"/>
                  <a:gd name="T77" fmla="*/ 32 h 64"/>
                  <a:gd name="T78" fmla="*/ 60 w 70"/>
                  <a:gd name="T79" fmla="*/ 32 h 64"/>
                  <a:gd name="T80" fmla="*/ 54 w 70"/>
                  <a:gd name="T81" fmla="*/ 30 h 64"/>
                  <a:gd name="T82" fmla="*/ 54 w 70"/>
                  <a:gd name="T83" fmla="*/ 26 h 64"/>
                  <a:gd name="T84" fmla="*/ 54 w 70"/>
                  <a:gd name="T85" fmla="*/ 18 h 64"/>
                  <a:gd name="T86" fmla="*/ 54 w 70"/>
                  <a:gd name="T87" fmla="*/ 18 h 64"/>
                  <a:gd name="T88" fmla="*/ 54 w 70"/>
                  <a:gd name="T89" fmla="*/ 16 h 64"/>
                  <a:gd name="T90" fmla="*/ 52 w 70"/>
                  <a:gd name="T91" fmla="*/ 14 h 64"/>
                  <a:gd name="T92" fmla="*/ 46 w 70"/>
                  <a:gd name="T93" fmla="*/ 12 h 64"/>
                  <a:gd name="T94" fmla="*/ 46 w 70"/>
                  <a:gd name="T95" fmla="*/ 12 h 64"/>
                  <a:gd name="T96" fmla="*/ 46 w 70"/>
                  <a:gd name="T97" fmla="*/ 12 h 64"/>
                  <a:gd name="T98" fmla="*/ 46 w 70"/>
                  <a:gd name="T99" fmla="*/ 12 h 64"/>
                  <a:gd name="T100" fmla="*/ 42 w 70"/>
                  <a:gd name="T101" fmla="*/ 14 h 64"/>
                  <a:gd name="T102" fmla="*/ 40 w 70"/>
                  <a:gd name="T103" fmla="*/ 18 h 64"/>
                  <a:gd name="T104" fmla="*/ 40 w 70"/>
                  <a:gd name="T105" fmla="*/ 18 h 64"/>
                  <a:gd name="T106" fmla="*/ 38 w 70"/>
                  <a:gd name="T107" fmla="*/ 8 h 64"/>
                  <a:gd name="T108" fmla="*/ 38 w 70"/>
                  <a:gd name="T109" fmla="*/ 8 h 64"/>
                  <a:gd name="T110" fmla="*/ 36 w 70"/>
                  <a:gd name="T111" fmla="*/ 4 h 64"/>
                  <a:gd name="T112" fmla="*/ 28 w 70"/>
                  <a:gd name="T113" fmla="*/ 2 h 64"/>
                  <a:gd name="T114" fmla="*/ 28 w 70"/>
                  <a:gd name="T115" fmla="*/ 2 h 64"/>
                  <a:gd name="T116" fmla="*/ 26 w 70"/>
                  <a:gd name="T117" fmla="*/ 0 h 64"/>
                  <a:gd name="T118" fmla="*/ 26 w 70"/>
                  <a:gd name="T1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64">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2" name="Freeform 382"/>
              <p:cNvSpPr>
                <a:spLocks/>
              </p:cNvSpPr>
              <p:nvPr/>
            </p:nvSpPr>
            <p:spPr bwMode="auto">
              <a:xfrm>
                <a:off x="3053" y="2183"/>
                <a:ext cx="150" cy="234"/>
              </a:xfrm>
              <a:custGeom>
                <a:avLst/>
                <a:gdLst>
                  <a:gd name="T0" fmla="*/ 38 w 150"/>
                  <a:gd name="T1" fmla="*/ 234 h 234"/>
                  <a:gd name="T2" fmla="*/ 38 w 150"/>
                  <a:gd name="T3" fmla="*/ 234 h 234"/>
                  <a:gd name="T4" fmla="*/ 36 w 150"/>
                  <a:gd name="T5" fmla="*/ 234 h 234"/>
                  <a:gd name="T6" fmla="*/ 26 w 150"/>
                  <a:gd name="T7" fmla="*/ 222 h 234"/>
                  <a:gd name="T8" fmla="*/ 10 w 150"/>
                  <a:gd name="T9" fmla="*/ 204 h 234"/>
                  <a:gd name="T10" fmla="*/ 10 w 150"/>
                  <a:gd name="T11" fmla="*/ 204 h 234"/>
                  <a:gd name="T12" fmla="*/ 10 w 150"/>
                  <a:gd name="T13" fmla="*/ 204 h 234"/>
                  <a:gd name="T14" fmla="*/ 10 w 150"/>
                  <a:gd name="T15" fmla="*/ 194 h 234"/>
                  <a:gd name="T16" fmla="*/ 10 w 150"/>
                  <a:gd name="T17" fmla="*/ 194 h 234"/>
                  <a:gd name="T18" fmla="*/ 12 w 150"/>
                  <a:gd name="T19" fmla="*/ 192 h 234"/>
                  <a:gd name="T20" fmla="*/ 26 w 150"/>
                  <a:gd name="T21" fmla="*/ 192 h 234"/>
                  <a:gd name="T22" fmla="*/ 24 w 150"/>
                  <a:gd name="T23" fmla="*/ 186 h 234"/>
                  <a:gd name="T24" fmla="*/ 24 w 150"/>
                  <a:gd name="T25" fmla="*/ 186 h 234"/>
                  <a:gd name="T26" fmla="*/ 22 w 150"/>
                  <a:gd name="T27" fmla="*/ 186 h 234"/>
                  <a:gd name="T28" fmla="*/ 22 w 150"/>
                  <a:gd name="T29" fmla="*/ 164 h 234"/>
                  <a:gd name="T30" fmla="*/ 14 w 150"/>
                  <a:gd name="T31" fmla="*/ 154 h 234"/>
                  <a:gd name="T32" fmla="*/ 2 w 150"/>
                  <a:gd name="T33" fmla="*/ 142 h 234"/>
                  <a:gd name="T34" fmla="*/ 2 w 150"/>
                  <a:gd name="T35" fmla="*/ 142 h 234"/>
                  <a:gd name="T36" fmla="*/ 2 w 150"/>
                  <a:gd name="T37" fmla="*/ 142 h 234"/>
                  <a:gd name="T38" fmla="*/ 0 w 150"/>
                  <a:gd name="T39" fmla="*/ 130 h 234"/>
                  <a:gd name="T40" fmla="*/ 0 w 150"/>
                  <a:gd name="T41" fmla="*/ 130 h 234"/>
                  <a:gd name="T42" fmla="*/ 0 w 150"/>
                  <a:gd name="T43" fmla="*/ 130 h 234"/>
                  <a:gd name="T44" fmla="*/ 28 w 150"/>
                  <a:gd name="T45" fmla="*/ 96 h 234"/>
                  <a:gd name="T46" fmla="*/ 32 w 150"/>
                  <a:gd name="T47" fmla="*/ 60 h 234"/>
                  <a:gd name="T48" fmla="*/ 34 w 150"/>
                  <a:gd name="T49" fmla="*/ 46 h 234"/>
                  <a:gd name="T50" fmla="*/ 24 w 150"/>
                  <a:gd name="T51" fmla="*/ 8 h 234"/>
                  <a:gd name="T52" fmla="*/ 24 w 150"/>
                  <a:gd name="T53" fmla="*/ 8 h 234"/>
                  <a:gd name="T54" fmla="*/ 26 w 150"/>
                  <a:gd name="T55" fmla="*/ 6 h 234"/>
                  <a:gd name="T56" fmla="*/ 30 w 150"/>
                  <a:gd name="T57" fmla="*/ 0 h 234"/>
                  <a:gd name="T58" fmla="*/ 30 w 150"/>
                  <a:gd name="T59" fmla="*/ 0 h 234"/>
                  <a:gd name="T60" fmla="*/ 32 w 150"/>
                  <a:gd name="T61" fmla="*/ 0 h 234"/>
                  <a:gd name="T62" fmla="*/ 32 w 150"/>
                  <a:gd name="T63" fmla="*/ 0 h 234"/>
                  <a:gd name="T64" fmla="*/ 32 w 150"/>
                  <a:gd name="T65" fmla="*/ 0 h 234"/>
                  <a:gd name="T66" fmla="*/ 148 w 150"/>
                  <a:gd name="T67" fmla="*/ 48 h 234"/>
                  <a:gd name="T68" fmla="*/ 148 w 150"/>
                  <a:gd name="T69" fmla="*/ 48 h 234"/>
                  <a:gd name="T70" fmla="*/ 150 w 150"/>
                  <a:gd name="T71" fmla="*/ 50 h 234"/>
                  <a:gd name="T72" fmla="*/ 148 w 150"/>
                  <a:gd name="T73" fmla="*/ 116 h 234"/>
                  <a:gd name="T74" fmla="*/ 148 w 150"/>
                  <a:gd name="T75" fmla="*/ 116 h 234"/>
                  <a:gd name="T76" fmla="*/ 146 w 150"/>
                  <a:gd name="T77" fmla="*/ 118 h 234"/>
                  <a:gd name="T78" fmla="*/ 136 w 150"/>
                  <a:gd name="T79" fmla="*/ 120 h 234"/>
                  <a:gd name="T80" fmla="*/ 132 w 150"/>
                  <a:gd name="T81" fmla="*/ 130 h 234"/>
                  <a:gd name="T82" fmla="*/ 122 w 150"/>
                  <a:gd name="T83" fmla="*/ 154 h 234"/>
                  <a:gd name="T84" fmla="*/ 128 w 150"/>
                  <a:gd name="T85" fmla="*/ 160 h 234"/>
                  <a:gd name="T86" fmla="*/ 128 w 150"/>
                  <a:gd name="T87" fmla="*/ 160 h 234"/>
                  <a:gd name="T88" fmla="*/ 130 w 150"/>
                  <a:gd name="T89" fmla="*/ 160 h 234"/>
                  <a:gd name="T90" fmla="*/ 132 w 150"/>
                  <a:gd name="T91" fmla="*/ 184 h 234"/>
                  <a:gd name="T92" fmla="*/ 132 w 150"/>
                  <a:gd name="T93" fmla="*/ 184 h 234"/>
                  <a:gd name="T94" fmla="*/ 130 w 150"/>
                  <a:gd name="T95" fmla="*/ 186 h 234"/>
                  <a:gd name="T96" fmla="*/ 122 w 150"/>
                  <a:gd name="T97" fmla="*/ 188 h 234"/>
                  <a:gd name="T98" fmla="*/ 100 w 150"/>
                  <a:gd name="T99" fmla="*/ 208 h 234"/>
                  <a:gd name="T100" fmla="*/ 100 w 150"/>
                  <a:gd name="T101" fmla="*/ 208 h 234"/>
                  <a:gd name="T102" fmla="*/ 100 w 150"/>
                  <a:gd name="T103" fmla="*/ 210 h 234"/>
                  <a:gd name="T104" fmla="*/ 80 w 150"/>
                  <a:gd name="T105" fmla="*/ 212 h 234"/>
                  <a:gd name="T106" fmla="*/ 78 w 150"/>
                  <a:gd name="T107" fmla="*/ 222 h 234"/>
                  <a:gd name="T108" fmla="*/ 78 w 150"/>
                  <a:gd name="T109" fmla="*/ 222 h 234"/>
                  <a:gd name="T110" fmla="*/ 78 w 150"/>
                  <a:gd name="T111" fmla="*/ 224 h 234"/>
                  <a:gd name="T112" fmla="*/ 38 w 150"/>
                  <a:gd name="T113" fmla="*/ 234 h 234"/>
                  <a:gd name="T114" fmla="*/ 38 w 150"/>
                  <a:gd name="T115" fmla="*/ 234 h 234"/>
                  <a:gd name="T116" fmla="*/ 38 w 150"/>
                  <a:gd name="T117" fmla="*/ 234 h 234"/>
                  <a:gd name="T118" fmla="*/ 38 w 150"/>
                  <a:gd name="T11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 h="234">
                    <a:moveTo>
                      <a:pt x="38" y="234"/>
                    </a:moveTo>
                    <a:lnTo>
                      <a:pt x="38" y="234"/>
                    </a:lnTo>
                    <a:lnTo>
                      <a:pt x="36" y="234"/>
                    </a:lnTo>
                    <a:lnTo>
                      <a:pt x="26" y="222"/>
                    </a:lnTo>
                    <a:lnTo>
                      <a:pt x="10" y="204"/>
                    </a:lnTo>
                    <a:lnTo>
                      <a:pt x="10" y="204"/>
                    </a:lnTo>
                    <a:lnTo>
                      <a:pt x="10" y="204"/>
                    </a:lnTo>
                    <a:lnTo>
                      <a:pt x="10" y="194"/>
                    </a:lnTo>
                    <a:lnTo>
                      <a:pt x="10" y="194"/>
                    </a:lnTo>
                    <a:lnTo>
                      <a:pt x="12" y="192"/>
                    </a:lnTo>
                    <a:lnTo>
                      <a:pt x="26" y="192"/>
                    </a:lnTo>
                    <a:lnTo>
                      <a:pt x="24" y="186"/>
                    </a:lnTo>
                    <a:lnTo>
                      <a:pt x="24" y="186"/>
                    </a:lnTo>
                    <a:lnTo>
                      <a:pt x="22" y="186"/>
                    </a:lnTo>
                    <a:lnTo>
                      <a:pt x="22" y="164"/>
                    </a:lnTo>
                    <a:lnTo>
                      <a:pt x="14" y="154"/>
                    </a:lnTo>
                    <a:lnTo>
                      <a:pt x="2" y="142"/>
                    </a:lnTo>
                    <a:lnTo>
                      <a:pt x="2" y="142"/>
                    </a:lnTo>
                    <a:lnTo>
                      <a:pt x="2" y="142"/>
                    </a:lnTo>
                    <a:lnTo>
                      <a:pt x="0" y="130"/>
                    </a:lnTo>
                    <a:lnTo>
                      <a:pt x="0" y="130"/>
                    </a:lnTo>
                    <a:lnTo>
                      <a:pt x="0" y="130"/>
                    </a:lnTo>
                    <a:lnTo>
                      <a:pt x="28" y="96"/>
                    </a:lnTo>
                    <a:lnTo>
                      <a:pt x="32" y="60"/>
                    </a:lnTo>
                    <a:lnTo>
                      <a:pt x="34" y="46"/>
                    </a:lnTo>
                    <a:lnTo>
                      <a:pt x="24" y="8"/>
                    </a:lnTo>
                    <a:lnTo>
                      <a:pt x="24" y="8"/>
                    </a:lnTo>
                    <a:lnTo>
                      <a:pt x="26" y="6"/>
                    </a:lnTo>
                    <a:lnTo>
                      <a:pt x="30" y="0"/>
                    </a:lnTo>
                    <a:lnTo>
                      <a:pt x="30" y="0"/>
                    </a:lnTo>
                    <a:lnTo>
                      <a:pt x="32" y="0"/>
                    </a:lnTo>
                    <a:lnTo>
                      <a:pt x="32" y="0"/>
                    </a:lnTo>
                    <a:lnTo>
                      <a:pt x="32" y="0"/>
                    </a:lnTo>
                    <a:lnTo>
                      <a:pt x="148" y="48"/>
                    </a:lnTo>
                    <a:lnTo>
                      <a:pt x="148" y="48"/>
                    </a:lnTo>
                    <a:lnTo>
                      <a:pt x="150" y="50"/>
                    </a:lnTo>
                    <a:lnTo>
                      <a:pt x="148" y="116"/>
                    </a:lnTo>
                    <a:lnTo>
                      <a:pt x="148" y="116"/>
                    </a:lnTo>
                    <a:lnTo>
                      <a:pt x="146" y="118"/>
                    </a:lnTo>
                    <a:lnTo>
                      <a:pt x="136" y="120"/>
                    </a:lnTo>
                    <a:lnTo>
                      <a:pt x="132" y="130"/>
                    </a:lnTo>
                    <a:lnTo>
                      <a:pt x="122" y="154"/>
                    </a:lnTo>
                    <a:lnTo>
                      <a:pt x="128" y="160"/>
                    </a:lnTo>
                    <a:lnTo>
                      <a:pt x="128" y="160"/>
                    </a:lnTo>
                    <a:lnTo>
                      <a:pt x="130" y="160"/>
                    </a:lnTo>
                    <a:lnTo>
                      <a:pt x="132" y="184"/>
                    </a:lnTo>
                    <a:lnTo>
                      <a:pt x="132" y="184"/>
                    </a:lnTo>
                    <a:lnTo>
                      <a:pt x="130" y="186"/>
                    </a:lnTo>
                    <a:lnTo>
                      <a:pt x="122" y="188"/>
                    </a:lnTo>
                    <a:lnTo>
                      <a:pt x="100" y="208"/>
                    </a:lnTo>
                    <a:lnTo>
                      <a:pt x="100" y="208"/>
                    </a:lnTo>
                    <a:lnTo>
                      <a:pt x="100" y="210"/>
                    </a:lnTo>
                    <a:lnTo>
                      <a:pt x="80" y="212"/>
                    </a:lnTo>
                    <a:lnTo>
                      <a:pt x="78" y="222"/>
                    </a:lnTo>
                    <a:lnTo>
                      <a:pt x="78" y="222"/>
                    </a:lnTo>
                    <a:lnTo>
                      <a:pt x="78" y="224"/>
                    </a:lnTo>
                    <a:lnTo>
                      <a:pt x="38" y="234"/>
                    </a:lnTo>
                    <a:lnTo>
                      <a:pt x="38" y="234"/>
                    </a:lnTo>
                    <a:lnTo>
                      <a:pt x="38" y="234"/>
                    </a:lnTo>
                    <a:lnTo>
                      <a:pt x="38"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3" name="Freeform 383"/>
              <p:cNvSpPr>
                <a:spLocks noEditPoints="1"/>
              </p:cNvSpPr>
              <p:nvPr/>
            </p:nvSpPr>
            <p:spPr bwMode="auto">
              <a:xfrm>
                <a:off x="3051" y="2181"/>
                <a:ext cx="154" cy="238"/>
              </a:xfrm>
              <a:custGeom>
                <a:avLst/>
                <a:gdLst>
                  <a:gd name="T0" fmla="*/ 150 w 154"/>
                  <a:gd name="T1" fmla="*/ 52 h 238"/>
                  <a:gd name="T2" fmla="*/ 136 w 154"/>
                  <a:gd name="T3" fmla="*/ 120 h 238"/>
                  <a:gd name="T4" fmla="*/ 122 w 154"/>
                  <a:gd name="T5" fmla="*/ 156 h 238"/>
                  <a:gd name="T6" fmla="*/ 132 w 154"/>
                  <a:gd name="T7" fmla="*/ 186 h 238"/>
                  <a:gd name="T8" fmla="*/ 102 w 154"/>
                  <a:gd name="T9" fmla="*/ 210 h 238"/>
                  <a:gd name="T10" fmla="*/ 78 w 154"/>
                  <a:gd name="T11" fmla="*/ 224 h 238"/>
                  <a:gd name="T12" fmla="*/ 30 w 154"/>
                  <a:gd name="T13" fmla="*/ 224 h 238"/>
                  <a:gd name="T14" fmla="*/ 14 w 154"/>
                  <a:gd name="T15" fmla="*/ 196 h 238"/>
                  <a:gd name="T16" fmla="*/ 26 w 154"/>
                  <a:gd name="T17" fmla="*/ 188 h 238"/>
                  <a:gd name="T18" fmla="*/ 18 w 154"/>
                  <a:gd name="T19" fmla="*/ 156 h 238"/>
                  <a:gd name="T20" fmla="*/ 4 w 154"/>
                  <a:gd name="T21" fmla="*/ 132 h 238"/>
                  <a:gd name="T22" fmla="*/ 36 w 154"/>
                  <a:gd name="T23" fmla="*/ 62 h 238"/>
                  <a:gd name="T24" fmla="*/ 28 w 154"/>
                  <a:gd name="T25" fmla="*/ 10 h 238"/>
                  <a:gd name="T26" fmla="*/ 34 w 154"/>
                  <a:gd name="T27" fmla="*/ 0 h 238"/>
                  <a:gd name="T28" fmla="*/ 30 w 154"/>
                  <a:gd name="T29" fmla="*/ 2 h 238"/>
                  <a:gd name="T30" fmla="*/ 26 w 154"/>
                  <a:gd name="T31" fmla="*/ 6 h 238"/>
                  <a:gd name="T32" fmla="*/ 34 w 154"/>
                  <a:gd name="T33" fmla="*/ 48 h 238"/>
                  <a:gd name="T34" fmla="*/ 32 w 154"/>
                  <a:gd name="T35" fmla="*/ 62 h 238"/>
                  <a:gd name="T36" fmla="*/ 28 w 154"/>
                  <a:gd name="T37" fmla="*/ 96 h 238"/>
                  <a:gd name="T38" fmla="*/ 2 w 154"/>
                  <a:gd name="T39" fmla="*/ 130 h 238"/>
                  <a:gd name="T40" fmla="*/ 2 w 154"/>
                  <a:gd name="T41" fmla="*/ 144 h 238"/>
                  <a:gd name="T42" fmla="*/ 4 w 154"/>
                  <a:gd name="T43" fmla="*/ 146 h 238"/>
                  <a:gd name="T44" fmla="*/ 22 w 154"/>
                  <a:gd name="T45" fmla="*/ 168 h 238"/>
                  <a:gd name="T46" fmla="*/ 22 w 154"/>
                  <a:gd name="T47" fmla="*/ 188 h 238"/>
                  <a:gd name="T48" fmla="*/ 26 w 154"/>
                  <a:gd name="T49" fmla="*/ 192 h 238"/>
                  <a:gd name="T50" fmla="*/ 14 w 154"/>
                  <a:gd name="T51" fmla="*/ 192 h 238"/>
                  <a:gd name="T52" fmla="*/ 10 w 154"/>
                  <a:gd name="T53" fmla="*/ 196 h 238"/>
                  <a:gd name="T54" fmla="*/ 10 w 154"/>
                  <a:gd name="T55" fmla="*/ 204 h 238"/>
                  <a:gd name="T56" fmla="*/ 28 w 154"/>
                  <a:gd name="T57" fmla="*/ 226 h 238"/>
                  <a:gd name="T58" fmla="*/ 36 w 154"/>
                  <a:gd name="T59" fmla="*/ 236 h 238"/>
                  <a:gd name="T60" fmla="*/ 40 w 154"/>
                  <a:gd name="T61" fmla="*/ 238 h 238"/>
                  <a:gd name="T62" fmla="*/ 80 w 154"/>
                  <a:gd name="T63" fmla="*/ 228 h 238"/>
                  <a:gd name="T64" fmla="*/ 82 w 154"/>
                  <a:gd name="T65" fmla="*/ 226 h 238"/>
                  <a:gd name="T66" fmla="*/ 84 w 154"/>
                  <a:gd name="T67" fmla="*/ 216 h 238"/>
                  <a:gd name="T68" fmla="*/ 102 w 154"/>
                  <a:gd name="T69" fmla="*/ 214 h 238"/>
                  <a:gd name="T70" fmla="*/ 124 w 154"/>
                  <a:gd name="T71" fmla="*/ 192 h 238"/>
                  <a:gd name="T72" fmla="*/ 134 w 154"/>
                  <a:gd name="T73" fmla="*/ 190 h 238"/>
                  <a:gd name="T74" fmla="*/ 136 w 154"/>
                  <a:gd name="T75" fmla="*/ 186 h 238"/>
                  <a:gd name="T76" fmla="*/ 134 w 154"/>
                  <a:gd name="T77" fmla="*/ 162 h 238"/>
                  <a:gd name="T78" fmla="*/ 126 w 154"/>
                  <a:gd name="T79" fmla="*/ 154 h 238"/>
                  <a:gd name="T80" fmla="*/ 140 w 154"/>
                  <a:gd name="T81" fmla="*/ 124 h 238"/>
                  <a:gd name="T82" fmla="*/ 148 w 154"/>
                  <a:gd name="T83" fmla="*/ 122 h 238"/>
                  <a:gd name="T84" fmla="*/ 152 w 154"/>
                  <a:gd name="T85" fmla="*/ 118 h 238"/>
                  <a:gd name="T86" fmla="*/ 154 w 154"/>
                  <a:gd name="T87" fmla="*/ 52 h 238"/>
                  <a:gd name="T88" fmla="*/ 152 w 154"/>
                  <a:gd name="T89" fmla="*/ 48 h 238"/>
                  <a:gd name="T90" fmla="*/ 36 w 154"/>
                  <a:gd name="T91" fmla="*/ 0 h 238"/>
                  <a:gd name="T92" fmla="*/ 34 w 154"/>
                  <a:gd name="T9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238">
                    <a:moveTo>
                      <a:pt x="34" y="4"/>
                    </a:moveTo>
                    <a:lnTo>
                      <a:pt x="150" y="52"/>
                    </a:lnTo>
                    <a:lnTo>
                      <a:pt x="148" y="118"/>
                    </a:lnTo>
                    <a:lnTo>
                      <a:pt x="136" y="120"/>
                    </a:lnTo>
                    <a:lnTo>
                      <a:pt x="132" y="130"/>
                    </a:lnTo>
                    <a:lnTo>
                      <a:pt x="122" y="156"/>
                    </a:lnTo>
                    <a:lnTo>
                      <a:pt x="130" y="162"/>
                    </a:lnTo>
                    <a:lnTo>
                      <a:pt x="132" y="186"/>
                    </a:lnTo>
                    <a:lnTo>
                      <a:pt x="122" y="188"/>
                    </a:lnTo>
                    <a:lnTo>
                      <a:pt x="102" y="210"/>
                    </a:lnTo>
                    <a:lnTo>
                      <a:pt x="80" y="212"/>
                    </a:lnTo>
                    <a:lnTo>
                      <a:pt x="78" y="224"/>
                    </a:lnTo>
                    <a:lnTo>
                      <a:pt x="40" y="234"/>
                    </a:lnTo>
                    <a:lnTo>
                      <a:pt x="30" y="224"/>
                    </a:lnTo>
                    <a:lnTo>
                      <a:pt x="14" y="206"/>
                    </a:lnTo>
                    <a:lnTo>
                      <a:pt x="14" y="196"/>
                    </a:lnTo>
                    <a:lnTo>
                      <a:pt x="32" y="196"/>
                    </a:lnTo>
                    <a:lnTo>
                      <a:pt x="26" y="188"/>
                    </a:lnTo>
                    <a:lnTo>
                      <a:pt x="26" y="166"/>
                    </a:lnTo>
                    <a:lnTo>
                      <a:pt x="18" y="156"/>
                    </a:lnTo>
                    <a:lnTo>
                      <a:pt x="6" y="144"/>
                    </a:lnTo>
                    <a:lnTo>
                      <a:pt x="4" y="132"/>
                    </a:lnTo>
                    <a:lnTo>
                      <a:pt x="32" y="98"/>
                    </a:lnTo>
                    <a:lnTo>
                      <a:pt x="36" y="62"/>
                    </a:lnTo>
                    <a:lnTo>
                      <a:pt x="40" y="48"/>
                    </a:lnTo>
                    <a:lnTo>
                      <a:pt x="28" y="10"/>
                    </a:lnTo>
                    <a:lnTo>
                      <a:pt x="34" y="4"/>
                    </a:lnTo>
                    <a:close/>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4" name="Freeform 384"/>
              <p:cNvSpPr>
                <a:spLocks/>
              </p:cNvSpPr>
              <p:nvPr/>
            </p:nvSpPr>
            <p:spPr bwMode="auto">
              <a:xfrm>
                <a:off x="3055" y="2185"/>
                <a:ext cx="146" cy="230"/>
              </a:xfrm>
              <a:custGeom>
                <a:avLst/>
                <a:gdLst>
                  <a:gd name="T0" fmla="*/ 30 w 146"/>
                  <a:gd name="T1" fmla="*/ 0 h 230"/>
                  <a:gd name="T2" fmla="*/ 146 w 146"/>
                  <a:gd name="T3" fmla="*/ 48 h 230"/>
                  <a:gd name="T4" fmla="*/ 144 w 146"/>
                  <a:gd name="T5" fmla="*/ 114 h 230"/>
                  <a:gd name="T6" fmla="*/ 132 w 146"/>
                  <a:gd name="T7" fmla="*/ 116 h 230"/>
                  <a:gd name="T8" fmla="*/ 128 w 146"/>
                  <a:gd name="T9" fmla="*/ 126 h 230"/>
                  <a:gd name="T10" fmla="*/ 118 w 146"/>
                  <a:gd name="T11" fmla="*/ 152 h 230"/>
                  <a:gd name="T12" fmla="*/ 126 w 146"/>
                  <a:gd name="T13" fmla="*/ 158 h 230"/>
                  <a:gd name="T14" fmla="*/ 128 w 146"/>
                  <a:gd name="T15" fmla="*/ 182 h 230"/>
                  <a:gd name="T16" fmla="*/ 118 w 146"/>
                  <a:gd name="T17" fmla="*/ 184 h 230"/>
                  <a:gd name="T18" fmla="*/ 98 w 146"/>
                  <a:gd name="T19" fmla="*/ 206 h 230"/>
                  <a:gd name="T20" fmla="*/ 76 w 146"/>
                  <a:gd name="T21" fmla="*/ 208 h 230"/>
                  <a:gd name="T22" fmla="*/ 74 w 146"/>
                  <a:gd name="T23" fmla="*/ 220 h 230"/>
                  <a:gd name="T24" fmla="*/ 36 w 146"/>
                  <a:gd name="T25" fmla="*/ 230 h 230"/>
                  <a:gd name="T26" fmla="*/ 26 w 146"/>
                  <a:gd name="T27" fmla="*/ 220 h 230"/>
                  <a:gd name="T28" fmla="*/ 10 w 146"/>
                  <a:gd name="T29" fmla="*/ 202 h 230"/>
                  <a:gd name="T30" fmla="*/ 10 w 146"/>
                  <a:gd name="T31" fmla="*/ 192 h 230"/>
                  <a:gd name="T32" fmla="*/ 28 w 146"/>
                  <a:gd name="T33" fmla="*/ 192 h 230"/>
                  <a:gd name="T34" fmla="*/ 22 w 146"/>
                  <a:gd name="T35" fmla="*/ 184 h 230"/>
                  <a:gd name="T36" fmla="*/ 22 w 146"/>
                  <a:gd name="T37" fmla="*/ 162 h 230"/>
                  <a:gd name="T38" fmla="*/ 14 w 146"/>
                  <a:gd name="T39" fmla="*/ 152 h 230"/>
                  <a:gd name="T40" fmla="*/ 2 w 146"/>
                  <a:gd name="T41" fmla="*/ 140 h 230"/>
                  <a:gd name="T42" fmla="*/ 0 w 146"/>
                  <a:gd name="T43" fmla="*/ 128 h 230"/>
                  <a:gd name="T44" fmla="*/ 28 w 146"/>
                  <a:gd name="T45" fmla="*/ 94 h 230"/>
                  <a:gd name="T46" fmla="*/ 32 w 146"/>
                  <a:gd name="T47" fmla="*/ 58 h 230"/>
                  <a:gd name="T48" fmla="*/ 36 w 146"/>
                  <a:gd name="T49" fmla="*/ 44 h 230"/>
                  <a:gd name="T50" fmla="*/ 24 w 146"/>
                  <a:gd name="T51" fmla="*/ 6 h 230"/>
                  <a:gd name="T52" fmla="*/ 30 w 146"/>
                  <a:gd name="T5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30">
                    <a:moveTo>
                      <a:pt x="30" y="0"/>
                    </a:moveTo>
                    <a:lnTo>
                      <a:pt x="146" y="48"/>
                    </a:lnTo>
                    <a:lnTo>
                      <a:pt x="144" y="114"/>
                    </a:lnTo>
                    <a:lnTo>
                      <a:pt x="132" y="116"/>
                    </a:lnTo>
                    <a:lnTo>
                      <a:pt x="128" y="126"/>
                    </a:lnTo>
                    <a:lnTo>
                      <a:pt x="118" y="152"/>
                    </a:lnTo>
                    <a:lnTo>
                      <a:pt x="126" y="158"/>
                    </a:lnTo>
                    <a:lnTo>
                      <a:pt x="128" y="182"/>
                    </a:lnTo>
                    <a:lnTo>
                      <a:pt x="118" y="184"/>
                    </a:lnTo>
                    <a:lnTo>
                      <a:pt x="98" y="206"/>
                    </a:lnTo>
                    <a:lnTo>
                      <a:pt x="76" y="208"/>
                    </a:lnTo>
                    <a:lnTo>
                      <a:pt x="74" y="220"/>
                    </a:lnTo>
                    <a:lnTo>
                      <a:pt x="36" y="230"/>
                    </a:lnTo>
                    <a:lnTo>
                      <a:pt x="26" y="220"/>
                    </a:lnTo>
                    <a:lnTo>
                      <a:pt x="10" y="202"/>
                    </a:lnTo>
                    <a:lnTo>
                      <a:pt x="10" y="192"/>
                    </a:lnTo>
                    <a:lnTo>
                      <a:pt x="28" y="192"/>
                    </a:lnTo>
                    <a:lnTo>
                      <a:pt x="22" y="184"/>
                    </a:lnTo>
                    <a:lnTo>
                      <a:pt x="22" y="162"/>
                    </a:lnTo>
                    <a:lnTo>
                      <a:pt x="14" y="152"/>
                    </a:lnTo>
                    <a:lnTo>
                      <a:pt x="2" y="140"/>
                    </a:lnTo>
                    <a:lnTo>
                      <a:pt x="0" y="128"/>
                    </a:lnTo>
                    <a:lnTo>
                      <a:pt x="28" y="94"/>
                    </a:lnTo>
                    <a:lnTo>
                      <a:pt x="32" y="58"/>
                    </a:lnTo>
                    <a:lnTo>
                      <a:pt x="36" y="44"/>
                    </a:lnTo>
                    <a:lnTo>
                      <a:pt x="24"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5" name="Freeform 385"/>
              <p:cNvSpPr>
                <a:spLocks/>
              </p:cNvSpPr>
              <p:nvPr/>
            </p:nvSpPr>
            <p:spPr bwMode="auto">
              <a:xfrm>
                <a:off x="3051" y="2181"/>
                <a:ext cx="154" cy="238"/>
              </a:xfrm>
              <a:custGeom>
                <a:avLst/>
                <a:gdLst>
                  <a:gd name="T0" fmla="*/ 34 w 154"/>
                  <a:gd name="T1" fmla="*/ 0 h 238"/>
                  <a:gd name="T2" fmla="*/ 26 w 154"/>
                  <a:gd name="T3" fmla="*/ 6 h 238"/>
                  <a:gd name="T4" fmla="*/ 24 w 154"/>
                  <a:gd name="T5" fmla="*/ 10 h 238"/>
                  <a:gd name="T6" fmla="*/ 32 w 154"/>
                  <a:gd name="T7" fmla="*/ 62 h 238"/>
                  <a:gd name="T8" fmla="*/ 32 w 154"/>
                  <a:gd name="T9" fmla="*/ 62 h 238"/>
                  <a:gd name="T10" fmla="*/ 2 w 154"/>
                  <a:gd name="T11" fmla="*/ 130 h 238"/>
                  <a:gd name="T12" fmla="*/ 0 w 154"/>
                  <a:gd name="T13" fmla="*/ 134 h 238"/>
                  <a:gd name="T14" fmla="*/ 2 w 154"/>
                  <a:gd name="T15" fmla="*/ 144 h 238"/>
                  <a:gd name="T16" fmla="*/ 16 w 154"/>
                  <a:gd name="T17" fmla="*/ 158 h 238"/>
                  <a:gd name="T18" fmla="*/ 22 w 154"/>
                  <a:gd name="T19" fmla="*/ 188 h 238"/>
                  <a:gd name="T20" fmla="*/ 24 w 154"/>
                  <a:gd name="T21" fmla="*/ 190 h 238"/>
                  <a:gd name="T22" fmla="*/ 14 w 154"/>
                  <a:gd name="T23" fmla="*/ 192 h 238"/>
                  <a:gd name="T24" fmla="*/ 12 w 154"/>
                  <a:gd name="T25" fmla="*/ 194 h 238"/>
                  <a:gd name="T26" fmla="*/ 10 w 154"/>
                  <a:gd name="T27" fmla="*/ 204 h 238"/>
                  <a:gd name="T28" fmla="*/ 10 w 154"/>
                  <a:gd name="T29" fmla="*/ 208 h 238"/>
                  <a:gd name="T30" fmla="*/ 36 w 154"/>
                  <a:gd name="T31" fmla="*/ 236 h 238"/>
                  <a:gd name="T32" fmla="*/ 40 w 154"/>
                  <a:gd name="T33" fmla="*/ 238 h 238"/>
                  <a:gd name="T34" fmla="*/ 40 w 154"/>
                  <a:gd name="T35" fmla="*/ 238 h 238"/>
                  <a:gd name="T36" fmla="*/ 80 w 154"/>
                  <a:gd name="T37" fmla="*/ 228 h 238"/>
                  <a:gd name="T38" fmla="*/ 82 w 154"/>
                  <a:gd name="T39" fmla="*/ 224 h 238"/>
                  <a:gd name="T40" fmla="*/ 102 w 154"/>
                  <a:gd name="T41" fmla="*/ 214 h 238"/>
                  <a:gd name="T42" fmla="*/ 104 w 154"/>
                  <a:gd name="T43" fmla="*/ 212 h 238"/>
                  <a:gd name="T44" fmla="*/ 134 w 154"/>
                  <a:gd name="T45" fmla="*/ 190 h 238"/>
                  <a:gd name="T46" fmla="*/ 136 w 154"/>
                  <a:gd name="T47" fmla="*/ 188 h 238"/>
                  <a:gd name="T48" fmla="*/ 134 w 154"/>
                  <a:gd name="T49" fmla="*/ 162 h 238"/>
                  <a:gd name="T50" fmla="*/ 132 w 154"/>
                  <a:gd name="T51" fmla="*/ 160 h 238"/>
                  <a:gd name="T52" fmla="*/ 136 w 154"/>
                  <a:gd name="T53" fmla="*/ 132 h 238"/>
                  <a:gd name="T54" fmla="*/ 148 w 154"/>
                  <a:gd name="T55" fmla="*/ 122 h 238"/>
                  <a:gd name="T56" fmla="*/ 152 w 154"/>
                  <a:gd name="T57" fmla="*/ 120 h 238"/>
                  <a:gd name="T58" fmla="*/ 154 w 154"/>
                  <a:gd name="T59" fmla="*/ 52 h 238"/>
                  <a:gd name="T60" fmla="*/ 154 w 154"/>
                  <a:gd name="T61" fmla="*/ 50 h 238"/>
                  <a:gd name="T62" fmla="*/ 36 w 154"/>
                  <a:gd name="T63" fmla="*/ 0 h 238"/>
                  <a:gd name="T64" fmla="*/ 34 w 154"/>
                  <a:gd name="T6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238">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6" name="Freeform 386"/>
              <p:cNvSpPr>
                <a:spLocks/>
              </p:cNvSpPr>
              <p:nvPr/>
            </p:nvSpPr>
            <p:spPr bwMode="auto">
              <a:xfrm>
                <a:off x="2863" y="2183"/>
                <a:ext cx="228" cy="178"/>
              </a:xfrm>
              <a:custGeom>
                <a:avLst/>
                <a:gdLst>
                  <a:gd name="T0" fmla="*/ 50 w 228"/>
                  <a:gd name="T1" fmla="*/ 178 h 178"/>
                  <a:gd name="T2" fmla="*/ 40 w 228"/>
                  <a:gd name="T3" fmla="*/ 170 h 178"/>
                  <a:gd name="T4" fmla="*/ 28 w 228"/>
                  <a:gd name="T5" fmla="*/ 170 h 178"/>
                  <a:gd name="T6" fmla="*/ 28 w 228"/>
                  <a:gd name="T7" fmla="*/ 170 h 178"/>
                  <a:gd name="T8" fmla="*/ 12 w 228"/>
                  <a:gd name="T9" fmla="*/ 162 h 178"/>
                  <a:gd name="T10" fmla="*/ 10 w 228"/>
                  <a:gd name="T11" fmla="*/ 160 h 178"/>
                  <a:gd name="T12" fmla="*/ 4 w 228"/>
                  <a:gd name="T13" fmla="*/ 144 h 178"/>
                  <a:gd name="T14" fmla="*/ 0 w 228"/>
                  <a:gd name="T15" fmla="*/ 138 h 178"/>
                  <a:gd name="T16" fmla="*/ 4 w 228"/>
                  <a:gd name="T17" fmla="*/ 128 h 178"/>
                  <a:gd name="T18" fmla="*/ 6 w 228"/>
                  <a:gd name="T19" fmla="*/ 128 h 178"/>
                  <a:gd name="T20" fmla="*/ 48 w 228"/>
                  <a:gd name="T21" fmla="*/ 122 h 178"/>
                  <a:gd name="T22" fmla="*/ 60 w 228"/>
                  <a:gd name="T23" fmla="*/ 70 h 178"/>
                  <a:gd name="T24" fmla="*/ 60 w 228"/>
                  <a:gd name="T25" fmla="*/ 68 h 178"/>
                  <a:gd name="T26" fmla="*/ 112 w 228"/>
                  <a:gd name="T27" fmla="*/ 36 h 178"/>
                  <a:gd name="T28" fmla="*/ 172 w 228"/>
                  <a:gd name="T29" fmla="*/ 0 h 178"/>
                  <a:gd name="T30" fmla="*/ 172 w 228"/>
                  <a:gd name="T31" fmla="*/ 0 h 178"/>
                  <a:gd name="T32" fmla="*/ 188 w 228"/>
                  <a:gd name="T33" fmla="*/ 4 h 178"/>
                  <a:gd name="T34" fmla="*/ 204 w 228"/>
                  <a:gd name="T35" fmla="*/ 14 h 178"/>
                  <a:gd name="T36" fmla="*/ 214 w 228"/>
                  <a:gd name="T37" fmla="*/ 10 h 178"/>
                  <a:gd name="T38" fmla="*/ 216 w 228"/>
                  <a:gd name="T39" fmla="*/ 10 h 178"/>
                  <a:gd name="T40" fmla="*/ 216 w 228"/>
                  <a:gd name="T41" fmla="*/ 10 h 178"/>
                  <a:gd name="T42" fmla="*/ 228 w 228"/>
                  <a:gd name="T43" fmla="*/ 50 h 178"/>
                  <a:gd name="T44" fmla="*/ 228 w 228"/>
                  <a:gd name="T45" fmla="*/ 50 h 178"/>
                  <a:gd name="T46" fmla="*/ 220 w 228"/>
                  <a:gd name="T47" fmla="*/ 100 h 178"/>
                  <a:gd name="T48" fmla="*/ 220 w 228"/>
                  <a:gd name="T49" fmla="*/ 102 h 178"/>
                  <a:gd name="T50" fmla="*/ 194 w 228"/>
                  <a:gd name="T51" fmla="*/ 146 h 178"/>
                  <a:gd name="T52" fmla="*/ 194 w 228"/>
                  <a:gd name="T53" fmla="*/ 148 h 178"/>
                  <a:gd name="T54" fmla="*/ 174 w 228"/>
                  <a:gd name="T55" fmla="*/ 160 h 178"/>
                  <a:gd name="T56" fmla="*/ 172 w 228"/>
                  <a:gd name="T57" fmla="*/ 160 h 178"/>
                  <a:gd name="T58" fmla="*/ 138 w 228"/>
                  <a:gd name="T59" fmla="*/ 162 h 178"/>
                  <a:gd name="T60" fmla="*/ 136 w 228"/>
                  <a:gd name="T61" fmla="*/ 164 h 178"/>
                  <a:gd name="T62" fmla="*/ 136 w 228"/>
                  <a:gd name="T63" fmla="*/ 164 h 178"/>
                  <a:gd name="T64" fmla="*/ 104 w 228"/>
                  <a:gd name="T65" fmla="*/ 160 h 178"/>
                  <a:gd name="T66" fmla="*/ 102 w 228"/>
                  <a:gd name="T67" fmla="*/ 160 h 178"/>
                  <a:gd name="T68" fmla="*/ 100 w 228"/>
                  <a:gd name="T69" fmla="*/ 160 h 178"/>
                  <a:gd name="T70" fmla="*/ 62 w 228"/>
                  <a:gd name="T71" fmla="*/ 150 h 178"/>
                  <a:gd name="T72" fmla="*/ 52 w 228"/>
                  <a:gd name="T73" fmla="*/ 176 h 178"/>
                  <a:gd name="T74" fmla="*/ 50 w 228"/>
                  <a:gd name="T75" fmla="*/ 178 h 178"/>
                  <a:gd name="T76" fmla="*/ 50 w 228"/>
                  <a:gd name="T7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8" h="178">
                    <a:moveTo>
                      <a:pt x="50" y="178"/>
                    </a:moveTo>
                    <a:lnTo>
                      <a:pt x="50" y="178"/>
                    </a:lnTo>
                    <a:lnTo>
                      <a:pt x="48" y="178"/>
                    </a:lnTo>
                    <a:lnTo>
                      <a:pt x="40" y="170"/>
                    </a:lnTo>
                    <a:lnTo>
                      <a:pt x="40" y="170"/>
                    </a:lnTo>
                    <a:lnTo>
                      <a:pt x="28" y="170"/>
                    </a:lnTo>
                    <a:lnTo>
                      <a:pt x="28" y="170"/>
                    </a:lnTo>
                    <a:lnTo>
                      <a:pt x="28" y="170"/>
                    </a:lnTo>
                    <a:lnTo>
                      <a:pt x="16" y="164"/>
                    </a:lnTo>
                    <a:lnTo>
                      <a:pt x="12" y="162"/>
                    </a:lnTo>
                    <a:lnTo>
                      <a:pt x="12" y="162"/>
                    </a:lnTo>
                    <a:lnTo>
                      <a:pt x="10" y="160"/>
                    </a:lnTo>
                    <a:lnTo>
                      <a:pt x="12" y="154"/>
                    </a:lnTo>
                    <a:lnTo>
                      <a:pt x="4" y="144"/>
                    </a:lnTo>
                    <a:lnTo>
                      <a:pt x="0" y="138"/>
                    </a:lnTo>
                    <a:lnTo>
                      <a:pt x="0" y="138"/>
                    </a:lnTo>
                    <a:lnTo>
                      <a:pt x="0" y="136"/>
                    </a:lnTo>
                    <a:lnTo>
                      <a:pt x="4" y="128"/>
                    </a:lnTo>
                    <a:lnTo>
                      <a:pt x="4" y="128"/>
                    </a:lnTo>
                    <a:lnTo>
                      <a:pt x="6" y="128"/>
                    </a:lnTo>
                    <a:lnTo>
                      <a:pt x="18" y="128"/>
                    </a:lnTo>
                    <a:lnTo>
                      <a:pt x="48" y="122"/>
                    </a:lnTo>
                    <a:lnTo>
                      <a:pt x="58" y="108"/>
                    </a:lnTo>
                    <a:lnTo>
                      <a:pt x="60" y="70"/>
                    </a:lnTo>
                    <a:lnTo>
                      <a:pt x="60" y="70"/>
                    </a:lnTo>
                    <a:lnTo>
                      <a:pt x="60" y="68"/>
                    </a:lnTo>
                    <a:lnTo>
                      <a:pt x="78" y="64"/>
                    </a:lnTo>
                    <a:lnTo>
                      <a:pt x="112" y="36"/>
                    </a:lnTo>
                    <a:lnTo>
                      <a:pt x="172" y="0"/>
                    </a:lnTo>
                    <a:lnTo>
                      <a:pt x="172" y="0"/>
                    </a:lnTo>
                    <a:lnTo>
                      <a:pt x="172" y="0"/>
                    </a:lnTo>
                    <a:lnTo>
                      <a:pt x="172" y="0"/>
                    </a:lnTo>
                    <a:lnTo>
                      <a:pt x="172" y="0"/>
                    </a:lnTo>
                    <a:lnTo>
                      <a:pt x="188" y="4"/>
                    </a:lnTo>
                    <a:lnTo>
                      <a:pt x="196" y="8"/>
                    </a:lnTo>
                    <a:lnTo>
                      <a:pt x="204" y="14"/>
                    </a:lnTo>
                    <a:lnTo>
                      <a:pt x="214" y="10"/>
                    </a:lnTo>
                    <a:lnTo>
                      <a:pt x="214" y="10"/>
                    </a:lnTo>
                    <a:lnTo>
                      <a:pt x="216" y="10"/>
                    </a:lnTo>
                    <a:lnTo>
                      <a:pt x="216" y="10"/>
                    </a:lnTo>
                    <a:lnTo>
                      <a:pt x="216" y="10"/>
                    </a:lnTo>
                    <a:lnTo>
                      <a:pt x="216" y="10"/>
                    </a:lnTo>
                    <a:lnTo>
                      <a:pt x="218" y="10"/>
                    </a:lnTo>
                    <a:lnTo>
                      <a:pt x="228" y="50"/>
                    </a:lnTo>
                    <a:lnTo>
                      <a:pt x="228" y="50"/>
                    </a:lnTo>
                    <a:lnTo>
                      <a:pt x="228" y="50"/>
                    </a:lnTo>
                    <a:lnTo>
                      <a:pt x="224" y="66"/>
                    </a:lnTo>
                    <a:lnTo>
                      <a:pt x="220" y="100"/>
                    </a:lnTo>
                    <a:lnTo>
                      <a:pt x="220" y="100"/>
                    </a:lnTo>
                    <a:lnTo>
                      <a:pt x="220" y="102"/>
                    </a:lnTo>
                    <a:lnTo>
                      <a:pt x="192" y="136"/>
                    </a:lnTo>
                    <a:lnTo>
                      <a:pt x="194" y="146"/>
                    </a:lnTo>
                    <a:lnTo>
                      <a:pt x="194" y="146"/>
                    </a:lnTo>
                    <a:lnTo>
                      <a:pt x="194" y="148"/>
                    </a:lnTo>
                    <a:lnTo>
                      <a:pt x="174" y="160"/>
                    </a:lnTo>
                    <a:lnTo>
                      <a:pt x="174" y="160"/>
                    </a:lnTo>
                    <a:lnTo>
                      <a:pt x="172" y="160"/>
                    </a:lnTo>
                    <a:lnTo>
                      <a:pt x="172" y="160"/>
                    </a:lnTo>
                    <a:lnTo>
                      <a:pt x="142" y="156"/>
                    </a:lnTo>
                    <a:lnTo>
                      <a:pt x="138" y="162"/>
                    </a:lnTo>
                    <a:lnTo>
                      <a:pt x="138" y="162"/>
                    </a:lnTo>
                    <a:lnTo>
                      <a:pt x="136" y="164"/>
                    </a:lnTo>
                    <a:lnTo>
                      <a:pt x="136" y="164"/>
                    </a:lnTo>
                    <a:lnTo>
                      <a:pt x="136" y="164"/>
                    </a:lnTo>
                    <a:lnTo>
                      <a:pt x="112" y="154"/>
                    </a:lnTo>
                    <a:lnTo>
                      <a:pt x="104" y="160"/>
                    </a:lnTo>
                    <a:lnTo>
                      <a:pt x="104" y="160"/>
                    </a:lnTo>
                    <a:lnTo>
                      <a:pt x="102" y="160"/>
                    </a:lnTo>
                    <a:lnTo>
                      <a:pt x="102" y="160"/>
                    </a:lnTo>
                    <a:lnTo>
                      <a:pt x="100" y="160"/>
                    </a:lnTo>
                    <a:lnTo>
                      <a:pt x="88" y="150"/>
                    </a:lnTo>
                    <a:lnTo>
                      <a:pt x="62" y="150"/>
                    </a:lnTo>
                    <a:lnTo>
                      <a:pt x="52" y="176"/>
                    </a:lnTo>
                    <a:lnTo>
                      <a:pt x="52" y="176"/>
                    </a:lnTo>
                    <a:lnTo>
                      <a:pt x="50" y="178"/>
                    </a:lnTo>
                    <a:lnTo>
                      <a:pt x="50" y="178"/>
                    </a:lnTo>
                    <a:lnTo>
                      <a:pt x="50" y="178"/>
                    </a:lnTo>
                    <a:lnTo>
                      <a:pt x="50"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7" name="Freeform 387"/>
              <p:cNvSpPr>
                <a:spLocks noEditPoints="1"/>
              </p:cNvSpPr>
              <p:nvPr/>
            </p:nvSpPr>
            <p:spPr bwMode="auto">
              <a:xfrm>
                <a:off x="2861" y="2181"/>
                <a:ext cx="232" cy="182"/>
              </a:xfrm>
              <a:custGeom>
                <a:avLst/>
                <a:gdLst>
                  <a:gd name="T0" fmla="*/ 182 w 232"/>
                  <a:gd name="T1" fmla="*/ 6 h 182"/>
                  <a:gd name="T2" fmla="*/ 198 w 232"/>
                  <a:gd name="T3" fmla="*/ 12 h 182"/>
                  <a:gd name="T4" fmla="*/ 218 w 232"/>
                  <a:gd name="T5" fmla="*/ 14 h 182"/>
                  <a:gd name="T6" fmla="*/ 224 w 232"/>
                  <a:gd name="T7" fmla="*/ 66 h 182"/>
                  <a:gd name="T8" fmla="*/ 192 w 232"/>
                  <a:gd name="T9" fmla="*/ 136 h 182"/>
                  <a:gd name="T10" fmla="*/ 174 w 232"/>
                  <a:gd name="T11" fmla="*/ 160 h 182"/>
                  <a:gd name="T12" fmla="*/ 138 w 232"/>
                  <a:gd name="T13" fmla="*/ 164 h 182"/>
                  <a:gd name="T14" fmla="*/ 104 w 232"/>
                  <a:gd name="T15" fmla="*/ 160 h 182"/>
                  <a:gd name="T16" fmla="*/ 64 w 232"/>
                  <a:gd name="T17" fmla="*/ 150 h 182"/>
                  <a:gd name="T18" fmla="*/ 44 w 232"/>
                  <a:gd name="T19" fmla="*/ 168 h 182"/>
                  <a:gd name="T20" fmla="*/ 18 w 232"/>
                  <a:gd name="T21" fmla="*/ 164 h 182"/>
                  <a:gd name="T22" fmla="*/ 16 w 232"/>
                  <a:gd name="T23" fmla="*/ 156 h 182"/>
                  <a:gd name="T24" fmla="*/ 4 w 232"/>
                  <a:gd name="T25" fmla="*/ 138 h 182"/>
                  <a:gd name="T26" fmla="*/ 20 w 232"/>
                  <a:gd name="T27" fmla="*/ 132 h 182"/>
                  <a:gd name="T28" fmla="*/ 62 w 232"/>
                  <a:gd name="T29" fmla="*/ 110 h 182"/>
                  <a:gd name="T30" fmla="*/ 80 w 232"/>
                  <a:gd name="T31" fmla="*/ 68 h 182"/>
                  <a:gd name="T32" fmla="*/ 174 w 232"/>
                  <a:gd name="T33" fmla="*/ 4 h 182"/>
                  <a:gd name="T34" fmla="*/ 174 w 232"/>
                  <a:gd name="T35" fmla="*/ 0 h 182"/>
                  <a:gd name="T36" fmla="*/ 112 w 232"/>
                  <a:gd name="T37" fmla="*/ 36 h 182"/>
                  <a:gd name="T38" fmla="*/ 112 w 232"/>
                  <a:gd name="T39" fmla="*/ 36 h 182"/>
                  <a:gd name="T40" fmla="*/ 62 w 232"/>
                  <a:gd name="T41" fmla="*/ 68 h 182"/>
                  <a:gd name="T42" fmla="*/ 60 w 232"/>
                  <a:gd name="T43" fmla="*/ 70 h 182"/>
                  <a:gd name="T44" fmla="*/ 58 w 232"/>
                  <a:gd name="T45" fmla="*/ 108 h 182"/>
                  <a:gd name="T46" fmla="*/ 20 w 232"/>
                  <a:gd name="T47" fmla="*/ 128 h 182"/>
                  <a:gd name="T48" fmla="*/ 8 w 232"/>
                  <a:gd name="T49" fmla="*/ 128 h 182"/>
                  <a:gd name="T50" fmla="*/ 0 w 232"/>
                  <a:gd name="T51" fmla="*/ 136 h 182"/>
                  <a:gd name="T52" fmla="*/ 0 w 232"/>
                  <a:gd name="T53" fmla="*/ 140 h 182"/>
                  <a:gd name="T54" fmla="*/ 4 w 232"/>
                  <a:gd name="T55" fmla="*/ 148 h 182"/>
                  <a:gd name="T56" fmla="*/ 12 w 232"/>
                  <a:gd name="T57" fmla="*/ 158 h 182"/>
                  <a:gd name="T58" fmla="*/ 12 w 232"/>
                  <a:gd name="T59" fmla="*/ 160 h 182"/>
                  <a:gd name="T60" fmla="*/ 14 w 232"/>
                  <a:gd name="T61" fmla="*/ 166 h 182"/>
                  <a:gd name="T62" fmla="*/ 28 w 232"/>
                  <a:gd name="T63" fmla="*/ 174 h 182"/>
                  <a:gd name="T64" fmla="*/ 30 w 232"/>
                  <a:gd name="T65" fmla="*/ 174 h 182"/>
                  <a:gd name="T66" fmla="*/ 32 w 232"/>
                  <a:gd name="T67" fmla="*/ 174 h 182"/>
                  <a:gd name="T68" fmla="*/ 50 w 232"/>
                  <a:gd name="T69" fmla="*/ 180 h 182"/>
                  <a:gd name="T70" fmla="*/ 52 w 232"/>
                  <a:gd name="T71" fmla="*/ 182 h 182"/>
                  <a:gd name="T72" fmla="*/ 54 w 232"/>
                  <a:gd name="T73" fmla="*/ 182 h 182"/>
                  <a:gd name="T74" fmla="*/ 56 w 232"/>
                  <a:gd name="T75" fmla="*/ 180 h 182"/>
                  <a:gd name="T76" fmla="*/ 88 w 232"/>
                  <a:gd name="T77" fmla="*/ 154 h 182"/>
                  <a:gd name="T78" fmla="*/ 102 w 232"/>
                  <a:gd name="T79" fmla="*/ 164 h 182"/>
                  <a:gd name="T80" fmla="*/ 104 w 232"/>
                  <a:gd name="T81" fmla="*/ 164 h 182"/>
                  <a:gd name="T82" fmla="*/ 114 w 232"/>
                  <a:gd name="T83" fmla="*/ 160 h 182"/>
                  <a:gd name="T84" fmla="*/ 136 w 232"/>
                  <a:gd name="T85" fmla="*/ 168 h 182"/>
                  <a:gd name="T86" fmla="*/ 138 w 232"/>
                  <a:gd name="T87" fmla="*/ 168 h 182"/>
                  <a:gd name="T88" fmla="*/ 146 w 232"/>
                  <a:gd name="T89" fmla="*/ 160 h 182"/>
                  <a:gd name="T90" fmla="*/ 174 w 232"/>
                  <a:gd name="T91" fmla="*/ 164 h 182"/>
                  <a:gd name="T92" fmla="*/ 174 w 232"/>
                  <a:gd name="T93" fmla="*/ 164 h 182"/>
                  <a:gd name="T94" fmla="*/ 196 w 232"/>
                  <a:gd name="T95" fmla="*/ 150 h 182"/>
                  <a:gd name="T96" fmla="*/ 198 w 232"/>
                  <a:gd name="T97" fmla="*/ 150 h 182"/>
                  <a:gd name="T98" fmla="*/ 196 w 232"/>
                  <a:gd name="T99" fmla="*/ 138 h 182"/>
                  <a:gd name="T100" fmla="*/ 224 w 232"/>
                  <a:gd name="T101" fmla="*/ 106 h 182"/>
                  <a:gd name="T102" fmla="*/ 228 w 232"/>
                  <a:gd name="T103" fmla="*/ 68 h 182"/>
                  <a:gd name="T104" fmla="*/ 232 w 232"/>
                  <a:gd name="T105" fmla="*/ 54 h 182"/>
                  <a:gd name="T106" fmla="*/ 222 w 232"/>
                  <a:gd name="T107" fmla="*/ 12 h 182"/>
                  <a:gd name="T108" fmla="*/ 218 w 232"/>
                  <a:gd name="T109" fmla="*/ 10 h 182"/>
                  <a:gd name="T110" fmla="*/ 218 w 232"/>
                  <a:gd name="T111" fmla="*/ 10 h 182"/>
                  <a:gd name="T112" fmla="*/ 216 w 232"/>
                  <a:gd name="T113" fmla="*/ 10 h 182"/>
                  <a:gd name="T114" fmla="*/ 200 w 232"/>
                  <a:gd name="T115" fmla="*/ 8 h 182"/>
                  <a:gd name="T116" fmla="*/ 200 w 232"/>
                  <a:gd name="T117" fmla="*/ 8 h 182"/>
                  <a:gd name="T118" fmla="*/ 190 w 232"/>
                  <a:gd name="T119" fmla="*/ 4 h 182"/>
                  <a:gd name="T120" fmla="*/ 182 w 232"/>
                  <a:gd name="T121" fmla="*/ 2 h 182"/>
                  <a:gd name="T122" fmla="*/ 176 w 232"/>
                  <a:gd name="T123" fmla="*/ 0 h 182"/>
                  <a:gd name="T124" fmla="*/ 174 w 232"/>
                  <a:gd name="T12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182">
                    <a:moveTo>
                      <a:pt x="174" y="4"/>
                    </a:moveTo>
                    <a:lnTo>
                      <a:pt x="182" y="6"/>
                    </a:lnTo>
                    <a:lnTo>
                      <a:pt x="188" y="8"/>
                    </a:lnTo>
                    <a:lnTo>
                      <a:pt x="198" y="12"/>
                    </a:lnTo>
                    <a:lnTo>
                      <a:pt x="206" y="18"/>
                    </a:lnTo>
                    <a:lnTo>
                      <a:pt x="218" y="14"/>
                    </a:lnTo>
                    <a:lnTo>
                      <a:pt x="228" y="52"/>
                    </a:lnTo>
                    <a:lnTo>
                      <a:pt x="224" y="66"/>
                    </a:lnTo>
                    <a:lnTo>
                      <a:pt x="220" y="102"/>
                    </a:lnTo>
                    <a:lnTo>
                      <a:pt x="192" y="136"/>
                    </a:lnTo>
                    <a:lnTo>
                      <a:pt x="194" y="148"/>
                    </a:lnTo>
                    <a:lnTo>
                      <a:pt x="174" y="160"/>
                    </a:lnTo>
                    <a:lnTo>
                      <a:pt x="144" y="156"/>
                    </a:lnTo>
                    <a:lnTo>
                      <a:pt x="138" y="164"/>
                    </a:lnTo>
                    <a:lnTo>
                      <a:pt x="112" y="154"/>
                    </a:lnTo>
                    <a:lnTo>
                      <a:pt x="104" y="160"/>
                    </a:lnTo>
                    <a:lnTo>
                      <a:pt x="90" y="150"/>
                    </a:lnTo>
                    <a:lnTo>
                      <a:pt x="64" y="150"/>
                    </a:lnTo>
                    <a:lnTo>
                      <a:pt x="52" y="178"/>
                    </a:lnTo>
                    <a:lnTo>
                      <a:pt x="44" y="168"/>
                    </a:lnTo>
                    <a:lnTo>
                      <a:pt x="30" y="170"/>
                    </a:lnTo>
                    <a:lnTo>
                      <a:pt x="18" y="164"/>
                    </a:lnTo>
                    <a:lnTo>
                      <a:pt x="14" y="162"/>
                    </a:lnTo>
                    <a:lnTo>
                      <a:pt x="16" y="156"/>
                    </a:lnTo>
                    <a:lnTo>
                      <a:pt x="8" y="146"/>
                    </a:lnTo>
                    <a:lnTo>
                      <a:pt x="4" y="138"/>
                    </a:lnTo>
                    <a:lnTo>
                      <a:pt x="8" y="132"/>
                    </a:lnTo>
                    <a:lnTo>
                      <a:pt x="20" y="132"/>
                    </a:lnTo>
                    <a:lnTo>
                      <a:pt x="50" y="126"/>
                    </a:lnTo>
                    <a:lnTo>
                      <a:pt x="62" y="110"/>
                    </a:lnTo>
                    <a:lnTo>
                      <a:pt x="64" y="72"/>
                    </a:lnTo>
                    <a:lnTo>
                      <a:pt x="80" y="68"/>
                    </a:lnTo>
                    <a:lnTo>
                      <a:pt x="114" y="40"/>
                    </a:lnTo>
                    <a:lnTo>
                      <a:pt x="174" y="4"/>
                    </a:lnTo>
                    <a:close/>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8" name="Freeform 388"/>
              <p:cNvSpPr>
                <a:spLocks/>
              </p:cNvSpPr>
              <p:nvPr/>
            </p:nvSpPr>
            <p:spPr bwMode="auto">
              <a:xfrm>
                <a:off x="2865" y="2185"/>
                <a:ext cx="224" cy="174"/>
              </a:xfrm>
              <a:custGeom>
                <a:avLst/>
                <a:gdLst>
                  <a:gd name="T0" fmla="*/ 170 w 224"/>
                  <a:gd name="T1" fmla="*/ 0 h 174"/>
                  <a:gd name="T2" fmla="*/ 178 w 224"/>
                  <a:gd name="T3" fmla="*/ 2 h 174"/>
                  <a:gd name="T4" fmla="*/ 184 w 224"/>
                  <a:gd name="T5" fmla="*/ 4 h 174"/>
                  <a:gd name="T6" fmla="*/ 194 w 224"/>
                  <a:gd name="T7" fmla="*/ 8 h 174"/>
                  <a:gd name="T8" fmla="*/ 202 w 224"/>
                  <a:gd name="T9" fmla="*/ 14 h 174"/>
                  <a:gd name="T10" fmla="*/ 214 w 224"/>
                  <a:gd name="T11" fmla="*/ 10 h 174"/>
                  <a:gd name="T12" fmla="*/ 224 w 224"/>
                  <a:gd name="T13" fmla="*/ 48 h 174"/>
                  <a:gd name="T14" fmla="*/ 220 w 224"/>
                  <a:gd name="T15" fmla="*/ 62 h 174"/>
                  <a:gd name="T16" fmla="*/ 216 w 224"/>
                  <a:gd name="T17" fmla="*/ 98 h 174"/>
                  <a:gd name="T18" fmla="*/ 188 w 224"/>
                  <a:gd name="T19" fmla="*/ 132 h 174"/>
                  <a:gd name="T20" fmla="*/ 190 w 224"/>
                  <a:gd name="T21" fmla="*/ 144 h 174"/>
                  <a:gd name="T22" fmla="*/ 170 w 224"/>
                  <a:gd name="T23" fmla="*/ 156 h 174"/>
                  <a:gd name="T24" fmla="*/ 140 w 224"/>
                  <a:gd name="T25" fmla="*/ 152 h 174"/>
                  <a:gd name="T26" fmla="*/ 134 w 224"/>
                  <a:gd name="T27" fmla="*/ 160 h 174"/>
                  <a:gd name="T28" fmla="*/ 108 w 224"/>
                  <a:gd name="T29" fmla="*/ 150 h 174"/>
                  <a:gd name="T30" fmla="*/ 100 w 224"/>
                  <a:gd name="T31" fmla="*/ 156 h 174"/>
                  <a:gd name="T32" fmla="*/ 86 w 224"/>
                  <a:gd name="T33" fmla="*/ 146 h 174"/>
                  <a:gd name="T34" fmla="*/ 60 w 224"/>
                  <a:gd name="T35" fmla="*/ 146 h 174"/>
                  <a:gd name="T36" fmla="*/ 48 w 224"/>
                  <a:gd name="T37" fmla="*/ 174 h 174"/>
                  <a:gd name="T38" fmla="*/ 40 w 224"/>
                  <a:gd name="T39" fmla="*/ 164 h 174"/>
                  <a:gd name="T40" fmla="*/ 26 w 224"/>
                  <a:gd name="T41" fmla="*/ 166 h 174"/>
                  <a:gd name="T42" fmla="*/ 14 w 224"/>
                  <a:gd name="T43" fmla="*/ 160 h 174"/>
                  <a:gd name="T44" fmla="*/ 10 w 224"/>
                  <a:gd name="T45" fmla="*/ 158 h 174"/>
                  <a:gd name="T46" fmla="*/ 12 w 224"/>
                  <a:gd name="T47" fmla="*/ 152 h 174"/>
                  <a:gd name="T48" fmla="*/ 4 w 224"/>
                  <a:gd name="T49" fmla="*/ 142 h 174"/>
                  <a:gd name="T50" fmla="*/ 0 w 224"/>
                  <a:gd name="T51" fmla="*/ 134 h 174"/>
                  <a:gd name="T52" fmla="*/ 4 w 224"/>
                  <a:gd name="T53" fmla="*/ 128 h 174"/>
                  <a:gd name="T54" fmla="*/ 16 w 224"/>
                  <a:gd name="T55" fmla="*/ 128 h 174"/>
                  <a:gd name="T56" fmla="*/ 46 w 224"/>
                  <a:gd name="T57" fmla="*/ 122 h 174"/>
                  <a:gd name="T58" fmla="*/ 58 w 224"/>
                  <a:gd name="T59" fmla="*/ 106 h 174"/>
                  <a:gd name="T60" fmla="*/ 60 w 224"/>
                  <a:gd name="T61" fmla="*/ 68 h 174"/>
                  <a:gd name="T62" fmla="*/ 76 w 224"/>
                  <a:gd name="T63" fmla="*/ 64 h 174"/>
                  <a:gd name="T64" fmla="*/ 110 w 224"/>
                  <a:gd name="T65" fmla="*/ 36 h 174"/>
                  <a:gd name="T66" fmla="*/ 170 w 224"/>
                  <a:gd name="T6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4" h="174">
                    <a:moveTo>
                      <a:pt x="170" y="0"/>
                    </a:moveTo>
                    <a:lnTo>
                      <a:pt x="178" y="2"/>
                    </a:lnTo>
                    <a:lnTo>
                      <a:pt x="184" y="4"/>
                    </a:lnTo>
                    <a:lnTo>
                      <a:pt x="194" y="8"/>
                    </a:lnTo>
                    <a:lnTo>
                      <a:pt x="202" y="14"/>
                    </a:lnTo>
                    <a:lnTo>
                      <a:pt x="214" y="10"/>
                    </a:lnTo>
                    <a:lnTo>
                      <a:pt x="224" y="48"/>
                    </a:lnTo>
                    <a:lnTo>
                      <a:pt x="220" y="62"/>
                    </a:lnTo>
                    <a:lnTo>
                      <a:pt x="216" y="98"/>
                    </a:lnTo>
                    <a:lnTo>
                      <a:pt x="188" y="132"/>
                    </a:lnTo>
                    <a:lnTo>
                      <a:pt x="190" y="144"/>
                    </a:lnTo>
                    <a:lnTo>
                      <a:pt x="170" y="156"/>
                    </a:lnTo>
                    <a:lnTo>
                      <a:pt x="140" y="152"/>
                    </a:lnTo>
                    <a:lnTo>
                      <a:pt x="134" y="160"/>
                    </a:lnTo>
                    <a:lnTo>
                      <a:pt x="108" y="150"/>
                    </a:lnTo>
                    <a:lnTo>
                      <a:pt x="100" y="156"/>
                    </a:lnTo>
                    <a:lnTo>
                      <a:pt x="86" y="146"/>
                    </a:lnTo>
                    <a:lnTo>
                      <a:pt x="60" y="146"/>
                    </a:lnTo>
                    <a:lnTo>
                      <a:pt x="48" y="174"/>
                    </a:lnTo>
                    <a:lnTo>
                      <a:pt x="40" y="164"/>
                    </a:lnTo>
                    <a:lnTo>
                      <a:pt x="26" y="166"/>
                    </a:lnTo>
                    <a:lnTo>
                      <a:pt x="14" y="160"/>
                    </a:lnTo>
                    <a:lnTo>
                      <a:pt x="10" y="158"/>
                    </a:lnTo>
                    <a:lnTo>
                      <a:pt x="12" y="152"/>
                    </a:lnTo>
                    <a:lnTo>
                      <a:pt x="4" y="142"/>
                    </a:lnTo>
                    <a:lnTo>
                      <a:pt x="0" y="134"/>
                    </a:lnTo>
                    <a:lnTo>
                      <a:pt x="4" y="128"/>
                    </a:lnTo>
                    <a:lnTo>
                      <a:pt x="16" y="128"/>
                    </a:lnTo>
                    <a:lnTo>
                      <a:pt x="46" y="122"/>
                    </a:lnTo>
                    <a:lnTo>
                      <a:pt x="58" y="106"/>
                    </a:lnTo>
                    <a:lnTo>
                      <a:pt x="60" y="68"/>
                    </a:lnTo>
                    <a:lnTo>
                      <a:pt x="76" y="64"/>
                    </a:lnTo>
                    <a:lnTo>
                      <a:pt x="110" y="36"/>
                    </a:lnTo>
                    <a:lnTo>
                      <a:pt x="1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9" name="Freeform 389"/>
              <p:cNvSpPr>
                <a:spLocks/>
              </p:cNvSpPr>
              <p:nvPr/>
            </p:nvSpPr>
            <p:spPr bwMode="auto">
              <a:xfrm>
                <a:off x="2861" y="2181"/>
                <a:ext cx="232" cy="182"/>
              </a:xfrm>
              <a:custGeom>
                <a:avLst/>
                <a:gdLst>
                  <a:gd name="T0" fmla="*/ 174 w 232"/>
                  <a:gd name="T1" fmla="*/ 0 h 182"/>
                  <a:gd name="T2" fmla="*/ 112 w 232"/>
                  <a:gd name="T3" fmla="*/ 36 h 182"/>
                  <a:gd name="T4" fmla="*/ 112 w 232"/>
                  <a:gd name="T5" fmla="*/ 36 h 182"/>
                  <a:gd name="T6" fmla="*/ 62 w 232"/>
                  <a:gd name="T7" fmla="*/ 68 h 182"/>
                  <a:gd name="T8" fmla="*/ 60 w 232"/>
                  <a:gd name="T9" fmla="*/ 70 h 182"/>
                  <a:gd name="T10" fmla="*/ 58 w 232"/>
                  <a:gd name="T11" fmla="*/ 108 h 182"/>
                  <a:gd name="T12" fmla="*/ 20 w 232"/>
                  <a:gd name="T13" fmla="*/ 128 h 182"/>
                  <a:gd name="T14" fmla="*/ 8 w 232"/>
                  <a:gd name="T15" fmla="*/ 128 h 182"/>
                  <a:gd name="T16" fmla="*/ 0 w 232"/>
                  <a:gd name="T17" fmla="*/ 136 h 182"/>
                  <a:gd name="T18" fmla="*/ 0 w 232"/>
                  <a:gd name="T19" fmla="*/ 140 h 182"/>
                  <a:gd name="T20" fmla="*/ 4 w 232"/>
                  <a:gd name="T21" fmla="*/ 148 h 182"/>
                  <a:gd name="T22" fmla="*/ 12 w 232"/>
                  <a:gd name="T23" fmla="*/ 158 h 182"/>
                  <a:gd name="T24" fmla="*/ 12 w 232"/>
                  <a:gd name="T25" fmla="*/ 160 h 182"/>
                  <a:gd name="T26" fmla="*/ 14 w 232"/>
                  <a:gd name="T27" fmla="*/ 166 h 182"/>
                  <a:gd name="T28" fmla="*/ 28 w 232"/>
                  <a:gd name="T29" fmla="*/ 174 h 182"/>
                  <a:gd name="T30" fmla="*/ 30 w 232"/>
                  <a:gd name="T31" fmla="*/ 174 h 182"/>
                  <a:gd name="T32" fmla="*/ 32 w 232"/>
                  <a:gd name="T33" fmla="*/ 174 h 182"/>
                  <a:gd name="T34" fmla="*/ 50 w 232"/>
                  <a:gd name="T35" fmla="*/ 180 h 182"/>
                  <a:gd name="T36" fmla="*/ 52 w 232"/>
                  <a:gd name="T37" fmla="*/ 182 h 182"/>
                  <a:gd name="T38" fmla="*/ 54 w 232"/>
                  <a:gd name="T39" fmla="*/ 182 h 182"/>
                  <a:gd name="T40" fmla="*/ 56 w 232"/>
                  <a:gd name="T41" fmla="*/ 180 h 182"/>
                  <a:gd name="T42" fmla="*/ 88 w 232"/>
                  <a:gd name="T43" fmla="*/ 154 h 182"/>
                  <a:gd name="T44" fmla="*/ 102 w 232"/>
                  <a:gd name="T45" fmla="*/ 164 h 182"/>
                  <a:gd name="T46" fmla="*/ 104 w 232"/>
                  <a:gd name="T47" fmla="*/ 164 h 182"/>
                  <a:gd name="T48" fmla="*/ 114 w 232"/>
                  <a:gd name="T49" fmla="*/ 160 h 182"/>
                  <a:gd name="T50" fmla="*/ 136 w 232"/>
                  <a:gd name="T51" fmla="*/ 168 h 182"/>
                  <a:gd name="T52" fmla="*/ 138 w 232"/>
                  <a:gd name="T53" fmla="*/ 168 h 182"/>
                  <a:gd name="T54" fmla="*/ 146 w 232"/>
                  <a:gd name="T55" fmla="*/ 160 h 182"/>
                  <a:gd name="T56" fmla="*/ 174 w 232"/>
                  <a:gd name="T57" fmla="*/ 164 h 182"/>
                  <a:gd name="T58" fmla="*/ 174 w 232"/>
                  <a:gd name="T59" fmla="*/ 164 h 182"/>
                  <a:gd name="T60" fmla="*/ 196 w 232"/>
                  <a:gd name="T61" fmla="*/ 150 h 182"/>
                  <a:gd name="T62" fmla="*/ 198 w 232"/>
                  <a:gd name="T63" fmla="*/ 150 h 182"/>
                  <a:gd name="T64" fmla="*/ 196 w 232"/>
                  <a:gd name="T65" fmla="*/ 138 h 182"/>
                  <a:gd name="T66" fmla="*/ 224 w 232"/>
                  <a:gd name="T67" fmla="*/ 106 h 182"/>
                  <a:gd name="T68" fmla="*/ 228 w 232"/>
                  <a:gd name="T69" fmla="*/ 68 h 182"/>
                  <a:gd name="T70" fmla="*/ 232 w 232"/>
                  <a:gd name="T71" fmla="*/ 54 h 182"/>
                  <a:gd name="T72" fmla="*/ 222 w 232"/>
                  <a:gd name="T73" fmla="*/ 12 h 182"/>
                  <a:gd name="T74" fmla="*/ 218 w 232"/>
                  <a:gd name="T75" fmla="*/ 10 h 182"/>
                  <a:gd name="T76" fmla="*/ 218 w 232"/>
                  <a:gd name="T77" fmla="*/ 10 h 182"/>
                  <a:gd name="T78" fmla="*/ 216 w 232"/>
                  <a:gd name="T79" fmla="*/ 10 h 182"/>
                  <a:gd name="T80" fmla="*/ 200 w 232"/>
                  <a:gd name="T81" fmla="*/ 8 h 182"/>
                  <a:gd name="T82" fmla="*/ 200 w 232"/>
                  <a:gd name="T83" fmla="*/ 8 h 182"/>
                  <a:gd name="T84" fmla="*/ 190 w 232"/>
                  <a:gd name="T85" fmla="*/ 4 h 182"/>
                  <a:gd name="T86" fmla="*/ 182 w 232"/>
                  <a:gd name="T87" fmla="*/ 2 h 182"/>
                  <a:gd name="T88" fmla="*/ 176 w 232"/>
                  <a:gd name="T89" fmla="*/ 0 h 182"/>
                  <a:gd name="T90" fmla="*/ 174 w 232"/>
                  <a:gd name="T9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182">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0" name="Freeform 390"/>
              <p:cNvSpPr>
                <a:spLocks/>
              </p:cNvSpPr>
              <p:nvPr/>
            </p:nvSpPr>
            <p:spPr bwMode="auto">
              <a:xfrm>
                <a:off x="3071" y="2369"/>
                <a:ext cx="182" cy="116"/>
              </a:xfrm>
              <a:custGeom>
                <a:avLst/>
                <a:gdLst>
                  <a:gd name="T0" fmla="*/ 22 w 182"/>
                  <a:gd name="T1" fmla="*/ 116 h 116"/>
                  <a:gd name="T2" fmla="*/ 22 w 182"/>
                  <a:gd name="T3" fmla="*/ 116 h 116"/>
                  <a:gd name="T4" fmla="*/ 20 w 182"/>
                  <a:gd name="T5" fmla="*/ 114 h 116"/>
                  <a:gd name="T6" fmla="*/ 8 w 182"/>
                  <a:gd name="T7" fmla="*/ 100 h 116"/>
                  <a:gd name="T8" fmla="*/ 0 w 182"/>
                  <a:gd name="T9" fmla="*/ 78 h 116"/>
                  <a:gd name="T10" fmla="*/ 0 w 182"/>
                  <a:gd name="T11" fmla="*/ 62 h 116"/>
                  <a:gd name="T12" fmla="*/ 0 w 182"/>
                  <a:gd name="T13" fmla="*/ 62 h 116"/>
                  <a:gd name="T14" fmla="*/ 0 w 182"/>
                  <a:gd name="T15" fmla="*/ 60 h 116"/>
                  <a:gd name="T16" fmla="*/ 18 w 182"/>
                  <a:gd name="T17" fmla="*/ 46 h 116"/>
                  <a:gd name="T18" fmla="*/ 18 w 182"/>
                  <a:gd name="T19" fmla="*/ 46 h 116"/>
                  <a:gd name="T20" fmla="*/ 18 w 182"/>
                  <a:gd name="T21" fmla="*/ 46 h 116"/>
                  <a:gd name="T22" fmla="*/ 58 w 182"/>
                  <a:gd name="T23" fmla="*/ 36 h 116"/>
                  <a:gd name="T24" fmla="*/ 60 w 182"/>
                  <a:gd name="T25" fmla="*/ 28 h 116"/>
                  <a:gd name="T26" fmla="*/ 60 w 182"/>
                  <a:gd name="T27" fmla="*/ 28 h 116"/>
                  <a:gd name="T28" fmla="*/ 62 w 182"/>
                  <a:gd name="T29" fmla="*/ 26 h 116"/>
                  <a:gd name="T30" fmla="*/ 82 w 182"/>
                  <a:gd name="T31" fmla="*/ 22 h 116"/>
                  <a:gd name="T32" fmla="*/ 102 w 182"/>
                  <a:gd name="T33" fmla="*/ 2 h 116"/>
                  <a:gd name="T34" fmla="*/ 102 w 182"/>
                  <a:gd name="T35" fmla="*/ 2 h 116"/>
                  <a:gd name="T36" fmla="*/ 104 w 182"/>
                  <a:gd name="T37" fmla="*/ 0 h 116"/>
                  <a:gd name="T38" fmla="*/ 114 w 182"/>
                  <a:gd name="T39" fmla="*/ 0 h 116"/>
                  <a:gd name="T40" fmla="*/ 114 w 182"/>
                  <a:gd name="T41" fmla="*/ 0 h 116"/>
                  <a:gd name="T42" fmla="*/ 114 w 182"/>
                  <a:gd name="T43" fmla="*/ 0 h 116"/>
                  <a:gd name="T44" fmla="*/ 114 w 182"/>
                  <a:gd name="T45" fmla="*/ 0 h 116"/>
                  <a:gd name="T46" fmla="*/ 116 w 182"/>
                  <a:gd name="T47" fmla="*/ 0 h 116"/>
                  <a:gd name="T48" fmla="*/ 126 w 182"/>
                  <a:gd name="T49" fmla="*/ 6 h 116"/>
                  <a:gd name="T50" fmla="*/ 126 w 182"/>
                  <a:gd name="T51" fmla="*/ 6 h 116"/>
                  <a:gd name="T52" fmla="*/ 128 w 182"/>
                  <a:gd name="T53" fmla="*/ 8 h 116"/>
                  <a:gd name="T54" fmla="*/ 130 w 182"/>
                  <a:gd name="T55" fmla="*/ 20 h 116"/>
                  <a:gd name="T56" fmla="*/ 130 w 182"/>
                  <a:gd name="T57" fmla="*/ 30 h 116"/>
                  <a:gd name="T58" fmla="*/ 162 w 182"/>
                  <a:gd name="T59" fmla="*/ 52 h 116"/>
                  <a:gd name="T60" fmla="*/ 182 w 182"/>
                  <a:gd name="T61" fmla="*/ 80 h 116"/>
                  <a:gd name="T62" fmla="*/ 182 w 182"/>
                  <a:gd name="T63" fmla="*/ 80 h 116"/>
                  <a:gd name="T64" fmla="*/ 182 w 182"/>
                  <a:gd name="T65" fmla="*/ 82 h 116"/>
                  <a:gd name="T66" fmla="*/ 182 w 182"/>
                  <a:gd name="T67" fmla="*/ 82 h 116"/>
                  <a:gd name="T68" fmla="*/ 180 w 182"/>
                  <a:gd name="T69" fmla="*/ 84 h 116"/>
                  <a:gd name="T70" fmla="*/ 180 w 182"/>
                  <a:gd name="T71" fmla="*/ 84 h 116"/>
                  <a:gd name="T72" fmla="*/ 154 w 182"/>
                  <a:gd name="T73" fmla="*/ 82 h 116"/>
                  <a:gd name="T74" fmla="*/ 124 w 182"/>
                  <a:gd name="T75" fmla="*/ 90 h 116"/>
                  <a:gd name="T76" fmla="*/ 114 w 182"/>
                  <a:gd name="T77" fmla="*/ 98 h 116"/>
                  <a:gd name="T78" fmla="*/ 114 w 182"/>
                  <a:gd name="T79" fmla="*/ 98 h 116"/>
                  <a:gd name="T80" fmla="*/ 112 w 182"/>
                  <a:gd name="T81" fmla="*/ 98 h 116"/>
                  <a:gd name="T82" fmla="*/ 112 w 182"/>
                  <a:gd name="T83" fmla="*/ 98 h 116"/>
                  <a:gd name="T84" fmla="*/ 94 w 182"/>
                  <a:gd name="T85" fmla="*/ 96 h 116"/>
                  <a:gd name="T86" fmla="*/ 82 w 182"/>
                  <a:gd name="T87" fmla="*/ 92 h 116"/>
                  <a:gd name="T88" fmla="*/ 82 w 182"/>
                  <a:gd name="T89" fmla="*/ 92 h 116"/>
                  <a:gd name="T90" fmla="*/ 82 w 182"/>
                  <a:gd name="T91" fmla="*/ 92 h 116"/>
                  <a:gd name="T92" fmla="*/ 70 w 182"/>
                  <a:gd name="T93" fmla="*/ 82 h 116"/>
                  <a:gd name="T94" fmla="*/ 60 w 182"/>
                  <a:gd name="T95" fmla="*/ 94 h 116"/>
                  <a:gd name="T96" fmla="*/ 58 w 182"/>
                  <a:gd name="T97" fmla="*/ 104 h 116"/>
                  <a:gd name="T98" fmla="*/ 58 w 182"/>
                  <a:gd name="T99" fmla="*/ 104 h 116"/>
                  <a:gd name="T100" fmla="*/ 56 w 182"/>
                  <a:gd name="T101" fmla="*/ 106 h 116"/>
                  <a:gd name="T102" fmla="*/ 56 w 182"/>
                  <a:gd name="T103" fmla="*/ 106 h 116"/>
                  <a:gd name="T104" fmla="*/ 30 w 182"/>
                  <a:gd name="T105" fmla="*/ 104 h 116"/>
                  <a:gd name="T106" fmla="*/ 24 w 182"/>
                  <a:gd name="T107" fmla="*/ 114 h 116"/>
                  <a:gd name="T108" fmla="*/ 24 w 182"/>
                  <a:gd name="T109" fmla="*/ 114 h 116"/>
                  <a:gd name="T110" fmla="*/ 22 w 182"/>
                  <a:gd name="T111" fmla="*/ 116 h 116"/>
                  <a:gd name="T112" fmla="*/ 22 w 182"/>
                  <a:gd name="T113" fmla="*/ 116 h 116"/>
                  <a:gd name="T114" fmla="*/ 22 w 182"/>
                  <a:gd name="T115" fmla="*/ 116 h 116"/>
                  <a:gd name="T116" fmla="*/ 22 w 182"/>
                  <a:gd name="T1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16">
                    <a:moveTo>
                      <a:pt x="22" y="116"/>
                    </a:moveTo>
                    <a:lnTo>
                      <a:pt x="22" y="116"/>
                    </a:lnTo>
                    <a:lnTo>
                      <a:pt x="20" y="114"/>
                    </a:lnTo>
                    <a:lnTo>
                      <a:pt x="8" y="100"/>
                    </a:lnTo>
                    <a:lnTo>
                      <a:pt x="0" y="78"/>
                    </a:lnTo>
                    <a:lnTo>
                      <a:pt x="0" y="62"/>
                    </a:lnTo>
                    <a:lnTo>
                      <a:pt x="0" y="62"/>
                    </a:lnTo>
                    <a:lnTo>
                      <a:pt x="0" y="60"/>
                    </a:lnTo>
                    <a:lnTo>
                      <a:pt x="18" y="46"/>
                    </a:lnTo>
                    <a:lnTo>
                      <a:pt x="18" y="46"/>
                    </a:lnTo>
                    <a:lnTo>
                      <a:pt x="18" y="46"/>
                    </a:lnTo>
                    <a:lnTo>
                      <a:pt x="58" y="36"/>
                    </a:lnTo>
                    <a:lnTo>
                      <a:pt x="60" y="28"/>
                    </a:lnTo>
                    <a:lnTo>
                      <a:pt x="60" y="28"/>
                    </a:lnTo>
                    <a:lnTo>
                      <a:pt x="62" y="26"/>
                    </a:lnTo>
                    <a:lnTo>
                      <a:pt x="82" y="22"/>
                    </a:lnTo>
                    <a:lnTo>
                      <a:pt x="102" y="2"/>
                    </a:lnTo>
                    <a:lnTo>
                      <a:pt x="102" y="2"/>
                    </a:lnTo>
                    <a:lnTo>
                      <a:pt x="104" y="0"/>
                    </a:lnTo>
                    <a:lnTo>
                      <a:pt x="114" y="0"/>
                    </a:lnTo>
                    <a:lnTo>
                      <a:pt x="114" y="0"/>
                    </a:lnTo>
                    <a:lnTo>
                      <a:pt x="114" y="0"/>
                    </a:lnTo>
                    <a:lnTo>
                      <a:pt x="114" y="0"/>
                    </a:lnTo>
                    <a:lnTo>
                      <a:pt x="116" y="0"/>
                    </a:lnTo>
                    <a:lnTo>
                      <a:pt x="126" y="6"/>
                    </a:lnTo>
                    <a:lnTo>
                      <a:pt x="126" y="6"/>
                    </a:lnTo>
                    <a:lnTo>
                      <a:pt x="128" y="8"/>
                    </a:lnTo>
                    <a:lnTo>
                      <a:pt x="130" y="20"/>
                    </a:lnTo>
                    <a:lnTo>
                      <a:pt x="130" y="30"/>
                    </a:lnTo>
                    <a:lnTo>
                      <a:pt x="162" y="52"/>
                    </a:lnTo>
                    <a:lnTo>
                      <a:pt x="182" y="80"/>
                    </a:lnTo>
                    <a:lnTo>
                      <a:pt x="182" y="80"/>
                    </a:lnTo>
                    <a:lnTo>
                      <a:pt x="182" y="82"/>
                    </a:lnTo>
                    <a:lnTo>
                      <a:pt x="182" y="82"/>
                    </a:lnTo>
                    <a:lnTo>
                      <a:pt x="180" y="84"/>
                    </a:lnTo>
                    <a:lnTo>
                      <a:pt x="180" y="84"/>
                    </a:lnTo>
                    <a:lnTo>
                      <a:pt x="154" y="82"/>
                    </a:lnTo>
                    <a:lnTo>
                      <a:pt x="124" y="90"/>
                    </a:lnTo>
                    <a:lnTo>
                      <a:pt x="114" y="98"/>
                    </a:lnTo>
                    <a:lnTo>
                      <a:pt x="114" y="98"/>
                    </a:lnTo>
                    <a:lnTo>
                      <a:pt x="112" y="98"/>
                    </a:lnTo>
                    <a:lnTo>
                      <a:pt x="112" y="98"/>
                    </a:lnTo>
                    <a:lnTo>
                      <a:pt x="94" y="96"/>
                    </a:lnTo>
                    <a:lnTo>
                      <a:pt x="82" y="92"/>
                    </a:lnTo>
                    <a:lnTo>
                      <a:pt x="82" y="92"/>
                    </a:lnTo>
                    <a:lnTo>
                      <a:pt x="82" y="92"/>
                    </a:lnTo>
                    <a:lnTo>
                      <a:pt x="70" y="82"/>
                    </a:lnTo>
                    <a:lnTo>
                      <a:pt x="60" y="94"/>
                    </a:lnTo>
                    <a:lnTo>
                      <a:pt x="58" y="104"/>
                    </a:lnTo>
                    <a:lnTo>
                      <a:pt x="58" y="104"/>
                    </a:lnTo>
                    <a:lnTo>
                      <a:pt x="56" y="106"/>
                    </a:lnTo>
                    <a:lnTo>
                      <a:pt x="56" y="106"/>
                    </a:lnTo>
                    <a:lnTo>
                      <a:pt x="30" y="104"/>
                    </a:lnTo>
                    <a:lnTo>
                      <a:pt x="24" y="114"/>
                    </a:lnTo>
                    <a:lnTo>
                      <a:pt x="24" y="114"/>
                    </a:lnTo>
                    <a:lnTo>
                      <a:pt x="22" y="116"/>
                    </a:lnTo>
                    <a:lnTo>
                      <a:pt x="22" y="116"/>
                    </a:lnTo>
                    <a:lnTo>
                      <a:pt x="22" y="116"/>
                    </a:lnTo>
                    <a:lnTo>
                      <a:pt x="22"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1" name="Freeform 391"/>
              <p:cNvSpPr>
                <a:spLocks noEditPoints="1"/>
              </p:cNvSpPr>
              <p:nvPr/>
            </p:nvSpPr>
            <p:spPr bwMode="auto">
              <a:xfrm>
                <a:off x="3069" y="2367"/>
                <a:ext cx="186" cy="120"/>
              </a:xfrm>
              <a:custGeom>
                <a:avLst/>
                <a:gdLst>
                  <a:gd name="T0" fmla="*/ 128 w 186"/>
                  <a:gd name="T1" fmla="*/ 10 h 120"/>
                  <a:gd name="T2" fmla="*/ 130 w 186"/>
                  <a:gd name="T3" fmla="*/ 32 h 120"/>
                  <a:gd name="T4" fmla="*/ 182 w 186"/>
                  <a:gd name="T5" fmla="*/ 84 h 120"/>
                  <a:gd name="T6" fmla="*/ 126 w 186"/>
                  <a:gd name="T7" fmla="*/ 90 h 120"/>
                  <a:gd name="T8" fmla="*/ 96 w 186"/>
                  <a:gd name="T9" fmla="*/ 96 h 120"/>
                  <a:gd name="T10" fmla="*/ 72 w 186"/>
                  <a:gd name="T11" fmla="*/ 80 h 120"/>
                  <a:gd name="T12" fmla="*/ 58 w 186"/>
                  <a:gd name="T13" fmla="*/ 106 h 120"/>
                  <a:gd name="T14" fmla="*/ 24 w 186"/>
                  <a:gd name="T15" fmla="*/ 116 h 120"/>
                  <a:gd name="T16" fmla="*/ 4 w 186"/>
                  <a:gd name="T17" fmla="*/ 78 h 120"/>
                  <a:gd name="T18" fmla="*/ 20 w 186"/>
                  <a:gd name="T19" fmla="*/ 50 h 120"/>
                  <a:gd name="T20" fmla="*/ 64 w 186"/>
                  <a:gd name="T21" fmla="*/ 30 h 120"/>
                  <a:gd name="T22" fmla="*/ 106 w 186"/>
                  <a:gd name="T23" fmla="*/ 4 h 120"/>
                  <a:gd name="T24" fmla="*/ 116 w 186"/>
                  <a:gd name="T25" fmla="*/ 0 h 120"/>
                  <a:gd name="T26" fmla="*/ 116 w 186"/>
                  <a:gd name="T27" fmla="*/ 0 h 120"/>
                  <a:gd name="T28" fmla="*/ 106 w 186"/>
                  <a:gd name="T29" fmla="*/ 0 h 120"/>
                  <a:gd name="T30" fmla="*/ 82 w 186"/>
                  <a:gd name="T31" fmla="*/ 22 h 120"/>
                  <a:gd name="T32" fmla="*/ 62 w 186"/>
                  <a:gd name="T33" fmla="*/ 26 h 120"/>
                  <a:gd name="T34" fmla="*/ 60 w 186"/>
                  <a:gd name="T35" fmla="*/ 28 h 120"/>
                  <a:gd name="T36" fmla="*/ 20 w 186"/>
                  <a:gd name="T37" fmla="*/ 46 h 120"/>
                  <a:gd name="T38" fmla="*/ 18 w 186"/>
                  <a:gd name="T39" fmla="*/ 48 h 120"/>
                  <a:gd name="T40" fmla="*/ 0 w 186"/>
                  <a:gd name="T41" fmla="*/ 62 h 120"/>
                  <a:gd name="T42" fmla="*/ 0 w 186"/>
                  <a:gd name="T43" fmla="*/ 78 h 120"/>
                  <a:gd name="T44" fmla="*/ 0 w 186"/>
                  <a:gd name="T45" fmla="*/ 80 h 120"/>
                  <a:gd name="T46" fmla="*/ 8 w 186"/>
                  <a:gd name="T47" fmla="*/ 102 h 120"/>
                  <a:gd name="T48" fmla="*/ 22 w 186"/>
                  <a:gd name="T49" fmla="*/ 118 h 120"/>
                  <a:gd name="T50" fmla="*/ 24 w 186"/>
                  <a:gd name="T51" fmla="*/ 120 h 120"/>
                  <a:gd name="T52" fmla="*/ 24 w 186"/>
                  <a:gd name="T53" fmla="*/ 120 h 120"/>
                  <a:gd name="T54" fmla="*/ 28 w 186"/>
                  <a:gd name="T55" fmla="*/ 118 h 120"/>
                  <a:gd name="T56" fmla="*/ 58 w 186"/>
                  <a:gd name="T57" fmla="*/ 110 h 120"/>
                  <a:gd name="T58" fmla="*/ 58 w 186"/>
                  <a:gd name="T59" fmla="*/ 110 h 120"/>
                  <a:gd name="T60" fmla="*/ 60 w 186"/>
                  <a:gd name="T61" fmla="*/ 110 h 120"/>
                  <a:gd name="T62" fmla="*/ 64 w 186"/>
                  <a:gd name="T63" fmla="*/ 96 h 120"/>
                  <a:gd name="T64" fmla="*/ 82 w 186"/>
                  <a:gd name="T65" fmla="*/ 96 h 120"/>
                  <a:gd name="T66" fmla="*/ 84 w 186"/>
                  <a:gd name="T67" fmla="*/ 96 h 120"/>
                  <a:gd name="T68" fmla="*/ 94 w 186"/>
                  <a:gd name="T69" fmla="*/ 100 h 120"/>
                  <a:gd name="T70" fmla="*/ 114 w 186"/>
                  <a:gd name="T71" fmla="*/ 102 h 120"/>
                  <a:gd name="T72" fmla="*/ 114 w 186"/>
                  <a:gd name="T73" fmla="*/ 102 h 120"/>
                  <a:gd name="T74" fmla="*/ 118 w 186"/>
                  <a:gd name="T75" fmla="*/ 102 h 120"/>
                  <a:gd name="T76" fmla="*/ 156 w 186"/>
                  <a:gd name="T77" fmla="*/ 86 h 120"/>
                  <a:gd name="T78" fmla="*/ 182 w 186"/>
                  <a:gd name="T79" fmla="*/ 88 h 120"/>
                  <a:gd name="T80" fmla="*/ 182 w 186"/>
                  <a:gd name="T81" fmla="*/ 88 h 120"/>
                  <a:gd name="T82" fmla="*/ 186 w 186"/>
                  <a:gd name="T83" fmla="*/ 86 h 120"/>
                  <a:gd name="T84" fmla="*/ 186 w 186"/>
                  <a:gd name="T85" fmla="*/ 82 h 120"/>
                  <a:gd name="T86" fmla="*/ 166 w 186"/>
                  <a:gd name="T87" fmla="*/ 54 h 120"/>
                  <a:gd name="T88" fmla="*/ 134 w 186"/>
                  <a:gd name="T89" fmla="*/ 30 h 120"/>
                  <a:gd name="T90" fmla="*/ 134 w 186"/>
                  <a:gd name="T91" fmla="*/ 22 h 120"/>
                  <a:gd name="T92" fmla="*/ 132 w 186"/>
                  <a:gd name="T93" fmla="*/ 10 h 120"/>
                  <a:gd name="T94" fmla="*/ 130 w 186"/>
                  <a:gd name="T95" fmla="*/ 6 h 120"/>
                  <a:gd name="T96" fmla="*/ 118 w 186"/>
                  <a:gd name="T97" fmla="*/ 0 h 120"/>
                  <a:gd name="T98" fmla="*/ 116 w 186"/>
                  <a:gd name="T9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20">
                    <a:moveTo>
                      <a:pt x="116" y="4"/>
                    </a:moveTo>
                    <a:lnTo>
                      <a:pt x="128" y="10"/>
                    </a:lnTo>
                    <a:lnTo>
                      <a:pt x="130" y="22"/>
                    </a:lnTo>
                    <a:lnTo>
                      <a:pt x="130" y="32"/>
                    </a:lnTo>
                    <a:lnTo>
                      <a:pt x="162" y="56"/>
                    </a:lnTo>
                    <a:lnTo>
                      <a:pt x="182" y="84"/>
                    </a:lnTo>
                    <a:lnTo>
                      <a:pt x="156" y="82"/>
                    </a:lnTo>
                    <a:lnTo>
                      <a:pt x="126" y="90"/>
                    </a:lnTo>
                    <a:lnTo>
                      <a:pt x="114" y="98"/>
                    </a:lnTo>
                    <a:lnTo>
                      <a:pt x="96" y="96"/>
                    </a:lnTo>
                    <a:lnTo>
                      <a:pt x="84" y="92"/>
                    </a:lnTo>
                    <a:lnTo>
                      <a:pt x="72" y="80"/>
                    </a:lnTo>
                    <a:lnTo>
                      <a:pt x="60" y="94"/>
                    </a:lnTo>
                    <a:lnTo>
                      <a:pt x="58" y="106"/>
                    </a:lnTo>
                    <a:lnTo>
                      <a:pt x="32" y="104"/>
                    </a:lnTo>
                    <a:lnTo>
                      <a:pt x="24" y="116"/>
                    </a:lnTo>
                    <a:lnTo>
                      <a:pt x="12" y="102"/>
                    </a:lnTo>
                    <a:lnTo>
                      <a:pt x="4" y="78"/>
                    </a:lnTo>
                    <a:lnTo>
                      <a:pt x="4" y="64"/>
                    </a:lnTo>
                    <a:lnTo>
                      <a:pt x="20" y="50"/>
                    </a:lnTo>
                    <a:lnTo>
                      <a:pt x="62" y="40"/>
                    </a:lnTo>
                    <a:lnTo>
                      <a:pt x="64" y="30"/>
                    </a:lnTo>
                    <a:lnTo>
                      <a:pt x="84" y="26"/>
                    </a:lnTo>
                    <a:lnTo>
                      <a:pt x="106" y="4"/>
                    </a:lnTo>
                    <a:lnTo>
                      <a:pt x="116" y="4"/>
                    </a:lnTo>
                    <a:close/>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2" name="Freeform 392"/>
              <p:cNvSpPr>
                <a:spLocks/>
              </p:cNvSpPr>
              <p:nvPr/>
            </p:nvSpPr>
            <p:spPr bwMode="auto">
              <a:xfrm>
                <a:off x="3073" y="2371"/>
                <a:ext cx="178" cy="112"/>
              </a:xfrm>
              <a:custGeom>
                <a:avLst/>
                <a:gdLst>
                  <a:gd name="T0" fmla="*/ 112 w 178"/>
                  <a:gd name="T1" fmla="*/ 0 h 112"/>
                  <a:gd name="T2" fmla="*/ 124 w 178"/>
                  <a:gd name="T3" fmla="*/ 6 h 112"/>
                  <a:gd name="T4" fmla="*/ 126 w 178"/>
                  <a:gd name="T5" fmla="*/ 18 h 112"/>
                  <a:gd name="T6" fmla="*/ 126 w 178"/>
                  <a:gd name="T7" fmla="*/ 28 h 112"/>
                  <a:gd name="T8" fmla="*/ 158 w 178"/>
                  <a:gd name="T9" fmla="*/ 52 h 112"/>
                  <a:gd name="T10" fmla="*/ 178 w 178"/>
                  <a:gd name="T11" fmla="*/ 80 h 112"/>
                  <a:gd name="T12" fmla="*/ 152 w 178"/>
                  <a:gd name="T13" fmla="*/ 78 h 112"/>
                  <a:gd name="T14" fmla="*/ 122 w 178"/>
                  <a:gd name="T15" fmla="*/ 86 h 112"/>
                  <a:gd name="T16" fmla="*/ 110 w 178"/>
                  <a:gd name="T17" fmla="*/ 94 h 112"/>
                  <a:gd name="T18" fmla="*/ 92 w 178"/>
                  <a:gd name="T19" fmla="*/ 92 h 112"/>
                  <a:gd name="T20" fmla="*/ 80 w 178"/>
                  <a:gd name="T21" fmla="*/ 88 h 112"/>
                  <a:gd name="T22" fmla="*/ 68 w 178"/>
                  <a:gd name="T23" fmla="*/ 76 h 112"/>
                  <a:gd name="T24" fmla="*/ 56 w 178"/>
                  <a:gd name="T25" fmla="*/ 90 h 112"/>
                  <a:gd name="T26" fmla="*/ 54 w 178"/>
                  <a:gd name="T27" fmla="*/ 102 h 112"/>
                  <a:gd name="T28" fmla="*/ 28 w 178"/>
                  <a:gd name="T29" fmla="*/ 100 h 112"/>
                  <a:gd name="T30" fmla="*/ 20 w 178"/>
                  <a:gd name="T31" fmla="*/ 112 h 112"/>
                  <a:gd name="T32" fmla="*/ 8 w 178"/>
                  <a:gd name="T33" fmla="*/ 98 h 112"/>
                  <a:gd name="T34" fmla="*/ 0 w 178"/>
                  <a:gd name="T35" fmla="*/ 74 h 112"/>
                  <a:gd name="T36" fmla="*/ 0 w 178"/>
                  <a:gd name="T37" fmla="*/ 60 h 112"/>
                  <a:gd name="T38" fmla="*/ 16 w 178"/>
                  <a:gd name="T39" fmla="*/ 46 h 112"/>
                  <a:gd name="T40" fmla="*/ 58 w 178"/>
                  <a:gd name="T41" fmla="*/ 36 h 112"/>
                  <a:gd name="T42" fmla="*/ 60 w 178"/>
                  <a:gd name="T43" fmla="*/ 26 h 112"/>
                  <a:gd name="T44" fmla="*/ 80 w 178"/>
                  <a:gd name="T45" fmla="*/ 22 h 112"/>
                  <a:gd name="T46" fmla="*/ 102 w 178"/>
                  <a:gd name="T47" fmla="*/ 0 h 112"/>
                  <a:gd name="T48" fmla="*/ 112 w 178"/>
                  <a:gd name="T4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12">
                    <a:moveTo>
                      <a:pt x="112" y="0"/>
                    </a:moveTo>
                    <a:lnTo>
                      <a:pt x="124" y="6"/>
                    </a:lnTo>
                    <a:lnTo>
                      <a:pt x="126" y="18"/>
                    </a:lnTo>
                    <a:lnTo>
                      <a:pt x="126" y="28"/>
                    </a:lnTo>
                    <a:lnTo>
                      <a:pt x="158" y="52"/>
                    </a:lnTo>
                    <a:lnTo>
                      <a:pt x="178" y="80"/>
                    </a:lnTo>
                    <a:lnTo>
                      <a:pt x="152" y="78"/>
                    </a:lnTo>
                    <a:lnTo>
                      <a:pt x="122" y="86"/>
                    </a:lnTo>
                    <a:lnTo>
                      <a:pt x="110" y="94"/>
                    </a:lnTo>
                    <a:lnTo>
                      <a:pt x="92" y="92"/>
                    </a:lnTo>
                    <a:lnTo>
                      <a:pt x="80" y="88"/>
                    </a:lnTo>
                    <a:lnTo>
                      <a:pt x="68" y="76"/>
                    </a:lnTo>
                    <a:lnTo>
                      <a:pt x="56" y="90"/>
                    </a:lnTo>
                    <a:lnTo>
                      <a:pt x="54" y="102"/>
                    </a:lnTo>
                    <a:lnTo>
                      <a:pt x="28" y="100"/>
                    </a:lnTo>
                    <a:lnTo>
                      <a:pt x="20" y="112"/>
                    </a:lnTo>
                    <a:lnTo>
                      <a:pt x="8" y="98"/>
                    </a:lnTo>
                    <a:lnTo>
                      <a:pt x="0" y="74"/>
                    </a:lnTo>
                    <a:lnTo>
                      <a:pt x="0" y="60"/>
                    </a:lnTo>
                    <a:lnTo>
                      <a:pt x="16" y="46"/>
                    </a:lnTo>
                    <a:lnTo>
                      <a:pt x="58" y="36"/>
                    </a:lnTo>
                    <a:lnTo>
                      <a:pt x="60" y="26"/>
                    </a:lnTo>
                    <a:lnTo>
                      <a:pt x="80" y="22"/>
                    </a:lnTo>
                    <a:lnTo>
                      <a:pt x="10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3" name="Freeform 393"/>
              <p:cNvSpPr>
                <a:spLocks/>
              </p:cNvSpPr>
              <p:nvPr/>
            </p:nvSpPr>
            <p:spPr bwMode="auto">
              <a:xfrm>
                <a:off x="3069" y="2367"/>
                <a:ext cx="186" cy="120"/>
              </a:xfrm>
              <a:custGeom>
                <a:avLst/>
                <a:gdLst>
                  <a:gd name="T0" fmla="*/ 116 w 186"/>
                  <a:gd name="T1" fmla="*/ 0 h 120"/>
                  <a:gd name="T2" fmla="*/ 106 w 186"/>
                  <a:gd name="T3" fmla="*/ 0 h 120"/>
                  <a:gd name="T4" fmla="*/ 104 w 186"/>
                  <a:gd name="T5" fmla="*/ 2 h 120"/>
                  <a:gd name="T6" fmla="*/ 62 w 186"/>
                  <a:gd name="T7" fmla="*/ 26 h 120"/>
                  <a:gd name="T8" fmla="*/ 60 w 186"/>
                  <a:gd name="T9" fmla="*/ 26 h 120"/>
                  <a:gd name="T10" fmla="*/ 58 w 186"/>
                  <a:gd name="T11" fmla="*/ 36 h 120"/>
                  <a:gd name="T12" fmla="*/ 20 w 186"/>
                  <a:gd name="T13" fmla="*/ 46 h 120"/>
                  <a:gd name="T14" fmla="*/ 0 w 186"/>
                  <a:gd name="T15" fmla="*/ 62 h 120"/>
                  <a:gd name="T16" fmla="*/ 0 w 186"/>
                  <a:gd name="T17" fmla="*/ 64 h 120"/>
                  <a:gd name="T18" fmla="*/ 0 w 186"/>
                  <a:gd name="T19" fmla="*/ 78 h 120"/>
                  <a:gd name="T20" fmla="*/ 8 w 186"/>
                  <a:gd name="T21" fmla="*/ 102 h 120"/>
                  <a:gd name="T22" fmla="*/ 10 w 186"/>
                  <a:gd name="T23" fmla="*/ 104 h 120"/>
                  <a:gd name="T24" fmla="*/ 22 w 186"/>
                  <a:gd name="T25" fmla="*/ 118 h 120"/>
                  <a:gd name="T26" fmla="*/ 24 w 186"/>
                  <a:gd name="T27" fmla="*/ 120 h 120"/>
                  <a:gd name="T28" fmla="*/ 24 w 186"/>
                  <a:gd name="T29" fmla="*/ 120 h 120"/>
                  <a:gd name="T30" fmla="*/ 34 w 186"/>
                  <a:gd name="T31" fmla="*/ 110 h 120"/>
                  <a:gd name="T32" fmla="*/ 58 w 186"/>
                  <a:gd name="T33" fmla="*/ 110 h 120"/>
                  <a:gd name="T34" fmla="*/ 58 w 186"/>
                  <a:gd name="T35" fmla="*/ 110 h 120"/>
                  <a:gd name="T36" fmla="*/ 62 w 186"/>
                  <a:gd name="T37" fmla="*/ 108 h 120"/>
                  <a:gd name="T38" fmla="*/ 72 w 186"/>
                  <a:gd name="T39" fmla="*/ 86 h 120"/>
                  <a:gd name="T40" fmla="*/ 82 w 186"/>
                  <a:gd name="T41" fmla="*/ 96 h 120"/>
                  <a:gd name="T42" fmla="*/ 94 w 186"/>
                  <a:gd name="T43" fmla="*/ 100 h 120"/>
                  <a:gd name="T44" fmla="*/ 94 w 186"/>
                  <a:gd name="T45" fmla="*/ 100 h 120"/>
                  <a:gd name="T46" fmla="*/ 114 w 186"/>
                  <a:gd name="T47" fmla="*/ 102 h 120"/>
                  <a:gd name="T48" fmla="*/ 114 w 186"/>
                  <a:gd name="T49" fmla="*/ 102 h 120"/>
                  <a:gd name="T50" fmla="*/ 128 w 186"/>
                  <a:gd name="T51" fmla="*/ 94 h 120"/>
                  <a:gd name="T52" fmla="*/ 182 w 186"/>
                  <a:gd name="T53" fmla="*/ 88 h 120"/>
                  <a:gd name="T54" fmla="*/ 182 w 186"/>
                  <a:gd name="T55" fmla="*/ 88 h 120"/>
                  <a:gd name="T56" fmla="*/ 186 w 186"/>
                  <a:gd name="T57" fmla="*/ 86 h 120"/>
                  <a:gd name="T58" fmla="*/ 186 w 186"/>
                  <a:gd name="T59" fmla="*/ 84 h 120"/>
                  <a:gd name="T60" fmla="*/ 166 w 186"/>
                  <a:gd name="T61" fmla="*/ 54 h 120"/>
                  <a:gd name="T62" fmla="*/ 164 w 186"/>
                  <a:gd name="T63" fmla="*/ 52 h 120"/>
                  <a:gd name="T64" fmla="*/ 134 w 186"/>
                  <a:gd name="T65" fmla="*/ 22 h 120"/>
                  <a:gd name="T66" fmla="*/ 132 w 186"/>
                  <a:gd name="T67" fmla="*/ 22 h 120"/>
                  <a:gd name="T68" fmla="*/ 132 w 186"/>
                  <a:gd name="T69" fmla="*/ 10 h 120"/>
                  <a:gd name="T70" fmla="*/ 118 w 186"/>
                  <a:gd name="T71" fmla="*/ 0 h 120"/>
                  <a:gd name="T72" fmla="*/ 116 w 186"/>
                  <a:gd name="T7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20">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4" name="Freeform 394"/>
              <p:cNvSpPr>
                <a:spLocks/>
              </p:cNvSpPr>
              <p:nvPr/>
            </p:nvSpPr>
            <p:spPr bwMode="auto">
              <a:xfrm>
                <a:off x="3171" y="2195"/>
                <a:ext cx="238" cy="278"/>
              </a:xfrm>
              <a:custGeom>
                <a:avLst/>
                <a:gdLst>
                  <a:gd name="T0" fmla="*/ 124 w 238"/>
                  <a:gd name="T1" fmla="*/ 278 h 278"/>
                  <a:gd name="T2" fmla="*/ 110 w 238"/>
                  <a:gd name="T3" fmla="*/ 268 h 278"/>
                  <a:gd name="T4" fmla="*/ 86 w 238"/>
                  <a:gd name="T5" fmla="*/ 270 h 278"/>
                  <a:gd name="T6" fmla="*/ 84 w 238"/>
                  <a:gd name="T7" fmla="*/ 268 h 278"/>
                  <a:gd name="T8" fmla="*/ 58 w 238"/>
                  <a:gd name="T9" fmla="*/ 230 h 278"/>
                  <a:gd name="T10" fmla="*/ 24 w 238"/>
                  <a:gd name="T11" fmla="*/ 208 h 278"/>
                  <a:gd name="T12" fmla="*/ 22 w 238"/>
                  <a:gd name="T13" fmla="*/ 184 h 278"/>
                  <a:gd name="T14" fmla="*/ 12 w 238"/>
                  <a:gd name="T15" fmla="*/ 178 h 278"/>
                  <a:gd name="T16" fmla="*/ 8 w 238"/>
                  <a:gd name="T17" fmla="*/ 154 h 278"/>
                  <a:gd name="T18" fmla="*/ 0 w 238"/>
                  <a:gd name="T19" fmla="*/ 148 h 278"/>
                  <a:gd name="T20" fmla="*/ 14 w 238"/>
                  <a:gd name="T21" fmla="*/ 110 h 278"/>
                  <a:gd name="T22" fmla="*/ 16 w 238"/>
                  <a:gd name="T23" fmla="*/ 108 h 278"/>
                  <a:gd name="T24" fmla="*/ 28 w 238"/>
                  <a:gd name="T25" fmla="*/ 42 h 278"/>
                  <a:gd name="T26" fmla="*/ 30 w 238"/>
                  <a:gd name="T27" fmla="*/ 40 h 278"/>
                  <a:gd name="T28" fmla="*/ 44 w 238"/>
                  <a:gd name="T29" fmla="*/ 12 h 278"/>
                  <a:gd name="T30" fmla="*/ 44 w 238"/>
                  <a:gd name="T31" fmla="*/ 10 h 278"/>
                  <a:gd name="T32" fmla="*/ 46 w 238"/>
                  <a:gd name="T33" fmla="*/ 10 h 278"/>
                  <a:gd name="T34" fmla="*/ 160 w 238"/>
                  <a:gd name="T35" fmla="*/ 12 h 278"/>
                  <a:gd name="T36" fmla="*/ 162 w 238"/>
                  <a:gd name="T37" fmla="*/ 12 h 278"/>
                  <a:gd name="T38" fmla="*/ 186 w 238"/>
                  <a:gd name="T39" fmla="*/ 0 h 278"/>
                  <a:gd name="T40" fmla="*/ 188 w 238"/>
                  <a:gd name="T41" fmla="*/ 0 h 278"/>
                  <a:gd name="T42" fmla="*/ 194 w 238"/>
                  <a:gd name="T43" fmla="*/ 0 h 278"/>
                  <a:gd name="T44" fmla="*/ 214 w 238"/>
                  <a:gd name="T45" fmla="*/ 16 h 278"/>
                  <a:gd name="T46" fmla="*/ 216 w 238"/>
                  <a:gd name="T47" fmla="*/ 16 h 278"/>
                  <a:gd name="T48" fmla="*/ 218 w 238"/>
                  <a:gd name="T49" fmla="*/ 54 h 278"/>
                  <a:gd name="T50" fmla="*/ 238 w 238"/>
                  <a:gd name="T51" fmla="*/ 76 h 278"/>
                  <a:gd name="T52" fmla="*/ 238 w 238"/>
                  <a:gd name="T53" fmla="*/ 78 h 278"/>
                  <a:gd name="T54" fmla="*/ 214 w 238"/>
                  <a:gd name="T55" fmla="*/ 90 h 278"/>
                  <a:gd name="T56" fmla="*/ 208 w 238"/>
                  <a:gd name="T57" fmla="*/ 128 h 278"/>
                  <a:gd name="T58" fmla="*/ 208 w 238"/>
                  <a:gd name="T59" fmla="*/ 130 h 278"/>
                  <a:gd name="T60" fmla="*/ 188 w 238"/>
                  <a:gd name="T61" fmla="*/ 176 h 278"/>
                  <a:gd name="T62" fmla="*/ 186 w 238"/>
                  <a:gd name="T63" fmla="*/ 178 h 278"/>
                  <a:gd name="T64" fmla="*/ 176 w 238"/>
                  <a:gd name="T65" fmla="*/ 210 h 278"/>
                  <a:gd name="T66" fmla="*/ 174 w 238"/>
                  <a:gd name="T67" fmla="*/ 212 h 278"/>
                  <a:gd name="T68" fmla="*/ 162 w 238"/>
                  <a:gd name="T69" fmla="*/ 220 h 278"/>
                  <a:gd name="T70" fmla="*/ 170 w 238"/>
                  <a:gd name="T71" fmla="*/ 222 h 278"/>
                  <a:gd name="T72" fmla="*/ 192 w 238"/>
                  <a:gd name="T73" fmla="*/ 250 h 278"/>
                  <a:gd name="T74" fmla="*/ 196 w 238"/>
                  <a:gd name="T75" fmla="*/ 250 h 278"/>
                  <a:gd name="T76" fmla="*/ 198 w 238"/>
                  <a:gd name="T77" fmla="*/ 266 h 278"/>
                  <a:gd name="T78" fmla="*/ 196 w 238"/>
                  <a:gd name="T79" fmla="*/ 268 h 278"/>
                  <a:gd name="T80" fmla="*/ 172 w 238"/>
                  <a:gd name="T81" fmla="*/ 274 h 278"/>
                  <a:gd name="T82" fmla="*/ 172 w 238"/>
                  <a:gd name="T83" fmla="*/ 274 h 278"/>
                  <a:gd name="T84" fmla="*/ 124 w 238"/>
                  <a:gd name="T8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8" h="278">
                    <a:moveTo>
                      <a:pt x="124" y="278"/>
                    </a:moveTo>
                    <a:lnTo>
                      <a:pt x="124" y="278"/>
                    </a:lnTo>
                    <a:lnTo>
                      <a:pt x="124" y="278"/>
                    </a:lnTo>
                    <a:lnTo>
                      <a:pt x="110" y="268"/>
                    </a:lnTo>
                    <a:lnTo>
                      <a:pt x="110" y="268"/>
                    </a:lnTo>
                    <a:lnTo>
                      <a:pt x="86" y="270"/>
                    </a:lnTo>
                    <a:lnTo>
                      <a:pt x="86" y="270"/>
                    </a:lnTo>
                    <a:lnTo>
                      <a:pt x="84" y="268"/>
                    </a:lnTo>
                    <a:lnTo>
                      <a:pt x="76" y="260"/>
                    </a:lnTo>
                    <a:lnTo>
                      <a:pt x="58" y="230"/>
                    </a:lnTo>
                    <a:lnTo>
                      <a:pt x="24" y="208"/>
                    </a:lnTo>
                    <a:lnTo>
                      <a:pt x="24" y="208"/>
                    </a:lnTo>
                    <a:lnTo>
                      <a:pt x="24" y="206"/>
                    </a:lnTo>
                    <a:lnTo>
                      <a:pt x="22" y="184"/>
                    </a:lnTo>
                    <a:lnTo>
                      <a:pt x="12" y="178"/>
                    </a:lnTo>
                    <a:lnTo>
                      <a:pt x="12" y="178"/>
                    </a:lnTo>
                    <a:lnTo>
                      <a:pt x="10" y="176"/>
                    </a:lnTo>
                    <a:lnTo>
                      <a:pt x="8" y="154"/>
                    </a:lnTo>
                    <a:lnTo>
                      <a:pt x="0" y="148"/>
                    </a:lnTo>
                    <a:lnTo>
                      <a:pt x="0" y="148"/>
                    </a:lnTo>
                    <a:lnTo>
                      <a:pt x="0" y="146"/>
                    </a:lnTo>
                    <a:lnTo>
                      <a:pt x="14" y="110"/>
                    </a:lnTo>
                    <a:lnTo>
                      <a:pt x="14" y="110"/>
                    </a:lnTo>
                    <a:lnTo>
                      <a:pt x="16" y="108"/>
                    </a:lnTo>
                    <a:lnTo>
                      <a:pt x="26" y="106"/>
                    </a:lnTo>
                    <a:lnTo>
                      <a:pt x="28" y="42"/>
                    </a:lnTo>
                    <a:lnTo>
                      <a:pt x="28" y="42"/>
                    </a:lnTo>
                    <a:lnTo>
                      <a:pt x="30" y="40"/>
                    </a:lnTo>
                    <a:lnTo>
                      <a:pt x="44" y="40"/>
                    </a:lnTo>
                    <a:lnTo>
                      <a:pt x="44" y="12"/>
                    </a:lnTo>
                    <a:lnTo>
                      <a:pt x="44" y="12"/>
                    </a:lnTo>
                    <a:lnTo>
                      <a:pt x="44" y="10"/>
                    </a:lnTo>
                    <a:lnTo>
                      <a:pt x="44" y="10"/>
                    </a:lnTo>
                    <a:lnTo>
                      <a:pt x="46" y="10"/>
                    </a:lnTo>
                    <a:lnTo>
                      <a:pt x="46" y="10"/>
                    </a:lnTo>
                    <a:lnTo>
                      <a:pt x="160" y="12"/>
                    </a:lnTo>
                    <a:lnTo>
                      <a:pt x="160" y="12"/>
                    </a:lnTo>
                    <a:lnTo>
                      <a:pt x="162" y="12"/>
                    </a:lnTo>
                    <a:lnTo>
                      <a:pt x="168" y="16"/>
                    </a:lnTo>
                    <a:lnTo>
                      <a:pt x="186" y="0"/>
                    </a:lnTo>
                    <a:lnTo>
                      <a:pt x="186" y="0"/>
                    </a:lnTo>
                    <a:lnTo>
                      <a:pt x="188" y="0"/>
                    </a:lnTo>
                    <a:lnTo>
                      <a:pt x="194" y="0"/>
                    </a:lnTo>
                    <a:lnTo>
                      <a:pt x="194" y="0"/>
                    </a:lnTo>
                    <a:lnTo>
                      <a:pt x="196" y="0"/>
                    </a:lnTo>
                    <a:lnTo>
                      <a:pt x="214" y="16"/>
                    </a:lnTo>
                    <a:lnTo>
                      <a:pt x="214" y="16"/>
                    </a:lnTo>
                    <a:lnTo>
                      <a:pt x="216" y="16"/>
                    </a:lnTo>
                    <a:lnTo>
                      <a:pt x="220" y="30"/>
                    </a:lnTo>
                    <a:lnTo>
                      <a:pt x="218" y="54"/>
                    </a:lnTo>
                    <a:lnTo>
                      <a:pt x="238" y="76"/>
                    </a:lnTo>
                    <a:lnTo>
                      <a:pt x="238" y="76"/>
                    </a:lnTo>
                    <a:lnTo>
                      <a:pt x="238" y="78"/>
                    </a:lnTo>
                    <a:lnTo>
                      <a:pt x="238" y="78"/>
                    </a:lnTo>
                    <a:lnTo>
                      <a:pt x="238" y="80"/>
                    </a:lnTo>
                    <a:lnTo>
                      <a:pt x="214" y="90"/>
                    </a:lnTo>
                    <a:lnTo>
                      <a:pt x="208" y="116"/>
                    </a:lnTo>
                    <a:lnTo>
                      <a:pt x="208" y="128"/>
                    </a:lnTo>
                    <a:lnTo>
                      <a:pt x="208" y="128"/>
                    </a:lnTo>
                    <a:lnTo>
                      <a:pt x="208" y="130"/>
                    </a:lnTo>
                    <a:lnTo>
                      <a:pt x="188" y="162"/>
                    </a:lnTo>
                    <a:lnTo>
                      <a:pt x="188" y="176"/>
                    </a:lnTo>
                    <a:lnTo>
                      <a:pt x="188" y="176"/>
                    </a:lnTo>
                    <a:lnTo>
                      <a:pt x="186" y="178"/>
                    </a:lnTo>
                    <a:lnTo>
                      <a:pt x="176" y="180"/>
                    </a:lnTo>
                    <a:lnTo>
                      <a:pt x="176" y="210"/>
                    </a:lnTo>
                    <a:lnTo>
                      <a:pt x="176" y="210"/>
                    </a:lnTo>
                    <a:lnTo>
                      <a:pt x="174" y="212"/>
                    </a:lnTo>
                    <a:lnTo>
                      <a:pt x="160" y="212"/>
                    </a:lnTo>
                    <a:lnTo>
                      <a:pt x="162" y="220"/>
                    </a:lnTo>
                    <a:lnTo>
                      <a:pt x="170" y="222"/>
                    </a:lnTo>
                    <a:lnTo>
                      <a:pt x="170" y="222"/>
                    </a:lnTo>
                    <a:lnTo>
                      <a:pt x="170" y="224"/>
                    </a:lnTo>
                    <a:lnTo>
                      <a:pt x="192" y="250"/>
                    </a:lnTo>
                    <a:lnTo>
                      <a:pt x="196" y="250"/>
                    </a:lnTo>
                    <a:lnTo>
                      <a:pt x="196" y="250"/>
                    </a:lnTo>
                    <a:lnTo>
                      <a:pt x="198" y="252"/>
                    </a:lnTo>
                    <a:lnTo>
                      <a:pt x="198" y="266"/>
                    </a:lnTo>
                    <a:lnTo>
                      <a:pt x="198" y="266"/>
                    </a:lnTo>
                    <a:lnTo>
                      <a:pt x="196" y="268"/>
                    </a:lnTo>
                    <a:lnTo>
                      <a:pt x="178" y="268"/>
                    </a:lnTo>
                    <a:lnTo>
                      <a:pt x="172" y="274"/>
                    </a:lnTo>
                    <a:lnTo>
                      <a:pt x="172" y="274"/>
                    </a:lnTo>
                    <a:lnTo>
                      <a:pt x="172" y="274"/>
                    </a:lnTo>
                    <a:lnTo>
                      <a:pt x="172" y="274"/>
                    </a:lnTo>
                    <a:lnTo>
                      <a:pt x="124" y="278"/>
                    </a:lnTo>
                    <a:lnTo>
                      <a:pt x="124"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5" name="Freeform 395"/>
              <p:cNvSpPr>
                <a:spLocks noEditPoints="1"/>
              </p:cNvSpPr>
              <p:nvPr/>
            </p:nvSpPr>
            <p:spPr bwMode="auto">
              <a:xfrm>
                <a:off x="3169" y="2193"/>
                <a:ext cx="242" cy="282"/>
              </a:xfrm>
              <a:custGeom>
                <a:avLst/>
                <a:gdLst>
                  <a:gd name="T0" fmla="*/ 220 w 242"/>
                  <a:gd name="T1" fmla="*/ 32 h 282"/>
                  <a:gd name="T2" fmla="*/ 214 w 242"/>
                  <a:gd name="T3" fmla="*/ 90 h 282"/>
                  <a:gd name="T4" fmla="*/ 188 w 242"/>
                  <a:gd name="T5" fmla="*/ 164 h 282"/>
                  <a:gd name="T6" fmla="*/ 176 w 242"/>
                  <a:gd name="T7" fmla="*/ 212 h 282"/>
                  <a:gd name="T8" fmla="*/ 172 w 242"/>
                  <a:gd name="T9" fmla="*/ 226 h 282"/>
                  <a:gd name="T10" fmla="*/ 198 w 242"/>
                  <a:gd name="T11" fmla="*/ 268 h 282"/>
                  <a:gd name="T12" fmla="*/ 126 w 242"/>
                  <a:gd name="T13" fmla="*/ 278 h 282"/>
                  <a:gd name="T14" fmla="*/ 80 w 242"/>
                  <a:gd name="T15" fmla="*/ 260 h 282"/>
                  <a:gd name="T16" fmla="*/ 26 w 242"/>
                  <a:gd name="T17" fmla="*/ 186 h 282"/>
                  <a:gd name="T18" fmla="*/ 4 w 242"/>
                  <a:gd name="T19" fmla="*/ 148 h 282"/>
                  <a:gd name="T20" fmla="*/ 32 w 242"/>
                  <a:gd name="T21" fmla="*/ 44 h 282"/>
                  <a:gd name="T22" fmla="*/ 162 w 242"/>
                  <a:gd name="T23" fmla="*/ 16 h 282"/>
                  <a:gd name="T24" fmla="*/ 196 w 242"/>
                  <a:gd name="T25" fmla="*/ 4 h 282"/>
                  <a:gd name="T26" fmla="*/ 190 w 242"/>
                  <a:gd name="T27" fmla="*/ 0 h 282"/>
                  <a:gd name="T28" fmla="*/ 164 w 242"/>
                  <a:gd name="T29" fmla="*/ 12 h 282"/>
                  <a:gd name="T30" fmla="*/ 48 w 242"/>
                  <a:gd name="T31" fmla="*/ 10 h 282"/>
                  <a:gd name="T32" fmla="*/ 48 w 242"/>
                  <a:gd name="T33" fmla="*/ 10 h 282"/>
                  <a:gd name="T34" fmla="*/ 44 w 242"/>
                  <a:gd name="T35" fmla="*/ 14 h 282"/>
                  <a:gd name="T36" fmla="*/ 32 w 242"/>
                  <a:gd name="T37" fmla="*/ 40 h 282"/>
                  <a:gd name="T38" fmla="*/ 26 w 242"/>
                  <a:gd name="T39" fmla="*/ 106 h 282"/>
                  <a:gd name="T40" fmla="*/ 14 w 242"/>
                  <a:gd name="T41" fmla="*/ 110 h 282"/>
                  <a:gd name="T42" fmla="*/ 0 w 242"/>
                  <a:gd name="T43" fmla="*/ 148 h 282"/>
                  <a:gd name="T44" fmla="*/ 10 w 242"/>
                  <a:gd name="T45" fmla="*/ 178 h 282"/>
                  <a:gd name="T46" fmla="*/ 22 w 242"/>
                  <a:gd name="T47" fmla="*/ 188 h 282"/>
                  <a:gd name="T48" fmla="*/ 24 w 242"/>
                  <a:gd name="T49" fmla="*/ 212 h 282"/>
                  <a:gd name="T50" fmla="*/ 84 w 242"/>
                  <a:gd name="T51" fmla="*/ 272 h 282"/>
                  <a:gd name="T52" fmla="*/ 88 w 242"/>
                  <a:gd name="T53" fmla="*/ 274 h 282"/>
                  <a:gd name="T54" fmla="*/ 124 w 242"/>
                  <a:gd name="T55" fmla="*/ 282 h 282"/>
                  <a:gd name="T56" fmla="*/ 126 w 242"/>
                  <a:gd name="T57" fmla="*/ 282 h 282"/>
                  <a:gd name="T58" fmla="*/ 174 w 242"/>
                  <a:gd name="T59" fmla="*/ 278 h 282"/>
                  <a:gd name="T60" fmla="*/ 198 w 242"/>
                  <a:gd name="T61" fmla="*/ 272 h 282"/>
                  <a:gd name="T62" fmla="*/ 202 w 242"/>
                  <a:gd name="T63" fmla="*/ 268 h 282"/>
                  <a:gd name="T64" fmla="*/ 200 w 242"/>
                  <a:gd name="T65" fmla="*/ 252 h 282"/>
                  <a:gd name="T66" fmla="*/ 174 w 242"/>
                  <a:gd name="T67" fmla="*/ 224 h 282"/>
                  <a:gd name="T68" fmla="*/ 166 w 242"/>
                  <a:gd name="T69" fmla="*/ 222 h 282"/>
                  <a:gd name="T70" fmla="*/ 176 w 242"/>
                  <a:gd name="T71" fmla="*/ 216 h 282"/>
                  <a:gd name="T72" fmla="*/ 180 w 242"/>
                  <a:gd name="T73" fmla="*/ 184 h 282"/>
                  <a:gd name="T74" fmla="*/ 190 w 242"/>
                  <a:gd name="T75" fmla="*/ 180 h 282"/>
                  <a:gd name="T76" fmla="*/ 212 w 242"/>
                  <a:gd name="T77" fmla="*/ 132 h 282"/>
                  <a:gd name="T78" fmla="*/ 212 w 242"/>
                  <a:gd name="T79" fmla="*/ 118 h 282"/>
                  <a:gd name="T80" fmla="*/ 240 w 242"/>
                  <a:gd name="T81" fmla="*/ 84 h 282"/>
                  <a:gd name="T82" fmla="*/ 242 w 242"/>
                  <a:gd name="T83" fmla="*/ 78 h 282"/>
                  <a:gd name="T84" fmla="*/ 224 w 242"/>
                  <a:gd name="T85" fmla="*/ 32 h 282"/>
                  <a:gd name="T86" fmla="*/ 220 w 242"/>
                  <a:gd name="T87" fmla="*/ 18 h 282"/>
                  <a:gd name="T88" fmla="*/ 198 w 242"/>
                  <a:gd name="T8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2" h="282">
                    <a:moveTo>
                      <a:pt x="196" y="4"/>
                    </a:moveTo>
                    <a:lnTo>
                      <a:pt x="216" y="20"/>
                    </a:lnTo>
                    <a:lnTo>
                      <a:pt x="220" y="32"/>
                    </a:lnTo>
                    <a:lnTo>
                      <a:pt x="218" y="56"/>
                    </a:lnTo>
                    <a:lnTo>
                      <a:pt x="238" y="80"/>
                    </a:lnTo>
                    <a:lnTo>
                      <a:pt x="214" y="90"/>
                    </a:lnTo>
                    <a:lnTo>
                      <a:pt x="208" y="118"/>
                    </a:lnTo>
                    <a:lnTo>
                      <a:pt x="208" y="130"/>
                    </a:lnTo>
                    <a:lnTo>
                      <a:pt x="188" y="164"/>
                    </a:lnTo>
                    <a:lnTo>
                      <a:pt x="188" y="178"/>
                    </a:lnTo>
                    <a:lnTo>
                      <a:pt x="176" y="180"/>
                    </a:lnTo>
                    <a:lnTo>
                      <a:pt x="176" y="212"/>
                    </a:lnTo>
                    <a:lnTo>
                      <a:pt x="158" y="212"/>
                    </a:lnTo>
                    <a:lnTo>
                      <a:pt x="162" y="224"/>
                    </a:lnTo>
                    <a:lnTo>
                      <a:pt x="172" y="226"/>
                    </a:lnTo>
                    <a:lnTo>
                      <a:pt x="192" y="254"/>
                    </a:lnTo>
                    <a:lnTo>
                      <a:pt x="198" y="254"/>
                    </a:lnTo>
                    <a:lnTo>
                      <a:pt x="198" y="268"/>
                    </a:lnTo>
                    <a:lnTo>
                      <a:pt x="180" y="268"/>
                    </a:lnTo>
                    <a:lnTo>
                      <a:pt x="172" y="274"/>
                    </a:lnTo>
                    <a:lnTo>
                      <a:pt x="126" y="278"/>
                    </a:lnTo>
                    <a:lnTo>
                      <a:pt x="112" y="268"/>
                    </a:lnTo>
                    <a:lnTo>
                      <a:pt x="88" y="270"/>
                    </a:lnTo>
                    <a:lnTo>
                      <a:pt x="80" y="260"/>
                    </a:lnTo>
                    <a:lnTo>
                      <a:pt x="60" y="232"/>
                    </a:lnTo>
                    <a:lnTo>
                      <a:pt x="28" y="208"/>
                    </a:lnTo>
                    <a:lnTo>
                      <a:pt x="26" y="186"/>
                    </a:lnTo>
                    <a:lnTo>
                      <a:pt x="14" y="178"/>
                    </a:lnTo>
                    <a:lnTo>
                      <a:pt x="12" y="154"/>
                    </a:lnTo>
                    <a:lnTo>
                      <a:pt x="4" y="148"/>
                    </a:lnTo>
                    <a:lnTo>
                      <a:pt x="18" y="112"/>
                    </a:lnTo>
                    <a:lnTo>
                      <a:pt x="30" y="110"/>
                    </a:lnTo>
                    <a:lnTo>
                      <a:pt x="32" y="44"/>
                    </a:lnTo>
                    <a:lnTo>
                      <a:pt x="48" y="44"/>
                    </a:lnTo>
                    <a:lnTo>
                      <a:pt x="48" y="14"/>
                    </a:lnTo>
                    <a:lnTo>
                      <a:pt x="162" y="16"/>
                    </a:lnTo>
                    <a:lnTo>
                      <a:pt x="172" y="22"/>
                    </a:lnTo>
                    <a:lnTo>
                      <a:pt x="190" y="4"/>
                    </a:lnTo>
                    <a:lnTo>
                      <a:pt x="196" y="4"/>
                    </a:lnTo>
                    <a:close/>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6" name="Freeform 396"/>
              <p:cNvSpPr>
                <a:spLocks/>
              </p:cNvSpPr>
              <p:nvPr/>
            </p:nvSpPr>
            <p:spPr bwMode="auto">
              <a:xfrm>
                <a:off x="3173" y="2197"/>
                <a:ext cx="234" cy="274"/>
              </a:xfrm>
              <a:custGeom>
                <a:avLst/>
                <a:gdLst>
                  <a:gd name="T0" fmla="*/ 192 w 234"/>
                  <a:gd name="T1" fmla="*/ 0 h 274"/>
                  <a:gd name="T2" fmla="*/ 212 w 234"/>
                  <a:gd name="T3" fmla="*/ 16 h 274"/>
                  <a:gd name="T4" fmla="*/ 216 w 234"/>
                  <a:gd name="T5" fmla="*/ 28 h 274"/>
                  <a:gd name="T6" fmla="*/ 214 w 234"/>
                  <a:gd name="T7" fmla="*/ 52 h 274"/>
                  <a:gd name="T8" fmla="*/ 234 w 234"/>
                  <a:gd name="T9" fmla="*/ 76 h 274"/>
                  <a:gd name="T10" fmla="*/ 210 w 234"/>
                  <a:gd name="T11" fmla="*/ 86 h 274"/>
                  <a:gd name="T12" fmla="*/ 204 w 234"/>
                  <a:gd name="T13" fmla="*/ 114 h 274"/>
                  <a:gd name="T14" fmla="*/ 204 w 234"/>
                  <a:gd name="T15" fmla="*/ 126 h 274"/>
                  <a:gd name="T16" fmla="*/ 184 w 234"/>
                  <a:gd name="T17" fmla="*/ 160 h 274"/>
                  <a:gd name="T18" fmla="*/ 184 w 234"/>
                  <a:gd name="T19" fmla="*/ 174 h 274"/>
                  <a:gd name="T20" fmla="*/ 172 w 234"/>
                  <a:gd name="T21" fmla="*/ 176 h 274"/>
                  <a:gd name="T22" fmla="*/ 172 w 234"/>
                  <a:gd name="T23" fmla="*/ 208 h 274"/>
                  <a:gd name="T24" fmla="*/ 154 w 234"/>
                  <a:gd name="T25" fmla="*/ 208 h 274"/>
                  <a:gd name="T26" fmla="*/ 158 w 234"/>
                  <a:gd name="T27" fmla="*/ 220 h 274"/>
                  <a:gd name="T28" fmla="*/ 168 w 234"/>
                  <a:gd name="T29" fmla="*/ 222 h 274"/>
                  <a:gd name="T30" fmla="*/ 188 w 234"/>
                  <a:gd name="T31" fmla="*/ 250 h 274"/>
                  <a:gd name="T32" fmla="*/ 194 w 234"/>
                  <a:gd name="T33" fmla="*/ 250 h 274"/>
                  <a:gd name="T34" fmla="*/ 194 w 234"/>
                  <a:gd name="T35" fmla="*/ 264 h 274"/>
                  <a:gd name="T36" fmla="*/ 176 w 234"/>
                  <a:gd name="T37" fmla="*/ 264 h 274"/>
                  <a:gd name="T38" fmla="*/ 168 w 234"/>
                  <a:gd name="T39" fmla="*/ 270 h 274"/>
                  <a:gd name="T40" fmla="*/ 122 w 234"/>
                  <a:gd name="T41" fmla="*/ 274 h 274"/>
                  <a:gd name="T42" fmla="*/ 108 w 234"/>
                  <a:gd name="T43" fmla="*/ 264 h 274"/>
                  <a:gd name="T44" fmla="*/ 84 w 234"/>
                  <a:gd name="T45" fmla="*/ 266 h 274"/>
                  <a:gd name="T46" fmla="*/ 76 w 234"/>
                  <a:gd name="T47" fmla="*/ 256 h 274"/>
                  <a:gd name="T48" fmla="*/ 56 w 234"/>
                  <a:gd name="T49" fmla="*/ 228 h 274"/>
                  <a:gd name="T50" fmla="*/ 24 w 234"/>
                  <a:gd name="T51" fmla="*/ 204 h 274"/>
                  <a:gd name="T52" fmla="*/ 22 w 234"/>
                  <a:gd name="T53" fmla="*/ 182 h 274"/>
                  <a:gd name="T54" fmla="*/ 10 w 234"/>
                  <a:gd name="T55" fmla="*/ 174 h 274"/>
                  <a:gd name="T56" fmla="*/ 8 w 234"/>
                  <a:gd name="T57" fmla="*/ 150 h 274"/>
                  <a:gd name="T58" fmla="*/ 0 w 234"/>
                  <a:gd name="T59" fmla="*/ 144 h 274"/>
                  <a:gd name="T60" fmla="*/ 14 w 234"/>
                  <a:gd name="T61" fmla="*/ 108 h 274"/>
                  <a:gd name="T62" fmla="*/ 26 w 234"/>
                  <a:gd name="T63" fmla="*/ 106 h 274"/>
                  <a:gd name="T64" fmla="*/ 28 w 234"/>
                  <a:gd name="T65" fmla="*/ 40 h 274"/>
                  <a:gd name="T66" fmla="*/ 44 w 234"/>
                  <a:gd name="T67" fmla="*/ 40 h 274"/>
                  <a:gd name="T68" fmla="*/ 44 w 234"/>
                  <a:gd name="T69" fmla="*/ 10 h 274"/>
                  <a:gd name="T70" fmla="*/ 158 w 234"/>
                  <a:gd name="T71" fmla="*/ 12 h 274"/>
                  <a:gd name="T72" fmla="*/ 168 w 234"/>
                  <a:gd name="T73" fmla="*/ 18 h 274"/>
                  <a:gd name="T74" fmla="*/ 186 w 234"/>
                  <a:gd name="T75" fmla="*/ 0 h 274"/>
                  <a:gd name="T76" fmla="*/ 192 w 234"/>
                  <a:gd name="T7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274">
                    <a:moveTo>
                      <a:pt x="192" y="0"/>
                    </a:moveTo>
                    <a:lnTo>
                      <a:pt x="212" y="16"/>
                    </a:lnTo>
                    <a:lnTo>
                      <a:pt x="216" y="28"/>
                    </a:lnTo>
                    <a:lnTo>
                      <a:pt x="214" y="52"/>
                    </a:lnTo>
                    <a:lnTo>
                      <a:pt x="234" y="76"/>
                    </a:lnTo>
                    <a:lnTo>
                      <a:pt x="210" y="86"/>
                    </a:lnTo>
                    <a:lnTo>
                      <a:pt x="204" y="114"/>
                    </a:lnTo>
                    <a:lnTo>
                      <a:pt x="204" y="126"/>
                    </a:lnTo>
                    <a:lnTo>
                      <a:pt x="184" y="160"/>
                    </a:lnTo>
                    <a:lnTo>
                      <a:pt x="184" y="174"/>
                    </a:lnTo>
                    <a:lnTo>
                      <a:pt x="172" y="176"/>
                    </a:lnTo>
                    <a:lnTo>
                      <a:pt x="172" y="208"/>
                    </a:lnTo>
                    <a:lnTo>
                      <a:pt x="154" y="208"/>
                    </a:lnTo>
                    <a:lnTo>
                      <a:pt x="158" y="220"/>
                    </a:lnTo>
                    <a:lnTo>
                      <a:pt x="168" y="222"/>
                    </a:lnTo>
                    <a:lnTo>
                      <a:pt x="188" y="250"/>
                    </a:lnTo>
                    <a:lnTo>
                      <a:pt x="194" y="250"/>
                    </a:lnTo>
                    <a:lnTo>
                      <a:pt x="194" y="264"/>
                    </a:lnTo>
                    <a:lnTo>
                      <a:pt x="176" y="264"/>
                    </a:lnTo>
                    <a:lnTo>
                      <a:pt x="168" y="270"/>
                    </a:lnTo>
                    <a:lnTo>
                      <a:pt x="122" y="274"/>
                    </a:lnTo>
                    <a:lnTo>
                      <a:pt x="108" y="264"/>
                    </a:lnTo>
                    <a:lnTo>
                      <a:pt x="84" y="266"/>
                    </a:lnTo>
                    <a:lnTo>
                      <a:pt x="76" y="256"/>
                    </a:lnTo>
                    <a:lnTo>
                      <a:pt x="56" y="228"/>
                    </a:lnTo>
                    <a:lnTo>
                      <a:pt x="24" y="204"/>
                    </a:lnTo>
                    <a:lnTo>
                      <a:pt x="22" y="182"/>
                    </a:lnTo>
                    <a:lnTo>
                      <a:pt x="10" y="174"/>
                    </a:lnTo>
                    <a:lnTo>
                      <a:pt x="8" y="150"/>
                    </a:lnTo>
                    <a:lnTo>
                      <a:pt x="0" y="144"/>
                    </a:lnTo>
                    <a:lnTo>
                      <a:pt x="14" y="108"/>
                    </a:lnTo>
                    <a:lnTo>
                      <a:pt x="26" y="106"/>
                    </a:lnTo>
                    <a:lnTo>
                      <a:pt x="28" y="40"/>
                    </a:lnTo>
                    <a:lnTo>
                      <a:pt x="44" y="40"/>
                    </a:lnTo>
                    <a:lnTo>
                      <a:pt x="44" y="10"/>
                    </a:lnTo>
                    <a:lnTo>
                      <a:pt x="158" y="12"/>
                    </a:lnTo>
                    <a:lnTo>
                      <a:pt x="168" y="18"/>
                    </a:lnTo>
                    <a:lnTo>
                      <a:pt x="186" y="0"/>
                    </a:lnTo>
                    <a:lnTo>
                      <a:pt x="1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7" name="Freeform 397"/>
              <p:cNvSpPr>
                <a:spLocks/>
              </p:cNvSpPr>
              <p:nvPr/>
            </p:nvSpPr>
            <p:spPr bwMode="auto">
              <a:xfrm>
                <a:off x="3169" y="2193"/>
                <a:ext cx="242" cy="282"/>
              </a:xfrm>
              <a:custGeom>
                <a:avLst/>
                <a:gdLst>
                  <a:gd name="T0" fmla="*/ 190 w 242"/>
                  <a:gd name="T1" fmla="*/ 0 h 282"/>
                  <a:gd name="T2" fmla="*/ 186 w 242"/>
                  <a:gd name="T3" fmla="*/ 0 h 282"/>
                  <a:gd name="T4" fmla="*/ 164 w 242"/>
                  <a:gd name="T5" fmla="*/ 12 h 282"/>
                  <a:gd name="T6" fmla="*/ 162 w 242"/>
                  <a:gd name="T7" fmla="*/ 12 h 282"/>
                  <a:gd name="T8" fmla="*/ 48 w 242"/>
                  <a:gd name="T9" fmla="*/ 10 h 282"/>
                  <a:gd name="T10" fmla="*/ 48 w 242"/>
                  <a:gd name="T11" fmla="*/ 10 h 282"/>
                  <a:gd name="T12" fmla="*/ 46 w 242"/>
                  <a:gd name="T13" fmla="*/ 12 h 282"/>
                  <a:gd name="T14" fmla="*/ 44 w 242"/>
                  <a:gd name="T15" fmla="*/ 40 h 282"/>
                  <a:gd name="T16" fmla="*/ 32 w 242"/>
                  <a:gd name="T17" fmla="*/ 40 h 282"/>
                  <a:gd name="T18" fmla="*/ 28 w 242"/>
                  <a:gd name="T19" fmla="*/ 44 h 282"/>
                  <a:gd name="T20" fmla="*/ 18 w 242"/>
                  <a:gd name="T21" fmla="*/ 108 h 282"/>
                  <a:gd name="T22" fmla="*/ 14 w 242"/>
                  <a:gd name="T23" fmla="*/ 110 h 282"/>
                  <a:gd name="T24" fmla="*/ 0 w 242"/>
                  <a:gd name="T25" fmla="*/ 146 h 282"/>
                  <a:gd name="T26" fmla="*/ 2 w 242"/>
                  <a:gd name="T27" fmla="*/ 150 h 282"/>
                  <a:gd name="T28" fmla="*/ 10 w 242"/>
                  <a:gd name="T29" fmla="*/ 178 h 282"/>
                  <a:gd name="T30" fmla="*/ 12 w 242"/>
                  <a:gd name="T31" fmla="*/ 182 h 282"/>
                  <a:gd name="T32" fmla="*/ 24 w 242"/>
                  <a:gd name="T33" fmla="*/ 208 h 282"/>
                  <a:gd name="T34" fmla="*/ 24 w 242"/>
                  <a:gd name="T35" fmla="*/ 212 h 282"/>
                  <a:gd name="T36" fmla="*/ 78 w 242"/>
                  <a:gd name="T37" fmla="*/ 262 h 282"/>
                  <a:gd name="T38" fmla="*/ 84 w 242"/>
                  <a:gd name="T39" fmla="*/ 272 h 282"/>
                  <a:gd name="T40" fmla="*/ 88 w 242"/>
                  <a:gd name="T41" fmla="*/ 274 h 282"/>
                  <a:gd name="T42" fmla="*/ 112 w 242"/>
                  <a:gd name="T43" fmla="*/ 272 h 282"/>
                  <a:gd name="T44" fmla="*/ 124 w 242"/>
                  <a:gd name="T45" fmla="*/ 282 h 282"/>
                  <a:gd name="T46" fmla="*/ 126 w 242"/>
                  <a:gd name="T47" fmla="*/ 282 h 282"/>
                  <a:gd name="T48" fmla="*/ 174 w 242"/>
                  <a:gd name="T49" fmla="*/ 278 h 282"/>
                  <a:gd name="T50" fmla="*/ 176 w 242"/>
                  <a:gd name="T51" fmla="*/ 278 h 282"/>
                  <a:gd name="T52" fmla="*/ 198 w 242"/>
                  <a:gd name="T53" fmla="*/ 272 h 282"/>
                  <a:gd name="T54" fmla="*/ 200 w 242"/>
                  <a:gd name="T55" fmla="*/ 270 h 282"/>
                  <a:gd name="T56" fmla="*/ 202 w 242"/>
                  <a:gd name="T57" fmla="*/ 254 h 282"/>
                  <a:gd name="T58" fmla="*/ 200 w 242"/>
                  <a:gd name="T59" fmla="*/ 252 h 282"/>
                  <a:gd name="T60" fmla="*/ 194 w 242"/>
                  <a:gd name="T61" fmla="*/ 250 h 282"/>
                  <a:gd name="T62" fmla="*/ 174 w 242"/>
                  <a:gd name="T63" fmla="*/ 224 h 282"/>
                  <a:gd name="T64" fmla="*/ 166 w 242"/>
                  <a:gd name="T65" fmla="*/ 222 h 282"/>
                  <a:gd name="T66" fmla="*/ 176 w 242"/>
                  <a:gd name="T67" fmla="*/ 216 h 282"/>
                  <a:gd name="T68" fmla="*/ 180 w 242"/>
                  <a:gd name="T69" fmla="*/ 214 h 282"/>
                  <a:gd name="T70" fmla="*/ 180 w 242"/>
                  <a:gd name="T71" fmla="*/ 184 h 282"/>
                  <a:gd name="T72" fmla="*/ 188 w 242"/>
                  <a:gd name="T73" fmla="*/ 182 h 282"/>
                  <a:gd name="T74" fmla="*/ 192 w 242"/>
                  <a:gd name="T75" fmla="*/ 178 h 282"/>
                  <a:gd name="T76" fmla="*/ 212 w 242"/>
                  <a:gd name="T77" fmla="*/ 132 h 282"/>
                  <a:gd name="T78" fmla="*/ 212 w 242"/>
                  <a:gd name="T79" fmla="*/ 130 h 282"/>
                  <a:gd name="T80" fmla="*/ 218 w 242"/>
                  <a:gd name="T81" fmla="*/ 94 h 282"/>
                  <a:gd name="T82" fmla="*/ 240 w 242"/>
                  <a:gd name="T83" fmla="*/ 84 h 282"/>
                  <a:gd name="T84" fmla="*/ 242 w 242"/>
                  <a:gd name="T85" fmla="*/ 80 h 282"/>
                  <a:gd name="T86" fmla="*/ 222 w 242"/>
                  <a:gd name="T87" fmla="*/ 56 h 282"/>
                  <a:gd name="T88" fmla="*/ 224 w 242"/>
                  <a:gd name="T89" fmla="*/ 32 h 282"/>
                  <a:gd name="T90" fmla="*/ 220 w 242"/>
                  <a:gd name="T91" fmla="*/ 18 h 282"/>
                  <a:gd name="T92" fmla="*/ 218 w 242"/>
                  <a:gd name="T93" fmla="*/ 16 h 282"/>
                  <a:gd name="T94" fmla="*/ 198 w 242"/>
                  <a:gd name="T95" fmla="*/ 0 h 282"/>
                  <a:gd name="T96" fmla="*/ 196 w 242"/>
                  <a:gd name="T9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2" h="282">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8" name="Freeform 398"/>
              <p:cNvSpPr>
                <a:spLocks/>
              </p:cNvSpPr>
              <p:nvPr/>
            </p:nvSpPr>
            <p:spPr bwMode="auto">
              <a:xfrm>
                <a:off x="3377" y="2267"/>
                <a:ext cx="94" cy="82"/>
              </a:xfrm>
              <a:custGeom>
                <a:avLst/>
                <a:gdLst>
                  <a:gd name="T0" fmla="*/ 88 w 94"/>
                  <a:gd name="T1" fmla="*/ 82 h 82"/>
                  <a:gd name="T2" fmla="*/ 88 w 94"/>
                  <a:gd name="T3" fmla="*/ 82 h 82"/>
                  <a:gd name="T4" fmla="*/ 86 w 94"/>
                  <a:gd name="T5" fmla="*/ 82 h 82"/>
                  <a:gd name="T6" fmla="*/ 70 w 94"/>
                  <a:gd name="T7" fmla="*/ 66 h 82"/>
                  <a:gd name="T8" fmla="*/ 54 w 94"/>
                  <a:gd name="T9" fmla="*/ 52 h 82"/>
                  <a:gd name="T10" fmla="*/ 26 w 94"/>
                  <a:gd name="T11" fmla="*/ 50 h 82"/>
                  <a:gd name="T12" fmla="*/ 24 w 94"/>
                  <a:gd name="T13" fmla="*/ 54 h 82"/>
                  <a:gd name="T14" fmla="*/ 24 w 94"/>
                  <a:gd name="T15" fmla="*/ 54 h 82"/>
                  <a:gd name="T16" fmla="*/ 22 w 94"/>
                  <a:gd name="T17" fmla="*/ 56 h 82"/>
                  <a:gd name="T18" fmla="*/ 2 w 94"/>
                  <a:gd name="T19" fmla="*/ 56 h 82"/>
                  <a:gd name="T20" fmla="*/ 2 w 94"/>
                  <a:gd name="T21" fmla="*/ 56 h 82"/>
                  <a:gd name="T22" fmla="*/ 0 w 94"/>
                  <a:gd name="T23" fmla="*/ 54 h 82"/>
                  <a:gd name="T24" fmla="*/ 0 w 94"/>
                  <a:gd name="T25" fmla="*/ 40 h 82"/>
                  <a:gd name="T26" fmla="*/ 4 w 94"/>
                  <a:gd name="T27" fmla="*/ 28 h 82"/>
                  <a:gd name="T28" fmla="*/ 6 w 94"/>
                  <a:gd name="T29" fmla="*/ 12 h 82"/>
                  <a:gd name="T30" fmla="*/ 6 w 94"/>
                  <a:gd name="T31" fmla="*/ 12 h 82"/>
                  <a:gd name="T32" fmla="*/ 8 w 94"/>
                  <a:gd name="T33" fmla="*/ 12 h 82"/>
                  <a:gd name="T34" fmla="*/ 32 w 94"/>
                  <a:gd name="T35" fmla="*/ 0 h 82"/>
                  <a:gd name="T36" fmla="*/ 32 w 94"/>
                  <a:gd name="T37" fmla="*/ 0 h 82"/>
                  <a:gd name="T38" fmla="*/ 34 w 94"/>
                  <a:gd name="T39" fmla="*/ 0 h 82"/>
                  <a:gd name="T40" fmla="*/ 34 w 94"/>
                  <a:gd name="T41" fmla="*/ 0 h 82"/>
                  <a:gd name="T42" fmla="*/ 34 w 94"/>
                  <a:gd name="T43" fmla="*/ 2 h 82"/>
                  <a:gd name="T44" fmla="*/ 42 w 94"/>
                  <a:gd name="T45" fmla="*/ 12 h 82"/>
                  <a:gd name="T46" fmla="*/ 48 w 94"/>
                  <a:gd name="T47" fmla="*/ 26 h 82"/>
                  <a:gd name="T48" fmla="*/ 50 w 94"/>
                  <a:gd name="T49" fmla="*/ 40 h 82"/>
                  <a:gd name="T50" fmla="*/ 60 w 94"/>
                  <a:gd name="T51" fmla="*/ 40 h 82"/>
                  <a:gd name="T52" fmla="*/ 60 w 94"/>
                  <a:gd name="T53" fmla="*/ 40 h 82"/>
                  <a:gd name="T54" fmla="*/ 62 w 94"/>
                  <a:gd name="T55" fmla="*/ 40 h 82"/>
                  <a:gd name="T56" fmla="*/ 94 w 94"/>
                  <a:gd name="T57" fmla="*/ 70 h 82"/>
                  <a:gd name="T58" fmla="*/ 94 w 94"/>
                  <a:gd name="T59" fmla="*/ 70 h 82"/>
                  <a:gd name="T60" fmla="*/ 94 w 94"/>
                  <a:gd name="T61" fmla="*/ 72 h 82"/>
                  <a:gd name="T62" fmla="*/ 88 w 94"/>
                  <a:gd name="T63" fmla="*/ 82 h 82"/>
                  <a:gd name="T64" fmla="*/ 88 w 94"/>
                  <a:gd name="T65" fmla="*/ 82 h 82"/>
                  <a:gd name="T66" fmla="*/ 88 w 94"/>
                  <a:gd name="T67" fmla="*/ 82 h 82"/>
                  <a:gd name="T68" fmla="*/ 88 w 94"/>
                  <a:gd name="T69" fmla="*/ 82 h 82"/>
                  <a:gd name="T70" fmla="*/ 88 w 94"/>
                  <a:gd name="T71" fmla="*/ 82 h 82"/>
                  <a:gd name="T72" fmla="*/ 88 w 94"/>
                  <a:gd name="T7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82"/>
                    </a:moveTo>
                    <a:lnTo>
                      <a:pt x="88" y="82"/>
                    </a:lnTo>
                    <a:lnTo>
                      <a:pt x="86" y="82"/>
                    </a:lnTo>
                    <a:lnTo>
                      <a:pt x="70" y="66"/>
                    </a:lnTo>
                    <a:lnTo>
                      <a:pt x="54" y="52"/>
                    </a:lnTo>
                    <a:lnTo>
                      <a:pt x="26" y="50"/>
                    </a:lnTo>
                    <a:lnTo>
                      <a:pt x="24" y="54"/>
                    </a:lnTo>
                    <a:lnTo>
                      <a:pt x="24" y="54"/>
                    </a:lnTo>
                    <a:lnTo>
                      <a:pt x="22" y="56"/>
                    </a:lnTo>
                    <a:lnTo>
                      <a:pt x="2" y="56"/>
                    </a:lnTo>
                    <a:lnTo>
                      <a:pt x="2" y="56"/>
                    </a:lnTo>
                    <a:lnTo>
                      <a:pt x="0" y="54"/>
                    </a:lnTo>
                    <a:lnTo>
                      <a:pt x="0" y="40"/>
                    </a:lnTo>
                    <a:lnTo>
                      <a:pt x="4" y="28"/>
                    </a:lnTo>
                    <a:lnTo>
                      <a:pt x="6" y="12"/>
                    </a:lnTo>
                    <a:lnTo>
                      <a:pt x="6" y="12"/>
                    </a:lnTo>
                    <a:lnTo>
                      <a:pt x="8" y="12"/>
                    </a:lnTo>
                    <a:lnTo>
                      <a:pt x="32" y="0"/>
                    </a:lnTo>
                    <a:lnTo>
                      <a:pt x="32" y="0"/>
                    </a:lnTo>
                    <a:lnTo>
                      <a:pt x="34" y="0"/>
                    </a:lnTo>
                    <a:lnTo>
                      <a:pt x="34" y="0"/>
                    </a:lnTo>
                    <a:lnTo>
                      <a:pt x="34" y="2"/>
                    </a:lnTo>
                    <a:lnTo>
                      <a:pt x="42" y="12"/>
                    </a:lnTo>
                    <a:lnTo>
                      <a:pt x="48" y="26"/>
                    </a:lnTo>
                    <a:lnTo>
                      <a:pt x="50" y="40"/>
                    </a:lnTo>
                    <a:lnTo>
                      <a:pt x="60" y="40"/>
                    </a:lnTo>
                    <a:lnTo>
                      <a:pt x="60" y="40"/>
                    </a:lnTo>
                    <a:lnTo>
                      <a:pt x="62" y="40"/>
                    </a:lnTo>
                    <a:lnTo>
                      <a:pt x="94" y="70"/>
                    </a:lnTo>
                    <a:lnTo>
                      <a:pt x="94" y="70"/>
                    </a:lnTo>
                    <a:lnTo>
                      <a:pt x="94" y="72"/>
                    </a:lnTo>
                    <a:lnTo>
                      <a:pt x="88" y="82"/>
                    </a:lnTo>
                    <a:lnTo>
                      <a:pt x="88" y="82"/>
                    </a:lnTo>
                    <a:lnTo>
                      <a:pt x="88" y="82"/>
                    </a:lnTo>
                    <a:lnTo>
                      <a:pt x="88" y="82"/>
                    </a:lnTo>
                    <a:lnTo>
                      <a:pt x="88" y="82"/>
                    </a:lnTo>
                    <a:lnTo>
                      <a:pt x="8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9" name="Freeform 399"/>
              <p:cNvSpPr>
                <a:spLocks noEditPoints="1"/>
              </p:cNvSpPr>
              <p:nvPr/>
            </p:nvSpPr>
            <p:spPr bwMode="auto">
              <a:xfrm>
                <a:off x="3375" y="2265"/>
                <a:ext cx="98" cy="86"/>
              </a:xfrm>
              <a:custGeom>
                <a:avLst/>
                <a:gdLst>
                  <a:gd name="T0" fmla="*/ 36 w 98"/>
                  <a:gd name="T1" fmla="*/ 4 h 86"/>
                  <a:gd name="T2" fmla="*/ 42 w 98"/>
                  <a:gd name="T3" fmla="*/ 16 h 86"/>
                  <a:gd name="T4" fmla="*/ 48 w 98"/>
                  <a:gd name="T5" fmla="*/ 28 h 86"/>
                  <a:gd name="T6" fmla="*/ 50 w 98"/>
                  <a:gd name="T7" fmla="*/ 44 h 86"/>
                  <a:gd name="T8" fmla="*/ 62 w 98"/>
                  <a:gd name="T9" fmla="*/ 44 h 86"/>
                  <a:gd name="T10" fmla="*/ 94 w 98"/>
                  <a:gd name="T11" fmla="*/ 74 h 86"/>
                  <a:gd name="T12" fmla="*/ 90 w 98"/>
                  <a:gd name="T13" fmla="*/ 82 h 86"/>
                  <a:gd name="T14" fmla="*/ 72 w 98"/>
                  <a:gd name="T15" fmla="*/ 66 h 86"/>
                  <a:gd name="T16" fmla="*/ 56 w 98"/>
                  <a:gd name="T17" fmla="*/ 52 h 86"/>
                  <a:gd name="T18" fmla="*/ 26 w 98"/>
                  <a:gd name="T19" fmla="*/ 50 h 86"/>
                  <a:gd name="T20" fmla="*/ 24 w 98"/>
                  <a:gd name="T21" fmla="*/ 56 h 86"/>
                  <a:gd name="T22" fmla="*/ 4 w 98"/>
                  <a:gd name="T23" fmla="*/ 56 h 86"/>
                  <a:gd name="T24" fmla="*/ 4 w 98"/>
                  <a:gd name="T25" fmla="*/ 42 h 86"/>
                  <a:gd name="T26" fmla="*/ 8 w 98"/>
                  <a:gd name="T27" fmla="*/ 30 h 86"/>
                  <a:gd name="T28" fmla="*/ 10 w 98"/>
                  <a:gd name="T29" fmla="*/ 16 h 86"/>
                  <a:gd name="T30" fmla="*/ 36 w 98"/>
                  <a:gd name="T31" fmla="*/ 4 h 86"/>
                  <a:gd name="T32" fmla="*/ 36 w 98"/>
                  <a:gd name="T33" fmla="*/ 0 h 86"/>
                  <a:gd name="T34" fmla="*/ 36 w 98"/>
                  <a:gd name="T35" fmla="*/ 0 h 86"/>
                  <a:gd name="T36" fmla="*/ 34 w 98"/>
                  <a:gd name="T37" fmla="*/ 0 h 86"/>
                  <a:gd name="T38" fmla="*/ 8 w 98"/>
                  <a:gd name="T39" fmla="*/ 12 h 86"/>
                  <a:gd name="T40" fmla="*/ 8 w 98"/>
                  <a:gd name="T41" fmla="*/ 12 h 86"/>
                  <a:gd name="T42" fmla="*/ 6 w 98"/>
                  <a:gd name="T43" fmla="*/ 14 h 86"/>
                  <a:gd name="T44" fmla="*/ 4 w 98"/>
                  <a:gd name="T45" fmla="*/ 28 h 86"/>
                  <a:gd name="T46" fmla="*/ 2 w 98"/>
                  <a:gd name="T47" fmla="*/ 42 h 86"/>
                  <a:gd name="T48" fmla="*/ 2 w 98"/>
                  <a:gd name="T49" fmla="*/ 42 h 86"/>
                  <a:gd name="T50" fmla="*/ 0 w 98"/>
                  <a:gd name="T51" fmla="*/ 42 h 86"/>
                  <a:gd name="T52" fmla="*/ 0 w 98"/>
                  <a:gd name="T53" fmla="*/ 56 h 86"/>
                  <a:gd name="T54" fmla="*/ 0 w 98"/>
                  <a:gd name="T55" fmla="*/ 56 h 86"/>
                  <a:gd name="T56" fmla="*/ 2 w 98"/>
                  <a:gd name="T57" fmla="*/ 58 h 86"/>
                  <a:gd name="T58" fmla="*/ 4 w 98"/>
                  <a:gd name="T59" fmla="*/ 60 h 86"/>
                  <a:gd name="T60" fmla="*/ 24 w 98"/>
                  <a:gd name="T61" fmla="*/ 60 h 86"/>
                  <a:gd name="T62" fmla="*/ 24 w 98"/>
                  <a:gd name="T63" fmla="*/ 60 h 86"/>
                  <a:gd name="T64" fmla="*/ 26 w 98"/>
                  <a:gd name="T65" fmla="*/ 58 h 86"/>
                  <a:gd name="T66" fmla="*/ 28 w 98"/>
                  <a:gd name="T67" fmla="*/ 56 h 86"/>
                  <a:gd name="T68" fmla="*/ 30 w 98"/>
                  <a:gd name="T69" fmla="*/ 54 h 86"/>
                  <a:gd name="T70" fmla="*/ 56 w 98"/>
                  <a:gd name="T71" fmla="*/ 56 h 86"/>
                  <a:gd name="T72" fmla="*/ 70 w 98"/>
                  <a:gd name="T73" fmla="*/ 70 h 86"/>
                  <a:gd name="T74" fmla="*/ 86 w 98"/>
                  <a:gd name="T75" fmla="*/ 86 h 86"/>
                  <a:gd name="T76" fmla="*/ 86 w 98"/>
                  <a:gd name="T77" fmla="*/ 86 h 86"/>
                  <a:gd name="T78" fmla="*/ 90 w 98"/>
                  <a:gd name="T79" fmla="*/ 86 h 86"/>
                  <a:gd name="T80" fmla="*/ 90 w 98"/>
                  <a:gd name="T81" fmla="*/ 86 h 86"/>
                  <a:gd name="T82" fmla="*/ 90 w 98"/>
                  <a:gd name="T83" fmla="*/ 86 h 86"/>
                  <a:gd name="T84" fmla="*/ 90 w 98"/>
                  <a:gd name="T85" fmla="*/ 86 h 86"/>
                  <a:gd name="T86" fmla="*/ 92 w 98"/>
                  <a:gd name="T87" fmla="*/ 84 h 86"/>
                  <a:gd name="T88" fmla="*/ 98 w 98"/>
                  <a:gd name="T89" fmla="*/ 76 h 86"/>
                  <a:gd name="T90" fmla="*/ 98 w 98"/>
                  <a:gd name="T91" fmla="*/ 76 h 86"/>
                  <a:gd name="T92" fmla="*/ 98 w 98"/>
                  <a:gd name="T93" fmla="*/ 72 h 86"/>
                  <a:gd name="T94" fmla="*/ 98 w 98"/>
                  <a:gd name="T95" fmla="*/ 70 h 86"/>
                  <a:gd name="T96" fmla="*/ 64 w 98"/>
                  <a:gd name="T97" fmla="*/ 42 h 86"/>
                  <a:gd name="T98" fmla="*/ 64 w 98"/>
                  <a:gd name="T99" fmla="*/ 42 h 86"/>
                  <a:gd name="T100" fmla="*/ 62 w 98"/>
                  <a:gd name="T101" fmla="*/ 40 h 86"/>
                  <a:gd name="T102" fmla="*/ 54 w 98"/>
                  <a:gd name="T103" fmla="*/ 40 h 86"/>
                  <a:gd name="T104" fmla="*/ 52 w 98"/>
                  <a:gd name="T105" fmla="*/ 28 h 86"/>
                  <a:gd name="T106" fmla="*/ 52 w 98"/>
                  <a:gd name="T107" fmla="*/ 28 h 86"/>
                  <a:gd name="T108" fmla="*/ 52 w 98"/>
                  <a:gd name="T109" fmla="*/ 26 h 86"/>
                  <a:gd name="T110" fmla="*/ 46 w 98"/>
                  <a:gd name="T111" fmla="*/ 14 h 86"/>
                  <a:gd name="T112" fmla="*/ 46 w 98"/>
                  <a:gd name="T113" fmla="*/ 14 h 86"/>
                  <a:gd name="T114" fmla="*/ 46 w 98"/>
                  <a:gd name="T115" fmla="*/ 12 h 86"/>
                  <a:gd name="T116" fmla="*/ 38 w 98"/>
                  <a:gd name="T117" fmla="*/ 2 h 86"/>
                  <a:gd name="T118" fmla="*/ 38 w 98"/>
                  <a:gd name="T119" fmla="*/ 2 h 86"/>
                  <a:gd name="T120" fmla="*/ 36 w 98"/>
                  <a:gd name="T121" fmla="*/ 0 h 86"/>
                  <a:gd name="T122" fmla="*/ 36 w 98"/>
                  <a:gd name="T12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86">
                    <a:moveTo>
                      <a:pt x="36" y="4"/>
                    </a:moveTo>
                    <a:lnTo>
                      <a:pt x="42" y="16"/>
                    </a:lnTo>
                    <a:lnTo>
                      <a:pt x="48" y="28"/>
                    </a:lnTo>
                    <a:lnTo>
                      <a:pt x="50" y="44"/>
                    </a:lnTo>
                    <a:lnTo>
                      <a:pt x="62" y="44"/>
                    </a:lnTo>
                    <a:lnTo>
                      <a:pt x="94" y="74"/>
                    </a:lnTo>
                    <a:lnTo>
                      <a:pt x="90" y="82"/>
                    </a:lnTo>
                    <a:lnTo>
                      <a:pt x="72" y="66"/>
                    </a:lnTo>
                    <a:lnTo>
                      <a:pt x="56" y="52"/>
                    </a:lnTo>
                    <a:lnTo>
                      <a:pt x="26" y="50"/>
                    </a:lnTo>
                    <a:lnTo>
                      <a:pt x="24" y="56"/>
                    </a:lnTo>
                    <a:lnTo>
                      <a:pt x="4" y="56"/>
                    </a:lnTo>
                    <a:lnTo>
                      <a:pt x="4" y="42"/>
                    </a:lnTo>
                    <a:lnTo>
                      <a:pt x="8" y="30"/>
                    </a:lnTo>
                    <a:lnTo>
                      <a:pt x="10" y="16"/>
                    </a:lnTo>
                    <a:lnTo>
                      <a:pt x="36" y="4"/>
                    </a:lnTo>
                    <a:close/>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0" name="Freeform 400"/>
              <p:cNvSpPr>
                <a:spLocks/>
              </p:cNvSpPr>
              <p:nvPr/>
            </p:nvSpPr>
            <p:spPr bwMode="auto">
              <a:xfrm>
                <a:off x="3379" y="2269"/>
                <a:ext cx="90" cy="78"/>
              </a:xfrm>
              <a:custGeom>
                <a:avLst/>
                <a:gdLst>
                  <a:gd name="T0" fmla="*/ 32 w 90"/>
                  <a:gd name="T1" fmla="*/ 0 h 78"/>
                  <a:gd name="T2" fmla="*/ 38 w 90"/>
                  <a:gd name="T3" fmla="*/ 12 h 78"/>
                  <a:gd name="T4" fmla="*/ 44 w 90"/>
                  <a:gd name="T5" fmla="*/ 24 h 78"/>
                  <a:gd name="T6" fmla="*/ 46 w 90"/>
                  <a:gd name="T7" fmla="*/ 40 h 78"/>
                  <a:gd name="T8" fmla="*/ 58 w 90"/>
                  <a:gd name="T9" fmla="*/ 40 h 78"/>
                  <a:gd name="T10" fmla="*/ 90 w 90"/>
                  <a:gd name="T11" fmla="*/ 70 h 78"/>
                  <a:gd name="T12" fmla="*/ 86 w 90"/>
                  <a:gd name="T13" fmla="*/ 78 h 78"/>
                  <a:gd name="T14" fmla="*/ 68 w 90"/>
                  <a:gd name="T15" fmla="*/ 62 h 78"/>
                  <a:gd name="T16" fmla="*/ 52 w 90"/>
                  <a:gd name="T17" fmla="*/ 48 h 78"/>
                  <a:gd name="T18" fmla="*/ 22 w 90"/>
                  <a:gd name="T19" fmla="*/ 46 h 78"/>
                  <a:gd name="T20" fmla="*/ 20 w 90"/>
                  <a:gd name="T21" fmla="*/ 52 h 78"/>
                  <a:gd name="T22" fmla="*/ 0 w 90"/>
                  <a:gd name="T23" fmla="*/ 52 h 78"/>
                  <a:gd name="T24" fmla="*/ 0 w 90"/>
                  <a:gd name="T25" fmla="*/ 38 h 78"/>
                  <a:gd name="T26" fmla="*/ 4 w 90"/>
                  <a:gd name="T27" fmla="*/ 26 h 78"/>
                  <a:gd name="T28" fmla="*/ 6 w 90"/>
                  <a:gd name="T29" fmla="*/ 12 h 78"/>
                  <a:gd name="T30" fmla="*/ 32 w 90"/>
                  <a:gd name="T3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78">
                    <a:moveTo>
                      <a:pt x="32" y="0"/>
                    </a:moveTo>
                    <a:lnTo>
                      <a:pt x="38" y="12"/>
                    </a:lnTo>
                    <a:lnTo>
                      <a:pt x="44" y="24"/>
                    </a:lnTo>
                    <a:lnTo>
                      <a:pt x="46" y="40"/>
                    </a:lnTo>
                    <a:lnTo>
                      <a:pt x="58" y="40"/>
                    </a:lnTo>
                    <a:lnTo>
                      <a:pt x="90" y="70"/>
                    </a:lnTo>
                    <a:lnTo>
                      <a:pt x="86" y="78"/>
                    </a:lnTo>
                    <a:lnTo>
                      <a:pt x="68" y="62"/>
                    </a:lnTo>
                    <a:lnTo>
                      <a:pt x="52" y="48"/>
                    </a:lnTo>
                    <a:lnTo>
                      <a:pt x="22" y="46"/>
                    </a:lnTo>
                    <a:lnTo>
                      <a:pt x="20" y="52"/>
                    </a:lnTo>
                    <a:lnTo>
                      <a:pt x="0" y="52"/>
                    </a:lnTo>
                    <a:lnTo>
                      <a:pt x="0" y="38"/>
                    </a:lnTo>
                    <a:lnTo>
                      <a:pt x="4" y="26"/>
                    </a:lnTo>
                    <a:lnTo>
                      <a:pt x="6" y="1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1" name="Freeform 401"/>
              <p:cNvSpPr>
                <a:spLocks/>
              </p:cNvSpPr>
              <p:nvPr/>
            </p:nvSpPr>
            <p:spPr bwMode="auto">
              <a:xfrm>
                <a:off x="3375" y="2265"/>
                <a:ext cx="98" cy="86"/>
              </a:xfrm>
              <a:custGeom>
                <a:avLst/>
                <a:gdLst>
                  <a:gd name="T0" fmla="*/ 36 w 98"/>
                  <a:gd name="T1" fmla="*/ 0 h 86"/>
                  <a:gd name="T2" fmla="*/ 36 w 98"/>
                  <a:gd name="T3" fmla="*/ 0 h 86"/>
                  <a:gd name="T4" fmla="*/ 34 w 98"/>
                  <a:gd name="T5" fmla="*/ 0 h 86"/>
                  <a:gd name="T6" fmla="*/ 8 w 98"/>
                  <a:gd name="T7" fmla="*/ 12 h 86"/>
                  <a:gd name="T8" fmla="*/ 8 w 98"/>
                  <a:gd name="T9" fmla="*/ 12 h 86"/>
                  <a:gd name="T10" fmla="*/ 6 w 98"/>
                  <a:gd name="T11" fmla="*/ 14 h 86"/>
                  <a:gd name="T12" fmla="*/ 4 w 98"/>
                  <a:gd name="T13" fmla="*/ 28 h 86"/>
                  <a:gd name="T14" fmla="*/ 2 w 98"/>
                  <a:gd name="T15" fmla="*/ 42 h 86"/>
                  <a:gd name="T16" fmla="*/ 2 w 98"/>
                  <a:gd name="T17" fmla="*/ 42 h 86"/>
                  <a:gd name="T18" fmla="*/ 0 w 98"/>
                  <a:gd name="T19" fmla="*/ 42 h 86"/>
                  <a:gd name="T20" fmla="*/ 0 w 98"/>
                  <a:gd name="T21" fmla="*/ 56 h 86"/>
                  <a:gd name="T22" fmla="*/ 0 w 98"/>
                  <a:gd name="T23" fmla="*/ 56 h 86"/>
                  <a:gd name="T24" fmla="*/ 2 w 98"/>
                  <a:gd name="T25" fmla="*/ 58 h 86"/>
                  <a:gd name="T26" fmla="*/ 4 w 98"/>
                  <a:gd name="T27" fmla="*/ 60 h 86"/>
                  <a:gd name="T28" fmla="*/ 24 w 98"/>
                  <a:gd name="T29" fmla="*/ 60 h 86"/>
                  <a:gd name="T30" fmla="*/ 24 w 98"/>
                  <a:gd name="T31" fmla="*/ 60 h 86"/>
                  <a:gd name="T32" fmla="*/ 26 w 98"/>
                  <a:gd name="T33" fmla="*/ 58 h 86"/>
                  <a:gd name="T34" fmla="*/ 28 w 98"/>
                  <a:gd name="T35" fmla="*/ 56 h 86"/>
                  <a:gd name="T36" fmla="*/ 30 w 98"/>
                  <a:gd name="T37" fmla="*/ 54 h 86"/>
                  <a:gd name="T38" fmla="*/ 56 w 98"/>
                  <a:gd name="T39" fmla="*/ 56 h 86"/>
                  <a:gd name="T40" fmla="*/ 70 w 98"/>
                  <a:gd name="T41" fmla="*/ 70 h 86"/>
                  <a:gd name="T42" fmla="*/ 86 w 98"/>
                  <a:gd name="T43" fmla="*/ 86 h 86"/>
                  <a:gd name="T44" fmla="*/ 86 w 98"/>
                  <a:gd name="T45" fmla="*/ 86 h 86"/>
                  <a:gd name="T46" fmla="*/ 90 w 98"/>
                  <a:gd name="T47" fmla="*/ 86 h 86"/>
                  <a:gd name="T48" fmla="*/ 90 w 98"/>
                  <a:gd name="T49" fmla="*/ 86 h 86"/>
                  <a:gd name="T50" fmla="*/ 90 w 98"/>
                  <a:gd name="T51" fmla="*/ 86 h 86"/>
                  <a:gd name="T52" fmla="*/ 90 w 98"/>
                  <a:gd name="T53" fmla="*/ 86 h 86"/>
                  <a:gd name="T54" fmla="*/ 92 w 98"/>
                  <a:gd name="T55" fmla="*/ 84 h 86"/>
                  <a:gd name="T56" fmla="*/ 98 w 98"/>
                  <a:gd name="T57" fmla="*/ 76 h 86"/>
                  <a:gd name="T58" fmla="*/ 98 w 98"/>
                  <a:gd name="T59" fmla="*/ 76 h 86"/>
                  <a:gd name="T60" fmla="*/ 98 w 98"/>
                  <a:gd name="T61" fmla="*/ 72 h 86"/>
                  <a:gd name="T62" fmla="*/ 98 w 98"/>
                  <a:gd name="T63" fmla="*/ 70 h 86"/>
                  <a:gd name="T64" fmla="*/ 64 w 98"/>
                  <a:gd name="T65" fmla="*/ 42 h 86"/>
                  <a:gd name="T66" fmla="*/ 64 w 98"/>
                  <a:gd name="T67" fmla="*/ 42 h 86"/>
                  <a:gd name="T68" fmla="*/ 62 w 98"/>
                  <a:gd name="T69" fmla="*/ 40 h 86"/>
                  <a:gd name="T70" fmla="*/ 54 w 98"/>
                  <a:gd name="T71" fmla="*/ 40 h 86"/>
                  <a:gd name="T72" fmla="*/ 52 w 98"/>
                  <a:gd name="T73" fmla="*/ 28 h 86"/>
                  <a:gd name="T74" fmla="*/ 52 w 98"/>
                  <a:gd name="T75" fmla="*/ 28 h 86"/>
                  <a:gd name="T76" fmla="*/ 52 w 98"/>
                  <a:gd name="T77" fmla="*/ 26 h 86"/>
                  <a:gd name="T78" fmla="*/ 46 w 98"/>
                  <a:gd name="T79" fmla="*/ 14 h 86"/>
                  <a:gd name="T80" fmla="*/ 46 w 98"/>
                  <a:gd name="T81" fmla="*/ 14 h 86"/>
                  <a:gd name="T82" fmla="*/ 46 w 98"/>
                  <a:gd name="T83" fmla="*/ 12 h 86"/>
                  <a:gd name="T84" fmla="*/ 38 w 98"/>
                  <a:gd name="T85" fmla="*/ 2 h 86"/>
                  <a:gd name="T86" fmla="*/ 38 w 98"/>
                  <a:gd name="T87" fmla="*/ 2 h 86"/>
                  <a:gd name="T88" fmla="*/ 36 w 98"/>
                  <a:gd name="T89" fmla="*/ 0 h 86"/>
                  <a:gd name="T90" fmla="*/ 36 w 98"/>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8" h="86">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2" name="Freeform 402"/>
              <p:cNvSpPr>
                <a:spLocks/>
              </p:cNvSpPr>
              <p:nvPr/>
            </p:nvSpPr>
            <p:spPr bwMode="auto">
              <a:xfrm>
                <a:off x="3457" y="2335"/>
                <a:ext cx="20" cy="38"/>
              </a:xfrm>
              <a:custGeom>
                <a:avLst/>
                <a:gdLst>
                  <a:gd name="T0" fmla="*/ 14 w 20"/>
                  <a:gd name="T1" fmla="*/ 38 h 38"/>
                  <a:gd name="T2" fmla="*/ 0 w 20"/>
                  <a:gd name="T3" fmla="*/ 36 h 38"/>
                  <a:gd name="T4" fmla="*/ 0 w 20"/>
                  <a:gd name="T5" fmla="*/ 36 h 38"/>
                  <a:gd name="T6" fmla="*/ 0 w 20"/>
                  <a:gd name="T7" fmla="*/ 34 h 38"/>
                  <a:gd name="T8" fmla="*/ 0 w 20"/>
                  <a:gd name="T9" fmla="*/ 22 h 38"/>
                  <a:gd name="T10" fmla="*/ 0 w 20"/>
                  <a:gd name="T11" fmla="*/ 22 h 38"/>
                  <a:gd name="T12" fmla="*/ 0 w 20"/>
                  <a:gd name="T13" fmla="*/ 20 h 38"/>
                  <a:gd name="T14" fmla="*/ 6 w 20"/>
                  <a:gd name="T15" fmla="*/ 10 h 38"/>
                  <a:gd name="T16" fmla="*/ 10 w 20"/>
                  <a:gd name="T17" fmla="*/ 0 h 38"/>
                  <a:gd name="T18" fmla="*/ 10 w 20"/>
                  <a:gd name="T19" fmla="*/ 0 h 38"/>
                  <a:gd name="T20" fmla="*/ 12 w 20"/>
                  <a:gd name="T21" fmla="*/ 0 h 38"/>
                  <a:gd name="T22" fmla="*/ 12 w 20"/>
                  <a:gd name="T23" fmla="*/ 0 h 38"/>
                  <a:gd name="T24" fmla="*/ 12 w 20"/>
                  <a:gd name="T25" fmla="*/ 0 h 38"/>
                  <a:gd name="T26" fmla="*/ 12 w 20"/>
                  <a:gd name="T27" fmla="*/ 0 h 38"/>
                  <a:gd name="T28" fmla="*/ 14 w 20"/>
                  <a:gd name="T29" fmla="*/ 0 h 38"/>
                  <a:gd name="T30" fmla="*/ 20 w 20"/>
                  <a:gd name="T31" fmla="*/ 16 h 38"/>
                  <a:gd name="T32" fmla="*/ 20 w 20"/>
                  <a:gd name="T33" fmla="*/ 16 h 38"/>
                  <a:gd name="T34" fmla="*/ 20 w 20"/>
                  <a:gd name="T35" fmla="*/ 18 h 38"/>
                  <a:gd name="T36" fmla="*/ 14 w 20"/>
                  <a:gd name="T37" fmla="*/ 24 h 38"/>
                  <a:gd name="T38" fmla="*/ 16 w 20"/>
                  <a:gd name="T39" fmla="*/ 34 h 38"/>
                  <a:gd name="T40" fmla="*/ 16 w 20"/>
                  <a:gd name="T41" fmla="*/ 34 h 38"/>
                  <a:gd name="T42" fmla="*/ 14 w 20"/>
                  <a:gd name="T43" fmla="*/ 36 h 38"/>
                  <a:gd name="T44" fmla="*/ 14 w 20"/>
                  <a:gd name="T45" fmla="*/ 36 h 38"/>
                  <a:gd name="T46" fmla="*/ 14 w 20"/>
                  <a:gd name="T47" fmla="*/ 38 h 38"/>
                  <a:gd name="T48" fmla="*/ 14 w 20"/>
                  <a:gd name="T49" fmla="*/ 38 h 38"/>
                  <a:gd name="T50" fmla="*/ 14 w 20"/>
                  <a:gd name="T51" fmla="*/ 38 h 38"/>
                  <a:gd name="T52" fmla="*/ 14 w 20"/>
                  <a:gd name="T5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38">
                    <a:moveTo>
                      <a:pt x="14" y="38"/>
                    </a:moveTo>
                    <a:lnTo>
                      <a:pt x="0" y="36"/>
                    </a:lnTo>
                    <a:lnTo>
                      <a:pt x="0" y="36"/>
                    </a:lnTo>
                    <a:lnTo>
                      <a:pt x="0" y="34"/>
                    </a:lnTo>
                    <a:lnTo>
                      <a:pt x="0" y="22"/>
                    </a:lnTo>
                    <a:lnTo>
                      <a:pt x="0" y="22"/>
                    </a:lnTo>
                    <a:lnTo>
                      <a:pt x="0" y="20"/>
                    </a:lnTo>
                    <a:lnTo>
                      <a:pt x="6" y="10"/>
                    </a:lnTo>
                    <a:lnTo>
                      <a:pt x="10" y="0"/>
                    </a:lnTo>
                    <a:lnTo>
                      <a:pt x="10" y="0"/>
                    </a:lnTo>
                    <a:lnTo>
                      <a:pt x="12" y="0"/>
                    </a:lnTo>
                    <a:lnTo>
                      <a:pt x="12" y="0"/>
                    </a:lnTo>
                    <a:lnTo>
                      <a:pt x="12" y="0"/>
                    </a:lnTo>
                    <a:lnTo>
                      <a:pt x="12" y="0"/>
                    </a:lnTo>
                    <a:lnTo>
                      <a:pt x="14" y="0"/>
                    </a:lnTo>
                    <a:lnTo>
                      <a:pt x="20" y="16"/>
                    </a:lnTo>
                    <a:lnTo>
                      <a:pt x="20" y="16"/>
                    </a:lnTo>
                    <a:lnTo>
                      <a:pt x="20" y="18"/>
                    </a:lnTo>
                    <a:lnTo>
                      <a:pt x="14" y="24"/>
                    </a:lnTo>
                    <a:lnTo>
                      <a:pt x="16" y="34"/>
                    </a:lnTo>
                    <a:lnTo>
                      <a:pt x="16" y="34"/>
                    </a:lnTo>
                    <a:lnTo>
                      <a:pt x="14" y="36"/>
                    </a:lnTo>
                    <a:lnTo>
                      <a:pt x="14" y="36"/>
                    </a:lnTo>
                    <a:lnTo>
                      <a:pt x="14" y="38"/>
                    </a:lnTo>
                    <a:lnTo>
                      <a:pt x="14"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3" name="Freeform 403"/>
              <p:cNvSpPr>
                <a:spLocks noEditPoints="1"/>
              </p:cNvSpPr>
              <p:nvPr/>
            </p:nvSpPr>
            <p:spPr bwMode="auto">
              <a:xfrm>
                <a:off x="3455" y="2333"/>
                <a:ext cx="24" cy="42"/>
              </a:xfrm>
              <a:custGeom>
                <a:avLst/>
                <a:gdLst>
                  <a:gd name="T0" fmla="*/ 14 w 24"/>
                  <a:gd name="T1" fmla="*/ 4 h 42"/>
                  <a:gd name="T2" fmla="*/ 20 w 24"/>
                  <a:gd name="T3" fmla="*/ 20 h 42"/>
                  <a:gd name="T4" fmla="*/ 14 w 24"/>
                  <a:gd name="T5" fmla="*/ 26 h 42"/>
                  <a:gd name="T6" fmla="*/ 16 w 24"/>
                  <a:gd name="T7" fmla="*/ 38 h 42"/>
                  <a:gd name="T8" fmla="*/ 4 w 24"/>
                  <a:gd name="T9" fmla="*/ 36 h 42"/>
                  <a:gd name="T10" fmla="*/ 4 w 24"/>
                  <a:gd name="T11" fmla="*/ 24 h 42"/>
                  <a:gd name="T12" fmla="*/ 10 w 24"/>
                  <a:gd name="T13" fmla="*/ 14 h 42"/>
                  <a:gd name="T14" fmla="*/ 14 w 24"/>
                  <a:gd name="T15" fmla="*/ 4 h 42"/>
                  <a:gd name="T16" fmla="*/ 14 w 24"/>
                  <a:gd name="T17" fmla="*/ 0 h 42"/>
                  <a:gd name="T18" fmla="*/ 14 w 24"/>
                  <a:gd name="T19" fmla="*/ 0 h 42"/>
                  <a:gd name="T20" fmla="*/ 12 w 24"/>
                  <a:gd name="T21" fmla="*/ 0 h 42"/>
                  <a:gd name="T22" fmla="*/ 10 w 24"/>
                  <a:gd name="T23" fmla="*/ 2 h 42"/>
                  <a:gd name="T24" fmla="*/ 6 w 24"/>
                  <a:gd name="T25" fmla="*/ 12 h 42"/>
                  <a:gd name="T26" fmla="*/ 0 w 24"/>
                  <a:gd name="T27" fmla="*/ 22 h 42"/>
                  <a:gd name="T28" fmla="*/ 0 w 24"/>
                  <a:gd name="T29" fmla="*/ 22 h 42"/>
                  <a:gd name="T30" fmla="*/ 0 w 24"/>
                  <a:gd name="T31" fmla="*/ 24 h 42"/>
                  <a:gd name="T32" fmla="*/ 0 w 24"/>
                  <a:gd name="T33" fmla="*/ 36 h 42"/>
                  <a:gd name="T34" fmla="*/ 0 w 24"/>
                  <a:gd name="T35" fmla="*/ 36 h 42"/>
                  <a:gd name="T36" fmla="*/ 0 w 24"/>
                  <a:gd name="T37" fmla="*/ 38 h 42"/>
                  <a:gd name="T38" fmla="*/ 2 w 24"/>
                  <a:gd name="T39" fmla="*/ 40 h 42"/>
                  <a:gd name="T40" fmla="*/ 14 w 24"/>
                  <a:gd name="T41" fmla="*/ 42 h 42"/>
                  <a:gd name="T42" fmla="*/ 14 w 24"/>
                  <a:gd name="T43" fmla="*/ 42 h 42"/>
                  <a:gd name="T44" fmla="*/ 16 w 24"/>
                  <a:gd name="T45" fmla="*/ 42 h 42"/>
                  <a:gd name="T46" fmla="*/ 16 w 24"/>
                  <a:gd name="T47" fmla="*/ 42 h 42"/>
                  <a:gd name="T48" fmla="*/ 18 w 24"/>
                  <a:gd name="T49" fmla="*/ 40 h 42"/>
                  <a:gd name="T50" fmla="*/ 18 w 24"/>
                  <a:gd name="T51" fmla="*/ 40 h 42"/>
                  <a:gd name="T52" fmla="*/ 20 w 24"/>
                  <a:gd name="T53" fmla="*/ 36 h 42"/>
                  <a:gd name="T54" fmla="*/ 18 w 24"/>
                  <a:gd name="T55" fmla="*/ 26 h 42"/>
                  <a:gd name="T56" fmla="*/ 22 w 24"/>
                  <a:gd name="T57" fmla="*/ 22 h 42"/>
                  <a:gd name="T58" fmla="*/ 22 w 24"/>
                  <a:gd name="T59" fmla="*/ 22 h 42"/>
                  <a:gd name="T60" fmla="*/ 24 w 24"/>
                  <a:gd name="T61" fmla="*/ 20 h 42"/>
                  <a:gd name="T62" fmla="*/ 24 w 24"/>
                  <a:gd name="T63" fmla="*/ 18 h 42"/>
                  <a:gd name="T64" fmla="*/ 18 w 24"/>
                  <a:gd name="T65" fmla="*/ 2 h 42"/>
                  <a:gd name="T66" fmla="*/ 18 w 24"/>
                  <a:gd name="T67" fmla="*/ 2 h 42"/>
                  <a:gd name="T68" fmla="*/ 16 w 24"/>
                  <a:gd name="T69" fmla="*/ 0 h 42"/>
                  <a:gd name="T70" fmla="*/ 14 w 24"/>
                  <a:gd name="T71" fmla="*/ 0 h 42"/>
                  <a:gd name="T72" fmla="*/ 14 w 24"/>
                  <a:gd name="T73" fmla="*/ 0 h 42"/>
                  <a:gd name="T74" fmla="*/ 14 w 24"/>
                  <a:gd name="T75" fmla="*/ 0 h 42"/>
                  <a:gd name="T76" fmla="*/ 14 w 24"/>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42">
                    <a:moveTo>
                      <a:pt x="14" y="4"/>
                    </a:moveTo>
                    <a:lnTo>
                      <a:pt x="20" y="20"/>
                    </a:lnTo>
                    <a:lnTo>
                      <a:pt x="14" y="26"/>
                    </a:lnTo>
                    <a:lnTo>
                      <a:pt x="16" y="38"/>
                    </a:lnTo>
                    <a:lnTo>
                      <a:pt x="4" y="36"/>
                    </a:lnTo>
                    <a:lnTo>
                      <a:pt x="4" y="24"/>
                    </a:lnTo>
                    <a:lnTo>
                      <a:pt x="10" y="14"/>
                    </a:lnTo>
                    <a:lnTo>
                      <a:pt x="14" y="4"/>
                    </a:lnTo>
                    <a:close/>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4" name="Freeform 404"/>
              <p:cNvSpPr>
                <a:spLocks/>
              </p:cNvSpPr>
              <p:nvPr/>
            </p:nvSpPr>
            <p:spPr bwMode="auto">
              <a:xfrm>
                <a:off x="3459" y="2337"/>
                <a:ext cx="16" cy="34"/>
              </a:xfrm>
              <a:custGeom>
                <a:avLst/>
                <a:gdLst>
                  <a:gd name="T0" fmla="*/ 10 w 16"/>
                  <a:gd name="T1" fmla="*/ 0 h 34"/>
                  <a:gd name="T2" fmla="*/ 16 w 16"/>
                  <a:gd name="T3" fmla="*/ 16 h 34"/>
                  <a:gd name="T4" fmla="*/ 10 w 16"/>
                  <a:gd name="T5" fmla="*/ 22 h 34"/>
                  <a:gd name="T6" fmla="*/ 12 w 16"/>
                  <a:gd name="T7" fmla="*/ 34 h 34"/>
                  <a:gd name="T8" fmla="*/ 0 w 16"/>
                  <a:gd name="T9" fmla="*/ 32 h 34"/>
                  <a:gd name="T10" fmla="*/ 0 w 16"/>
                  <a:gd name="T11" fmla="*/ 20 h 34"/>
                  <a:gd name="T12" fmla="*/ 6 w 16"/>
                  <a:gd name="T13" fmla="*/ 10 h 34"/>
                  <a:gd name="T14" fmla="*/ 10 w 16"/>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4">
                    <a:moveTo>
                      <a:pt x="10" y="0"/>
                    </a:moveTo>
                    <a:lnTo>
                      <a:pt x="16" y="16"/>
                    </a:lnTo>
                    <a:lnTo>
                      <a:pt x="10" y="22"/>
                    </a:lnTo>
                    <a:lnTo>
                      <a:pt x="12" y="34"/>
                    </a:lnTo>
                    <a:lnTo>
                      <a:pt x="0" y="32"/>
                    </a:lnTo>
                    <a:lnTo>
                      <a:pt x="0" y="20"/>
                    </a:lnTo>
                    <a:lnTo>
                      <a:pt x="6" y="1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5" name="Freeform 405"/>
              <p:cNvSpPr>
                <a:spLocks/>
              </p:cNvSpPr>
              <p:nvPr/>
            </p:nvSpPr>
            <p:spPr bwMode="auto">
              <a:xfrm>
                <a:off x="3455" y="2333"/>
                <a:ext cx="24" cy="42"/>
              </a:xfrm>
              <a:custGeom>
                <a:avLst/>
                <a:gdLst>
                  <a:gd name="T0" fmla="*/ 14 w 24"/>
                  <a:gd name="T1" fmla="*/ 0 h 42"/>
                  <a:gd name="T2" fmla="*/ 14 w 24"/>
                  <a:gd name="T3" fmla="*/ 0 h 42"/>
                  <a:gd name="T4" fmla="*/ 12 w 24"/>
                  <a:gd name="T5" fmla="*/ 0 h 42"/>
                  <a:gd name="T6" fmla="*/ 10 w 24"/>
                  <a:gd name="T7" fmla="*/ 2 h 42"/>
                  <a:gd name="T8" fmla="*/ 6 w 24"/>
                  <a:gd name="T9" fmla="*/ 12 h 42"/>
                  <a:gd name="T10" fmla="*/ 0 w 24"/>
                  <a:gd name="T11" fmla="*/ 22 h 42"/>
                  <a:gd name="T12" fmla="*/ 0 w 24"/>
                  <a:gd name="T13" fmla="*/ 22 h 42"/>
                  <a:gd name="T14" fmla="*/ 0 w 24"/>
                  <a:gd name="T15" fmla="*/ 24 h 42"/>
                  <a:gd name="T16" fmla="*/ 0 w 24"/>
                  <a:gd name="T17" fmla="*/ 36 h 42"/>
                  <a:gd name="T18" fmla="*/ 0 w 24"/>
                  <a:gd name="T19" fmla="*/ 36 h 42"/>
                  <a:gd name="T20" fmla="*/ 0 w 24"/>
                  <a:gd name="T21" fmla="*/ 38 h 42"/>
                  <a:gd name="T22" fmla="*/ 2 w 24"/>
                  <a:gd name="T23" fmla="*/ 40 h 42"/>
                  <a:gd name="T24" fmla="*/ 14 w 24"/>
                  <a:gd name="T25" fmla="*/ 42 h 42"/>
                  <a:gd name="T26" fmla="*/ 14 w 24"/>
                  <a:gd name="T27" fmla="*/ 42 h 42"/>
                  <a:gd name="T28" fmla="*/ 16 w 24"/>
                  <a:gd name="T29" fmla="*/ 42 h 42"/>
                  <a:gd name="T30" fmla="*/ 16 w 24"/>
                  <a:gd name="T31" fmla="*/ 42 h 42"/>
                  <a:gd name="T32" fmla="*/ 18 w 24"/>
                  <a:gd name="T33" fmla="*/ 40 h 42"/>
                  <a:gd name="T34" fmla="*/ 18 w 24"/>
                  <a:gd name="T35" fmla="*/ 40 h 42"/>
                  <a:gd name="T36" fmla="*/ 20 w 24"/>
                  <a:gd name="T37" fmla="*/ 36 h 42"/>
                  <a:gd name="T38" fmla="*/ 18 w 24"/>
                  <a:gd name="T39" fmla="*/ 26 h 42"/>
                  <a:gd name="T40" fmla="*/ 22 w 24"/>
                  <a:gd name="T41" fmla="*/ 22 h 42"/>
                  <a:gd name="T42" fmla="*/ 22 w 24"/>
                  <a:gd name="T43" fmla="*/ 22 h 42"/>
                  <a:gd name="T44" fmla="*/ 24 w 24"/>
                  <a:gd name="T45" fmla="*/ 20 h 42"/>
                  <a:gd name="T46" fmla="*/ 24 w 24"/>
                  <a:gd name="T47" fmla="*/ 18 h 42"/>
                  <a:gd name="T48" fmla="*/ 18 w 24"/>
                  <a:gd name="T49" fmla="*/ 2 h 42"/>
                  <a:gd name="T50" fmla="*/ 18 w 24"/>
                  <a:gd name="T51" fmla="*/ 2 h 42"/>
                  <a:gd name="T52" fmla="*/ 16 w 24"/>
                  <a:gd name="T53" fmla="*/ 0 h 42"/>
                  <a:gd name="T54" fmla="*/ 14 w 24"/>
                  <a:gd name="T55" fmla="*/ 0 h 42"/>
                  <a:gd name="T56" fmla="*/ 14 w 24"/>
                  <a:gd name="T57" fmla="*/ 0 h 42"/>
                  <a:gd name="T58" fmla="*/ 14 w 24"/>
                  <a:gd name="T59" fmla="*/ 0 h 42"/>
                  <a:gd name="T60" fmla="*/ 14 w 24"/>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42">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9" name="Group 607"/>
            <p:cNvGrpSpPr>
              <a:grpSpLocks/>
            </p:cNvGrpSpPr>
            <p:nvPr/>
          </p:nvGrpSpPr>
          <p:grpSpPr bwMode="auto">
            <a:xfrm>
              <a:off x="2615" y="1289"/>
              <a:ext cx="976" cy="1752"/>
              <a:chOff x="2615" y="1289"/>
              <a:chExt cx="976" cy="1752"/>
            </a:xfrm>
            <a:grpFill/>
          </p:grpSpPr>
          <p:sp>
            <p:nvSpPr>
              <p:cNvPr id="516" name="Freeform 407"/>
              <p:cNvSpPr>
                <a:spLocks/>
              </p:cNvSpPr>
              <p:nvPr/>
            </p:nvSpPr>
            <p:spPr bwMode="auto">
              <a:xfrm>
                <a:off x="3439" y="2351"/>
                <a:ext cx="150" cy="200"/>
              </a:xfrm>
              <a:custGeom>
                <a:avLst/>
                <a:gdLst>
                  <a:gd name="T0" fmla="*/ 12 w 150"/>
                  <a:gd name="T1" fmla="*/ 200 h 200"/>
                  <a:gd name="T2" fmla="*/ 12 w 150"/>
                  <a:gd name="T3" fmla="*/ 200 h 200"/>
                  <a:gd name="T4" fmla="*/ 12 w 150"/>
                  <a:gd name="T5" fmla="*/ 200 h 200"/>
                  <a:gd name="T6" fmla="*/ 2 w 150"/>
                  <a:gd name="T7" fmla="*/ 188 h 200"/>
                  <a:gd name="T8" fmla="*/ 2 w 150"/>
                  <a:gd name="T9" fmla="*/ 188 h 200"/>
                  <a:gd name="T10" fmla="*/ 2 w 150"/>
                  <a:gd name="T11" fmla="*/ 186 h 200"/>
                  <a:gd name="T12" fmla="*/ 0 w 150"/>
                  <a:gd name="T13" fmla="*/ 136 h 200"/>
                  <a:gd name="T14" fmla="*/ 0 w 150"/>
                  <a:gd name="T15" fmla="*/ 136 h 200"/>
                  <a:gd name="T16" fmla="*/ 2 w 150"/>
                  <a:gd name="T17" fmla="*/ 134 h 200"/>
                  <a:gd name="T18" fmla="*/ 14 w 150"/>
                  <a:gd name="T19" fmla="*/ 124 h 200"/>
                  <a:gd name="T20" fmla="*/ 14 w 150"/>
                  <a:gd name="T21" fmla="*/ 116 h 200"/>
                  <a:gd name="T22" fmla="*/ 14 w 150"/>
                  <a:gd name="T23" fmla="*/ 116 h 200"/>
                  <a:gd name="T24" fmla="*/ 16 w 150"/>
                  <a:gd name="T25" fmla="*/ 116 h 200"/>
                  <a:gd name="T26" fmla="*/ 36 w 150"/>
                  <a:gd name="T27" fmla="*/ 102 h 200"/>
                  <a:gd name="T28" fmla="*/ 60 w 150"/>
                  <a:gd name="T29" fmla="*/ 98 h 200"/>
                  <a:gd name="T30" fmla="*/ 94 w 150"/>
                  <a:gd name="T31" fmla="*/ 60 h 200"/>
                  <a:gd name="T32" fmla="*/ 48 w 150"/>
                  <a:gd name="T33" fmla="*/ 48 h 200"/>
                  <a:gd name="T34" fmla="*/ 48 w 150"/>
                  <a:gd name="T35" fmla="*/ 48 h 200"/>
                  <a:gd name="T36" fmla="*/ 46 w 150"/>
                  <a:gd name="T37" fmla="*/ 48 h 200"/>
                  <a:gd name="T38" fmla="*/ 28 w 150"/>
                  <a:gd name="T39" fmla="*/ 28 h 200"/>
                  <a:gd name="T40" fmla="*/ 28 w 150"/>
                  <a:gd name="T41" fmla="*/ 28 h 200"/>
                  <a:gd name="T42" fmla="*/ 28 w 150"/>
                  <a:gd name="T43" fmla="*/ 26 h 200"/>
                  <a:gd name="T44" fmla="*/ 28 w 150"/>
                  <a:gd name="T45" fmla="*/ 16 h 200"/>
                  <a:gd name="T46" fmla="*/ 28 w 150"/>
                  <a:gd name="T47" fmla="*/ 16 h 200"/>
                  <a:gd name="T48" fmla="*/ 30 w 150"/>
                  <a:gd name="T49" fmla="*/ 16 h 200"/>
                  <a:gd name="T50" fmla="*/ 36 w 150"/>
                  <a:gd name="T51" fmla="*/ 8 h 200"/>
                  <a:gd name="T52" fmla="*/ 36 w 150"/>
                  <a:gd name="T53" fmla="*/ 8 h 200"/>
                  <a:gd name="T54" fmla="*/ 38 w 150"/>
                  <a:gd name="T55" fmla="*/ 8 h 200"/>
                  <a:gd name="T56" fmla="*/ 38 w 150"/>
                  <a:gd name="T57" fmla="*/ 8 h 200"/>
                  <a:gd name="T58" fmla="*/ 38 w 150"/>
                  <a:gd name="T59" fmla="*/ 8 h 200"/>
                  <a:gd name="T60" fmla="*/ 56 w 150"/>
                  <a:gd name="T61" fmla="*/ 24 h 200"/>
                  <a:gd name="T62" fmla="*/ 70 w 150"/>
                  <a:gd name="T63" fmla="*/ 16 h 200"/>
                  <a:gd name="T64" fmla="*/ 130 w 150"/>
                  <a:gd name="T65" fmla="*/ 8 h 200"/>
                  <a:gd name="T66" fmla="*/ 146 w 150"/>
                  <a:gd name="T67" fmla="*/ 0 h 200"/>
                  <a:gd name="T68" fmla="*/ 146 w 150"/>
                  <a:gd name="T69" fmla="*/ 0 h 200"/>
                  <a:gd name="T70" fmla="*/ 146 w 150"/>
                  <a:gd name="T71" fmla="*/ 0 h 200"/>
                  <a:gd name="T72" fmla="*/ 146 w 150"/>
                  <a:gd name="T73" fmla="*/ 0 h 200"/>
                  <a:gd name="T74" fmla="*/ 148 w 150"/>
                  <a:gd name="T75" fmla="*/ 0 h 200"/>
                  <a:gd name="T76" fmla="*/ 148 w 150"/>
                  <a:gd name="T77" fmla="*/ 0 h 200"/>
                  <a:gd name="T78" fmla="*/ 148 w 150"/>
                  <a:gd name="T79" fmla="*/ 2 h 200"/>
                  <a:gd name="T80" fmla="*/ 150 w 150"/>
                  <a:gd name="T81" fmla="*/ 22 h 200"/>
                  <a:gd name="T82" fmla="*/ 150 w 150"/>
                  <a:gd name="T83" fmla="*/ 22 h 200"/>
                  <a:gd name="T84" fmla="*/ 150 w 150"/>
                  <a:gd name="T85" fmla="*/ 24 h 200"/>
                  <a:gd name="T86" fmla="*/ 142 w 150"/>
                  <a:gd name="T87" fmla="*/ 32 h 200"/>
                  <a:gd name="T88" fmla="*/ 120 w 150"/>
                  <a:gd name="T89" fmla="*/ 76 h 200"/>
                  <a:gd name="T90" fmla="*/ 74 w 150"/>
                  <a:gd name="T91" fmla="*/ 142 h 200"/>
                  <a:gd name="T92" fmla="*/ 14 w 150"/>
                  <a:gd name="T93" fmla="*/ 200 h 200"/>
                  <a:gd name="T94" fmla="*/ 14 w 150"/>
                  <a:gd name="T95" fmla="*/ 200 h 200"/>
                  <a:gd name="T96" fmla="*/ 12 w 150"/>
                  <a:gd name="T97" fmla="*/ 200 h 200"/>
                  <a:gd name="T98" fmla="*/ 12 w 150"/>
                  <a:gd name="T99" fmla="*/ 200 h 200"/>
                  <a:gd name="T100" fmla="*/ 12 w 150"/>
                  <a:gd name="T101" fmla="*/ 200 h 200"/>
                  <a:gd name="T102" fmla="*/ 12 w 150"/>
                  <a:gd name="T10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 h="200">
                    <a:moveTo>
                      <a:pt x="12" y="200"/>
                    </a:moveTo>
                    <a:lnTo>
                      <a:pt x="12" y="200"/>
                    </a:lnTo>
                    <a:lnTo>
                      <a:pt x="12" y="200"/>
                    </a:lnTo>
                    <a:lnTo>
                      <a:pt x="2" y="188"/>
                    </a:lnTo>
                    <a:lnTo>
                      <a:pt x="2" y="188"/>
                    </a:lnTo>
                    <a:lnTo>
                      <a:pt x="2" y="186"/>
                    </a:lnTo>
                    <a:lnTo>
                      <a:pt x="0" y="136"/>
                    </a:lnTo>
                    <a:lnTo>
                      <a:pt x="0" y="136"/>
                    </a:lnTo>
                    <a:lnTo>
                      <a:pt x="2" y="134"/>
                    </a:lnTo>
                    <a:lnTo>
                      <a:pt x="14" y="124"/>
                    </a:lnTo>
                    <a:lnTo>
                      <a:pt x="14" y="116"/>
                    </a:lnTo>
                    <a:lnTo>
                      <a:pt x="14" y="116"/>
                    </a:lnTo>
                    <a:lnTo>
                      <a:pt x="16" y="116"/>
                    </a:lnTo>
                    <a:lnTo>
                      <a:pt x="36" y="102"/>
                    </a:lnTo>
                    <a:lnTo>
                      <a:pt x="60" y="98"/>
                    </a:lnTo>
                    <a:lnTo>
                      <a:pt x="94" y="60"/>
                    </a:lnTo>
                    <a:lnTo>
                      <a:pt x="48" y="48"/>
                    </a:lnTo>
                    <a:lnTo>
                      <a:pt x="48" y="48"/>
                    </a:lnTo>
                    <a:lnTo>
                      <a:pt x="46" y="48"/>
                    </a:lnTo>
                    <a:lnTo>
                      <a:pt x="28" y="28"/>
                    </a:lnTo>
                    <a:lnTo>
                      <a:pt x="28" y="28"/>
                    </a:lnTo>
                    <a:lnTo>
                      <a:pt x="28" y="26"/>
                    </a:lnTo>
                    <a:lnTo>
                      <a:pt x="28" y="16"/>
                    </a:lnTo>
                    <a:lnTo>
                      <a:pt x="28" y="16"/>
                    </a:lnTo>
                    <a:lnTo>
                      <a:pt x="30" y="16"/>
                    </a:lnTo>
                    <a:lnTo>
                      <a:pt x="36" y="8"/>
                    </a:lnTo>
                    <a:lnTo>
                      <a:pt x="36" y="8"/>
                    </a:lnTo>
                    <a:lnTo>
                      <a:pt x="38" y="8"/>
                    </a:lnTo>
                    <a:lnTo>
                      <a:pt x="38" y="8"/>
                    </a:lnTo>
                    <a:lnTo>
                      <a:pt x="38" y="8"/>
                    </a:lnTo>
                    <a:lnTo>
                      <a:pt x="56" y="24"/>
                    </a:lnTo>
                    <a:lnTo>
                      <a:pt x="70" y="16"/>
                    </a:lnTo>
                    <a:lnTo>
                      <a:pt x="130" y="8"/>
                    </a:lnTo>
                    <a:lnTo>
                      <a:pt x="146" y="0"/>
                    </a:lnTo>
                    <a:lnTo>
                      <a:pt x="146" y="0"/>
                    </a:lnTo>
                    <a:lnTo>
                      <a:pt x="146" y="0"/>
                    </a:lnTo>
                    <a:lnTo>
                      <a:pt x="146" y="0"/>
                    </a:lnTo>
                    <a:lnTo>
                      <a:pt x="148" y="0"/>
                    </a:lnTo>
                    <a:lnTo>
                      <a:pt x="148" y="0"/>
                    </a:lnTo>
                    <a:lnTo>
                      <a:pt x="148" y="2"/>
                    </a:lnTo>
                    <a:lnTo>
                      <a:pt x="150" y="22"/>
                    </a:lnTo>
                    <a:lnTo>
                      <a:pt x="150" y="22"/>
                    </a:lnTo>
                    <a:lnTo>
                      <a:pt x="150" y="24"/>
                    </a:lnTo>
                    <a:lnTo>
                      <a:pt x="142" y="32"/>
                    </a:lnTo>
                    <a:lnTo>
                      <a:pt x="120" y="76"/>
                    </a:lnTo>
                    <a:lnTo>
                      <a:pt x="74" y="142"/>
                    </a:lnTo>
                    <a:lnTo>
                      <a:pt x="14" y="200"/>
                    </a:lnTo>
                    <a:lnTo>
                      <a:pt x="14" y="200"/>
                    </a:lnTo>
                    <a:lnTo>
                      <a:pt x="12" y="200"/>
                    </a:lnTo>
                    <a:lnTo>
                      <a:pt x="12" y="200"/>
                    </a:lnTo>
                    <a:lnTo>
                      <a:pt x="12" y="200"/>
                    </a:lnTo>
                    <a:lnTo>
                      <a:pt x="12"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7" name="Freeform 408"/>
              <p:cNvSpPr>
                <a:spLocks noEditPoints="1"/>
              </p:cNvSpPr>
              <p:nvPr/>
            </p:nvSpPr>
            <p:spPr bwMode="auto">
              <a:xfrm>
                <a:off x="3437" y="2349"/>
                <a:ext cx="154" cy="204"/>
              </a:xfrm>
              <a:custGeom>
                <a:avLst/>
                <a:gdLst>
                  <a:gd name="T0" fmla="*/ 150 w 154"/>
                  <a:gd name="T1" fmla="*/ 24 h 204"/>
                  <a:gd name="T2" fmla="*/ 120 w 154"/>
                  <a:gd name="T3" fmla="*/ 78 h 204"/>
                  <a:gd name="T4" fmla="*/ 14 w 154"/>
                  <a:gd name="T5" fmla="*/ 200 h 204"/>
                  <a:gd name="T6" fmla="*/ 4 w 154"/>
                  <a:gd name="T7" fmla="*/ 138 h 204"/>
                  <a:gd name="T8" fmla="*/ 18 w 154"/>
                  <a:gd name="T9" fmla="*/ 118 h 204"/>
                  <a:gd name="T10" fmla="*/ 62 w 154"/>
                  <a:gd name="T11" fmla="*/ 102 h 204"/>
                  <a:gd name="T12" fmla="*/ 50 w 154"/>
                  <a:gd name="T13" fmla="*/ 48 h 204"/>
                  <a:gd name="T14" fmla="*/ 32 w 154"/>
                  <a:gd name="T15" fmla="*/ 18 h 204"/>
                  <a:gd name="T16" fmla="*/ 56 w 154"/>
                  <a:gd name="T17" fmla="*/ 28 h 204"/>
                  <a:gd name="T18" fmla="*/ 132 w 154"/>
                  <a:gd name="T19" fmla="*/ 12 h 204"/>
                  <a:gd name="T20" fmla="*/ 148 w 154"/>
                  <a:gd name="T21" fmla="*/ 0 h 204"/>
                  <a:gd name="T22" fmla="*/ 146 w 154"/>
                  <a:gd name="T23" fmla="*/ 0 h 204"/>
                  <a:gd name="T24" fmla="*/ 72 w 154"/>
                  <a:gd name="T25" fmla="*/ 16 h 204"/>
                  <a:gd name="T26" fmla="*/ 72 w 154"/>
                  <a:gd name="T27" fmla="*/ 18 h 204"/>
                  <a:gd name="T28" fmla="*/ 42 w 154"/>
                  <a:gd name="T29" fmla="*/ 8 h 204"/>
                  <a:gd name="T30" fmla="*/ 40 w 154"/>
                  <a:gd name="T31" fmla="*/ 8 h 204"/>
                  <a:gd name="T32" fmla="*/ 36 w 154"/>
                  <a:gd name="T33" fmla="*/ 8 h 204"/>
                  <a:gd name="T34" fmla="*/ 30 w 154"/>
                  <a:gd name="T35" fmla="*/ 16 h 204"/>
                  <a:gd name="T36" fmla="*/ 28 w 154"/>
                  <a:gd name="T37" fmla="*/ 28 h 204"/>
                  <a:gd name="T38" fmla="*/ 30 w 154"/>
                  <a:gd name="T39" fmla="*/ 30 h 204"/>
                  <a:gd name="T40" fmla="*/ 46 w 154"/>
                  <a:gd name="T41" fmla="*/ 50 h 204"/>
                  <a:gd name="T42" fmla="*/ 92 w 154"/>
                  <a:gd name="T43" fmla="*/ 62 h 204"/>
                  <a:gd name="T44" fmla="*/ 38 w 154"/>
                  <a:gd name="T45" fmla="*/ 102 h 204"/>
                  <a:gd name="T46" fmla="*/ 38 w 154"/>
                  <a:gd name="T47" fmla="*/ 102 h 204"/>
                  <a:gd name="T48" fmla="*/ 16 w 154"/>
                  <a:gd name="T49" fmla="*/ 116 h 204"/>
                  <a:gd name="T50" fmla="*/ 14 w 154"/>
                  <a:gd name="T51" fmla="*/ 126 h 204"/>
                  <a:gd name="T52" fmla="*/ 2 w 154"/>
                  <a:gd name="T53" fmla="*/ 134 h 204"/>
                  <a:gd name="T54" fmla="*/ 2 w 154"/>
                  <a:gd name="T55" fmla="*/ 188 h 204"/>
                  <a:gd name="T56" fmla="*/ 2 w 154"/>
                  <a:gd name="T57" fmla="*/ 190 h 204"/>
                  <a:gd name="T58" fmla="*/ 12 w 154"/>
                  <a:gd name="T59" fmla="*/ 202 h 204"/>
                  <a:gd name="T60" fmla="*/ 14 w 154"/>
                  <a:gd name="T61" fmla="*/ 204 h 204"/>
                  <a:gd name="T62" fmla="*/ 14 w 154"/>
                  <a:gd name="T63" fmla="*/ 204 h 204"/>
                  <a:gd name="T64" fmla="*/ 78 w 154"/>
                  <a:gd name="T65" fmla="*/ 146 h 204"/>
                  <a:gd name="T66" fmla="*/ 78 w 154"/>
                  <a:gd name="T67" fmla="*/ 144 h 204"/>
                  <a:gd name="T68" fmla="*/ 124 w 154"/>
                  <a:gd name="T69" fmla="*/ 80 h 204"/>
                  <a:gd name="T70" fmla="*/ 146 w 154"/>
                  <a:gd name="T71" fmla="*/ 34 h 204"/>
                  <a:gd name="T72" fmla="*/ 152 w 154"/>
                  <a:gd name="T73" fmla="*/ 28 h 204"/>
                  <a:gd name="T74" fmla="*/ 152 w 154"/>
                  <a:gd name="T75" fmla="*/ 4 h 204"/>
                  <a:gd name="T76" fmla="*/ 150 w 154"/>
                  <a:gd name="T77" fmla="*/ 0 h 204"/>
                  <a:gd name="T78" fmla="*/ 148 w 154"/>
                  <a:gd name="T7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204">
                    <a:moveTo>
                      <a:pt x="148" y="4"/>
                    </a:moveTo>
                    <a:lnTo>
                      <a:pt x="150" y="24"/>
                    </a:lnTo>
                    <a:lnTo>
                      <a:pt x="142" y="32"/>
                    </a:lnTo>
                    <a:lnTo>
                      <a:pt x="120" y="78"/>
                    </a:lnTo>
                    <a:lnTo>
                      <a:pt x="74" y="142"/>
                    </a:lnTo>
                    <a:lnTo>
                      <a:pt x="14" y="200"/>
                    </a:lnTo>
                    <a:lnTo>
                      <a:pt x="6" y="188"/>
                    </a:lnTo>
                    <a:lnTo>
                      <a:pt x="4" y="138"/>
                    </a:lnTo>
                    <a:lnTo>
                      <a:pt x="18" y="128"/>
                    </a:lnTo>
                    <a:lnTo>
                      <a:pt x="18" y="118"/>
                    </a:lnTo>
                    <a:lnTo>
                      <a:pt x="40" y="106"/>
                    </a:lnTo>
                    <a:lnTo>
                      <a:pt x="62" y="102"/>
                    </a:lnTo>
                    <a:lnTo>
                      <a:pt x="100" y="60"/>
                    </a:lnTo>
                    <a:lnTo>
                      <a:pt x="50" y="48"/>
                    </a:lnTo>
                    <a:lnTo>
                      <a:pt x="32" y="28"/>
                    </a:lnTo>
                    <a:lnTo>
                      <a:pt x="32" y="18"/>
                    </a:lnTo>
                    <a:lnTo>
                      <a:pt x="40" y="12"/>
                    </a:lnTo>
                    <a:lnTo>
                      <a:pt x="56" y="28"/>
                    </a:lnTo>
                    <a:lnTo>
                      <a:pt x="72" y="20"/>
                    </a:lnTo>
                    <a:lnTo>
                      <a:pt x="132" y="12"/>
                    </a:lnTo>
                    <a:lnTo>
                      <a:pt x="148" y="4"/>
                    </a:lnTo>
                    <a:close/>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8" name="Freeform 409"/>
              <p:cNvSpPr>
                <a:spLocks/>
              </p:cNvSpPr>
              <p:nvPr/>
            </p:nvSpPr>
            <p:spPr bwMode="auto">
              <a:xfrm>
                <a:off x="3441" y="2353"/>
                <a:ext cx="146" cy="196"/>
              </a:xfrm>
              <a:custGeom>
                <a:avLst/>
                <a:gdLst>
                  <a:gd name="T0" fmla="*/ 144 w 146"/>
                  <a:gd name="T1" fmla="*/ 0 h 196"/>
                  <a:gd name="T2" fmla="*/ 146 w 146"/>
                  <a:gd name="T3" fmla="*/ 20 h 196"/>
                  <a:gd name="T4" fmla="*/ 138 w 146"/>
                  <a:gd name="T5" fmla="*/ 28 h 196"/>
                  <a:gd name="T6" fmla="*/ 116 w 146"/>
                  <a:gd name="T7" fmla="*/ 74 h 196"/>
                  <a:gd name="T8" fmla="*/ 70 w 146"/>
                  <a:gd name="T9" fmla="*/ 138 h 196"/>
                  <a:gd name="T10" fmla="*/ 10 w 146"/>
                  <a:gd name="T11" fmla="*/ 196 h 196"/>
                  <a:gd name="T12" fmla="*/ 2 w 146"/>
                  <a:gd name="T13" fmla="*/ 184 h 196"/>
                  <a:gd name="T14" fmla="*/ 0 w 146"/>
                  <a:gd name="T15" fmla="*/ 134 h 196"/>
                  <a:gd name="T16" fmla="*/ 14 w 146"/>
                  <a:gd name="T17" fmla="*/ 124 h 196"/>
                  <a:gd name="T18" fmla="*/ 14 w 146"/>
                  <a:gd name="T19" fmla="*/ 114 h 196"/>
                  <a:gd name="T20" fmla="*/ 36 w 146"/>
                  <a:gd name="T21" fmla="*/ 102 h 196"/>
                  <a:gd name="T22" fmla="*/ 58 w 146"/>
                  <a:gd name="T23" fmla="*/ 98 h 196"/>
                  <a:gd name="T24" fmla="*/ 96 w 146"/>
                  <a:gd name="T25" fmla="*/ 56 h 196"/>
                  <a:gd name="T26" fmla="*/ 46 w 146"/>
                  <a:gd name="T27" fmla="*/ 44 h 196"/>
                  <a:gd name="T28" fmla="*/ 28 w 146"/>
                  <a:gd name="T29" fmla="*/ 24 h 196"/>
                  <a:gd name="T30" fmla="*/ 28 w 146"/>
                  <a:gd name="T31" fmla="*/ 14 h 196"/>
                  <a:gd name="T32" fmla="*/ 36 w 146"/>
                  <a:gd name="T33" fmla="*/ 8 h 196"/>
                  <a:gd name="T34" fmla="*/ 52 w 146"/>
                  <a:gd name="T35" fmla="*/ 24 h 196"/>
                  <a:gd name="T36" fmla="*/ 68 w 146"/>
                  <a:gd name="T37" fmla="*/ 16 h 196"/>
                  <a:gd name="T38" fmla="*/ 128 w 146"/>
                  <a:gd name="T39" fmla="*/ 8 h 196"/>
                  <a:gd name="T40" fmla="*/ 144 w 146"/>
                  <a:gd name="T4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196">
                    <a:moveTo>
                      <a:pt x="144" y="0"/>
                    </a:moveTo>
                    <a:lnTo>
                      <a:pt x="146" y="20"/>
                    </a:lnTo>
                    <a:lnTo>
                      <a:pt x="138" y="28"/>
                    </a:lnTo>
                    <a:lnTo>
                      <a:pt x="116" y="74"/>
                    </a:lnTo>
                    <a:lnTo>
                      <a:pt x="70" y="138"/>
                    </a:lnTo>
                    <a:lnTo>
                      <a:pt x="10" y="196"/>
                    </a:lnTo>
                    <a:lnTo>
                      <a:pt x="2" y="184"/>
                    </a:lnTo>
                    <a:lnTo>
                      <a:pt x="0" y="134"/>
                    </a:lnTo>
                    <a:lnTo>
                      <a:pt x="14" y="124"/>
                    </a:lnTo>
                    <a:lnTo>
                      <a:pt x="14" y="114"/>
                    </a:lnTo>
                    <a:lnTo>
                      <a:pt x="36" y="102"/>
                    </a:lnTo>
                    <a:lnTo>
                      <a:pt x="58" y="98"/>
                    </a:lnTo>
                    <a:lnTo>
                      <a:pt x="96" y="56"/>
                    </a:lnTo>
                    <a:lnTo>
                      <a:pt x="46" y="44"/>
                    </a:lnTo>
                    <a:lnTo>
                      <a:pt x="28" y="24"/>
                    </a:lnTo>
                    <a:lnTo>
                      <a:pt x="28" y="14"/>
                    </a:lnTo>
                    <a:lnTo>
                      <a:pt x="36" y="8"/>
                    </a:lnTo>
                    <a:lnTo>
                      <a:pt x="52" y="24"/>
                    </a:lnTo>
                    <a:lnTo>
                      <a:pt x="68" y="16"/>
                    </a:lnTo>
                    <a:lnTo>
                      <a:pt x="128" y="8"/>
                    </a:lnTo>
                    <a:lnTo>
                      <a:pt x="1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9" name="Freeform 410"/>
              <p:cNvSpPr>
                <a:spLocks/>
              </p:cNvSpPr>
              <p:nvPr/>
            </p:nvSpPr>
            <p:spPr bwMode="auto">
              <a:xfrm>
                <a:off x="3437" y="2349"/>
                <a:ext cx="154" cy="204"/>
              </a:xfrm>
              <a:custGeom>
                <a:avLst/>
                <a:gdLst>
                  <a:gd name="T0" fmla="*/ 148 w 154"/>
                  <a:gd name="T1" fmla="*/ 0 h 204"/>
                  <a:gd name="T2" fmla="*/ 148 w 154"/>
                  <a:gd name="T3" fmla="*/ 0 h 204"/>
                  <a:gd name="T4" fmla="*/ 146 w 154"/>
                  <a:gd name="T5" fmla="*/ 0 h 204"/>
                  <a:gd name="T6" fmla="*/ 132 w 154"/>
                  <a:gd name="T7" fmla="*/ 8 h 204"/>
                  <a:gd name="T8" fmla="*/ 72 w 154"/>
                  <a:gd name="T9" fmla="*/ 16 h 204"/>
                  <a:gd name="T10" fmla="*/ 72 w 154"/>
                  <a:gd name="T11" fmla="*/ 16 h 204"/>
                  <a:gd name="T12" fmla="*/ 72 w 154"/>
                  <a:gd name="T13" fmla="*/ 18 h 204"/>
                  <a:gd name="T14" fmla="*/ 58 w 154"/>
                  <a:gd name="T15" fmla="*/ 24 h 204"/>
                  <a:gd name="T16" fmla="*/ 42 w 154"/>
                  <a:gd name="T17" fmla="*/ 8 h 204"/>
                  <a:gd name="T18" fmla="*/ 42 w 154"/>
                  <a:gd name="T19" fmla="*/ 8 h 204"/>
                  <a:gd name="T20" fmla="*/ 40 w 154"/>
                  <a:gd name="T21" fmla="*/ 8 h 204"/>
                  <a:gd name="T22" fmla="*/ 40 w 154"/>
                  <a:gd name="T23" fmla="*/ 8 h 204"/>
                  <a:gd name="T24" fmla="*/ 36 w 154"/>
                  <a:gd name="T25" fmla="*/ 8 h 204"/>
                  <a:gd name="T26" fmla="*/ 30 w 154"/>
                  <a:gd name="T27" fmla="*/ 16 h 204"/>
                  <a:gd name="T28" fmla="*/ 30 w 154"/>
                  <a:gd name="T29" fmla="*/ 16 h 204"/>
                  <a:gd name="T30" fmla="*/ 28 w 154"/>
                  <a:gd name="T31" fmla="*/ 18 h 204"/>
                  <a:gd name="T32" fmla="*/ 28 w 154"/>
                  <a:gd name="T33" fmla="*/ 28 h 204"/>
                  <a:gd name="T34" fmla="*/ 28 w 154"/>
                  <a:gd name="T35" fmla="*/ 28 h 204"/>
                  <a:gd name="T36" fmla="*/ 30 w 154"/>
                  <a:gd name="T37" fmla="*/ 30 h 204"/>
                  <a:gd name="T38" fmla="*/ 46 w 154"/>
                  <a:gd name="T39" fmla="*/ 50 h 204"/>
                  <a:gd name="T40" fmla="*/ 46 w 154"/>
                  <a:gd name="T41" fmla="*/ 50 h 204"/>
                  <a:gd name="T42" fmla="*/ 48 w 154"/>
                  <a:gd name="T43" fmla="*/ 52 h 204"/>
                  <a:gd name="T44" fmla="*/ 92 w 154"/>
                  <a:gd name="T45" fmla="*/ 62 h 204"/>
                  <a:gd name="T46" fmla="*/ 60 w 154"/>
                  <a:gd name="T47" fmla="*/ 98 h 204"/>
                  <a:gd name="T48" fmla="*/ 38 w 154"/>
                  <a:gd name="T49" fmla="*/ 102 h 204"/>
                  <a:gd name="T50" fmla="*/ 38 w 154"/>
                  <a:gd name="T51" fmla="*/ 102 h 204"/>
                  <a:gd name="T52" fmla="*/ 38 w 154"/>
                  <a:gd name="T53" fmla="*/ 102 h 204"/>
                  <a:gd name="T54" fmla="*/ 16 w 154"/>
                  <a:gd name="T55" fmla="*/ 116 h 204"/>
                  <a:gd name="T56" fmla="*/ 16 w 154"/>
                  <a:gd name="T57" fmla="*/ 116 h 204"/>
                  <a:gd name="T58" fmla="*/ 14 w 154"/>
                  <a:gd name="T59" fmla="*/ 118 h 204"/>
                  <a:gd name="T60" fmla="*/ 14 w 154"/>
                  <a:gd name="T61" fmla="*/ 126 h 204"/>
                  <a:gd name="T62" fmla="*/ 2 w 154"/>
                  <a:gd name="T63" fmla="*/ 134 h 204"/>
                  <a:gd name="T64" fmla="*/ 2 w 154"/>
                  <a:gd name="T65" fmla="*/ 134 h 204"/>
                  <a:gd name="T66" fmla="*/ 0 w 154"/>
                  <a:gd name="T67" fmla="*/ 138 h 204"/>
                  <a:gd name="T68" fmla="*/ 2 w 154"/>
                  <a:gd name="T69" fmla="*/ 188 h 204"/>
                  <a:gd name="T70" fmla="*/ 2 w 154"/>
                  <a:gd name="T71" fmla="*/ 188 h 204"/>
                  <a:gd name="T72" fmla="*/ 2 w 154"/>
                  <a:gd name="T73" fmla="*/ 190 h 204"/>
                  <a:gd name="T74" fmla="*/ 12 w 154"/>
                  <a:gd name="T75" fmla="*/ 202 h 204"/>
                  <a:gd name="T76" fmla="*/ 12 w 154"/>
                  <a:gd name="T77" fmla="*/ 202 h 204"/>
                  <a:gd name="T78" fmla="*/ 14 w 154"/>
                  <a:gd name="T79" fmla="*/ 204 h 204"/>
                  <a:gd name="T80" fmla="*/ 14 w 154"/>
                  <a:gd name="T81" fmla="*/ 204 h 204"/>
                  <a:gd name="T82" fmla="*/ 14 w 154"/>
                  <a:gd name="T83" fmla="*/ 204 h 204"/>
                  <a:gd name="T84" fmla="*/ 14 w 154"/>
                  <a:gd name="T85" fmla="*/ 204 h 204"/>
                  <a:gd name="T86" fmla="*/ 18 w 154"/>
                  <a:gd name="T87" fmla="*/ 204 h 204"/>
                  <a:gd name="T88" fmla="*/ 78 w 154"/>
                  <a:gd name="T89" fmla="*/ 146 h 204"/>
                  <a:gd name="T90" fmla="*/ 78 w 154"/>
                  <a:gd name="T91" fmla="*/ 146 h 204"/>
                  <a:gd name="T92" fmla="*/ 78 w 154"/>
                  <a:gd name="T93" fmla="*/ 144 h 204"/>
                  <a:gd name="T94" fmla="*/ 124 w 154"/>
                  <a:gd name="T95" fmla="*/ 80 h 204"/>
                  <a:gd name="T96" fmla="*/ 124 w 154"/>
                  <a:gd name="T97" fmla="*/ 80 h 204"/>
                  <a:gd name="T98" fmla="*/ 124 w 154"/>
                  <a:gd name="T99" fmla="*/ 78 h 204"/>
                  <a:gd name="T100" fmla="*/ 146 w 154"/>
                  <a:gd name="T101" fmla="*/ 34 h 204"/>
                  <a:gd name="T102" fmla="*/ 152 w 154"/>
                  <a:gd name="T103" fmla="*/ 28 h 204"/>
                  <a:gd name="T104" fmla="*/ 152 w 154"/>
                  <a:gd name="T105" fmla="*/ 28 h 204"/>
                  <a:gd name="T106" fmla="*/ 154 w 154"/>
                  <a:gd name="T107" fmla="*/ 24 h 204"/>
                  <a:gd name="T108" fmla="*/ 152 w 154"/>
                  <a:gd name="T109" fmla="*/ 4 h 204"/>
                  <a:gd name="T110" fmla="*/ 152 w 154"/>
                  <a:gd name="T111" fmla="*/ 4 h 204"/>
                  <a:gd name="T112" fmla="*/ 150 w 154"/>
                  <a:gd name="T113" fmla="*/ 0 h 204"/>
                  <a:gd name="T114" fmla="*/ 150 w 154"/>
                  <a:gd name="T115" fmla="*/ 0 h 204"/>
                  <a:gd name="T116" fmla="*/ 148 w 154"/>
                  <a:gd name="T117" fmla="*/ 0 h 204"/>
                  <a:gd name="T118" fmla="*/ 148 w 154"/>
                  <a:gd name="T11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04">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0" name="Freeform 411"/>
              <p:cNvSpPr>
                <a:spLocks/>
              </p:cNvSpPr>
              <p:nvPr/>
            </p:nvSpPr>
            <p:spPr bwMode="auto">
              <a:xfrm>
                <a:off x="3327" y="2313"/>
                <a:ext cx="212" cy="166"/>
              </a:xfrm>
              <a:custGeom>
                <a:avLst/>
                <a:gdLst>
                  <a:gd name="T0" fmla="*/ 40 w 212"/>
                  <a:gd name="T1" fmla="*/ 150 h 166"/>
                  <a:gd name="T2" fmla="*/ 40 w 212"/>
                  <a:gd name="T3" fmla="*/ 148 h 166"/>
                  <a:gd name="T4" fmla="*/ 36 w 212"/>
                  <a:gd name="T5" fmla="*/ 136 h 166"/>
                  <a:gd name="T6" fmla="*/ 34 w 212"/>
                  <a:gd name="T7" fmla="*/ 136 h 166"/>
                  <a:gd name="T8" fmla="*/ 6 w 212"/>
                  <a:gd name="T9" fmla="*/ 106 h 166"/>
                  <a:gd name="T10" fmla="*/ 4 w 212"/>
                  <a:gd name="T11" fmla="*/ 104 h 166"/>
                  <a:gd name="T12" fmla="*/ 0 w 212"/>
                  <a:gd name="T13" fmla="*/ 92 h 166"/>
                  <a:gd name="T14" fmla="*/ 0 w 212"/>
                  <a:gd name="T15" fmla="*/ 90 h 166"/>
                  <a:gd name="T16" fmla="*/ 18 w 212"/>
                  <a:gd name="T17" fmla="*/ 88 h 166"/>
                  <a:gd name="T18" fmla="*/ 18 w 212"/>
                  <a:gd name="T19" fmla="*/ 58 h 166"/>
                  <a:gd name="T20" fmla="*/ 28 w 212"/>
                  <a:gd name="T21" fmla="*/ 54 h 166"/>
                  <a:gd name="T22" fmla="*/ 28 w 212"/>
                  <a:gd name="T23" fmla="*/ 42 h 166"/>
                  <a:gd name="T24" fmla="*/ 50 w 212"/>
                  <a:gd name="T25" fmla="*/ 6 h 166"/>
                  <a:gd name="T26" fmla="*/ 52 w 212"/>
                  <a:gd name="T27" fmla="*/ 4 h 166"/>
                  <a:gd name="T28" fmla="*/ 72 w 212"/>
                  <a:gd name="T29" fmla="*/ 0 h 166"/>
                  <a:gd name="T30" fmla="*/ 74 w 212"/>
                  <a:gd name="T31" fmla="*/ 0 h 166"/>
                  <a:gd name="T32" fmla="*/ 104 w 212"/>
                  <a:gd name="T33" fmla="*/ 0 h 166"/>
                  <a:gd name="T34" fmla="*/ 104 w 212"/>
                  <a:gd name="T35" fmla="*/ 2 h 166"/>
                  <a:gd name="T36" fmla="*/ 136 w 212"/>
                  <a:gd name="T37" fmla="*/ 32 h 166"/>
                  <a:gd name="T38" fmla="*/ 130 w 212"/>
                  <a:gd name="T39" fmla="*/ 44 h 166"/>
                  <a:gd name="T40" fmla="*/ 142 w 212"/>
                  <a:gd name="T41" fmla="*/ 54 h 166"/>
                  <a:gd name="T42" fmla="*/ 144 w 212"/>
                  <a:gd name="T43" fmla="*/ 56 h 166"/>
                  <a:gd name="T44" fmla="*/ 162 w 212"/>
                  <a:gd name="T45" fmla="*/ 84 h 166"/>
                  <a:gd name="T46" fmla="*/ 210 w 212"/>
                  <a:gd name="T47" fmla="*/ 96 h 166"/>
                  <a:gd name="T48" fmla="*/ 212 w 212"/>
                  <a:gd name="T49" fmla="*/ 98 h 166"/>
                  <a:gd name="T50" fmla="*/ 174 w 212"/>
                  <a:gd name="T51" fmla="*/ 142 h 166"/>
                  <a:gd name="T52" fmla="*/ 172 w 212"/>
                  <a:gd name="T53" fmla="*/ 142 h 166"/>
                  <a:gd name="T54" fmla="*/ 130 w 212"/>
                  <a:gd name="T55" fmla="*/ 158 h 166"/>
                  <a:gd name="T56" fmla="*/ 118 w 212"/>
                  <a:gd name="T57" fmla="*/ 162 h 166"/>
                  <a:gd name="T58" fmla="*/ 118 w 212"/>
                  <a:gd name="T59" fmla="*/ 162 h 166"/>
                  <a:gd name="T60" fmla="*/ 112 w 212"/>
                  <a:gd name="T61" fmla="*/ 156 h 166"/>
                  <a:gd name="T62" fmla="*/ 96 w 212"/>
                  <a:gd name="T63" fmla="*/ 166 h 166"/>
                  <a:gd name="T64" fmla="*/ 94 w 212"/>
                  <a:gd name="T65" fmla="*/ 166 h 166"/>
                  <a:gd name="T66" fmla="*/ 74 w 212"/>
                  <a:gd name="T67"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2" h="166">
                    <a:moveTo>
                      <a:pt x="74" y="164"/>
                    </a:moveTo>
                    <a:lnTo>
                      <a:pt x="40" y="150"/>
                    </a:lnTo>
                    <a:lnTo>
                      <a:pt x="40" y="150"/>
                    </a:lnTo>
                    <a:lnTo>
                      <a:pt x="40" y="148"/>
                    </a:lnTo>
                    <a:lnTo>
                      <a:pt x="40" y="136"/>
                    </a:lnTo>
                    <a:lnTo>
                      <a:pt x="36" y="136"/>
                    </a:lnTo>
                    <a:lnTo>
                      <a:pt x="36" y="136"/>
                    </a:lnTo>
                    <a:lnTo>
                      <a:pt x="34" y="136"/>
                    </a:lnTo>
                    <a:lnTo>
                      <a:pt x="14" y="108"/>
                    </a:lnTo>
                    <a:lnTo>
                      <a:pt x="6" y="106"/>
                    </a:lnTo>
                    <a:lnTo>
                      <a:pt x="6" y="106"/>
                    </a:lnTo>
                    <a:lnTo>
                      <a:pt x="4" y="104"/>
                    </a:lnTo>
                    <a:lnTo>
                      <a:pt x="0" y="92"/>
                    </a:lnTo>
                    <a:lnTo>
                      <a:pt x="0" y="92"/>
                    </a:lnTo>
                    <a:lnTo>
                      <a:pt x="0" y="90"/>
                    </a:lnTo>
                    <a:lnTo>
                      <a:pt x="0" y="90"/>
                    </a:lnTo>
                    <a:lnTo>
                      <a:pt x="2" y="88"/>
                    </a:lnTo>
                    <a:lnTo>
                      <a:pt x="18" y="88"/>
                    </a:lnTo>
                    <a:lnTo>
                      <a:pt x="18" y="58"/>
                    </a:lnTo>
                    <a:lnTo>
                      <a:pt x="18" y="58"/>
                    </a:lnTo>
                    <a:lnTo>
                      <a:pt x="20" y="56"/>
                    </a:lnTo>
                    <a:lnTo>
                      <a:pt x="28" y="54"/>
                    </a:lnTo>
                    <a:lnTo>
                      <a:pt x="28" y="42"/>
                    </a:lnTo>
                    <a:lnTo>
                      <a:pt x="28" y="42"/>
                    </a:lnTo>
                    <a:lnTo>
                      <a:pt x="30" y="40"/>
                    </a:lnTo>
                    <a:lnTo>
                      <a:pt x="50" y="6"/>
                    </a:lnTo>
                    <a:lnTo>
                      <a:pt x="50" y="6"/>
                    </a:lnTo>
                    <a:lnTo>
                      <a:pt x="52" y="4"/>
                    </a:lnTo>
                    <a:lnTo>
                      <a:pt x="70" y="4"/>
                    </a:lnTo>
                    <a:lnTo>
                      <a:pt x="72" y="0"/>
                    </a:lnTo>
                    <a:lnTo>
                      <a:pt x="72" y="0"/>
                    </a:lnTo>
                    <a:lnTo>
                      <a:pt x="74" y="0"/>
                    </a:lnTo>
                    <a:lnTo>
                      <a:pt x="74" y="0"/>
                    </a:lnTo>
                    <a:lnTo>
                      <a:pt x="104" y="0"/>
                    </a:lnTo>
                    <a:lnTo>
                      <a:pt x="104" y="0"/>
                    </a:lnTo>
                    <a:lnTo>
                      <a:pt x="104" y="2"/>
                    </a:lnTo>
                    <a:lnTo>
                      <a:pt x="136" y="32"/>
                    </a:lnTo>
                    <a:lnTo>
                      <a:pt x="136" y="32"/>
                    </a:lnTo>
                    <a:lnTo>
                      <a:pt x="136" y="36"/>
                    </a:lnTo>
                    <a:lnTo>
                      <a:pt x="130" y="44"/>
                    </a:lnTo>
                    <a:lnTo>
                      <a:pt x="130" y="52"/>
                    </a:lnTo>
                    <a:lnTo>
                      <a:pt x="142" y="54"/>
                    </a:lnTo>
                    <a:lnTo>
                      <a:pt x="142" y="54"/>
                    </a:lnTo>
                    <a:lnTo>
                      <a:pt x="144" y="56"/>
                    </a:lnTo>
                    <a:lnTo>
                      <a:pt x="144" y="64"/>
                    </a:lnTo>
                    <a:lnTo>
                      <a:pt x="162" y="84"/>
                    </a:lnTo>
                    <a:lnTo>
                      <a:pt x="210" y="96"/>
                    </a:lnTo>
                    <a:lnTo>
                      <a:pt x="210" y="96"/>
                    </a:lnTo>
                    <a:lnTo>
                      <a:pt x="212" y="98"/>
                    </a:lnTo>
                    <a:lnTo>
                      <a:pt x="212" y="98"/>
                    </a:lnTo>
                    <a:lnTo>
                      <a:pt x="212" y="100"/>
                    </a:lnTo>
                    <a:lnTo>
                      <a:pt x="174" y="142"/>
                    </a:lnTo>
                    <a:lnTo>
                      <a:pt x="174" y="142"/>
                    </a:lnTo>
                    <a:lnTo>
                      <a:pt x="172" y="142"/>
                    </a:lnTo>
                    <a:lnTo>
                      <a:pt x="150" y="146"/>
                    </a:lnTo>
                    <a:lnTo>
                      <a:pt x="130" y="158"/>
                    </a:lnTo>
                    <a:lnTo>
                      <a:pt x="118" y="162"/>
                    </a:lnTo>
                    <a:lnTo>
                      <a:pt x="118" y="162"/>
                    </a:lnTo>
                    <a:lnTo>
                      <a:pt x="118" y="162"/>
                    </a:lnTo>
                    <a:lnTo>
                      <a:pt x="118" y="162"/>
                    </a:lnTo>
                    <a:lnTo>
                      <a:pt x="116" y="162"/>
                    </a:lnTo>
                    <a:lnTo>
                      <a:pt x="112" y="156"/>
                    </a:lnTo>
                    <a:lnTo>
                      <a:pt x="96" y="166"/>
                    </a:lnTo>
                    <a:lnTo>
                      <a:pt x="96" y="166"/>
                    </a:lnTo>
                    <a:lnTo>
                      <a:pt x="94" y="166"/>
                    </a:lnTo>
                    <a:lnTo>
                      <a:pt x="94" y="166"/>
                    </a:lnTo>
                    <a:lnTo>
                      <a:pt x="74" y="164"/>
                    </a:lnTo>
                    <a:lnTo>
                      <a:pt x="74" y="1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1" name="Freeform 412"/>
              <p:cNvSpPr>
                <a:spLocks noEditPoints="1"/>
              </p:cNvSpPr>
              <p:nvPr/>
            </p:nvSpPr>
            <p:spPr bwMode="auto">
              <a:xfrm>
                <a:off x="3325" y="2311"/>
                <a:ext cx="216" cy="170"/>
              </a:xfrm>
              <a:custGeom>
                <a:avLst/>
                <a:gdLst>
                  <a:gd name="T0" fmla="*/ 106 w 216"/>
                  <a:gd name="T1" fmla="*/ 4 h 170"/>
                  <a:gd name="T2" fmla="*/ 130 w 216"/>
                  <a:gd name="T3" fmla="*/ 46 h 170"/>
                  <a:gd name="T4" fmla="*/ 144 w 216"/>
                  <a:gd name="T5" fmla="*/ 58 h 170"/>
                  <a:gd name="T6" fmla="*/ 162 w 216"/>
                  <a:gd name="T7" fmla="*/ 88 h 170"/>
                  <a:gd name="T8" fmla="*/ 174 w 216"/>
                  <a:gd name="T9" fmla="*/ 142 h 170"/>
                  <a:gd name="T10" fmla="*/ 130 w 216"/>
                  <a:gd name="T11" fmla="*/ 158 h 170"/>
                  <a:gd name="T12" fmla="*/ 114 w 216"/>
                  <a:gd name="T13" fmla="*/ 154 h 170"/>
                  <a:gd name="T14" fmla="*/ 76 w 216"/>
                  <a:gd name="T15" fmla="*/ 164 h 170"/>
                  <a:gd name="T16" fmla="*/ 44 w 216"/>
                  <a:gd name="T17" fmla="*/ 136 h 170"/>
                  <a:gd name="T18" fmla="*/ 16 w 216"/>
                  <a:gd name="T19" fmla="*/ 108 h 170"/>
                  <a:gd name="T20" fmla="*/ 4 w 216"/>
                  <a:gd name="T21" fmla="*/ 92 h 170"/>
                  <a:gd name="T22" fmla="*/ 22 w 216"/>
                  <a:gd name="T23" fmla="*/ 60 h 170"/>
                  <a:gd name="T24" fmla="*/ 32 w 216"/>
                  <a:gd name="T25" fmla="*/ 44 h 170"/>
                  <a:gd name="T26" fmla="*/ 74 w 216"/>
                  <a:gd name="T27" fmla="*/ 8 h 170"/>
                  <a:gd name="T28" fmla="*/ 76 w 216"/>
                  <a:gd name="T29" fmla="*/ 0 h 170"/>
                  <a:gd name="T30" fmla="*/ 72 w 216"/>
                  <a:gd name="T31" fmla="*/ 0 h 170"/>
                  <a:gd name="T32" fmla="*/ 70 w 216"/>
                  <a:gd name="T33" fmla="*/ 4 h 170"/>
                  <a:gd name="T34" fmla="*/ 54 w 216"/>
                  <a:gd name="T35" fmla="*/ 4 h 170"/>
                  <a:gd name="T36" fmla="*/ 30 w 216"/>
                  <a:gd name="T37" fmla="*/ 42 h 170"/>
                  <a:gd name="T38" fmla="*/ 28 w 216"/>
                  <a:gd name="T39" fmla="*/ 44 h 170"/>
                  <a:gd name="T40" fmla="*/ 22 w 216"/>
                  <a:gd name="T41" fmla="*/ 56 h 170"/>
                  <a:gd name="T42" fmla="*/ 20 w 216"/>
                  <a:gd name="T43" fmla="*/ 58 h 170"/>
                  <a:gd name="T44" fmla="*/ 18 w 216"/>
                  <a:gd name="T45" fmla="*/ 88 h 170"/>
                  <a:gd name="T46" fmla="*/ 4 w 216"/>
                  <a:gd name="T47" fmla="*/ 88 h 170"/>
                  <a:gd name="T48" fmla="*/ 2 w 216"/>
                  <a:gd name="T49" fmla="*/ 90 h 170"/>
                  <a:gd name="T50" fmla="*/ 4 w 216"/>
                  <a:gd name="T51" fmla="*/ 106 h 170"/>
                  <a:gd name="T52" fmla="*/ 8 w 216"/>
                  <a:gd name="T53" fmla="*/ 110 h 170"/>
                  <a:gd name="T54" fmla="*/ 34 w 216"/>
                  <a:gd name="T55" fmla="*/ 138 h 170"/>
                  <a:gd name="T56" fmla="*/ 38 w 216"/>
                  <a:gd name="T57" fmla="*/ 140 h 170"/>
                  <a:gd name="T58" fmla="*/ 40 w 216"/>
                  <a:gd name="T59" fmla="*/ 150 h 170"/>
                  <a:gd name="T60" fmla="*/ 40 w 216"/>
                  <a:gd name="T61" fmla="*/ 152 h 170"/>
                  <a:gd name="T62" fmla="*/ 74 w 216"/>
                  <a:gd name="T63" fmla="*/ 168 h 170"/>
                  <a:gd name="T64" fmla="*/ 74 w 216"/>
                  <a:gd name="T65" fmla="*/ 168 h 170"/>
                  <a:gd name="T66" fmla="*/ 96 w 216"/>
                  <a:gd name="T67" fmla="*/ 170 h 170"/>
                  <a:gd name="T68" fmla="*/ 96 w 216"/>
                  <a:gd name="T69" fmla="*/ 170 h 170"/>
                  <a:gd name="T70" fmla="*/ 114 w 216"/>
                  <a:gd name="T71" fmla="*/ 160 h 170"/>
                  <a:gd name="T72" fmla="*/ 116 w 216"/>
                  <a:gd name="T73" fmla="*/ 164 h 170"/>
                  <a:gd name="T74" fmla="*/ 120 w 216"/>
                  <a:gd name="T75" fmla="*/ 166 h 170"/>
                  <a:gd name="T76" fmla="*/ 132 w 216"/>
                  <a:gd name="T77" fmla="*/ 162 h 170"/>
                  <a:gd name="T78" fmla="*/ 132 w 216"/>
                  <a:gd name="T79" fmla="*/ 162 h 170"/>
                  <a:gd name="T80" fmla="*/ 176 w 216"/>
                  <a:gd name="T81" fmla="*/ 146 h 170"/>
                  <a:gd name="T82" fmla="*/ 178 w 216"/>
                  <a:gd name="T83" fmla="*/ 144 h 170"/>
                  <a:gd name="T84" fmla="*/ 214 w 216"/>
                  <a:gd name="T85" fmla="*/ 102 h 170"/>
                  <a:gd name="T86" fmla="*/ 216 w 216"/>
                  <a:gd name="T87" fmla="*/ 98 h 170"/>
                  <a:gd name="T88" fmla="*/ 164 w 216"/>
                  <a:gd name="T89" fmla="*/ 84 h 170"/>
                  <a:gd name="T90" fmla="*/ 148 w 216"/>
                  <a:gd name="T91" fmla="*/ 58 h 170"/>
                  <a:gd name="T92" fmla="*/ 148 w 216"/>
                  <a:gd name="T93" fmla="*/ 56 h 170"/>
                  <a:gd name="T94" fmla="*/ 134 w 216"/>
                  <a:gd name="T95" fmla="*/ 52 h 170"/>
                  <a:gd name="T96" fmla="*/ 140 w 216"/>
                  <a:gd name="T97" fmla="*/ 38 h 170"/>
                  <a:gd name="T98" fmla="*/ 142 w 216"/>
                  <a:gd name="T99" fmla="*/ 36 h 170"/>
                  <a:gd name="T100" fmla="*/ 108 w 216"/>
                  <a:gd name="T101" fmla="*/ 2 h 170"/>
                  <a:gd name="T102" fmla="*/ 106 w 216"/>
                  <a:gd name="T103" fmla="*/ 0 h 170"/>
                  <a:gd name="T104" fmla="*/ 76 w 216"/>
                  <a:gd name="T105" fmla="*/ 0 h 170"/>
                  <a:gd name="T106" fmla="*/ 76 w 216"/>
                  <a:gd name="T10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170">
                    <a:moveTo>
                      <a:pt x="76" y="4"/>
                    </a:moveTo>
                    <a:lnTo>
                      <a:pt x="106" y="4"/>
                    </a:lnTo>
                    <a:lnTo>
                      <a:pt x="138" y="36"/>
                    </a:lnTo>
                    <a:lnTo>
                      <a:pt x="130" y="46"/>
                    </a:lnTo>
                    <a:lnTo>
                      <a:pt x="130" y="56"/>
                    </a:lnTo>
                    <a:lnTo>
                      <a:pt x="144" y="58"/>
                    </a:lnTo>
                    <a:lnTo>
                      <a:pt x="144" y="68"/>
                    </a:lnTo>
                    <a:lnTo>
                      <a:pt x="162" y="88"/>
                    </a:lnTo>
                    <a:lnTo>
                      <a:pt x="212" y="100"/>
                    </a:lnTo>
                    <a:lnTo>
                      <a:pt x="174" y="142"/>
                    </a:lnTo>
                    <a:lnTo>
                      <a:pt x="152" y="146"/>
                    </a:lnTo>
                    <a:lnTo>
                      <a:pt x="130" y="158"/>
                    </a:lnTo>
                    <a:lnTo>
                      <a:pt x="120" y="162"/>
                    </a:lnTo>
                    <a:lnTo>
                      <a:pt x="114" y="154"/>
                    </a:lnTo>
                    <a:lnTo>
                      <a:pt x="96" y="166"/>
                    </a:lnTo>
                    <a:lnTo>
                      <a:pt x="76" y="164"/>
                    </a:lnTo>
                    <a:lnTo>
                      <a:pt x="44" y="150"/>
                    </a:lnTo>
                    <a:lnTo>
                      <a:pt x="44" y="136"/>
                    </a:lnTo>
                    <a:lnTo>
                      <a:pt x="38" y="136"/>
                    </a:lnTo>
                    <a:lnTo>
                      <a:pt x="16" y="108"/>
                    </a:lnTo>
                    <a:lnTo>
                      <a:pt x="8" y="106"/>
                    </a:lnTo>
                    <a:lnTo>
                      <a:pt x="4" y="92"/>
                    </a:lnTo>
                    <a:lnTo>
                      <a:pt x="22" y="92"/>
                    </a:lnTo>
                    <a:lnTo>
                      <a:pt x="22" y="60"/>
                    </a:lnTo>
                    <a:lnTo>
                      <a:pt x="32" y="58"/>
                    </a:lnTo>
                    <a:lnTo>
                      <a:pt x="32" y="44"/>
                    </a:lnTo>
                    <a:lnTo>
                      <a:pt x="54" y="8"/>
                    </a:lnTo>
                    <a:lnTo>
                      <a:pt x="74" y="8"/>
                    </a:lnTo>
                    <a:lnTo>
                      <a:pt x="76" y="4"/>
                    </a:lnTo>
                    <a:close/>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2" name="Freeform 413"/>
              <p:cNvSpPr>
                <a:spLocks/>
              </p:cNvSpPr>
              <p:nvPr/>
            </p:nvSpPr>
            <p:spPr bwMode="auto">
              <a:xfrm>
                <a:off x="3329" y="2315"/>
                <a:ext cx="208" cy="162"/>
              </a:xfrm>
              <a:custGeom>
                <a:avLst/>
                <a:gdLst>
                  <a:gd name="T0" fmla="*/ 72 w 208"/>
                  <a:gd name="T1" fmla="*/ 0 h 162"/>
                  <a:gd name="T2" fmla="*/ 102 w 208"/>
                  <a:gd name="T3" fmla="*/ 0 h 162"/>
                  <a:gd name="T4" fmla="*/ 134 w 208"/>
                  <a:gd name="T5" fmla="*/ 32 h 162"/>
                  <a:gd name="T6" fmla="*/ 126 w 208"/>
                  <a:gd name="T7" fmla="*/ 42 h 162"/>
                  <a:gd name="T8" fmla="*/ 126 w 208"/>
                  <a:gd name="T9" fmla="*/ 52 h 162"/>
                  <a:gd name="T10" fmla="*/ 140 w 208"/>
                  <a:gd name="T11" fmla="*/ 54 h 162"/>
                  <a:gd name="T12" fmla="*/ 140 w 208"/>
                  <a:gd name="T13" fmla="*/ 64 h 162"/>
                  <a:gd name="T14" fmla="*/ 158 w 208"/>
                  <a:gd name="T15" fmla="*/ 84 h 162"/>
                  <a:gd name="T16" fmla="*/ 208 w 208"/>
                  <a:gd name="T17" fmla="*/ 96 h 162"/>
                  <a:gd name="T18" fmla="*/ 170 w 208"/>
                  <a:gd name="T19" fmla="*/ 138 h 162"/>
                  <a:gd name="T20" fmla="*/ 148 w 208"/>
                  <a:gd name="T21" fmla="*/ 142 h 162"/>
                  <a:gd name="T22" fmla="*/ 126 w 208"/>
                  <a:gd name="T23" fmla="*/ 154 h 162"/>
                  <a:gd name="T24" fmla="*/ 116 w 208"/>
                  <a:gd name="T25" fmla="*/ 158 h 162"/>
                  <a:gd name="T26" fmla="*/ 110 w 208"/>
                  <a:gd name="T27" fmla="*/ 150 h 162"/>
                  <a:gd name="T28" fmla="*/ 92 w 208"/>
                  <a:gd name="T29" fmla="*/ 162 h 162"/>
                  <a:gd name="T30" fmla="*/ 72 w 208"/>
                  <a:gd name="T31" fmla="*/ 160 h 162"/>
                  <a:gd name="T32" fmla="*/ 40 w 208"/>
                  <a:gd name="T33" fmla="*/ 146 h 162"/>
                  <a:gd name="T34" fmla="*/ 40 w 208"/>
                  <a:gd name="T35" fmla="*/ 132 h 162"/>
                  <a:gd name="T36" fmla="*/ 34 w 208"/>
                  <a:gd name="T37" fmla="*/ 132 h 162"/>
                  <a:gd name="T38" fmla="*/ 12 w 208"/>
                  <a:gd name="T39" fmla="*/ 104 h 162"/>
                  <a:gd name="T40" fmla="*/ 4 w 208"/>
                  <a:gd name="T41" fmla="*/ 102 h 162"/>
                  <a:gd name="T42" fmla="*/ 0 w 208"/>
                  <a:gd name="T43" fmla="*/ 88 h 162"/>
                  <a:gd name="T44" fmla="*/ 18 w 208"/>
                  <a:gd name="T45" fmla="*/ 88 h 162"/>
                  <a:gd name="T46" fmla="*/ 18 w 208"/>
                  <a:gd name="T47" fmla="*/ 56 h 162"/>
                  <a:gd name="T48" fmla="*/ 28 w 208"/>
                  <a:gd name="T49" fmla="*/ 54 h 162"/>
                  <a:gd name="T50" fmla="*/ 28 w 208"/>
                  <a:gd name="T51" fmla="*/ 40 h 162"/>
                  <a:gd name="T52" fmla="*/ 50 w 208"/>
                  <a:gd name="T53" fmla="*/ 4 h 162"/>
                  <a:gd name="T54" fmla="*/ 70 w 208"/>
                  <a:gd name="T55" fmla="*/ 4 h 162"/>
                  <a:gd name="T56" fmla="*/ 72 w 208"/>
                  <a:gd name="T5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162">
                    <a:moveTo>
                      <a:pt x="72" y="0"/>
                    </a:moveTo>
                    <a:lnTo>
                      <a:pt x="102" y="0"/>
                    </a:lnTo>
                    <a:lnTo>
                      <a:pt x="134" y="32"/>
                    </a:lnTo>
                    <a:lnTo>
                      <a:pt x="126" y="42"/>
                    </a:lnTo>
                    <a:lnTo>
                      <a:pt x="126" y="52"/>
                    </a:lnTo>
                    <a:lnTo>
                      <a:pt x="140" y="54"/>
                    </a:lnTo>
                    <a:lnTo>
                      <a:pt x="140" y="64"/>
                    </a:lnTo>
                    <a:lnTo>
                      <a:pt x="158" y="84"/>
                    </a:lnTo>
                    <a:lnTo>
                      <a:pt x="208" y="96"/>
                    </a:lnTo>
                    <a:lnTo>
                      <a:pt x="170" y="138"/>
                    </a:lnTo>
                    <a:lnTo>
                      <a:pt x="148" y="142"/>
                    </a:lnTo>
                    <a:lnTo>
                      <a:pt x="126" y="154"/>
                    </a:lnTo>
                    <a:lnTo>
                      <a:pt x="116" y="158"/>
                    </a:lnTo>
                    <a:lnTo>
                      <a:pt x="110" y="150"/>
                    </a:lnTo>
                    <a:lnTo>
                      <a:pt x="92" y="162"/>
                    </a:lnTo>
                    <a:lnTo>
                      <a:pt x="72" y="160"/>
                    </a:lnTo>
                    <a:lnTo>
                      <a:pt x="40" y="146"/>
                    </a:lnTo>
                    <a:lnTo>
                      <a:pt x="40" y="132"/>
                    </a:lnTo>
                    <a:lnTo>
                      <a:pt x="34" y="132"/>
                    </a:lnTo>
                    <a:lnTo>
                      <a:pt x="12" y="104"/>
                    </a:lnTo>
                    <a:lnTo>
                      <a:pt x="4" y="102"/>
                    </a:lnTo>
                    <a:lnTo>
                      <a:pt x="0" y="88"/>
                    </a:lnTo>
                    <a:lnTo>
                      <a:pt x="18" y="88"/>
                    </a:lnTo>
                    <a:lnTo>
                      <a:pt x="18" y="56"/>
                    </a:lnTo>
                    <a:lnTo>
                      <a:pt x="28" y="54"/>
                    </a:lnTo>
                    <a:lnTo>
                      <a:pt x="28" y="40"/>
                    </a:lnTo>
                    <a:lnTo>
                      <a:pt x="50" y="4"/>
                    </a:lnTo>
                    <a:lnTo>
                      <a:pt x="70" y="4"/>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3" name="Freeform 414"/>
              <p:cNvSpPr>
                <a:spLocks/>
              </p:cNvSpPr>
              <p:nvPr/>
            </p:nvSpPr>
            <p:spPr bwMode="auto">
              <a:xfrm>
                <a:off x="3325" y="2311"/>
                <a:ext cx="216" cy="170"/>
              </a:xfrm>
              <a:custGeom>
                <a:avLst/>
                <a:gdLst>
                  <a:gd name="T0" fmla="*/ 76 w 216"/>
                  <a:gd name="T1" fmla="*/ 0 h 170"/>
                  <a:gd name="T2" fmla="*/ 72 w 216"/>
                  <a:gd name="T3" fmla="*/ 2 h 170"/>
                  <a:gd name="T4" fmla="*/ 54 w 216"/>
                  <a:gd name="T5" fmla="*/ 4 h 170"/>
                  <a:gd name="T6" fmla="*/ 50 w 216"/>
                  <a:gd name="T7" fmla="*/ 6 h 170"/>
                  <a:gd name="T8" fmla="*/ 30 w 216"/>
                  <a:gd name="T9" fmla="*/ 42 h 170"/>
                  <a:gd name="T10" fmla="*/ 28 w 216"/>
                  <a:gd name="T11" fmla="*/ 54 h 170"/>
                  <a:gd name="T12" fmla="*/ 22 w 216"/>
                  <a:gd name="T13" fmla="*/ 56 h 170"/>
                  <a:gd name="T14" fmla="*/ 18 w 216"/>
                  <a:gd name="T15" fmla="*/ 60 h 170"/>
                  <a:gd name="T16" fmla="*/ 4 w 216"/>
                  <a:gd name="T17" fmla="*/ 88 h 170"/>
                  <a:gd name="T18" fmla="*/ 2 w 216"/>
                  <a:gd name="T19" fmla="*/ 90 h 170"/>
                  <a:gd name="T20" fmla="*/ 0 w 216"/>
                  <a:gd name="T21" fmla="*/ 94 h 170"/>
                  <a:gd name="T22" fmla="*/ 4 w 216"/>
                  <a:gd name="T23" fmla="*/ 106 h 170"/>
                  <a:gd name="T24" fmla="*/ 14 w 216"/>
                  <a:gd name="T25" fmla="*/ 110 h 170"/>
                  <a:gd name="T26" fmla="*/ 34 w 216"/>
                  <a:gd name="T27" fmla="*/ 138 h 170"/>
                  <a:gd name="T28" fmla="*/ 40 w 216"/>
                  <a:gd name="T29" fmla="*/ 140 h 170"/>
                  <a:gd name="T30" fmla="*/ 40 w 216"/>
                  <a:gd name="T31" fmla="*/ 150 h 170"/>
                  <a:gd name="T32" fmla="*/ 42 w 216"/>
                  <a:gd name="T33" fmla="*/ 152 h 170"/>
                  <a:gd name="T34" fmla="*/ 74 w 216"/>
                  <a:gd name="T35" fmla="*/ 168 h 170"/>
                  <a:gd name="T36" fmla="*/ 96 w 216"/>
                  <a:gd name="T37" fmla="*/ 170 h 170"/>
                  <a:gd name="T38" fmla="*/ 96 w 216"/>
                  <a:gd name="T39" fmla="*/ 170 h 170"/>
                  <a:gd name="T40" fmla="*/ 98 w 216"/>
                  <a:gd name="T41" fmla="*/ 170 h 170"/>
                  <a:gd name="T42" fmla="*/ 116 w 216"/>
                  <a:gd name="T43" fmla="*/ 164 h 170"/>
                  <a:gd name="T44" fmla="*/ 120 w 216"/>
                  <a:gd name="T45" fmla="*/ 166 h 170"/>
                  <a:gd name="T46" fmla="*/ 120 w 216"/>
                  <a:gd name="T47" fmla="*/ 166 h 170"/>
                  <a:gd name="T48" fmla="*/ 132 w 216"/>
                  <a:gd name="T49" fmla="*/ 162 h 170"/>
                  <a:gd name="T50" fmla="*/ 152 w 216"/>
                  <a:gd name="T51" fmla="*/ 150 h 170"/>
                  <a:gd name="T52" fmla="*/ 176 w 216"/>
                  <a:gd name="T53" fmla="*/ 146 h 170"/>
                  <a:gd name="T54" fmla="*/ 214 w 216"/>
                  <a:gd name="T55" fmla="*/ 102 h 170"/>
                  <a:gd name="T56" fmla="*/ 216 w 216"/>
                  <a:gd name="T57" fmla="*/ 98 h 170"/>
                  <a:gd name="T58" fmla="*/ 212 w 216"/>
                  <a:gd name="T59" fmla="*/ 96 h 170"/>
                  <a:gd name="T60" fmla="*/ 148 w 216"/>
                  <a:gd name="T61" fmla="*/ 66 h 170"/>
                  <a:gd name="T62" fmla="*/ 148 w 216"/>
                  <a:gd name="T63" fmla="*/ 58 h 170"/>
                  <a:gd name="T64" fmla="*/ 144 w 216"/>
                  <a:gd name="T65" fmla="*/ 54 h 170"/>
                  <a:gd name="T66" fmla="*/ 134 w 216"/>
                  <a:gd name="T67" fmla="*/ 46 h 170"/>
                  <a:gd name="T68" fmla="*/ 140 w 216"/>
                  <a:gd name="T69" fmla="*/ 38 h 170"/>
                  <a:gd name="T70" fmla="*/ 140 w 216"/>
                  <a:gd name="T71" fmla="*/ 34 h 170"/>
                  <a:gd name="T72" fmla="*/ 108 w 216"/>
                  <a:gd name="T73" fmla="*/ 2 h 170"/>
                  <a:gd name="T74" fmla="*/ 76 w 216"/>
                  <a:gd name="T75" fmla="*/ 0 h 170"/>
                  <a:gd name="T76" fmla="*/ 76 w 216"/>
                  <a:gd name="T7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6" h="170">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4" name="Freeform 415"/>
              <p:cNvSpPr>
                <a:spLocks/>
              </p:cNvSpPr>
              <p:nvPr/>
            </p:nvSpPr>
            <p:spPr bwMode="auto">
              <a:xfrm>
                <a:off x="2987" y="2335"/>
                <a:ext cx="110" cy="166"/>
              </a:xfrm>
              <a:custGeom>
                <a:avLst/>
                <a:gdLst>
                  <a:gd name="T0" fmla="*/ 90 w 110"/>
                  <a:gd name="T1" fmla="*/ 166 h 166"/>
                  <a:gd name="T2" fmla="*/ 88 w 110"/>
                  <a:gd name="T3" fmla="*/ 166 h 166"/>
                  <a:gd name="T4" fmla="*/ 88 w 110"/>
                  <a:gd name="T5" fmla="*/ 158 h 166"/>
                  <a:gd name="T6" fmla="*/ 18 w 110"/>
                  <a:gd name="T7" fmla="*/ 158 h 166"/>
                  <a:gd name="T8" fmla="*/ 16 w 110"/>
                  <a:gd name="T9" fmla="*/ 136 h 166"/>
                  <a:gd name="T10" fmla="*/ 0 w 110"/>
                  <a:gd name="T11" fmla="*/ 124 h 166"/>
                  <a:gd name="T12" fmla="*/ 0 w 110"/>
                  <a:gd name="T13" fmla="*/ 122 h 166"/>
                  <a:gd name="T14" fmla="*/ 2 w 110"/>
                  <a:gd name="T15" fmla="*/ 106 h 166"/>
                  <a:gd name="T16" fmla="*/ 20 w 110"/>
                  <a:gd name="T17" fmla="*/ 88 h 166"/>
                  <a:gd name="T18" fmla="*/ 20 w 110"/>
                  <a:gd name="T19" fmla="*/ 88 h 166"/>
                  <a:gd name="T20" fmla="*/ 30 w 110"/>
                  <a:gd name="T21" fmla="*/ 88 h 166"/>
                  <a:gd name="T22" fmla="*/ 38 w 110"/>
                  <a:gd name="T23" fmla="*/ 94 h 166"/>
                  <a:gd name="T24" fmla="*/ 74 w 110"/>
                  <a:gd name="T25" fmla="*/ 26 h 166"/>
                  <a:gd name="T26" fmla="*/ 82 w 110"/>
                  <a:gd name="T27" fmla="*/ 24 h 166"/>
                  <a:gd name="T28" fmla="*/ 80 w 110"/>
                  <a:gd name="T29" fmla="*/ 2 h 166"/>
                  <a:gd name="T30" fmla="*/ 82 w 110"/>
                  <a:gd name="T31" fmla="*/ 0 h 166"/>
                  <a:gd name="T32" fmla="*/ 82 w 110"/>
                  <a:gd name="T33" fmla="*/ 0 h 166"/>
                  <a:gd name="T34" fmla="*/ 84 w 110"/>
                  <a:gd name="T35" fmla="*/ 0 h 166"/>
                  <a:gd name="T36" fmla="*/ 92 w 110"/>
                  <a:gd name="T37" fmla="*/ 12 h 166"/>
                  <a:gd name="T38" fmla="*/ 94 w 110"/>
                  <a:gd name="T39" fmla="*/ 34 h 166"/>
                  <a:gd name="T40" fmla="*/ 98 w 110"/>
                  <a:gd name="T41" fmla="*/ 42 h 166"/>
                  <a:gd name="T42" fmla="*/ 98 w 110"/>
                  <a:gd name="T43" fmla="*/ 44 h 166"/>
                  <a:gd name="T44" fmla="*/ 80 w 110"/>
                  <a:gd name="T45" fmla="*/ 46 h 166"/>
                  <a:gd name="T46" fmla="*/ 106 w 110"/>
                  <a:gd name="T47" fmla="*/ 80 h 166"/>
                  <a:gd name="T48" fmla="*/ 106 w 110"/>
                  <a:gd name="T49" fmla="*/ 82 h 166"/>
                  <a:gd name="T50" fmla="*/ 106 w 110"/>
                  <a:gd name="T51" fmla="*/ 84 h 166"/>
                  <a:gd name="T52" fmla="*/ 88 w 110"/>
                  <a:gd name="T53" fmla="*/ 112 h 166"/>
                  <a:gd name="T54" fmla="*/ 110 w 110"/>
                  <a:gd name="T55" fmla="*/ 148 h 166"/>
                  <a:gd name="T56" fmla="*/ 110 w 110"/>
                  <a:gd name="T57" fmla="*/ 150 h 166"/>
                  <a:gd name="T58" fmla="*/ 108 w 110"/>
                  <a:gd name="T59" fmla="*/ 162 h 166"/>
                  <a:gd name="T60" fmla="*/ 106 w 110"/>
                  <a:gd name="T61" fmla="*/ 164 h 166"/>
                  <a:gd name="T62" fmla="*/ 90 w 110"/>
                  <a:gd name="T6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166">
                    <a:moveTo>
                      <a:pt x="90" y="166"/>
                    </a:moveTo>
                    <a:lnTo>
                      <a:pt x="90" y="166"/>
                    </a:lnTo>
                    <a:lnTo>
                      <a:pt x="88" y="166"/>
                    </a:lnTo>
                    <a:lnTo>
                      <a:pt x="88" y="166"/>
                    </a:lnTo>
                    <a:lnTo>
                      <a:pt x="88" y="164"/>
                    </a:lnTo>
                    <a:lnTo>
                      <a:pt x="88" y="158"/>
                    </a:lnTo>
                    <a:lnTo>
                      <a:pt x="18" y="158"/>
                    </a:lnTo>
                    <a:lnTo>
                      <a:pt x="18" y="158"/>
                    </a:lnTo>
                    <a:lnTo>
                      <a:pt x="16" y="156"/>
                    </a:lnTo>
                    <a:lnTo>
                      <a:pt x="16" y="136"/>
                    </a:lnTo>
                    <a:lnTo>
                      <a:pt x="8" y="130"/>
                    </a:lnTo>
                    <a:lnTo>
                      <a:pt x="0" y="124"/>
                    </a:lnTo>
                    <a:lnTo>
                      <a:pt x="0" y="124"/>
                    </a:lnTo>
                    <a:lnTo>
                      <a:pt x="0" y="122"/>
                    </a:lnTo>
                    <a:lnTo>
                      <a:pt x="2" y="106"/>
                    </a:lnTo>
                    <a:lnTo>
                      <a:pt x="2" y="106"/>
                    </a:lnTo>
                    <a:lnTo>
                      <a:pt x="2" y="104"/>
                    </a:lnTo>
                    <a:lnTo>
                      <a:pt x="20" y="88"/>
                    </a:lnTo>
                    <a:lnTo>
                      <a:pt x="20" y="88"/>
                    </a:lnTo>
                    <a:lnTo>
                      <a:pt x="20" y="88"/>
                    </a:lnTo>
                    <a:lnTo>
                      <a:pt x="30" y="88"/>
                    </a:lnTo>
                    <a:lnTo>
                      <a:pt x="30" y="88"/>
                    </a:lnTo>
                    <a:lnTo>
                      <a:pt x="32" y="88"/>
                    </a:lnTo>
                    <a:lnTo>
                      <a:pt x="38" y="94"/>
                    </a:lnTo>
                    <a:lnTo>
                      <a:pt x="74" y="26"/>
                    </a:lnTo>
                    <a:lnTo>
                      <a:pt x="74" y="26"/>
                    </a:lnTo>
                    <a:lnTo>
                      <a:pt x="74" y="26"/>
                    </a:lnTo>
                    <a:lnTo>
                      <a:pt x="82" y="24"/>
                    </a:lnTo>
                    <a:lnTo>
                      <a:pt x="80" y="12"/>
                    </a:lnTo>
                    <a:lnTo>
                      <a:pt x="80" y="2"/>
                    </a:lnTo>
                    <a:lnTo>
                      <a:pt x="80" y="2"/>
                    </a:lnTo>
                    <a:lnTo>
                      <a:pt x="82" y="0"/>
                    </a:lnTo>
                    <a:lnTo>
                      <a:pt x="82" y="0"/>
                    </a:lnTo>
                    <a:lnTo>
                      <a:pt x="82" y="0"/>
                    </a:lnTo>
                    <a:lnTo>
                      <a:pt x="82" y="0"/>
                    </a:lnTo>
                    <a:lnTo>
                      <a:pt x="84" y="0"/>
                    </a:lnTo>
                    <a:lnTo>
                      <a:pt x="92" y="12"/>
                    </a:lnTo>
                    <a:lnTo>
                      <a:pt x="92" y="12"/>
                    </a:lnTo>
                    <a:lnTo>
                      <a:pt x="92" y="12"/>
                    </a:lnTo>
                    <a:lnTo>
                      <a:pt x="94" y="34"/>
                    </a:lnTo>
                    <a:lnTo>
                      <a:pt x="98" y="42"/>
                    </a:lnTo>
                    <a:lnTo>
                      <a:pt x="98" y="42"/>
                    </a:lnTo>
                    <a:lnTo>
                      <a:pt x="98" y="44"/>
                    </a:lnTo>
                    <a:lnTo>
                      <a:pt x="98" y="44"/>
                    </a:lnTo>
                    <a:lnTo>
                      <a:pt x="96" y="46"/>
                    </a:lnTo>
                    <a:lnTo>
                      <a:pt x="80" y="46"/>
                    </a:lnTo>
                    <a:lnTo>
                      <a:pt x="80" y="52"/>
                    </a:lnTo>
                    <a:lnTo>
                      <a:pt x="106" y="80"/>
                    </a:lnTo>
                    <a:lnTo>
                      <a:pt x="106" y="80"/>
                    </a:lnTo>
                    <a:lnTo>
                      <a:pt x="106" y="82"/>
                    </a:lnTo>
                    <a:lnTo>
                      <a:pt x="106" y="82"/>
                    </a:lnTo>
                    <a:lnTo>
                      <a:pt x="106" y="84"/>
                    </a:lnTo>
                    <a:lnTo>
                      <a:pt x="88" y="98"/>
                    </a:lnTo>
                    <a:lnTo>
                      <a:pt x="88" y="112"/>
                    </a:lnTo>
                    <a:lnTo>
                      <a:pt x="96" y="134"/>
                    </a:lnTo>
                    <a:lnTo>
                      <a:pt x="110" y="148"/>
                    </a:lnTo>
                    <a:lnTo>
                      <a:pt x="110" y="148"/>
                    </a:lnTo>
                    <a:lnTo>
                      <a:pt x="110" y="150"/>
                    </a:lnTo>
                    <a:lnTo>
                      <a:pt x="108" y="162"/>
                    </a:lnTo>
                    <a:lnTo>
                      <a:pt x="108" y="162"/>
                    </a:lnTo>
                    <a:lnTo>
                      <a:pt x="106" y="164"/>
                    </a:lnTo>
                    <a:lnTo>
                      <a:pt x="106" y="164"/>
                    </a:lnTo>
                    <a:lnTo>
                      <a:pt x="90" y="166"/>
                    </a:lnTo>
                    <a:lnTo>
                      <a:pt x="90" y="1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5" name="Freeform 416"/>
              <p:cNvSpPr>
                <a:spLocks noEditPoints="1"/>
              </p:cNvSpPr>
              <p:nvPr/>
            </p:nvSpPr>
            <p:spPr bwMode="auto">
              <a:xfrm>
                <a:off x="2985" y="2333"/>
                <a:ext cx="114" cy="170"/>
              </a:xfrm>
              <a:custGeom>
                <a:avLst/>
                <a:gdLst>
                  <a:gd name="T0" fmla="*/ 92 w 114"/>
                  <a:gd name="T1" fmla="*/ 14 h 170"/>
                  <a:gd name="T2" fmla="*/ 98 w 114"/>
                  <a:gd name="T3" fmla="*/ 46 h 170"/>
                  <a:gd name="T4" fmla="*/ 80 w 114"/>
                  <a:gd name="T5" fmla="*/ 54 h 170"/>
                  <a:gd name="T6" fmla="*/ 88 w 114"/>
                  <a:gd name="T7" fmla="*/ 98 h 170"/>
                  <a:gd name="T8" fmla="*/ 98 w 114"/>
                  <a:gd name="T9" fmla="*/ 136 h 170"/>
                  <a:gd name="T10" fmla="*/ 108 w 114"/>
                  <a:gd name="T11" fmla="*/ 164 h 170"/>
                  <a:gd name="T12" fmla="*/ 92 w 114"/>
                  <a:gd name="T13" fmla="*/ 158 h 170"/>
                  <a:gd name="T14" fmla="*/ 20 w 114"/>
                  <a:gd name="T15" fmla="*/ 136 h 170"/>
                  <a:gd name="T16" fmla="*/ 4 w 114"/>
                  <a:gd name="T17" fmla="*/ 124 h 170"/>
                  <a:gd name="T18" fmla="*/ 22 w 114"/>
                  <a:gd name="T19" fmla="*/ 92 h 170"/>
                  <a:gd name="T20" fmla="*/ 42 w 114"/>
                  <a:gd name="T21" fmla="*/ 98 h 170"/>
                  <a:gd name="T22" fmla="*/ 86 w 114"/>
                  <a:gd name="T23" fmla="*/ 28 h 170"/>
                  <a:gd name="T24" fmla="*/ 84 w 114"/>
                  <a:gd name="T25" fmla="*/ 4 h 170"/>
                  <a:gd name="T26" fmla="*/ 84 w 114"/>
                  <a:gd name="T27" fmla="*/ 0 h 170"/>
                  <a:gd name="T28" fmla="*/ 84 w 114"/>
                  <a:gd name="T29" fmla="*/ 0 h 170"/>
                  <a:gd name="T30" fmla="*/ 80 w 114"/>
                  <a:gd name="T31" fmla="*/ 4 h 170"/>
                  <a:gd name="T32" fmla="*/ 80 w 114"/>
                  <a:gd name="T33" fmla="*/ 14 h 170"/>
                  <a:gd name="T34" fmla="*/ 82 w 114"/>
                  <a:gd name="T35" fmla="*/ 24 h 170"/>
                  <a:gd name="T36" fmla="*/ 76 w 114"/>
                  <a:gd name="T37" fmla="*/ 26 h 170"/>
                  <a:gd name="T38" fmla="*/ 40 w 114"/>
                  <a:gd name="T39" fmla="*/ 92 h 170"/>
                  <a:gd name="T40" fmla="*/ 34 w 114"/>
                  <a:gd name="T41" fmla="*/ 88 h 170"/>
                  <a:gd name="T42" fmla="*/ 22 w 114"/>
                  <a:gd name="T43" fmla="*/ 88 h 170"/>
                  <a:gd name="T44" fmla="*/ 20 w 114"/>
                  <a:gd name="T45" fmla="*/ 88 h 170"/>
                  <a:gd name="T46" fmla="*/ 2 w 114"/>
                  <a:gd name="T47" fmla="*/ 104 h 170"/>
                  <a:gd name="T48" fmla="*/ 0 w 114"/>
                  <a:gd name="T49" fmla="*/ 124 h 170"/>
                  <a:gd name="T50" fmla="*/ 0 w 114"/>
                  <a:gd name="T51" fmla="*/ 126 h 170"/>
                  <a:gd name="T52" fmla="*/ 10 w 114"/>
                  <a:gd name="T53" fmla="*/ 132 h 170"/>
                  <a:gd name="T54" fmla="*/ 16 w 114"/>
                  <a:gd name="T55" fmla="*/ 158 h 170"/>
                  <a:gd name="T56" fmla="*/ 16 w 114"/>
                  <a:gd name="T57" fmla="*/ 162 h 170"/>
                  <a:gd name="T58" fmla="*/ 88 w 114"/>
                  <a:gd name="T59" fmla="*/ 162 h 170"/>
                  <a:gd name="T60" fmla="*/ 88 w 114"/>
                  <a:gd name="T61" fmla="*/ 166 h 170"/>
                  <a:gd name="T62" fmla="*/ 90 w 114"/>
                  <a:gd name="T63" fmla="*/ 170 h 170"/>
                  <a:gd name="T64" fmla="*/ 92 w 114"/>
                  <a:gd name="T65" fmla="*/ 170 h 170"/>
                  <a:gd name="T66" fmla="*/ 108 w 114"/>
                  <a:gd name="T67" fmla="*/ 168 h 170"/>
                  <a:gd name="T68" fmla="*/ 110 w 114"/>
                  <a:gd name="T69" fmla="*/ 168 h 170"/>
                  <a:gd name="T70" fmla="*/ 114 w 114"/>
                  <a:gd name="T71" fmla="*/ 152 h 170"/>
                  <a:gd name="T72" fmla="*/ 112 w 114"/>
                  <a:gd name="T73" fmla="*/ 148 h 170"/>
                  <a:gd name="T74" fmla="*/ 92 w 114"/>
                  <a:gd name="T75" fmla="*/ 112 h 170"/>
                  <a:gd name="T76" fmla="*/ 108 w 114"/>
                  <a:gd name="T77" fmla="*/ 88 h 170"/>
                  <a:gd name="T78" fmla="*/ 110 w 114"/>
                  <a:gd name="T79" fmla="*/ 84 h 170"/>
                  <a:gd name="T80" fmla="*/ 108 w 114"/>
                  <a:gd name="T81" fmla="*/ 82 h 170"/>
                  <a:gd name="T82" fmla="*/ 84 w 114"/>
                  <a:gd name="T83" fmla="*/ 50 h 170"/>
                  <a:gd name="T84" fmla="*/ 98 w 114"/>
                  <a:gd name="T85" fmla="*/ 50 h 170"/>
                  <a:gd name="T86" fmla="*/ 102 w 114"/>
                  <a:gd name="T87" fmla="*/ 48 h 170"/>
                  <a:gd name="T88" fmla="*/ 98 w 114"/>
                  <a:gd name="T89" fmla="*/ 36 h 170"/>
                  <a:gd name="T90" fmla="*/ 96 w 114"/>
                  <a:gd name="T91" fmla="*/ 14 h 170"/>
                  <a:gd name="T92" fmla="*/ 88 w 114"/>
                  <a:gd name="T93" fmla="*/ 2 h 170"/>
                  <a:gd name="T94" fmla="*/ 84 w 114"/>
                  <a:gd name="T9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170">
                    <a:moveTo>
                      <a:pt x="84" y="4"/>
                    </a:moveTo>
                    <a:lnTo>
                      <a:pt x="92" y="14"/>
                    </a:lnTo>
                    <a:lnTo>
                      <a:pt x="94" y="36"/>
                    </a:lnTo>
                    <a:lnTo>
                      <a:pt x="98" y="46"/>
                    </a:lnTo>
                    <a:lnTo>
                      <a:pt x="80" y="46"/>
                    </a:lnTo>
                    <a:lnTo>
                      <a:pt x="80" y="54"/>
                    </a:lnTo>
                    <a:lnTo>
                      <a:pt x="106" y="84"/>
                    </a:lnTo>
                    <a:lnTo>
                      <a:pt x="88" y="98"/>
                    </a:lnTo>
                    <a:lnTo>
                      <a:pt x="88" y="114"/>
                    </a:lnTo>
                    <a:lnTo>
                      <a:pt x="98" y="136"/>
                    </a:lnTo>
                    <a:lnTo>
                      <a:pt x="110" y="152"/>
                    </a:lnTo>
                    <a:lnTo>
                      <a:pt x="108" y="164"/>
                    </a:lnTo>
                    <a:lnTo>
                      <a:pt x="92" y="166"/>
                    </a:lnTo>
                    <a:lnTo>
                      <a:pt x="92" y="158"/>
                    </a:lnTo>
                    <a:lnTo>
                      <a:pt x="20" y="158"/>
                    </a:lnTo>
                    <a:lnTo>
                      <a:pt x="20" y="136"/>
                    </a:lnTo>
                    <a:lnTo>
                      <a:pt x="12" y="130"/>
                    </a:lnTo>
                    <a:lnTo>
                      <a:pt x="4" y="124"/>
                    </a:lnTo>
                    <a:lnTo>
                      <a:pt x="6" y="108"/>
                    </a:lnTo>
                    <a:lnTo>
                      <a:pt x="22" y="92"/>
                    </a:lnTo>
                    <a:lnTo>
                      <a:pt x="32" y="92"/>
                    </a:lnTo>
                    <a:lnTo>
                      <a:pt x="42" y="98"/>
                    </a:lnTo>
                    <a:lnTo>
                      <a:pt x="78" y="30"/>
                    </a:lnTo>
                    <a:lnTo>
                      <a:pt x="86" y="28"/>
                    </a:lnTo>
                    <a:lnTo>
                      <a:pt x="84" y="14"/>
                    </a:lnTo>
                    <a:lnTo>
                      <a:pt x="84" y="4"/>
                    </a:lnTo>
                    <a:close/>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6" name="Freeform 417"/>
              <p:cNvSpPr>
                <a:spLocks/>
              </p:cNvSpPr>
              <p:nvPr/>
            </p:nvSpPr>
            <p:spPr bwMode="auto">
              <a:xfrm>
                <a:off x="2989" y="2337"/>
                <a:ext cx="106" cy="162"/>
              </a:xfrm>
              <a:custGeom>
                <a:avLst/>
                <a:gdLst>
                  <a:gd name="T0" fmla="*/ 80 w 106"/>
                  <a:gd name="T1" fmla="*/ 0 h 162"/>
                  <a:gd name="T2" fmla="*/ 88 w 106"/>
                  <a:gd name="T3" fmla="*/ 10 h 162"/>
                  <a:gd name="T4" fmla="*/ 90 w 106"/>
                  <a:gd name="T5" fmla="*/ 32 h 162"/>
                  <a:gd name="T6" fmla="*/ 94 w 106"/>
                  <a:gd name="T7" fmla="*/ 42 h 162"/>
                  <a:gd name="T8" fmla="*/ 76 w 106"/>
                  <a:gd name="T9" fmla="*/ 42 h 162"/>
                  <a:gd name="T10" fmla="*/ 76 w 106"/>
                  <a:gd name="T11" fmla="*/ 50 h 162"/>
                  <a:gd name="T12" fmla="*/ 102 w 106"/>
                  <a:gd name="T13" fmla="*/ 80 h 162"/>
                  <a:gd name="T14" fmla="*/ 84 w 106"/>
                  <a:gd name="T15" fmla="*/ 94 h 162"/>
                  <a:gd name="T16" fmla="*/ 84 w 106"/>
                  <a:gd name="T17" fmla="*/ 110 h 162"/>
                  <a:gd name="T18" fmla="*/ 94 w 106"/>
                  <a:gd name="T19" fmla="*/ 132 h 162"/>
                  <a:gd name="T20" fmla="*/ 106 w 106"/>
                  <a:gd name="T21" fmla="*/ 148 h 162"/>
                  <a:gd name="T22" fmla="*/ 104 w 106"/>
                  <a:gd name="T23" fmla="*/ 160 h 162"/>
                  <a:gd name="T24" fmla="*/ 88 w 106"/>
                  <a:gd name="T25" fmla="*/ 162 h 162"/>
                  <a:gd name="T26" fmla="*/ 88 w 106"/>
                  <a:gd name="T27" fmla="*/ 154 h 162"/>
                  <a:gd name="T28" fmla="*/ 16 w 106"/>
                  <a:gd name="T29" fmla="*/ 154 h 162"/>
                  <a:gd name="T30" fmla="*/ 16 w 106"/>
                  <a:gd name="T31" fmla="*/ 132 h 162"/>
                  <a:gd name="T32" fmla="*/ 8 w 106"/>
                  <a:gd name="T33" fmla="*/ 126 h 162"/>
                  <a:gd name="T34" fmla="*/ 0 w 106"/>
                  <a:gd name="T35" fmla="*/ 120 h 162"/>
                  <a:gd name="T36" fmla="*/ 2 w 106"/>
                  <a:gd name="T37" fmla="*/ 104 h 162"/>
                  <a:gd name="T38" fmla="*/ 18 w 106"/>
                  <a:gd name="T39" fmla="*/ 88 h 162"/>
                  <a:gd name="T40" fmla="*/ 28 w 106"/>
                  <a:gd name="T41" fmla="*/ 88 h 162"/>
                  <a:gd name="T42" fmla="*/ 38 w 106"/>
                  <a:gd name="T43" fmla="*/ 94 h 162"/>
                  <a:gd name="T44" fmla="*/ 74 w 106"/>
                  <a:gd name="T45" fmla="*/ 26 h 162"/>
                  <a:gd name="T46" fmla="*/ 82 w 106"/>
                  <a:gd name="T47" fmla="*/ 24 h 162"/>
                  <a:gd name="T48" fmla="*/ 80 w 106"/>
                  <a:gd name="T49" fmla="*/ 10 h 162"/>
                  <a:gd name="T50" fmla="*/ 80 w 106"/>
                  <a:gd name="T5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 h="162">
                    <a:moveTo>
                      <a:pt x="80" y="0"/>
                    </a:moveTo>
                    <a:lnTo>
                      <a:pt x="88" y="10"/>
                    </a:lnTo>
                    <a:lnTo>
                      <a:pt x="90" y="32"/>
                    </a:lnTo>
                    <a:lnTo>
                      <a:pt x="94" y="42"/>
                    </a:lnTo>
                    <a:lnTo>
                      <a:pt x="76" y="42"/>
                    </a:lnTo>
                    <a:lnTo>
                      <a:pt x="76" y="50"/>
                    </a:lnTo>
                    <a:lnTo>
                      <a:pt x="102" y="80"/>
                    </a:lnTo>
                    <a:lnTo>
                      <a:pt x="84" y="94"/>
                    </a:lnTo>
                    <a:lnTo>
                      <a:pt x="84" y="110"/>
                    </a:lnTo>
                    <a:lnTo>
                      <a:pt x="94" y="132"/>
                    </a:lnTo>
                    <a:lnTo>
                      <a:pt x="106" y="148"/>
                    </a:lnTo>
                    <a:lnTo>
                      <a:pt x="104" y="160"/>
                    </a:lnTo>
                    <a:lnTo>
                      <a:pt x="88" y="162"/>
                    </a:lnTo>
                    <a:lnTo>
                      <a:pt x="88" y="154"/>
                    </a:lnTo>
                    <a:lnTo>
                      <a:pt x="16" y="154"/>
                    </a:lnTo>
                    <a:lnTo>
                      <a:pt x="16" y="132"/>
                    </a:lnTo>
                    <a:lnTo>
                      <a:pt x="8" y="126"/>
                    </a:lnTo>
                    <a:lnTo>
                      <a:pt x="0" y="120"/>
                    </a:lnTo>
                    <a:lnTo>
                      <a:pt x="2" y="104"/>
                    </a:lnTo>
                    <a:lnTo>
                      <a:pt x="18" y="88"/>
                    </a:lnTo>
                    <a:lnTo>
                      <a:pt x="28" y="88"/>
                    </a:lnTo>
                    <a:lnTo>
                      <a:pt x="38" y="94"/>
                    </a:lnTo>
                    <a:lnTo>
                      <a:pt x="74" y="26"/>
                    </a:lnTo>
                    <a:lnTo>
                      <a:pt x="82" y="24"/>
                    </a:lnTo>
                    <a:lnTo>
                      <a:pt x="80"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7" name="Freeform 418"/>
              <p:cNvSpPr>
                <a:spLocks/>
              </p:cNvSpPr>
              <p:nvPr/>
            </p:nvSpPr>
            <p:spPr bwMode="auto">
              <a:xfrm>
                <a:off x="2985" y="2333"/>
                <a:ext cx="114" cy="170"/>
              </a:xfrm>
              <a:custGeom>
                <a:avLst/>
                <a:gdLst>
                  <a:gd name="T0" fmla="*/ 84 w 114"/>
                  <a:gd name="T1" fmla="*/ 0 h 170"/>
                  <a:gd name="T2" fmla="*/ 84 w 114"/>
                  <a:gd name="T3" fmla="*/ 0 h 170"/>
                  <a:gd name="T4" fmla="*/ 80 w 114"/>
                  <a:gd name="T5" fmla="*/ 4 h 170"/>
                  <a:gd name="T6" fmla="*/ 80 w 114"/>
                  <a:gd name="T7" fmla="*/ 14 h 170"/>
                  <a:gd name="T8" fmla="*/ 82 w 114"/>
                  <a:gd name="T9" fmla="*/ 24 h 170"/>
                  <a:gd name="T10" fmla="*/ 76 w 114"/>
                  <a:gd name="T11" fmla="*/ 26 h 170"/>
                  <a:gd name="T12" fmla="*/ 40 w 114"/>
                  <a:gd name="T13" fmla="*/ 92 h 170"/>
                  <a:gd name="T14" fmla="*/ 34 w 114"/>
                  <a:gd name="T15" fmla="*/ 88 h 170"/>
                  <a:gd name="T16" fmla="*/ 22 w 114"/>
                  <a:gd name="T17" fmla="*/ 88 h 170"/>
                  <a:gd name="T18" fmla="*/ 20 w 114"/>
                  <a:gd name="T19" fmla="*/ 88 h 170"/>
                  <a:gd name="T20" fmla="*/ 2 w 114"/>
                  <a:gd name="T21" fmla="*/ 104 h 170"/>
                  <a:gd name="T22" fmla="*/ 0 w 114"/>
                  <a:gd name="T23" fmla="*/ 124 h 170"/>
                  <a:gd name="T24" fmla="*/ 0 w 114"/>
                  <a:gd name="T25" fmla="*/ 126 h 170"/>
                  <a:gd name="T26" fmla="*/ 10 w 114"/>
                  <a:gd name="T27" fmla="*/ 132 h 170"/>
                  <a:gd name="T28" fmla="*/ 16 w 114"/>
                  <a:gd name="T29" fmla="*/ 158 h 170"/>
                  <a:gd name="T30" fmla="*/ 16 w 114"/>
                  <a:gd name="T31" fmla="*/ 162 h 170"/>
                  <a:gd name="T32" fmla="*/ 88 w 114"/>
                  <a:gd name="T33" fmla="*/ 162 h 170"/>
                  <a:gd name="T34" fmla="*/ 88 w 114"/>
                  <a:gd name="T35" fmla="*/ 166 h 170"/>
                  <a:gd name="T36" fmla="*/ 90 w 114"/>
                  <a:gd name="T37" fmla="*/ 170 h 170"/>
                  <a:gd name="T38" fmla="*/ 92 w 114"/>
                  <a:gd name="T39" fmla="*/ 170 h 170"/>
                  <a:gd name="T40" fmla="*/ 108 w 114"/>
                  <a:gd name="T41" fmla="*/ 168 h 170"/>
                  <a:gd name="T42" fmla="*/ 110 w 114"/>
                  <a:gd name="T43" fmla="*/ 168 h 170"/>
                  <a:gd name="T44" fmla="*/ 114 w 114"/>
                  <a:gd name="T45" fmla="*/ 152 h 170"/>
                  <a:gd name="T46" fmla="*/ 112 w 114"/>
                  <a:gd name="T47" fmla="*/ 148 h 170"/>
                  <a:gd name="T48" fmla="*/ 92 w 114"/>
                  <a:gd name="T49" fmla="*/ 112 h 170"/>
                  <a:gd name="T50" fmla="*/ 108 w 114"/>
                  <a:gd name="T51" fmla="*/ 88 h 170"/>
                  <a:gd name="T52" fmla="*/ 110 w 114"/>
                  <a:gd name="T53" fmla="*/ 84 h 170"/>
                  <a:gd name="T54" fmla="*/ 108 w 114"/>
                  <a:gd name="T55" fmla="*/ 82 h 170"/>
                  <a:gd name="T56" fmla="*/ 84 w 114"/>
                  <a:gd name="T57" fmla="*/ 50 h 170"/>
                  <a:gd name="T58" fmla="*/ 98 w 114"/>
                  <a:gd name="T59" fmla="*/ 50 h 170"/>
                  <a:gd name="T60" fmla="*/ 102 w 114"/>
                  <a:gd name="T61" fmla="*/ 48 h 170"/>
                  <a:gd name="T62" fmla="*/ 98 w 114"/>
                  <a:gd name="T63" fmla="*/ 36 h 170"/>
                  <a:gd name="T64" fmla="*/ 96 w 114"/>
                  <a:gd name="T65" fmla="*/ 14 h 170"/>
                  <a:gd name="T66" fmla="*/ 88 w 114"/>
                  <a:gd name="T67" fmla="*/ 2 h 170"/>
                  <a:gd name="T68" fmla="*/ 84 w 114"/>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70">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8" name="Freeform 419"/>
              <p:cNvSpPr>
                <a:spLocks/>
              </p:cNvSpPr>
              <p:nvPr/>
            </p:nvSpPr>
            <p:spPr bwMode="auto">
              <a:xfrm>
                <a:off x="2903" y="2323"/>
                <a:ext cx="166" cy="138"/>
              </a:xfrm>
              <a:custGeom>
                <a:avLst/>
                <a:gdLst>
                  <a:gd name="T0" fmla="*/ 40 w 166"/>
                  <a:gd name="T1" fmla="*/ 138 h 138"/>
                  <a:gd name="T2" fmla="*/ 38 w 166"/>
                  <a:gd name="T3" fmla="*/ 136 h 138"/>
                  <a:gd name="T4" fmla="*/ 40 w 166"/>
                  <a:gd name="T5" fmla="*/ 122 h 138"/>
                  <a:gd name="T6" fmla="*/ 2 w 166"/>
                  <a:gd name="T7" fmla="*/ 108 h 138"/>
                  <a:gd name="T8" fmla="*/ 2 w 166"/>
                  <a:gd name="T9" fmla="*/ 106 h 138"/>
                  <a:gd name="T10" fmla="*/ 0 w 166"/>
                  <a:gd name="T11" fmla="*/ 72 h 138"/>
                  <a:gd name="T12" fmla="*/ 18 w 166"/>
                  <a:gd name="T13" fmla="*/ 50 h 138"/>
                  <a:gd name="T14" fmla="*/ 8 w 166"/>
                  <a:gd name="T15" fmla="*/ 42 h 138"/>
                  <a:gd name="T16" fmla="*/ 10 w 166"/>
                  <a:gd name="T17" fmla="*/ 32 h 138"/>
                  <a:gd name="T18" fmla="*/ 20 w 166"/>
                  <a:gd name="T19" fmla="*/ 4 h 138"/>
                  <a:gd name="T20" fmla="*/ 48 w 166"/>
                  <a:gd name="T21" fmla="*/ 2 h 138"/>
                  <a:gd name="T22" fmla="*/ 50 w 166"/>
                  <a:gd name="T23" fmla="*/ 2 h 138"/>
                  <a:gd name="T24" fmla="*/ 70 w 166"/>
                  <a:gd name="T25" fmla="*/ 8 h 138"/>
                  <a:gd name="T26" fmla="*/ 70 w 166"/>
                  <a:gd name="T27" fmla="*/ 8 h 138"/>
                  <a:gd name="T28" fmla="*/ 72 w 166"/>
                  <a:gd name="T29" fmla="*/ 8 h 138"/>
                  <a:gd name="T30" fmla="*/ 98 w 166"/>
                  <a:gd name="T31" fmla="*/ 10 h 138"/>
                  <a:gd name="T32" fmla="*/ 100 w 166"/>
                  <a:gd name="T33" fmla="*/ 10 h 138"/>
                  <a:gd name="T34" fmla="*/ 130 w 166"/>
                  <a:gd name="T35" fmla="*/ 12 h 138"/>
                  <a:gd name="T36" fmla="*/ 148 w 166"/>
                  <a:gd name="T37" fmla="*/ 0 h 138"/>
                  <a:gd name="T38" fmla="*/ 150 w 166"/>
                  <a:gd name="T39" fmla="*/ 0 h 138"/>
                  <a:gd name="T40" fmla="*/ 164 w 166"/>
                  <a:gd name="T41" fmla="*/ 14 h 138"/>
                  <a:gd name="T42" fmla="*/ 164 w 166"/>
                  <a:gd name="T43" fmla="*/ 14 h 138"/>
                  <a:gd name="T44" fmla="*/ 166 w 166"/>
                  <a:gd name="T45" fmla="*/ 38 h 138"/>
                  <a:gd name="T46" fmla="*/ 156 w 166"/>
                  <a:gd name="T47" fmla="*/ 42 h 138"/>
                  <a:gd name="T48" fmla="*/ 122 w 166"/>
                  <a:gd name="T49" fmla="*/ 110 h 138"/>
                  <a:gd name="T50" fmla="*/ 120 w 166"/>
                  <a:gd name="T51" fmla="*/ 110 h 138"/>
                  <a:gd name="T52" fmla="*/ 120 w 166"/>
                  <a:gd name="T53" fmla="*/ 110 h 138"/>
                  <a:gd name="T54" fmla="*/ 110 w 166"/>
                  <a:gd name="T55" fmla="*/ 104 h 138"/>
                  <a:gd name="T56" fmla="*/ 86 w 166"/>
                  <a:gd name="T57" fmla="*/ 118 h 138"/>
                  <a:gd name="T58" fmla="*/ 84 w 166"/>
                  <a:gd name="T59" fmla="*/ 134 h 138"/>
                  <a:gd name="T60" fmla="*/ 84 w 166"/>
                  <a:gd name="T61" fmla="*/ 136 h 138"/>
                  <a:gd name="T62" fmla="*/ 56 w 166"/>
                  <a:gd name="T63" fmla="*/ 138 h 138"/>
                  <a:gd name="T64" fmla="*/ 40 w 166"/>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38">
                    <a:moveTo>
                      <a:pt x="40" y="138"/>
                    </a:moveTo>
                    <a:lnTo>
                      <a:pt x="40" y="138"/>
                    </a:lnTo>
                    <a:lnTo>
                      <a:pt x="38" y="136"/>
                    </a:lnTo>
                    <a:lnTo>
                      <a:pt x="38" y="136"/>
                    </a:lnTo>
                    <a:lnTo>
                      <a:pt x="38" y="134"/>
                    </a:lnTo>
                    <a:lnTo>
                      <a:pt x="40" y="122"/>
                    </a:lnTo>
                    <a:lnTo>
                      <a:pt x="20" y="110"/>
                    </a:lnTo>
                    <a:lnTo>
                      <a:pt x="2" y="108"/>
                    </a:lnTo>
                    <a:lnTo>
                      <a:pt x="2" y="108"/>
                    </a:lnTo>
                    <a:lnTo>
                      <a:pt x="2" y="106"/>
                    </a:lnTo>
                    <a:lnTo>
                      <a:pt x="0" y="72"/>
                    </a:lnTo>
                    <a:lnTo>
                      <a:pt x="0" y="72"/>
                    </a:lnTo>
                    <a:lnTo>
                      <a:pt x="0" y="72"/>
                    </a:lnTo>
                    <a:lnTo>
                      <a:pt x="18" y="50"/>
                    </a:lnTo>
                    <a:lnTo>
                      <a:pt x="8" y="42"/>
                    </a:lnTo>
                    <a:lnTo>
                      <a:pt x="8" y="42"/>
                    </a:lnTo>
                    <a:lnTo>
                      <a:pt x="8" y="40"/>
                    </a:lnTo>
                    <a:lnTo>
                      <a:pt x="10" y="32"/>
                    </a:lnTo>
                    <a:lnTo>
                      <a:pt x="20" y="4"/>
                    </a:lnTo>
                    <a:lnTo>
                      <a:pt x="20" y="4"/>
                    </a:lnTo>
                    <a:lnTo>
                      <a:pt x="22" y="2"/>
                    </a:lnTo>
                    <a:lnTo>
                      <a:pt x="48" y="2"/>
                    </a:lnTo>
                    <a:lnTo>
                      <a:pt x="48" y="2"/>
                    </a:lnTo>
                    <a:lnTo>
                      <a:pt x="50" y="2"/>
                    </a:lnTo>
                    <a:lnTo>
                      <a:pt x="62" y="12"/>
                    </a:lnTo>
                    <a:lnTo>
                      <a:pt x="70" y="8"/>
                    </a:lnTo>
                    <a:lnTo>
                      <a:pt x="70" y="8"/>
                    </a:lnTo>
                    <a:lnTo>
                      <a:pt x="70" y="8"/>
                    </a:lnTo>
                    <a:lnTo>
                      <a:pt x="70" y="8"/>
                    </a:lnTo>
                    <a:lnTo>
                      <a:pt x="72" y="8"/>
                    </a:lnTo>
                    <a:lnTo>
                      <a:pt x="94" y="16"/>
                    </a:lnTo>
                    <a:lnTo>
                      <a:pt x="98" y="10"/>
                    </a:lnTo>
                    <a:lnTo>
                      <a:pt x="98" y="10"/>
                    </a:lnTo>
                    <a:lnTo>
                      <a:pt x="100" y="10"/>
                    </a:lnTo>
                    <a:lnTo>
                      <a:pt x="100" y="10"/>
                    </a:lnTo>
                    <a:lnTo>
                      <a:pt x="130" y="12"/>
                    </a:lnTo>
                    <a:lnTo>
                      <a:pt x="148" y="0"/>
                    </a:lnTo>
                    <a:lnTo>
                      <a:pt x="148" y="0"/>
                    </a:lnTo>
                    <a:lnTo>
                      <a:pt x="150" y="0"/>
                    </a:lnTo>
                    <a:lnTo>
                      <a:pt x="150" y="0"/>
                    </a:lnTo>
                    <a:lnTo>
                      <a:pt x="152" y="0"/>
                    </a:lnTo>
                    <a:lnTo>
                      <a:pt x="164" y="14"/>
                    </a:lnTo>
                    <a:lnTo>
                      <a:pt x="164" y="14"/>
                    </a:lnTo>
                    <a:lnTo>
                      <a:pt x="164" y="14"/>
                    </a:lnTo>
                    <a:lnTo>
                      <a:pt x="166" y="38"/>
                    </a:lnTo>
                    <a:lnTo>
                      <a:pt x="166" y="38"/>
                    </a:lnTo>
                    <a:lnTo>
                      <a:pt x="164" y="40"/>
                    </a:lnTo>
                    <a:lnTo>
                      <a:pt x="156" y="42"/>
                    </a:lnTo>
                    <a:lnTo>
                      <a:pt x="122" y="110"/>
                    </a:lnTo>
                    <a:lnTo>
                      <a:pt x="122" y="110"/>
                    </a:lnTo>
                    <a:lnTo>
                      <a:pt x="120" y="110"/>
                    </a:lnTo>
                    <a:lnTo>
                      <a:pt x="120" y="110"/>
                    </a:lnTo>
                    <a:lnTo>
                      <a:pt x="120" y="110"/>
                    </a:lnTo>
                    <a:lnTo>
                      <a:pt x="120" y="110"/>
                    </a:lnTo>
                    <a:lnTo>
                      <a:pt x="120" y="110"/>
                    </a:lnTo>
                    <a:lnTo>
                      <a:pt x="110" y="104"/>
                    </a:lnTo>
                    <a:lnTo>
                      <a:pt x="102" y="104"/>
                    </a:lnTo>
                    <a:lnTo>
                      <a:pt x="86" y="118"/>
                    </a:lnTo>
                    <a:lnTo>
                      <a:pt x="84" y="134"/>
                    </a:lnTo>
                    <a:lnTo>
                      <a:pt x="84" y="134"/>
                    </a:lnTo>
                    <a:lnTo>
                      <a:pt x="84" y="136"/>
                    </a:lnTo>
                    <a:lnTo>
                      <a:pt x="84" y="136"/>
                    </a:lnTo>
                    <a:lnTo>
                      <a:pt x="56" y="138"/>
                    </a:lnTo>
                    <a:lnTo>
                      <a:pt x="56" y="138"/>
                    </a:lnTo>
                    <a:lnTo>
                      <a:pt x="40" y="138"/>
                    </a:lnTo>
                    <a:lnTo>
                      <a:pt x="4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9" name="Freeform 420"/>
              <p:cNvSpPr>
                <a:spLocks noEditPoints="1"/>
              </p:cNvSpPr>
              <p:nvPr/>
            </p:nvSpPr>
            <p:spPr bwMode="auto">
              <a:xfrm>
                <a:off x="2901" y="2321"/>
                <a:ext cx="170" cy="142"/>
              </a:xfrm>
              <a:custGeom>
                <a:avLst/>
                <a:gdLst>
                  <a:gd name="T0" fmla="*/ 164 w 170"/>
                  <a:gd name="T1" fmla="*/ 16 h 142"/>
                  <a:gd name="T2" fmla="*/ 156 w 170"/>
                  <a:gd name="T3" fmla="*/ 42 h 142"/>
                  <a:gd name="T4" fmla="*/ 112 w 170"/>
                  <a:gd name="T5" fmla="*/ 104 h 142"/>
                  <a:gd name="T6" fmla="*/ 86 w 170"/>
                  <a:gd name="T7" fmla="*/ 120 h 142"/>
                  <a:gd name="T8" fmla="*/ 58 w 170"/>
                  <a:gd name="T9" fmla="*/ 138 h 142"/>
                  <a:gd name="T10" fmla="*/ 44 w 170"/>
                  <a:gd name="T11" fmla="*/ 122 h 142"/>
                  <a:gd name="T12" fmla="*/ 6 w 170"/>
                  <a:gd name="T13" fmla="*/ 108 h 142"/>
                  <a:gd name="T14" fmla="*/ 22 w 170"/>
                  <a:gd name="T15" fmla="*/ 50 h 142"/>
                  <a:gd name="T16" fmla="*/ 14 w 170"/>
                  <a:gd name="T17" fmla="*/ 34 h 142"/>
                  <a:gd name="T18" fmla="*/ 50 w 170"/>
                  <a:gd name="T19" fmla="*/ 6 h 142"/>
                  <a:gd name="T20" fmla="*/ 72 w 170"/>
                  <a:gd name="T21" fmla="*/ 12 h 142"/>
                  <a:gd name="T22" fmla="*/ 102 w 170"/>
                  <a:gd name="T23" fmla="*/ 14 h 142"/>
                  <a:gd name="T24" fmla="*/ 152 w 170"/>
                  <a:gd name="T25" fmla="*/ 4 h 142"/>
                  <a:gd name="T26" fmla="*/ 152 w 170"/>
                  <a:gd name="T27" fmla="*/ 0 h 142"/>
                  <a:gd name="T28" fmla="*/ 132 w 170"/>
                  <a:gd name="T29" fmla="*/ 12 h 142"/>
                  <a:gd name="T30" fmla="*/ 102 w 170"/>
                  <a:gd name="T31" fmla="*/ 10 h 142"/>
                  <a:gd name="T32" fmla="*/ 102 w 170"/>
                  <a:gd name="T33" fmla="*/ 10 h 142"/>
                  <a:gd name="T34" fmla="*/ 96 w 170"/>
                  <a:gd name="T35" fmla="*/ 16 h 142"/>
                  <a:gd name="T36" fmla="*/ 74 w 170"/>
                  <a:gd name="T37" fmla="*/ 8 h 142"/>
                  <a:gd name="T38" fmla="*/ 72 w 170"/>
                  <a:gd name="T39" fmla="*/ 8 h 142"/>
                  <a:gd name="T40" fmla="*/ 64 w 170"/>
                  <a:gd name="T41" fmla="*/ 12 h 142"/>
                  <a:gd name="T42" fmla="*/ 52 w 170"/>
                  <a:gd name="T43" fmla="*/ 2 h 142"/>
                  <a:gd name="T44" fmla="*/ 24 w 170"/>
                  <a:gd name="T45" fmla="*/ 2 h 142"/>
                  <a:gd name="T46" fmla="*/ 22 w 170"/>
                  <a:gd name="T47" fmla="*/ 2 h 142"/>
                  <a:gd name="T48" fmla="*/ 10 w 170"/>
                  <a:gd name="T49" fmla="*/ 34 h 142"/>
                  <a:gd name="T50" fmla="*/ 10 w 170"/>
                  <a:gd name="T51" fmla="*/ 34 h 142"/>
                  <a:gd name="T52" fmla="*/ 8 w 170"/>
                  <a:gd name="T53" fmla="*/ 42 h 142"/>
                  <a:gd name="T54" fmla="*/ 16 w 170"/>
                  <a:gd name="T55" fmla="*/ 52 h 142"/>
                  <a:gd name="T56" fmla="*/ 0 w 170"/>
                  <a:gd name="T57" fmla="*/ 72 h 142"/>
                  <a:gd name="T58" fmla="*/ 2 w 170"/>
                  <a:gd name="T59" fmla="*/ 108 h 142"/>
                  <a:gd name="T60" fmla="*/ 2 w 170"/>
                  <a:gd name="T61" fmla="*/ 112 h 142"/>
                  <a:gd name="T62" fmla="*/ 22 w 170"/>
                  <a:gd name="T63" fmla="*/ 114 h 142"/>
                  <a:gd name="T64" fmla="*/ 38 w 170"/>
                  <a:gd name="T65" fmla="*/ 136 h 142"/>
                  <a:gd name="T66" fmla="*/ 38 w 170"/>
                  <a:gd name="T67" fmla="*/ 140 h 142"/>
                  <a:gd name="T68" fmla="*/ 42 w 170"/>
                  <a:gd name="T69" fmla="*/ 142 h 142"/>
                  <a:gd name="T70" fmla="*/ 58 w 170"/>
                  <a:gd name="T71" fmla="*/ 142 h 142"/>
                  <a:gd name="T72" fmla="*/ 58 w 170"/>
                  <a:gd name="T73" fmla="*/ 142 h 142"/>
                  <a:gd name="T74" fmla="*/ 86 w 170"/>
                  <a:gd name="T75" fmla="*/ 140 h 142"/>
                  <a:gd name="T76" fmla="*/ 88 w 170"/>
                  <a:gd name="T77" fmla="*/ 138 h 142"/>
                  <a:gd name="T78" fmla="*/ 90 w 170"/>
                  <a:gd name="T79" fmla="*/ 122 h 142"/>
                  <a:gd name="T80" fmla="*/ 112 w 170"/>
                  <a:gd name="T81" fmla="*/ 108 h 142"/>
                  <a:gd name="T82" fmla="*/ 120 w 170"/>
                  <a:gd name="T83" fmla="*/ 114 h 142"/>
                  <a:gd name="T84" fmla="*/ 122 w 170"/>
                  <a:gd name="T85" fmla="*/ 114 h 142"/>
                  <a:gd name="T86" fmla="*/ 124 w 170"/>
                  <a:gd name="T87" fmla="*/ 114 h 142"/>
                  <a:gd name="T88" fmla="*/ 160 w 170"/>
                  <a:gd name="T89" fmla="*/ 46 h 142"/>
                  <a:gd name="T90" fmla="*/ 166 w 170"/>
                  <a:gd name="T91" fmla="*/ 44 h 142"/>
                  <a:gd name="T92" fmla="*/ 170 w 170"/>
                  <a:gd name="T93" fmla="*/ 40 h 142"/>
                  <a:gd name="T94" fmla="*/ 168 w 170"/>
                  <a:gd name="T95" fmla="*/ 16 h 142"/>
                  <a:gd name="T96" fmla="*/ 154 w 170"/>
                  <a:gd name="T97" fmla="*/ 2 h 142"/>
                  <a:gd name="T98" fmla="*/ 152 w 170"/>
                  <a:gd name="T9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42">
                    <a:moveTo>
                      <a:pt x="152" y="4"/>
                    </a:moveTo>
                    <a:lnTo>
                      <a:pt x="164" y="16"/>
                    </a:lnTo>
                    <a:lnTo>
                      <a:pt x="166" y="40"/>
                    </a:lnTo>
                    <a:lnTo>
                      <a:pt x="156" y="42"/>
                    </a:lnTo>
                    <a:lnTo>
                      <a:pt x="122" y="110"/>
                    </a:lnTo>
                    <a:lnTo>
                      <a:pt x="112" y="104"/>
                    </a:lnTo>
                    <a:lnTo>
                      <a:pt x="104" y="104"/>
                    </a:lnTo>
                    <a:lnTo>
                      <a:pt x="86" y="120"/>
                    </a:lnTo>
                    <a:lnTo>
                      <a:pt x="84" y="136"/>
                    </a:lnTo>
                    <a:lnTo>
                      <a:pt x="58" y="138"/>
                    </a:lnTo>
                    <a:lnTo>
                      <a:pt x="42" y="138"/>
                    </a:lnTo>
                    <a:lnTo>
                      <a:pt x="44" y="122"/>
                    </a:lnTo>
                    <a:lnTo>
                      <a:pt x="22" y="110"/>
                    </a:lnTo>
                    <a:lnTo>
                      <a:pt x="6" y="108"/>
                    </a:lnTo>
                    <a:lnTo>
                      <a:pt x="4" y="74"/>
                    </a:lnTo>
                    <a:lnTo>
                      <a:pt x="22" y="50"/>
                    </a:lnTo>
                    <a:lnTo>
                      <a:pt x="12" y="42"/>
                    </a:lnTo>
                    <a:lnTo>
                      <a:pt x="14" y="34"/>
                    </a:lnTo>
                    <a:lnTo>
                      <a:pt x="24" y="6"/>
                    </a:lnTo>
                    <a:lnTo>
                      <a:pt x="50" y="6"/>
                    </a:lnTo>
                    <a:lnTo>
                      <a:pt x="64" y="16"/>
                    </a:lnTo>
                    <a:lnTo>
                      <a:pt x="72" y="12"/>
                    </a:lnTo>
                    <a:lnTo>
                      <a:pt x="98" y="20"/>
                    </a:lnTo>
                    <a:lnTo>
                      <a:pt x="102" y="14"/>
                    </a:lnTo>
                    <a:lnTo>
                      <a:pt x="132" y="16"/>
                    </a:lnTo>
                    <a:lnTo>
                      <a:pt x="152" y="4"/>
                    </a:lnTo>
                    <a:close/>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0" name="Freeform 421"/>
              <p:cNvSpPr>
                <a:spLocks/>
              </p:cNvSpPr>
              <p:nvPr/>
            </p:nvSpPr>
            <p:spPr bwMode="auto">
              <a:xfrm>
                <a:off x="2905" y="2325"/>
                <a:ext cx="162" cy="134"/>
              </a:xfrm>
              <a:custGeom>
                <a:avLst/>
                <a:gdLst>
                  <a:gd name="T0" fmla="*/ 148 w 162"/>
                  <a:gd name="T1" fmla="*/ 0 h 134"/>
                  <a:gd name="T2" fmla="*/ 160 w 162"/>
                  <a:gd name="T3" fmla="*/ 12 h 134"/>
                  <a:gd name="T4" fmla="*/ 162 w 162"/>
                  <a:gd name="T5" fmla="*/ 36 h 134"/>
                  <a:gd name="T6" fmla="*/ 152 w 162"/>
                  <a:gd name="T7" fmla="*/ 38 h 134"/>
                  <a:gd name="T8" fmla="*/ 118 w 162"/>
                  <a:gd name="T9" fmla="*/ 106 h 134"/>
                  <a:gd name="T10" fmla="*/ 108 w 162"/>
                  <a:gd name="T11" fmla="*/ 100 h 134"/>
                  <a:gd name="T12" fmla="*/ 100 w 162"/>
                  <a:gd name="T13" fmla="*/ 100 h 134"/>
                  <a:gd name="T14" fmla="*/ 82 w 162"/>
                  <a:gd name="T15" fmla="*/ 116 h 134"/>
                  <a:gd name="T16" fmla="*/ 80 w 162"/>
                  <a:gd name="T17" fmla="*/ 132 h 134"/>
                  <a:gd name="T18" fmla="*/ 54 w 162"/>
                  <a:gd name="T19" fmla="*/ 134 h 134"/>
                  <a:gd name="T20" fmla="*/ 38 w 162"/>
                  <a:gd name="T21" fmla="*/ 134 h 134"/>
                  <a:gd name="T22" fmla="*/ 40 w 162"/>
                  <a:gd name="T23" fmla="*/ 118 h 134"/>
                  <a:gd name="T24" fmla="*/ 18 w 162"/>
                  <a:gd name="T25" fmla="*/ 106 h 134"/>
                  <a:gd name="T26" fmla="*/ 2 w 162"/>
                  <a:gd name="T27" fmla="*/ 104 h 134"/>
                  <a:gd name="T28" fmla="*/ 0 w 162"/>
                  <a:gd name="T29" fmla="*/ 70 h 134"/>
                  <a:gd name="T30" fmla="*/ 18 w 162"/>
                  <a:gd name="T31" fmla="*/ 46 h 134"/>
                  <a:gd name="T32" fmla="*/ 8 w 162"/>
                  <a:gd name="T33" fmla="*/ 38 h 134"/>
                  <a:gd name="T34" fmla="*/ 10 w 162"/>
                  <a:gd name="T35" fmla="*/ 30 h 134"/>
                  <a:gd name="T36" fmla="*/ 20 w 162"/>
                  <a:gd name="T37" fmla="*/ 2 h 134"/>
                  <a:gd name="T38" fmla="*/ 46 w 162"/>
                  <a:gd name="T39" fmla="*/ 2 h 134"/>
                  <a:gd name="T40" fmla="*/ 60 w 162"/>
                  <a:gd name="T41" fmla="*/ 12 h 134"/>
                  <a:gd name="T42" fmla="*/ 68 w 162"/>
                  <a:gd name="T43" fmla="*/ 8 h 134"/>
                  <a:gd name="T44" fmla="*/ 94 w 162"/>
                  <a:gd name="T45" fmla="*/ 16 h 134"/>
                  <a:gd name="T46" fmla="*/ 98 w 162"/>
                  <a:gd name="T47" fmla="*/ 10 h 134"/>
                  <a:gd name="T48" fmla="*/ 128 w 162"/>
                  <a:gd name="T49" fmla="*/ 12 h 134"/>
                  <a:gd name="T50" fmla="*/ 148 w 162"/>
                  <a:gd name="T5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34">
                    <a:moveTo>
                      <a:pt x="148" y="0"/>
                    </a:moveTo>
                    <a:lnTo>
                      <a:pt x="160" y="12"/>
                    </a:lnTo>
                    <a:lnTo>
                      <a:pt x="162" y="36"/>
                    </a:lnTo>
                    <a:lnTo>
                      <a:pt x="152" y="38"/>
                    </a:lnTo>
                    <a:lnTo>
                      <a:pt x="118" y="106"/>
                    </a:lnTo>
                    <a:lnTo>
                      <a:pt x="108" y="100"/>
                    </a:lnTo>
                    <a:lnTo>
                      <a:pt x="100" y="100"/>
                    </a:lnTo>
                    <a:lnTo>
                      <a:pt x="82" y="116"/>
                    </a:lnTo>
                    <a:lnTo>
                      <a:pt x="80" y="132"/>
                    </a:lnTo>
                    <a:lnTo>
                      <a:pt x="54" y="134"/>
                    </a:lnTo>
                    <a:lnTo>
                      <a:pt x="38" y="134"/>
                    </a:lnTo>
                    <a:lnTo>
                      <a:pt x="40" y="118"/>
                    </a:lnTo>
                    <a:lnTo>
                      <a:pt x="18" y="106"/>
                    </a:lnTo>
                    <a:lnTo>
                      <a:pt x="2" y="104"/>
                    </a:lnTo>
                    <a:lnTo>
                      <a:pt x="0" y="70"/>
                    </a:lnTo>
                    <a:lnTo>
                      <a:pt x="18" y="46"/>
                    </a:lnTo>
                    <a:lnTo>
                      <a:pt x="8" y="38"/>
                    </a:lnTo>
                    <a:lnTo>
                      <a:pt x="10" y="30"/>
                    </a:lnTo>
                    <a:lnTo>
                      <a:pt x="20" y="2"/>
                    </a:lnTo>
                    <a:lnTo>
                      <a:pt x="46" y="2"/>
                    </a:lnTo>
                    <a:lnTo>
                      <a:pt x="60" y="12"/>
                    </a:lnTo>
                    <a:lnTo>
                      <a:pt x="68" y="8"/>
                    </a:lnTo>
                    <a:lnTo>
                      <a:pt x="94" y="16"/>
                    </a:lnTo>
                    <a:lnTo>
                      <a:pt x="98" y="10"/>
                    </a:lnTo>
                    <a:lnTo>
                      <a:pt x="128" y="1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1" name="Freeform 422"/>
              <p:cNvSpPr>
                <a:spLocks/>
              </p:cNvSpPr>
              <p:nvPr/>
            </p:nvSpPr>
            <p:spPr bwMode="auto">
              <a:xfrm>
                <a:off x="2901" y="2321"/>
                <a:ext cx="170" cy="142"/>
              </a:xfrm>
              <a:custGeom>
                <a:avLst/>
                <a:gdLst>
                  <a:gd name="T0" fmla="*/ 152 w 170"/>
                  <a:gd name="T1" fmla="*/ 0 h 142"/>
                  <a:gd name="T2" fmla="*/ 132 w 170"/>
                  <a:gd name="T3" fmla="*/ 12 h 142"/>
                  <a:gd name="T4" fmla="*/ 102 w 170"/>
                  <a:gd name="T5" fmla="*/ 10 h 142"/>
                  <a:gd name="T6" fmla="*/ 102 w 170"/>
                  <a:gd name="T7" fmla="*/ 10 h 142"/>
                  <a:gd name="T8" fmla="*/ 96 w 170"/>
                  <a:gd name="T9" fmla="*/ 16 h 142"/>
                  <a:gd name="T10" fmla="*/ 74 w 170"/>
                  <a:gd name="T11" fmla="*/ 8 h 142"/>
                  <a:gd name="T12" fmla="*/ 72 w 170"/>
                  <a:gd name="T13" fmla="*/ 8 h 142"/>
                  <a:gd name="T14" fmla="*/ 64 w 170"/>
                  <a:gd name="T15" fmla="*/ 12 h 142"/>
                  <a:gd name="T16" fmla="*/ 52 w 170"/>
                  <a:gd name="T17" fmla="*/ 2 h 142"/>
                  <a:gd name="T18" fmla="*/ 24 w 170"/>
                  <a:gd name="T19" fmla="*/ 2 h 142"/>
                  <a:gd name="T20" fmla="*/ 22 w 170"/>
                  <a:gd name="T21" fmla="*/ 2 h 142"/>
                  <a:gd name="T22" fmla="*/ 10 w 170"/>
                  <a:gd name="T23" fmla="*/ 34 h 142"/>
                  <a:gd name="T24" fmla="*/ 10 w 170"/>
                  <a:gd name="T25" fmla="*/ 34 h 142"/>
                  <a:gd name="T26" fmla="*/ 8 w 170"/>
                  <a:gd name="T27" fmla="*/ 42 h 142"/>
                  <a:gd name="T28" fmla="*/ 16 w 170"/>
                  <a:gd name="T29" fmla="*/ 52 h 142"/>
                  <a:gd name="T30" fmla="*/ 0 w 170"/>
                  <a:gd name="T31" fmla="*/ 72 h 142"/>
                  <a:gd name="T32" fmla="*/ 2 w 170"/>
                  <a:gd name="T33" fmla="*/ 108 h 142"/>
                  <a:gd name="T34" fmla="*/ 2 w 170"/>
                  <a:gd name="T35" fmla="*/ 112 h 142"/>
                  <a:gd name="T36" fmla="*/ 22 w 170"/>
                  <a:gd name="T37" fmla="*/ 114 h 142"/>
                  <a:gd name="T38" fmla="*/ 38 w 170"/>
                  <a:gd name="T39" fmla="*/ 136 h 142"/>
                  <a:gd name="T40" fmla="*/ 38 w 170"/>
                  <a:gd name="T41" fmla="*/ 140 h 142"/>
                  <a:gd name="T42" fmla="*/ 42 w 170"/>
                  <a:gd name="T43" fmla="*/ 142 h 142"/>
                  <a:gd name="T44" fmla="*/ 58 w 170"/>
                  <a:gd name="T45" fmla="*/ 142 h 142"/>
                  <a:gd name="T46" fmla="*/ 58 w 170"/>
                  <a:gd name="T47" fmla="*/ 142 h 142"/>
                  <a:gd name="T48" fmla="*/ 86 w 170"/>
                  <a:gd name="T49" fmla="*/ 140 h 142"/>
                  <a:gd name="T50" fmla="*/ 88 w 170"/>
                  <a:gd name="T51" fmla="*/ 138 h 142"/>
                  <a:gd name="T52" fmla="*/ 90 w 170"/>
                  <a:gd name="T53" fmla="*/ 122 h 142"/>
                  <a:gd name="T54" fmla="*/ 112 w 170"/>
                  <a:gd name="T55" fmla="*/ 108 h 142"/>
                  <a:gd name="T56" fmla="*/ 120 w 170"/>
                  <a:gd name="T57" fmla="*/ 114 h 142"/>
                  <a:gd name="T58" fmla="*/ 122 w 170"/>
                  <a:gd name="T59" fmla="*/ 114 h 142"/>
                  <a:gd name="T60" fmla="*/ 124 w 170"/>
                  <a:gd name="T61" fmla="*/ 114 h 142"/>
                  <a:gd name="T62" fmla="*/ 160 w 170"/>
                  <a:gd name="T63" fmla="*/ 46 h 142"/>
                  <a:gd name="T64" fmla="*/ 166 w 170"/>
                  <a:gd name="T65" fmla="*/ 44 h 142"/>
                  <a:gd name="T66" fmla="*/ 170 w 170"/>
                  <a:gd name="T67" fmla="*/ 40 h 142"/>
                  <a:gd name="T68" fmla="*/ 168 w 170"/>
                  <a:gd name="T69" fmla="*/ 16 h 142"/>
                  <a:gd name="T70" fmla="*/ 154 w 170"/>
                  <a:gd name="T71" fmla="*/ 2 h 142"/>
                  <a:gd name="T72" fmla="*/ 152 w 170"/>
                  <a:gd name="T7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42">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2" name="Freeform 423"/>
              <p:cNvSpPr>
                <a:spLocks/>
              </p:cNvSpPr>
              <p:nvPr/>
            </p:nvSpPr>
            <p:spPr bwMode="auto">
              <a:xfrm>
                <a:off x="2875" y="2345"/>
                <a:ext cx="48" cy="88"/>
              </a:xfrm>
              <a:custGeom>
                <a:avLst/>
                <a:gdLst>
                  <a:gd name="T0" fmla="*/ 12 w 48"/>
                  <a:gd name="T1" fmla="*/ 88 h 88"/>
                  <a:gd name="T2" fmla="*/ 12 w 48"/>
                  <a:gd name="T3" fmla="*/ 88 h 88"/>
                  <a:gd name="T4" fmla="*/ 10 w 48"/>
                  <a:gd name="T5" fmla="*/ 88 h 88"/>
                  <a:gd name="T6" fmla="*/ 10 w 48"/>
                  <a:gd name="T7" fmla="*/ 88 h 88"/>
                  <a:gd name="T8" fmla="*/ 10 w 48"/>
                  <a:gd name="T9" fmla="*/ 86 h 88"/>
                  <a:gd name="T10" fmla="*/ 10 w 48"/>
                  <a:gd name="T11" fmla="*/ 46 h 88"/>
                  <a:gd name="T12" fmla="*/ 0 w 48"/>
                  <a:gd name="T13" fmla="*/ 32 h 88"/>
                  <a:gd name="T14" fmla="*/ 0 w 48"/>
                  <a:gd name="T15" fmla="*/ 32 h 88"/>
                  <a:gd name="T16" fmla="*/ 0 w 48"/>
                  <a:gd name="T17" fmla="*/ 30 h 88"/>
                  <a:gd name="T18" fmla="*/ 2 w 48"/>
                  <a:gd name="T19" fmla="*/ 20 h 88"/>
                  <a:gd name="T20" fmla="*/ 2 w 48"/>
                  <a:gd name="T21" fmla="*/ 20 h 88"/>
                  <a:gd name="T22" fmla="*/ 4 w 48"/>
                  <a:gd name="T23" fmla="*/ 18 h 88"/>
                  <a:gd name="T24" fmla="*/ 16 w 48"/>
                  <a:gd name="T25" fmla="*/ 16 h 88"/>
                  <a:gd name="T26" fmla="*/ 16 w 48"/>
                  <a:gd name="T27" fmla="*/ 4 h 88"/>
                  <a:gd name="T28" fmla="*/ 16 w 48"/>
                  <a:gd name="T29" fmla="*/ 4 h 88"/>
                  <a:gd name="T30" fmla="*/ 18 w 48"/>
                  <a:gd name="T31" fmla="*/ 2 h 88"/>
                  <a:gd name="T32" fmla="*/ 18 w 48"/>
                  <a:gd name="T33" fmla="*/ 2 h 88"/>
                  <a:gd name="T34" fmla="*/ 30 w 48"/>
                  <a:gd name="T35" fmla="*/ 0 h 88"/>
                  <a:gd name="T36" fmla="*/ 30 w 48"/>
                  <a:gd name="T37" fmla="*/ 0 h 88"/>
                  <a:gd name="T38" fmla="*/ 30 w 48"/>
                  <a:gd name="T39" fmla="*/ 2 h 88"/>
                  <a:gd name="T40" fmla="*/ 40 w 48"/>
                  <a:gd name="T41" fmla="*/ 10 h 88"/>
                  <a:gd name="T42" fmla="*/ 40 w 48"/>
                  <a:gd name="T43" fmla="*/ 10 h 88"/>
                  <a:gd name="T44" fmla="*/ 40 w 48"/>
                  <a:gd name="T45" fmla="*/ 12 h 88"/>
                  <a:gd name="T46" fmla="*/ 38 w 48"/>
                  <a:gd name="T47" fmla="*/ 18 h 88"/>
                  <a:gd name="T48" fmla="*/ 48 w 48"/>
                  <a:gd name="T49" fmla="*/ 26 h 88"/>
                  <a:gd name="T50" fmla="*/ 48 w 48"/>
                  <a:gd name="T51" fmla="*/ 26 h 88"/>
                  <a:gd name="T52" fmla="*/ 48 w 48"/>
                  <a:gd name="T53" fmla="*/ 28 h 88"/>
                  <a:gd name="T54" fmla="*/ 30 w 48"/>
                  <a:gd name="T55" fmla="*/ 50 h 88"/>
                  <a:gd name="T56" fmla="*/ 32 w 48"/>
                  <a:gd name="T57" fmla="*/ 84 h 88"/>
                  <a:gd name="T58" fmla="*/ 32 w 48"/>
                  <a:gd name="T59" fmla="*/ 84 h 88"/>
                  <a:gd name="T60" fmla="*/ 30 w 48"/>
                  <a:gd name="T61" fmla="*/ 86 h 88"/>
                  <a:gd name="T62" fmla="*/ 12 w 48"/>
                  <a:gd name="T63" fmla="*/ 88 h 88"/>
                  <a:gd name="T64" fmla="*/ 12 w 48"/>
                  <a:gd name="T65" fmla="*/ 88 h 88"/>
                  <a:gd name="T66" fmla="*/ 12 w 48"/>
                  <a:gd name="T67" fmla="*/ 88 h 88"/>
                  <a:gd name="T68" fmla="*/ 12 w 48"/>
                  <a:gd name="T6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88">
                    <a:moveTo>
                      <a:pt x="12" y="88"/>
                    </a:moveTo>
                    <a:lnTo>
                      <a:pt x="12" y="88"/>
                    </a:lnTo>
                    <a:lnTo>
                      <a:pt x="10" y="88"/>
                    </a:lnTo>
                    <a:lnTo>
                      <a:pt x="10" y="88"/>
                    </a:lnTo>
                    <a:lnTo>
                      <a:pt x="10" y="86"/>
                    </a:lnTo>
                    <a:lnTo>
                      <a:pt x="10" y="46"/>
                    </a:lnTo>
                    <a:lnTo>
                      <a:pt x="0" y="32"/>
                    </a:lnTo>
                    <a:lnTo>
                      <a:pt x="0" y="32"/>
                    </a:lnTo>
                    <a:lnTo>
                      <a:pt x="0" y="30"/>
                    </a:lnTo>
                    <a:lnTo>
                      <a:pt x="2" y="20"/>
                    </a:lnTo>
                    <a:lnTo>
                      <a:pt x="2" y="20"/>
                    </a:lnTo>
                    <a:lnTo>
                      <a:pt x="4" y="18"/>
                    </a:lnTo>
                    <a:lnTo>
                      <a:pt x="16" y="16"/>
                    </a:lnTo>
                    <a:lnTo>
                      <a:pt x="16" y="4"/>
                    </a:lnTo>
                    <a:lnTo>
                      <a:pt x="16" y="4"/>
                    </a:lnTo>
                    <a:lnTo>
                      <a:pt x="18" y="2"/>
                    </a:lnTo>
                    <a:lnTo>
                      <a:pt x="18" y="2"/>
                    </a:lnTo>
                    <a:lnTo>
                      <a:pt x="30" y="0"/>
                    </a:lnTo>
                    <a:lnTo>
                      <a:pt x="30" y="0"/>
                    </a:lnTo>
                    <a:lnTo>
                      <a:pt x="30" y="2"/>
                    </a:lnTo>
                    <a:lnTo>
                      <a:pt x="40" y="10"/>
                    </a:lnTo>
                    <a:lnTo>
                      <a:pt x="40" y="10"/>
                    </a:lnTo>
                    <a:lnTo>
                      <a:pt x="40" y="12"/>
                    </a:lnTo>
                    <a:lnTo>
                      <a:pt x="38" y="18"/>
                    </a:lnTo>
                    <a:lnTo>
                      <a:pt x="48" y="26"/>
                    </a:lnTo>
                    <a:lnTo>
                      <a:pt x="48" y="26"/>
                    </a:lnTo>
                    <a:lnTo>
                      <a:pt x="48" y="28"/>
                    </a:lnTo>
                    <a:lnTo>
                      <a:pt x="30" y="50"/>
                    </a:lnTo>
                    <a:lnTo>
                      <a:pt x="32" y="84"/>
                    </a:lnTo>
                    <a:lnTo>
                      <a:pt x="32" y="84"/>
                    </a:lnTo>
                    <a:lnTo>
                      <a:pt x="30"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3" name="Freeform 424"/>
              <p:cNvSpPr>
                <a:spLocks noEditPoints="1"/>
              </p:cNvSpPr>
              <p:nvPr/>
            </p:nvSpPr>
            <p:spPr bwMode="auto">
              <a:xfrm>
                <a:off x="2873" y="2343"/>
                <a:ext cx="52" cy="92"/>
              </a:xfrm>
              <a:custGeom>
                <a:avLst/>
                <a:gdLst>
                  <a:gd name="T0" fmla="*/ 32 w 52"/>
                  <a:gd name="T1" fmla="*/ 4 h 92"/>
                  <a:gd name="T2" fmla="*/ 40 w 52"/>
                  <a:gd name="T3" fmla="*/ 14 h 92"/>
                  <a:gd name="T4" fmla="*/ 38 w 52"/>
                  <a:gd name="T5" fmla="*/ 20 h 92"/>
                  <a:gd name="T6" fmla="*/ 48 w 52"/>
                  <a:gd name="T7" fmla="*/ 30 h 92"/>
                  <a:gd name="T8" fmla="*/ 30 w 52"/>
                  <a:gd name="T9" fmla="*/ 52 h 92"/>
                  <a:gd name="T10" fmla="*/ 32 w 52"/>
                  <a:gd name="T11" fmla="*/ 86 h 92"/>
                  <a:gd name="T12" fmla="*/ 14 w 52"/>
                  <a:gd name="T13" fmla="*/ 88 h 92"/>
                  <a:gd name="T14" fmla="*/ 14 w 52"/>
                  <a:gd name="T15" fmla="*/ 46 h 92"/>
                  <a:gd name="T16" fmla="*/ 4 w 52"/>
                  <a:gd name="T17" fmla="*/ 32 h 92"/>
                  <a:gd name="T18" fmla="*/ 6 w 52"/>
                  <a:gd name="T19" fmla="*/ 22 h 92"/>
                  <a:gd name="T20" fmla="*/ 20 w 52"/>
                  <a:gd name="T21" fmla="*/ 18 h 92"/>
                  <a:gd name="T22" fmla="*/ 20 w 52"/>
                  <a:gd name="T23" fmla="*/ 6 h 92"/>
                  <a:gd name="T24" fmla="*/ 32 w 52"/>
                  <a:gd name="T25" fmla="*/ 4 h 92"/>
                  <a:gd name="T26" fmla="*/ 32 w 52"/>
                  <a:gd name="T27" fmla="*/ 0 h 92"/>
                  <a:gd name="T28" fmla="*/ 32 w 52"/>
                  <a:gd name="T29" fmla="*/ 0 h 92"/>
                  <a:gd name="T30" fmla="*/ 30 w 52"/>
                  <a:gd name="T31" fmla="*/ 0 h 92"/>
                  <a:gd name="T32" fmla="*/ 20 w 52"/>
                  <a:gd name="T33" fmla="*/ 2 h 92"/>
                  <a:gd name="T34" fmla="*/ 20 w 52"/>
                  <a:gd name="T35" fmla="*/ 2 h 92"/>
                  <a:gd name="T36" fmla="*/ 16 w 52"/>
                  <a:gd name="T37" fmla="*/ 4 h 92"/>
                  <a:gd name="T38" fmla="*/ 16 w 52"/>
                  <a:gd name="T39" fmla="*/ 6 h 92"/>
                  <a:gd name="T40" fmla="*/ 16 w 52"/>
                  <a:gd name="T41" fmla="*/ 16 h 92"/>
                  <a:gd name="T42" fmla="*/ 6 w 52"/>
                  <a:gd name="T43" fmla="*/ 18 h 92"/>
                  <a:gd name="T44" fmla="*/ 6 w 52"/>
                  <a:gd name="T45" fmla="*/ 18 h 92"/>
                  <a:gd name="T46" fmla="*/ 2 w 52"/>
                  <a:gd name="T47" fmla="*/ 22 h 92"/>
                  <a:gd name="T48" fmla="*/ 0 w 52"/>
                  <a:gd name="T49" fmla="*/ 32 h 92"/>
                  <a:gd name="T50" fmla="*/ 0 w 52"/>
                  <a:gd name="T51" fmla="*/ 32 h 92"/>
                  <a:gd name="T52" fmla="*/ 0 w 52"/>
                  <a:gd name="T53" fmla="*/ 36 h 92"/>
                  <a:gd name="T54" fmla="*/ 10 w 52"/>
                  <a:gd name="T55" fmla="*/ 48 h 92"/>
                  <a:gd name="T56" fmla="*/ 10 w 52"/>
                  <a:gd name="T57" fmla="*/ 88 h 92"/>
                  <a:gd name="T58" fmla="*/ 10 w 52"/>
                  <a:gd name="T59" fmla="*/ 88 h 92"/>
                  <a:gd name="T60" fmla="*/ 10 w 52"/>
                  <a:gd name="T61" fmla="*/ 92 h 92"/>
                  <a:gd name="T62" fmla="*/ 10 w 52"/>
                  <a:gd name="T63" fmla="*/ 92 h 92"/>
                  <a:gd name="T64" fmla="*/ 14 w 52"/>
                  <a:gd name="T65" fmla="*/ 92 h 92"/>
                  <a:gd name="T66" fmla="*/ 14 w 52"/>
                  <a:gd name="T67" fmla="*/ 92 h 92"/>
                  <a:gd name="T68" fmla="*/ 14 w 52"/>
                  <a:gd name="T69" fmla="*/ 92 h 92"/>
                  <a:gd name="T70" fmla="*/ 32 w 52"/>
                  <a:gd name="T71" fmla="*/ 90 h 92"/>
                  <a:gd name="T72" fmla="*/ 32 w 52"/>
                  <a:gd name="T73" fmla="*/ 90 h 92"/>
                  <a:gd name="T74" fmla="*/ 34 w 52"/>
                  <a:gd name="T75" fmla="*/ 88 h 92"/>
                  <a:gd name="T76" fmla="*/ 36 w 52"/>
                  <a:gd name="T77" fmla="*/ 86 h 92"/>
                  <a:gd name="T78" fmla="*/ 34 w 52"/>
                  <a:gd name="T79" fmla="*/ 54 h 92"/>
                  <a:gd name="T80" fmla="*/ 52 w 52"/>
                  <a:gd name="T81" fmla="*/ 32 h 92"/>
                  <a:gd name="T82" fmla="*/ 52 w 52"/>
                  <a:gd name="T83" fmla="*/ 32 h 92"/>
                  <a:gd name="T84" fmla="*/ 52 w 52"/>
                  <a:gd name="T85" fmla="*/ 28 h 92"/>
                  <a:gd name="T86" fmla="*/ 50 w 52"/>
                  <a:gd name="T87" fmla="*/ 26 h 92"/>
                  <a:gd name="T88" fmla="*/ 42 w 52"/>
                  <a:gd name="T89" fmla="*/ 20 h 92"/>
                  <a:gd name="T90" fmla="*/ 44 w 52"/>
                  <a:gd name="T91" fmla="*/ 14 h 92"/>
                  <a:gd name="T92" fmla="*/ 44 w 52"/>
                  <a:gd name="T93" fmla="*/ 14 h 92"/>
                  <a:gd name="T94" fmla="*/ 42 w 52"/>
                  <a:gd name="T95" fmla="*/ 10 h 92"/>
                  <a:gd name="T96" fmla="*/ 34 w 52"/>
                  <a:gd name="T97" fmla="*/ 2 h 92"/>
                  <a:gd name="T98" fmla="*/ 34 w 52"/>
                  <a:gd name="T99" fmla="*/ 2 h 92"/>
                  <a:gd name="T100" fmla="*/ 32 w 52"/>
                  <a:gd name="T101" fmla="*/ 0 h 92"/>
                  <a:gd name="T102" fmla="*/ 32 w 5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92">
                    <a:moveTo>
                      <a:pt x="32" y="4"/>
                    </a:moveTo>
                    <a:lnTo>
                      <a:pt x="40" y="14"/>
                    </a:lnTo>
                    <a:lnTo>
                      <a:pt x="38" y="20"/>
                    </a:lnTo>
                    <a:lnTo>
                      <a:pt x="48" y="30"/>
                    </a:lnTo>
                    <a:lnTo>
                      <a:pt x="30" y="52"/>
                    </a:lnTo>
                    <a:lnTo>
                      <a:pt x="32" y="86"/>
                    </a:lnTo>
                    <a:lnTo>
                      <a:pt x="14" y="88"/>
                    </a:lnTo>
                    <a:lnTo>
                      <a:pt x="14" y="46"/>
                    </a:lnTo>
                    <a:lnTo>
                      <a:pt x="4" y="32"/>
                    </a:lnTo>
                    <a:lnTo>
                      <a:pt x="6" y="22"/>
                    </a:lnTo>
                    <a:lnTo>
                      <a:pt x="20" y="18"/>
                    </a:lnTo>
                    <a:lnTo>
                      <a:pt x="20" y="6"/>
                    </a:lnTo>
                    <a:lnTo>
                      <a:pt x="32" y="4"/>
                    </a:lnTo>
                    <a:close/>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4" name="Freeform 425"/>
              <p:cNvSpPr>
                <a:spLocks/>
              </p:cNvSpPr>
              <p:nvPr/>
            </p:nvSpPr>
            <p:spPr bwMode="auto">
              <a:xfrm>
                <a:off x="2877" y="2347"/>
                <a:ext cx="44" cy="84"/>
              </a:xfrm>
              <a:custGeom>
                <a:avLst/>
                <a:gdLst>
                  <a:gd name="T0" fmla="*/ 28 w 44"/>
                  <a:gd name="T1" fmla="*/ 0 h 84"/>
                  <a:gd name="T2" fmla="*/ 36 w 44"/>
                  <a:gd name="T3" fmla="*/ 10 h 84"/>
                  <a:gd name="T4" fmla="*/ 34 w 44"/>
                  <a:gd name="T5" fmla="*/ 16 h 84"/>
                  <a:gd name="T6" fmla="*/ 44 w 44"/>
                  <a:gd name="T7" fmla="*/ 26 h 84"/>
                  <a:gd name="T8" fmla="*/ 26 w 44"/>
                  <a:gd name="T9" fmla="*/ 48 h 84"/>
                  <a:gd name="T10" fmla="*/ 28 w 44"/>
                  <a:gd name="T11" fmla="*/ 82 h 84"/>
                  <a:gd name="T12" fmla="*/ 10 w 44"/>
                  <a:gd name="T13" fmla="*/ 84 h 84"/>
                  <a:gd name="T14" fmla="*/ 10 w 44"/>
                  <a:gd name="T15" fmla="*/ 42 h 84"/>
                  <a:gd name="T16" fmla="*/ 0 w 44"/>
                  <a:gd name="T17" fmla="*/ 28 h 84"/>
                  <a:gd name="T18" fmla="*/ 2 w 44"/>
                  <a:gd name="T19" fmla="*/ 18 h 84"/>
                  <a:gd name="T20" fmla="*/ 16 w 44"/>
                  <a:gd name="T21" fmla="*/ 14 h 84"/>
                  <a:gd name="T22" fmla="*/ 16 w 44"/>
                  <a:gd name="T23" fmla="*/ 2 h 84"/>
                  <a:gd name="T24" fmla="*/ 28 w 44"/>
                  <a:gd name="T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4">
                    <a:moveTo>
                      <a:pt x="28" y="0"/>
                    </a:moveTo>
                    <a:lnTo>
                      <a:pt x="36" y="10"/>
                    </a:lnTo>
                    <a:lnTo>
                      <a:pt x="34" y="16"/>
                    </a:lnTo>
                    <a:lnTo>
                      <a:pt x="44" y="26"/>
                    </a:lnTo>
                    <a:lnTo>
                      <a:pt x="26" y="48"/>
                    </a:lnTo>
                    <a:lnTo>
                      <a:pt x="28" y="82"/>
                    </a:lnTo>
                    <a:lnTo>
                      <a:pt x="10" y="84"/>
                    </a:lnTo>
                    <a:lnTo>
                      <a:pt x="10" y="42"/>
                    </a:lnTo>
                    <a:lnTo>
                      <a:pt x="0" y="28"/>
                    </a:lnTo>
                    <a:lnTo>
                      <a:pt x="2" y="18"/>
                    </a:lnTo>
                    <a:lnTo>
                      <a:pt x="16" y="14"/>
                    </a:lnTo>
                    <a:lnTo>
                      <a:pt x="16"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5" name="Freeform 426"/>
              <p:cNvSpPr>
                <a:spLocks/>
              </p:cNvSpPr>
              <p:nvPr/>
            </p:nvSpPr>
            <p:spPr bwMode="auto">
              <a:xfrm>
                <a:off x="2873" y="2343"/>
                <a:ext cx="52" cy="92"/>
              </a:xfrm>
              <a:custGeom>
                <a:avLst/>
                <a:gdLst>
                  <a:gd name="T0" fmla="*/ 32 w 52"/>
                  <a:gd name="T1" fmla="*/ 0 h 92"/>
                  <a:gd name="T2" fmla="*/ 32 w 52"/>
                  <a:gd name="T3" fmla="*/ 0 h 92"/>
                  <a:gd name="T4" fmla="*/ 30 w 52"/>
                  <a:gd name="T5" fmla="*/ 0 h 92"/>
                  <a:gd name="T6" fmla="*/ 20 w 52"/>
                  <a:gd name="T7" fmla="*/ 2 h 92"/>
                  <a:gd name="T8" fmla="*/ 20 w 52"/>
                  <a:gd name="T9" fmla="*/ 2 h 92"/>
                  <a:gd name="T10" fmla="*/ 16 w 52"/>
                  <a:gd name="T11" fmla="*/ 4 h 92"/>
                  <a:gd name="T12" fmla="*/ 16 w 52"/>
                  <a:gd name="T13" fmla="*/ 6 h 92"/>
                  <a:gd name="T14" fmla="*/ 16 w 52"/>
                  <a:gd name="T15" fmla="*/ 16 h 92"/>
                  <a:gd name="T16" fmla="*/ 6 w 52"/>
                  <a:gd name="T17" fmla="*/ 18 h 92"/>
                  <a:gd name="T18" fmla="*/ 6 w 52"/>
                  <a:gd name="T19" fmla="*/ 18 h 92"/>
                  <a:gd name="T20" fmla="*/ 2 w 52"/>
                  <a:gd name="T21" fmla="*/ 22 h 92"/>
                  <a:gd name="T22" fmla="*/ 0 w 52"/>
                  <a:gd name="T23" fmla="*/ 32 h 92"/>
                  <a:gd name="T24" fmla="*/ 0 w 52"/>
                  <a:gd name="T25" fmla="*/ 32 h 92"/>
                  <a:gd name="T26" fmla="*/ 0 w 52"/>
                  <a:gd name="T27" fmla="*/ 36 h 92"/>
                  <a:gd name="T28" fmla="*/ 10 w 52"/>
                  <a:gd name="T29" fmla="*/ 48 h 92"/>
                  <a:gd name="T30" fmla="*/ 10 w 52"/>
                  <a:gd name="T31" fmla="*/ 88 h 92"/>
                  <a:gd name="T32" fmla="*/ 10 w 52"/>
                  <a:gd name="T33" fmla="*/ 88 h 92"/>
                  <a:gd name="T34" fmla="*/ 10 w 52"/>
                  <a:gd name="T35" fmla="*/ 92 h 92"/>
                  <a:gd name="T36" fmla="*/ 10 w 52"/>
                  <a:gd name="T37" fmla="*/ 92 h 92"/>
                  <a:gd name="T38" fmla="*/ 14 w 52"/>
                  <a:gd name="T39" fmla="*/ 92 h 92"/>
                  <a:gd name="T40" fmla="*/ 14 w 52"/>
                  <a:gd name="T41" fmla="*/ 92 h 92"/>
                  <a:gd name="T42" fmla="*/ 14 w 52"/>
                  <a:gd name="T43" fmla="*/ 92 h 92"/>
                  <a:gd name="T44" fmla="*/ 32 w 52"/>
                  <a:gd name="T45" fmla="*/ 90 h 92"/>
                  <a:gd name="T46" fmla="*/ 32 w 52"/>
                  <a:gd name="T47" fmla="*/ 90 h 92"/>
                  <a:gd name="T48" fmla="*/ 34 w 52"/>
                  <a:gd name="T49" fmla="*/ 88 h 92"/>
                  <a:gd name="T50" fmla="*/ 36 w 52"/>
                  <a:gd name="T51" fmla="*/ 86 h 92"/>
                  <a:gd name="T52" fmla="*/ 34 w 52"/>
                  <a:gd name="T53" fmla="*/ 54 h 92"/>
                  <a:gd name="T54" fmla="*/ 52 w 52"/>
                  <a:gd name="T55" fmla="*/ 32 h 92"/>
                  <a:gd name="T56" fmla="*/ 52 w 52"/>
                  <a:gd name="T57" fmla="*/ 32 h 92"/>
                  <a:gd name="T58" fmla="*/ 52 w 52"/>
                  <a:gd name="T59" fmla="*/ 28 h 92"/>
                  <a:gd name="T60" fmla="*/ 50 w 52"/>
                  <a:gd name="T61" fmla="*/ 26 h 92"/>
                  <a:gd name="T62" fmla="*/ 42 w 52"/>
                  <a:gd name="T63" fmla="*/ 20 h 92"/>
                  <a:gd name="T64" fmla="*/ 44 w 52"/>
                  <a:gd name="T65" fmla="*/ 14 h 92"/>
                  <a:gd name="T66" fmla="*/ 44 w 52"/>
                  <a:gd name="T67" fmla="*/ 14 h 92"/>
                  <a:gd name="T68" fmla="*/ 42 w 52"/>
                  <a:gd name="T69" fmla="*/ 10 h 92"/>
                  <a:gd name="T70" fmla="*/ 34 w 52"/>
                  <a:gd name="T71" fmla="*/ 2 h 92"/>
                  <a:gd name="T72" fmla="*/ 34 w 52"/>
                  <a:gd name="T73" fmla="*/ 2 h 92"/>
                  <a:gd name="T74" fmla="*/ 32 w 52"/>
                  <a:gd name="T75" fmla="*/ 0 h 92"/>
                  <a:gd name="T76" fmla="*/ 32 w 52"/>
                  <a:gd name="T7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92">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6" name="Freeform 427"/>
              <p:cNvSpPr>
                <a:spLocks/>
              </p:cNvSpPr>
              <p:nvPr/>
            </p:nvSpPr>
            <p:spPr bwMode="auto">
              <a:xfrm>
                <a:off x="2857" y="2363"/>
                <a:ext cx="26" cy="76"/>
              </a:xfrm>
              <a:custGeom>
                <a:avLst/>
                <a:gdLst>
                  <a:gd name="T0" fmla="*/ 14 w 26"/>
                  <a:gd name="T1" fmla="*/ 76 h 76"/>
                  <a:gd name="T2" fmla="*/ 14 w 26"/>
                  <a:gd name="T3" fmla="*/ 76 h 76"/>
                  <a:gd name="T4" fmla="*/ 14 w 26"/>
                  <a:gd name="T5" fmla="*/ 76 h 76"/>
                  <a:gd name="T6" fmla="*/ 14 w 26"/>
                  <a:gd name="T7" fmla="*/ 76 h 76"/>
                  <a:gd name="T8" fmla="*/ 12 w 26"/>
                  <a:gd name="T9" fmla="*/ 74 h 76"/>
                  <a:gd name="T10" fmla="*/ 10 w 26"/>
                  <a:gd name="T11" fmla="*/ 46 h 76"/>
                  <a:gd name="T12" fmla="*/ 6 w 26"/>
                  <a:gd name="T13" fmla="*/ 34 h 76"/>
                  <a:gd name="T14" fmla="*/ 6 w 26"/>
                  <a:gd name="T15" fmla="*/ 34 h 76"/>
                  <a:gd name="T16" fmla="*/ 6 w 26"/>
                  <a:gd name="T17" fmla="*/ 32 h 76"/>
                  <a:gd name="T18" fmla="*/ 10 w 26"/>
                  <a:gd name="T19" fmla="*/ 18 h 76"/>
                  <a:gd name="T20" fmla="*/ 0 w 26"/>
                  <a:gd name="T21" fmla="*/ 2 h 76"/>
                  <a:gd name="T22" fmla="*/ 0 w 26"/>
                  <a:gd name="T23" fmla="*/ 2 h 76"/>
                  <a:gd name="T24" fmla="*/ 0 w 26"/>
                  <a:gd name="T25" fmla="*/ 0 h 76"/>
                  <a:gd name="T26" fmla="*/ 0 w 26"/>
                  <a:gd name="T27" fmla="*/ 0 h 76"/>
                  <a:gd name="T28" fmla="*/ 2 w 26"/>
                  <a:gd name="T29" fmla="*/ 0 h 76"/>
                  <a:gd name="T30" fmla="*/ 18 w 26"/>
                  <a:gd name="T31" fmla="*/ 0 h 76"/>
                  <a:gd name="T32" fmla="*/ 18 w 26"/>
                  <a:gd name="T33" fmla="*/ 0 h 76"/>
                  <a:gd name="T34" fmla="*/ 20 w 26"/>
                  <a:gd name="T35" fmla="*/ 0 h 76"/>
                  <a:gd name="T36" fmla="*/ 20 w 26"/>
                  <a:gd name="T37" fmla="*/ 0 h 76"/>
                  <a:gd name="T38" fmla="*/ 20 w 26"/>
                  <a:gd name="T39" fmla="*/ 2 h 76"/>
                  <a:gd name="T40" fmla="*/ 18 w 26"/>
                  <a:gd name="T41" fmla="*/ 12 h 76"/>
                  <a:gd name="T42" fmla="*/ 26 w 26"/>
                  <a:gd name="T43" fmla="*/ 26 h 76"/>
                  <a:gd name="T44" fmla="*/ 26 w 26"/>
                  <a:gd name="T45" fmla="*/ 26 h 76"/>
                  <a:gd name="T46" fmla="*/ 26 w 26"/>
                  <a:gd name="T47" fmla="*/ 28 h 76"/>
                  <a:gd name="T48" fmla="*/ 26 w 26"/>
                  <a:gd name="T49" fmla="*/ 70 h 76"/>
                  <a:gd name="T50" fmla="*/ 26 w 26"/>
                  <a:gd name="T51" fmla="*/ 70 h 76"/>
                  <a:gd name="T52" fmla="*/ 26 w 26"/>
                  <a:gd name="T53" fmla="*/ 72 h 76"/>
                  <a:gd name="T54" fmla="*/ 16 w 26"/>
                  <a:gd name="T55" fmla="*/ 76 h 76"/>
                  <a:gd name="T56" fmla="*/ 16 w 26"/>
                  <a:gd name="T57" fmla="*/ 76 h 76"/>
                  <a:gd name="T58" fmla="*/ 14 w 26"/>
                  <a:gd name="T59" fmla="*/ 76 h 76"/>
                  <a:gd name="T60" fmla="*/ 14 w 26"/>
                  <a:gd name="T6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76">
                    <a:moveTo>
                      <a:pt x="14" y="76"/>
                    </a:moveTo>
                    <a:lnTo>
                      <a:pt x="14" y="76"/>
                    </a:lnTo>
                    <a:lnTo>
                      <a:pt x="14" y="76"/>
                    </a:lnTo>
                    <a:lnTo>
                      <a:pt x="14" y="76"/>
                    </a:lnTo>
                    <a:lnTo>
                      <a:pt x="12" y="74"/>
                    </a:lnTo>
                    <a:lnTo>
                      <a:pt x="10" y="46"/>
                    </a:lnTo>
                    <a:lnTo>
                      <a:pt x="6" y="34"/>
                    </a:lnTo>
                    <a:lnTo>
                      <a:pt x="6" y="34"/>
                    </a:lnTo>
                    <a:lnTo>
                      <a:pt x="6" y="32"/>
                    </a:lnTo>
                    <a:lnTo>
                      <a:pt x="10" y="18"/>
                    </a:lnTo>
                    <a:lnTo>
                      <a:pt x="0" y="2"/>
                    </a:lnTo>
                    <a:lnTo>
                      <a:pt x="0" y="2"/>
                    </a:lnTo>
                    <a:lnTo>
                      <a:pt x="0" y="0"/>
                    </a:lnTo>
                    <a:lnTo>
                      <a:pt x="0" y="0"/>
                    </a:lnTo>
                    <a:lnTo>
                      <a:pt x="2" y="0"/>
                    </a:lnTo>
                    <a:lnTo>
                      <a:pt x="18" y="0"/>
                    </a:lnTo>
                    <a:lnTo>
                      <a:pt x="18" y="0"/>
                    </a:lnTo>
                    <a:lnTo>
                      <a:pt x="20" y="0"/>
                    </a:lnTo>
                    <a:lnTo>
                      <a:pt x="20" y="0"/>
                    </a:lnTo>
                    <a:lnTo>
                      <a:pt x="20" y="2"/>
                    </a:lnTo>
                    <a:lnTo>
                      <a:pt x="18" y="12"/>
                    </a:lnTo>
                    <a:lnTo>
                      <a:pt x="26" y="26"/>
                    </a:lnTo>
                    <a:lnTo>
                      <a:pt x="26" y="26"/>
                    </a:lnTo>
                    <a:lnTo>
                      <a:pt x="26" y="28"/>
                    </a:lnTo>
                    <a:lnTo>
                      <a:pt x="26" y="70"/>
                    </a:lnTo>
                    <a:lnTo>
                      <a:pt x="26" y="70"/>
                    </a:lnTo>
                    <a:lnTo>
                      <a:pt x="26" y="72"/>
                    </a:lnTo>
                    <a:lnTo>
                      <a:pt x="16" y="76"/>
                    </a:lnTo>
                    <a:lnTo>
                      <a:pt x="16" y="76"/>
                    </a:lnTo>
                    <a:lnTo>
                      <a:pt x="14" y="76"/>
                    </a:lnTo>
                    <a:lnTo>
                      <a:pt x="1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7" name="Freeform 428"/>
              <p:cNvSpPr>
                <a:spLocks noEditPoints="1"/>
              </p:cNvSpPr>
              <p:nvPr/>
            </p:nvSpPr>
            <p:spPr bwMode="auto">
              <a:xfrm>
                <a:off x="2857" y="2361"/>
                <a:ext cx="28" cy="80"/>
              </a:xfrm>
              <a:custGeom>
                <a:avLst/>
                <a:gdLst>
                  <a:gd name="T0" fmla="*/ 18 w 28"/>
                  <a:gd name="T1" fmla="*/ 4 h 80"/>
                  <a:gd name="T2" fmla="*/ 16 w 28"/>
                  <a:gd name="T3" fmla="*/ 14 h 80"/>
                  <a:gd name="T4" fmla="*/ 24 w 28"/>
                  <a:gd name="T5" fmla="*/ 30 h 80"/>
                  <a:gd name="T6" fmla="*/ 24 w 28"/>
                  <a:gd name="T7" fmla="*/ 72 h 80"/>
                  <a:gd name="T8" fmla="*/ 14 w 28"/>
                  <a:gd name="T9" fmla="*/ 76 h 80"/>
                  <a:gd name="T10" fmla="*/ 12 w 28"/>
                  <a:gd name="T11" fmla="*/ 48 h 80"/>
                  <a:gd name="T12" fmla="*/ 8 w 28"/>
                  <a:gd name="T13" fmla="*/ 34 h 80"/>
                  <a:gd name="T14" fmla="*/ 12 w 28"/>
                  <a:gd name="T15" fmla="*/ 20 h 80"/>
                  <a:gd name="T16" fmla="*/ 2 w 28"/>
                  <a:gd name="T17" fmla="*/ 4 h 80"/>
                  <a:gd name="T18" fmla="*/ 18 w 28"/>
                  <a:gd name="T19" fmla="*/ 4 h 80"/>
                  <a:gd name="T20" fmla="*/ 18 w 28"/>
                  <a:gd name="T21" fmla="*/ 0 h 80"/>
                  <a:gd name="T22" fmla="*/ 2 w 28"/>
                  <a:gd name="T23" fmla="*/ 0 h 80"/>
                  <a:gd name="T24" fmla="*/ 2 w 28"/>
                  <a:gd name="T25" fmla="*/ 0 h 80"/>
                  <a:gd name="T26" fmla="*/ 0 w 28"/>
                  <a:gd name="T27" fmla="*/ 2 h 80"/>
                  <a:gd name="T28" fmla="*/ 0 w 28"/>
                  <a:gd name="T29" fmla="*/ 2 h 80"/>
                  <a:gd name="T30" fmla="*/ 0 w 28"/>
                  <a:gd name="T31" fmla="*/ 6 h 80"/>
                  <a:gd name="T32" fmla="*/ 8 w 28"/>
                  <a:gd name="T33" fmla="*/ 20 h 80"/>
                  <a:gd name="T34" fmla="*/ 4 w 28"/>
                  <a:gd name="T35" fmla="*/ 34 h 80"/>
                  <a:gd name="T36" fmla="*/ 4 w 28"/>
                  <a:gd name="T37" fmla="*/ 34 h 80"/>
                  <a:gd name="T38" fmla="*/ 4 w 28"/>
                  <a:gd name="T39" fmla="*/ 36 h 80"/>
                  <a:gd name="T40" fmla="*/ 8 w 28"/>
                  <a:gd name="T41" fmla="*/ 48 h 80"/>
                  <a:gd name="T42" fmla="*/ 10 w 28"/>
                  <a:gd name="T43" fmla="*/ 76 h 80"/>
                  <a:gd name="T44" fmla="*/ 10 w 28"/>
                  <a:gd name="T45" fmla="*/ 76 h 80"/>
                  <a:gd name="T46" fmla="*/ 12 w 28"/>
                  <a:gd name="T47" fmla="*/ 80 h 80"/>
                  <a:gd name="T48" fmla="*/ 12 w 28"/>
                  <a:gd name="T49" fmla="*/ 80 h 80"/>
                  <a:gd name="T50" fmla="*/ 14 w 28"/>
                  <a:gd name="T51" fmla="*/ 80 h 80"/>
                  <a:gd name="T52" fmla="*/ 14 w 28"/>
                  <a:gd name="T53" fmla="*/ 80 h 80"/>
                  <a:gd name="T54" fmla="*/ 16 w 28"/>
                  <a:gd name="T55" fmla="*/ 80 h 80"/>
                  <a:gd name="T56" fmla="*/ 26 w 28"/>
                  <a:gd name="T57" fmla="*/ 76 h 80"/>
                  <a:gd name="T58" fmla="*/ 26 w 28"/>
                  <a:gd name="T59" fmla="*/ 76 h 80"/>
                  <a:gd name="T60" fmla="*/ 28 w 28"/>
                  <a:gd name="T61" fmla="*/ 76 h 80"/>
                  <a:gd name="T62" fmla="*/ 28 w 28"/>
                  <a:gd name="T63" fmla="*/ 72 h 80"/>
                  <a:gd name="T64" fmla="*/ 28 w 28"/>
                  <a:gd name="T65" fmla="*/ 30 h 80"/>
                  <a:gd name="T66" fmla="*/ 28 w 28"/>
                  <a:gd name="T67" fmla="*/ 30 h 80"/>
                  <a:gd name="T68" fmla="*/ 28 w 28"/>
                  <a:gd name="T69" fmla="*/ 26 h 80"/>
                  <a:gd name="T70" fmla="*/ 20 w 28"/>
                  <a:gd name="T71" fmla="*/ 14 h 80"/>
                  <a:gd name="T72" fmla="*/ 22 w 28"/>
                  <a:gd name="T73" fmla="*/ 4 h 80"/>
                  <a:gd name="T74" fmla="*/ 22 w 28"/>
                  <a:gd name="T75" fmla="*/ 4 h 80"/>
                  <a:gd name="T76" fmla="*/ 22 w 28"/>
                  <a:gd name="T77" fmla="*/ 2 h 80"/>
                  <a:gd name="T78" fmla="*/ 22 w 28"/>
                  <a:gd name="T79" fmla="*/ 2 h 80"/>
                  <a:gd name="T80" fmla="*/ 18 w 28"/>
                  <a:gd name="T81" fmla="*/ 0 h 80"/>
                  <a:gd name="T82" fmla="*/ 18 w 28"/>
                  <a:gd name="T8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80">
                    <a:moveTo>
                      <a:pt x="18" y="4"/>
                    </a:moveTo>
                    <a:lnTo>
                      <a:pt x="16" y="14"/>
                    </a:lnTo>
                    <a:lnTo>
                      <a:pt x="24" y="30"/>
                    </a:lnTo>
                    <a:lnTo>
                      <a:pt x="24" y="72"/>
                    </a:lnTo>
                    <a:lnTo>
                      <a:pt x="14" y="76"/>
                    </a:lnTo>
                    <a:lnTo>
                      <a:pt x="12" y="48"/>
                    </a:lnTo>
                    <a:lnTo>
                      <a:pt x="8" y="34"/>
                    </a:lnTo>
                    <a:lnTo>
                      <a:pt x="12" y="20"/>
                    </a:lnTo>
                    <a:lnTo>
                      <a:pt x="2" y="4"/>
                    </a:lnTo>
                    <a:lnTo>
                      <a:pt x="18" y="4"/>
                    </a:lnTo>
                    <a:close/>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8" name="Freeform 429"/>
              <p:cNvSpPr>
                <a:spLocks/>
              </p:cNvSpPr>
              <p:nvPr/>
            </p:nvSpPr>
            <p:spPr bwMode="auto">
              <a:xfrm>
                <a:off x="2859" y="2365"/>
                <a:ext cx="22" cy="72"/>
              </a:xfrm>
              <a:custGeom>
                <a:avLst/>
                <a:gdLst>
                  <a:gd name="T0" fmla="*/ 16 w 22"/>
                  <a:gd name="T1" fmla="*/ 0 h 72"/>
                  <a:gd name="T2" fmla="*/ 14 w 22"/>
                  <a:gd name="T3" fmla="*/ 10 h 72"/>
                  <a:gd name="T4" fmla="*/ 22 w 22"/>
                  <a:gd name="T5" fmla="*/ 26 h 72"/>
                  <a:gd name="T6" fmla="*/ 22 w 22"/>
                  <a:gd name="T7" fmla="*/ 68 h 72"/>
                  <a:gd name="T8" fmla="*/ 12 w 22"/>
                  <a:gd name="T9" fmla="*/ 72 h 72"/>
                  <a:gd name="T10" fmla="*/ 10 w 22"/>
                  <a:gd name="T11" fmla="*/ 44 h 72"/>
                  <a:gd name="T12" fmla="*/ 6 w 22"/>
                  <a:gd name="T13" fmla="*/ 30 h 72"/>
                  <a:gd name="T14" fmla="*/ 10 w 22"/>
                  <a:gd name="T15" fmla="*/ 16 h 72"/>
                  <a:gd name="T16" fmla="*/ 0 w 22"/>
                  <a:gd name="T17" fmla="*/ 0 h 72"/>
                  <a:gd name="T18" fmla="*/ 16 w 22"/>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72">
                    <a:moveTo>
                      <a:pt x="16" y="0"/>
                    </a:moveTo>
                    <a:lnTo>
                      <a:pt x="14" y="10"/>
                    </a:lnTo>
                    <a:lnTo>
                      <a:pt x="22" y="26"/>
                    </a:lnTo>
                    <a:lnTo>
                      <a:pt x="22" y="68"/>
                    </a:lnTo>
                    <a:lnTo>
                      <a:pt x="12" y="72"/>
                    </a:lnTo>
                    <a:lnTo>
                      <a:pt x="10" y="44"/>
                    </a:lnTo>
                    <a:lnTo>
                      <a:pt x="6" y="30"/>
                    </a:lnTo>
                    <a:lnTo>
                      <a:pt x="10" y="16"/>
                    </a:lnTo>
                    <a:lnTo>
                      <a:pt x="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9" name="Freeform 430"/>
              <p:cNvSpPr>
                <a:spLocks/>
              </p:cNvSpPr>
              <p:nvPr/>
            </p:nvSpPr>
            <p:spPr bwMode="auto">
              <a:xfrm>
                <a:off x="2857" y="2361"/>
                <a:ext cx="28" cy="80"/>
              </a:xfrm>
              <a:custGeom>
                <a:avLst/>
                <a:gdLst>
                  <a:gd name="T0" fmla="*/ 18 w 28"/>
                  <a:gd name="T1" fmla="*/ 0 h 80"/>
                  <a:gd name="T2" fmla="*/ 2 w 28"/>
                  <a:gd name="T3" fmla="*/ 0 h 80"/>
                  <a:gd name="T4" fmla="*/ 2 w 28"/>
                  <a:gd name="T5" fmla="*/ 0 h 80"/>
                  <a:gd name="T6" fmla="*/ 0 w 28"/>
                  <a:gd name="T7" fmla="*/ 2 h 80"/>
                  <a:gd name="T8" fmla="*/ 0 w 28"/>
                  <a:gd name="T9" fmla="*/ 2 h 80"/>
                  <a:gd name="T10" fmla="*/ 0 w 28"/>
                  <a:gd name="T11" fmla="*/ 6 h 80"/>
                  <a:gd name="T12" fmla="*/ 8 w 28"/>
                  <a:gd name="T13" fmla="*/ 20 h 80"/>
                  <a:gd name="T14" fmla="*/ 4 w 28"/>
                  <a:gd name="T15" fmla="*/ 34 h 80"/>
                  <a:gd name="T16" fmla="*/ 4 w 28"/>
                  <a:gd name="T17" fmla="*/ 34 h 80"/>
                  <a:gd name="T18" fmla="*/ 4 w 28"/>
                  <a:gd name="T19" fmla="*/ 36 h 80"/>
                  <a:gd name="T20" fmla="*/ 8 w 28"/>
                  <a:gd name="T21" fmla="*/ 48 h 80"/>
                  <a:gd name="T22" fmla="*/ 10 w 28"/>
                  <a:gd name="T23" fmla="*/ 76 h 80"/>
                  <a:gd name="T24" fmla="*/ 10 w 28"/>
                  <a:gd name="T25" fmla="*/ 76 h 80"/>
                  <a:gd name="T26" fmla="*/ 12 w 28"/>
                  <a:gd name="T27" fmla="*/ 80 h 80"/>
                  <a:gd name="T28" fmla="*/ 12 w 28"/>
                  <a:gd name="T29" fmla="*/ 80 h 80"/>
                  <a:gd name="T30" fmla="*/ 14 w 28"/>
                  <a:gd name="T31" fmla="*/ 80 h 80"/>
                  <a:gd name="T32" fmla="*/ 14 w 28"/>
                  <a:gd name="T33" fmla="*/ 80 h 80"/>
                  <a:gd name="T34" fmla="*/ 16 w 28"/>
                  <a:gd name="T35" fmla="*/ 80 h 80"/>
                  <a:gd name="T36" fmla="*/ 26 w 28"/>
                  <a:gd name="T37" fmla="*/ 76 h 80"/>
                  <a:gd name="T38" fmla="*/ 26 w 28"/>
                  <a:gd name="T39" fmla="*/ 76 h 80"/>
                  <a:gd name="T40" fmla="*/ 28 w 28"/>
                  <a:gd name="T41" fmla="*/ 76 h 80"/>
                  <a:gd name="T42" fmla="*/ 28 w 28"/>
                  <a:gd name="T43" fmla="*/ 72 h 80"/>
                  <a:gd name="T44" fmla="*/ 28 w 28"/>
                  <a:gd name="T45" fmla="*/ 30 h 80"/>
                  <a:gd name="T46" fmla="*/ 28 w 28"/>
                  <a:gd name="T47" fmla="*/ 30 h 80"/>
                  <a:gd name="T48" fmla="*/ 28 w 28"/>
                  <a:gd name="T49" fmla="*/ 26 h 80"/>
                  <a:gd name="T50" fmla="*/ 20 w 28"/>
                  <a:gd name="T51" fmla="*/ 14 h 80"/>
                  <a:gd name="T52" fmla="*/ 22 w 28"/>
                  <a:gd name="T53" fmla="*/ 4 h 80"/>
                  <a:gd name="T54" fmla="*/ 22 w 28"/>
                  <a:gd name="T55" fmla="*/ 4 h 80"/>
                  <a:gd name="T56" fmla="*/ 22 w 28"/>
                  <a:gd name="T57" fmla="*/ 2 h 80"/>
                  <a:gd name="T58" fmla="*/ 22 w 28"/>
                  <a:gd name="T59" fmla="*/ 2 h 80"/>
                  <a:gd name="T60" fmla="*/ 18 w 28"/>
                  <a:gd name="T61" fmla="*/ 0 h 80"/>
                  <a:gd name="T62" fmla="*/ 18 w 28"/>
                  <a:gd name="T6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80">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0" name="Freeform 431"/>
              <p:cNvSpPr>
                <a:spLocks/>
              </p:cNvSpPr>
              <p:nvPr/>
            </p:nvSpPr>
            <p:spPr bwMode="auto">
              <a:xfrm>
                <a:off x="2689" y="2161"/>
                <a:ext cx="234" cy="216"/>
              </a:xfrm>
              <a:custGeom>
                <a:avLst/>
                <a:gdLst>
                  <a:gd name="T0" fmla="*/ 60 w 234"/>
                  <a:gd name="T1" fmla="*/ 216 h 216"/>
                  <a:gd name="T2" fmla="*/ 50 w 234"/>
                  <a:gd name="T3" fmla="*/ 200 h 216"/>
                  <a:gd name="T4" fmla="*/ 24 w 234"/>
                  <a:gd name="T5" fmla="*/ 194 h 216"/>
                  <a:gd name="T6" fmla="*/ 24 w 234"/>
                  <a:gd name="T7" fmla="*/ 194 h 216"/>
                  <a:gd name="T8" fmla="*/ 24 w 234"/>
                  <a:gd name="T9" fmla="*/ 194 h 216"/>
                  <a:gd name="T10" fmla="*/ 12 w 234"/>
                  <a:gd name="T11" fmla="*/ 190 h 216"/>
                  <a:gd name="T12" fmla="*/ 12 w 234"/>
                  <a:gd name="T13" fmla="*/ 182 h 216"/>
                  <a:gd name="T14" fmla="*/ 4 w 234"/>
                  <a:gd name="T15" fmla="*/ 170 h 216"/>
                  <a:gd name="T16" fmla="*/ 4 w 234"/>
                  <a:gd name="T17" fmla="*/ 168 h 216"/>
                  <a:gd name="T18" fmla="*/ 0 w 234"/>
                  <a:gd name="T19" fmla="*/ 152 h 216"/>
                  <a:gd name="T20" fmla="*/ 0 w 234"/>
                  <a:gd name="T21" fmla="*/ 150 h 216"/>
                  <a:gd name="T22" fmla="*/ 6 w 234"/>
                  <a:gd name="T23" fmla="*/ 138 h 216"/>
                  <a:gd name="T24" fmla="*/ 8 w 234"/>
                  <a:gd name="T25" fmla="*/ 136 h 216"/>
                  <a:gd name="T26" fmla="*/ 96 w 234"/>
                  <a:gd name="T27" fmla="*/ 132 h 216"/>
                  <a:gd name="T28" fmla="*/ 92 w 234"/>
                  <a:gd name="T29" fmla="*/ 126 h 216"/>
                  <a:gd name="T30" fmla="*/ 80 w 234"/>
                  <a:gd name="T31" fmla="*/ 2 h 216"/>
                  <a:gd name="T32" fmla="*/ 82 w 234"/>
                  <a:gd name="T33" fmla="*/ 0 h 216"/>
                  <a:gd name="T34" fmla="*/ 82 w 234"/>
                  <a:gd name="T35" fmla="*/ 0 h 216"/>
                  <a:gd name="T36" fmla="*/ 110 w 234"/>
                  <a:gd name="T37" fmla="*/ 0 h 216"/>
                  <a:gd name="T38" fmla="*/ 190 w 234"/>
                  <a:gd name="T39" fmla="*/ 54 h 216"/>
                  <a:gd name="T40" fmla="*/ 220 w 234"/>
                  <a:gd name="T41" fmla="*/ 74 h 216"/>
                  <a:gd name="T42" fmla="*/ 222 w 234"/>
                  <a:gd name="T43" fmla="*/ 76 h 216"/>
                  <a:gd name="T44" fmla="*/ 220 w 234"/>
                  <a:gd name="T45" fmla="*/ 88 h 216"/>
                  <a:gd name="T46" fmla="*/ 232 w 234"/>
                  <a:gd name="T47" fmla="*/ 86 h 216"/>
                  <a:gd name="T48" fmla="*/ 234 w 234"/>
                  <a:gd name="T49" fmla="*/ 86 h 216"/>
                  <a:gd name="T50" fmla="*/ 234 w 234"/>
                  <a:gd name="T51" fmla="*/ 126 h 216"/>
                  <a:gd name="T52" fmla="*/ 234 w 234"/>
                  <a:gd name="T53" fmla="*/ 128 h 216"/>
                  <a:gd name="T54" fmla="*/ 224 w 234"/>
                  <a:gd name="T55" fmla="*/ 144 h 216"/>
                  <a:gd name="T56" fmla="*/ 192 w 234"/>
                  <a:gd name="T57" fmla="*/ 150 h 216"/>
                  <a:gd name="T58" fmla="*/ 140 w 234"/>
                  <a:gd name="T59" fmla="*/ 158 h 216"/>
                  <a:gd name="T60" fmla="*/ 126 w 234"/>
                  <a:gd name="T61" fmla="*/ 174 h 216"/>
                  <a:gd name="T62" fmla="*/ 124 w 234"/>
                  <a:gd name="T63" fmla="*/ 176 h 216"/>
                  <a:gd name="T64" fmla="*/ 118 w 234"/>
                  <a:gd name="T65" fmla="*/ 172 h 216"/>
                  <a:gd name="T66" fmla="*/ 110 w 234"/>
                  <a:gd name="T67" fmla="*/ 192 h 216"/>
                  <a:gd name="T68" fmla="*/ 100 w 234"/>
                  <a:gd name="T69" fmla="*/ 194 h 216"/>
                  <a:gd name="T70" fmla="*/ 98 w 234"/>
                  <a:gd name="T71" fmla="*/ 214 h 216"/>
                  <a:gd name="T72" fmla="*/ 96 w 234"/>
                  <a:gd name="T73" fmla="*/ 214 h 216"/>
                  <a:gd name="T74" fmla="*/ 60 w 234"/>
                  <a:gd name="T7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4" h="216">
                    <a:moveTo>
                      <a:pt x="60" y="216"/>
                    </a:moveTo>
                    <a:lnTo>
                      <a:pt x="60" y="216"/>
                    </a:lnTo>
                    <a:lnTo>
                      <a:pt x="58" y="216"/>
                    </a:lnTo>
                    <a:lnTo>
                      <a:pt x="50" y="200"/>
                    </a:lnTo>
                    <a:lnTo>
                      <a:pt x="46" y="188"/>
                    </a:lnTo>
                    <a:lnTo>
                      <a:pt x="24" y="194"/>
                    </a:lnTo>
                    <a:lnTo>
                      <a:pt x="24" y="194"/>
                    </a:lnTo>
                    <a:lnTo>
                      <a:pt x="24" y="194"/>
                    </a:lnTo>
                    <a:lnTo>
                      <a:pt x="24" y="194"/>
                    </a:lnTo>
                    <a:lnTo>
                      <a:pt x="24" y="194"/>
                    </a:lnTo>
                    <a:lnTo>
                      <a:pt x="12" y="190"/>
                    </a:lnTo>
                    <a:lnTo>
                      <a:pt x="12" y="190"/>
                    </a:lnTo>
                    <a:lnTo>
                      <a:pt x="12" y="188"/>
                    </a:lnTo>
                    <a:lnTo>
                      <a:pt x="12" y="182"/>
                    </a:lnTo>
                    <a:lnTo>
                      <a:pt x="10" y="176"/>
                    </a:lnTo>
                    <a:lnTo>
                      <a:pt x="4" y="170"/>
                    </a:lnTo>
                    <a:lnTo>
                      <a:pt x="4" y="170"/>
                    </a:lnTo>
                    <a:lnTo>
                      <a:pt x="4" y="168"/>
                    </a:lnTo>
                    <a:lnTo>
                      <a:pt x="2" y="158"/>
                    </a:lnTo>
                    <a:lnTo>
                      <a:pt x="0" y="152"/>
                    </a:lnTo>
                    <a:lnTo>
                      <a:pt x="0" y="152"/>
                    </a:lnTo>
                    <a:lnTo>
                      <a:pt x="0" y="150"/>
                    </a:lnTo>
                    <a:lnTo>
                      <a:pt x="6" y="138"/>
                    </a:lnTo>
                    <a:lnTo>
                      <a:pt x="6" y="138"/>
                    </a:lnTo>
                    <a:lnTo>
                      <a:pt x="8" y="136"/>
                    </a:lnTo>
                    <a:lnTo>
                      <a:pt x="8" y="136"/>
                    </a:lnTo>
                    <a:lnTo>
                      <a:pt x="96" y="138"/>
                    </a:lnTo>
                    <a:lnTo>
                      <a:pt x="96" y="132"/>
                    </a:lnTo>
                    <a:lnTo>
                      <a:pt x="92" y="126"/>
                    </a:lnTo>
                    <a:lnTo>
                      <a:pt x="92" y="126"/>
                    </a:lnTo>
                    <a:lnTo>
                      <a:pt x="92" y="124"/>
                    </a:lnTo>
                    <a:lnTo>
                      <a:pt x="80" y="2"/>
                    </a:lnTo>
                    <a:lnTo>
                      <a:pt x="80" y="2"/>
                    </a:lnTo>
                    <a:lnTo>
                      <a:pt x="82" y="0"/>
                    </a:lnTo>
                    <a:lnTo>
                      <a:pt x="82" y="0"/>
                    </a:lnTo>
                    <a:lnTo>
                      <a:pt x="82" y="0"/>
                    </a:lnTo>
                    <a:lnTo>
                      <a:pt x="110" y="0"/>
                    </a:lnTo>
                    <a:lnTo>
                      <a:pt x="110" y="0"/>
                    </a:lnTo>
                    <a:lnTo>
                      <a:pt x="110" y="0"/>
                    </a:lnTo>
                    <a:lnTo>
                      <a:pt x="190" y="54"/>
                    </a:lnTo>
                    <a:lnTo>
                      <a:pt x="204" y="66"/>
                    </a:lnTo>
                    <a:lnTo>
                      <a:pt x="220" y="74"/>
                    </a:lnTo>
                    <a:lnTo>
                      <a:pt x="220" y="74"/>
                    </a:lnTo>
                    <a:lnTo>
                      <a:pt x="222" y="76"/>
                    </a:lnTo>
                    <a:lnTo>
                      <a:pt x="220" y="88"/>
                    </a:lnTo>
                    <a:lnTo>
                      <a:pt x="220" y="88"/>
                    </a:lnTo>
                    <a:lnTo>
                      <a:pt x="232" y="86"/>
                    </a:lnTo>
                    <a:lnTo>
                      <a:pt x="232" y="86"/>
                    </a:lnTo>
                    <a:lnTo>
                      <a:pt x="234" y="86"/>
                    </a:lnTo>
                    <a:lnTo>
                      <a:pt x="234" y="86"/>
                    </a:lnTo>
                    <a:lnTo>
                      <a:pt x="234" y="88"/>
                    </a:lnTo>
                    <a:lnTo>
                      <a:pt x="234" y="126"/>
                    </a:lnTo>
                    <a:lnTo>
                      <a:pt x="234" y="126"/>
                    </a:lnTo>
                    <a:lnTo>
                      <a:pt x="234" y="128"/>
                    </a:lnTo>
                    <a:lnTo>
                      <a:pt x="224" y="144"/>
                    </a:lnTo>
                    <a:lnTo>
                      <a:pt x="224" y="144"/>
                    </a:lnTo>
                    <a:lnTo>
                      <a:pt x="222" y="144"/>
                    </a:lnTo>
                    <a:lnTo>
                      <a:pt x="192" y="150"/>
                    </a:lnTo>
                    <a:lnTo>
                      <a:pt x="160" y="150"/>
                    </a:lnTo>
                    <a:lnTo>
                      <a:pt x="140" y="158"/>
                    </a:lnTo>
                    <a:lnTo>
                      <a:pt x="126" y="174"/>
                    </a:lnTo>
                    <a:lnTo>
                      <a:pt x="126" y="174"/>
                    </a:lnTo>
                    <a:lnTo>
                      <a:pt x="124" y="176"/>
                    </a:lnTo>
                    <a:lnTo>
                      <a:pt x="124" y="176"/>
                    </a:lnTo>
                    <a:lnTo>
                      <a:pt x="122" y="176"/>
                    </a:lnTo>
                    <a:lnTo>
                      <a:pt x="118" y="172"/>
                    </a:lnTo>
                    <a:lnTo>
                      <a:pt x="110" y="192"/>
                    </a:lnTo>
                    <a:lnTo>
                      <a:pt x="110" y="192"/>
                    </a:lnTo>
                    <a:lnTo>
                      <a:pt x="108" y="194"/>
                    </a:lnTo>
                    <a:lnTo>
                      <a:pt x="100" y="194"/>
                    </a:lnTo>
                    <a:lnTo>
                      <a:pt x="98" y="214"/>
                    </a:lnTo>
                    <a:lnTo>
                      <a:pt x="98" y="214"/>
                    </a:lnTo>
                    <a:lnTo>
                      <a:pt x="96" y="214"/>
                    </a:lnTo>
                    <a:lnTo>
                      <a:pt x="96" y="214"/>
                    </a:lnTo>
                    <a:lnTo>
                      <a:pt x="60" y="216"/>
                    </a:lnTo>
                    <a:lnTo>
                      <a:pt x="60"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1" name="Freeform 432"/>
              <p:cNvSpPr>
                <a:spLocks noEditPoints="1"/>
              </p:cNvSpPr>
              <p:nvPr/>
            </p:nvSpPr>
            <p:spPr bwMode="auto">
              <a:xfrm>
                <a:off x="2687" y="2159"/>
                <a:ext cx="238" cy="220"/>
              </a:xfrm>
              <a:custGeom>
                <a:avLst/>
                <a:gdLst>
                  <a:gd name="T0" fmla="*/ 192 w 238"/>
                  <a:gd name="T1" fmla="*/ 58 h 220"/>
                  <a:gd name="T2" fmla="*/ 222 w 238"/>
                  <a:gd name="T3" fmla="*/ 78 h 220"/>
                  <a:gd name="T4" fmla="*/ 234 w 238"/>
                  <a:gd name="T5" fmla="*/ 90 h 220"/>
                  <a:gd name="T6" fmla="*/ 224 w 238"/>
                  <a:gd name="T7" fmla="*/ 144 h 220"/>
                  <a:gd name="T8" fmla="*/ 180 w 238"/>
                  <a:gd name="T9" fmla="*/ 150 h 220"/>
                  <a:gd name="T10" fmla="*/ 142 w 238"/>
                  <a:gd name="T11" fmla="*/ 158 h 220"/>
                  <a:gd name="T12" fmla="*/ 118 w 238"/>
                  <a:gd name="T13" fmla="*/ 172 h 220"/>
                  <a:gd name="T14" fmla="*/ 100 w 238"/>
                  <a:gd name="T15" fmla="*/ 196 h 220"/>
                  <a:gd name="T16" fmla="*/ 62 w 238"/>
                  <a:gd name="T17" fmla="*/ 216 h 220"/>
                  <a:gd name="T18" fmla="*/ 50 w 238"/>
                  <a:gd name="T19" fmla="*/ 188 h 220"/>
                  <a:gd name="T20" fmla="*/ 16 w 238"/>
                  <a:gd name="T21" fmla="*/ 190 h 220"/>
                  <a:gd name="T22" fmla="*/ 16 w 238"/>
                  <a:gd name="T23" fmla="*/ 184 h 220"/>
                  <a:gd name="T24" fmla="*/ 8 w 238"/>
                  <a:gd name="T25" fmla="*/ 170 h 220"/>
                  <a:gd name="T26" fmla="*/ 4 w 238"/>
                  <a:gd name="T27" fmla="*/ 154 h 220"/>
                  <a:gd name="T28" fmla="*/ 98 w 238"/>
                  <a:gd name="T29" fmla="*/ 142 h 220"/>
                  <a:gd name="T30" fmla="*/ 96 w 238"/>
                  <a:gd name="T31" fmla="*/ 126 h 220"/>
                  <a:gd name="T32" fmla="*/ 112 w 238"/>
                  <a:gd name="T33" fmla="*/ 4 h 220"/>
                  <a:gd name="T34" fmla="*/ 84 w 238"/>
                  <a:gd name="T35" fmla="*/ 0 h 220"/>
                  <a:gd name="T36" fmla="*/ 82 w 238"/>
                  <a:gd name="T37" fmla="*/ 0 h 220"/>
                  <a:gd name="T38" fmla="*/ 80 w 238"/>
                  <a:gd name="T39" fmla="*/ 4 h 220"/>
                  <a:gd name="T40" fmla="*/ 92 w 238"/>
                  <a:gd name="T41" fmla="*/ 126 h 220"/>
                  <a:gd name="T42" fmla="*/ 96 w 238"/>
                  <a:gd name="T43" fmla="*/ 134 h 220"/>
                  <a:gd name="T44" fmla="*/ 10 w 238"/>
                  <a:gd name="T45" fmla="*/ 136 h 220"/>
                  <a:gd name="T46" fmla="*/ 10 w 238"/>
                  <a:gd name="T47" fmla="*/ 136 h 220"/>
                  <a:gd name="T48" fmla="*/ 8 w 238"/>
                  <a:gd name="T49" fmla="*/ 138 h 220"/>
                  <a:gd name="T50" fmla="*/ 2 w 238"/>
                  <a:gd name="T51" fmla="*/ 152 h 220"/>
                  <a:gd name="T52" fmla="*/ 0 w 238"/>
                  <a:gd name="T53" fmla="*/ 154 h 220"/>
                  <a:gd name="T54" fmla="*/ 4 w 238"/>
                  <a:gd name="T55" fmla="*/ 170 h 220"/>
                  <a:gd name="T56" fmla="*/ 6 w 238"/>
                  <a:gd name="T57" fmla="*/ 172 h 220"/>
                  <a:gd name="T58" fmla="*/ 12 w 238"/>
                  <a:gd name="T59" fmla="*/ 184 h 220"/>
                  <a:gd name="T60" fmla="*/ 12 w 238"/>
                  <a:gd name="T61" fmla="*/ 190 h 220"/>
                  <a:gd name="T62" fmla="*/ 12 w 238"/>
                  <a:gd name="T63" fmla="*/ 192 h 220"/>
                  <a:gd name="T64" fmla="*/ 24 w 238"/>
                  <a:gd name="T65" fmla="*/ 198 h 220"/>
                  <a:gd name="T66" fmla="*/ 26 w 238"/>
                  <a:gd name="T67" fmla="*/ 198 h 220"/>
                  <a:gd name="T68" fmla="*/ 26 w 238"/>
                  <a:gd name="T69" fmla="*/ 198 h 220"/>
                  <a:gd name="T70" fmla="*/ 50 w 238"/>
                  <a:gd name="T71" fmla="*/ 202 h 220"/>
                  <a:gd name="T72" fmla="*/ 58 w 238"/>
                  <a:gd name="T73" fmla="*/ 218 h 220"/>
                  <a:gd name="T74" fmla="*/ 62 w 238"/>
                  <a:gd name="T75" fmla="*/ 220 h 220"/>
                  <a:gd name="T76" fmla="*/ 62 w 238"/>
                  <a:gd name="T77" fmla="*/ 220 h 220"/>
                  <a:gd name="T78" fmla="*/ 98 w 238"/>
                  <a:gd name="T79" fmla="*/ 218 h 220"/>
                  <a:gd name="T80" fmla="*/ 102 w 238"/>
                  <a:gd name="T81" fmla="*/ 216 h 220"/>
                  <a:gd name="T82" fmla="*/ 110 w 238"/>
                  <a:gd name="T83" fmla="*/ 198 h 220"/>
                  <a:gd name="T84" fmla="*/ 114 w 238"/>
                  <a:gd name="T85" fmla="*/ 194 h 220"/>
                  <a:gd name="T86" fmla="*/ 124 w 238"/>
                  <a:gd name="T87" fmla="*/ 178 h 220"/>
                  <a:gd name="T88" fmla="*/ 126 w 238"/>
                  <a:gd name="T89" fmla="*/ 180 h 220"/>
                  <a:gd name="T90" fmla="*/ 128 w 238"/>
                  <a:gd name="T91" fmla="*/ 178 h 220"/>
                  <a:gd name="T92" fmla="*/ 164 w 238"/>
                  <a:gd name="T93" fmla="*/ 154 h 220"/>
                  <a:gd name="T94" fmla="*/ 194 w 238"/>
                  <a:gd name="T95" fmla="*/ 154 h 220"/>
                  <a:gd name="T96" fmla="*/ 194 w 238"/>
                  <a:gd name="T97" fmla="*/ 154 h 220"/>
                  <a:gd name="T98" fmla="*/ 224 w 238"/>
                  <a:gd name="T99" fmla="*/ 148 h 220"/>
                  <a:gd name="T100" fmla="*/ 238 w 238"/>
                  <a:gd name="T101" fmla="*/ 130 h 220"/>
                  <a:gd name="T102" fmla="*/ 238 w 238"/>
                  <a:gd name="T103" fmla="*/ 128 h 220"/>
                  <a:gd name="T104" fmla="*/ 238 w 238"/>
                  <a:gd name="T105" fmla="*/ 90 h 220"/>
                  <a:gd name="T106" fmla="*/ 236 w 238"/>
                  <a:gd name="T107" fmla="*/ 88 h 220"/>
                  <a:gd name="T108" fmla="*/ 234 w 238"/>
                  <a:gd name="T109" fmla="*/ 86 h 220"/>
                  <a:gd name="T110" fmla="*/ 224 w 238"/>
                  <a:gd name="T111" fmla="*/ 88 h 220"/>
                  <a:gd name="T112" fmla="*/ 226 w 238"/>
                  <a:gd name="T113" fmla="*/ 78 h 220"/>
                  <a:gd name="T114" fmla="*/ 224 w 238"/>
                  <a:gd name="T115" fmla="*/ 74 h 220"/>
                  <a:gd name="T116" fmla="*/ 194 w 238"/>
                  <a:gd name="T117" fmla="*/ 54 h 220"/>
                  <a:gd name="T118" fmla="*/ 194 w 238"/>
                  <a:gd name="T119" fmla="*/ 54 h 220"/>
                  <a:gd name="T120" fmla="*/ 114 w 238"/>
                  <a:gd name="T121" fmla="*/ 0 h 220"/>
                  <a:gd name="T122" fmla="*/ 112 w 238"/>
                  <a:gd name="T12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220">
                    <a:moveTo>
                      <a:pt x="112" y="4"/>
                    </a:moveTo>
                    <a:lnTo>
                      <a:pt x="192" y="58"/>
                    </a:lnTo>
                    <a:lnTo>
                      <a:pt x="204" y="70"/>
                    </a:lnTo>
                    <a:lnTo>
                      <a:pt x="222" y="78"/>
                    </a:lnTo>
                    <a:lnTo>
                      <a:pt x="220" y="92"/>
                    </a:lnTo>
                    <a:lnTo>
                      <a:pt x="234" y="90"/>
                    </a:lnTo>
                    <a:lnTo>
                      <a:pt x="234" y="128"/>
                    </a:lnTo>
                    <a:lnTo>
                      <a:pt x="224" y="144"/>
                    </a:lnTo>
                    <a:lnTo>
                      <a:pt x="194" y="150"/>
                    </a:lnTo>
                    <a:lnTo>
                      <a:pt x="180" y="150"/>
                    </a:lnTo>
                    <a:lnTo>
                      <a:pt x="162" y="150"/>
                    </a:lnTo>
                    <a:lnTo>
                      <a:pt x="142" y="158"/>
                    </a:lnTo>
                    <a:lnTo>
                      <a:pt x="126" y="176"/>
                    </a:lnTo>
                    <a:lnTo>
                      <a:pt x="118" y="172"/>
                    </a:lnTo>
                    <a:lnTo>
                      <a:pt x="110" y="194"/>
                    </a:lnTo>
                    <a:lnTo>
                      <a:pt x="100" y="196"/>
                    </a:lnTo>
                    <a:lnTo>
                      <a:pt x="98" y="214"/>
                    </a:lnTo>
                    <a:lnTo>
                      <a:pt x="62" y="216"/>
                    </a:lnTo>
                    <a:lnTo>
                      <a:pt x="54" y="200"/>
                    </a:lnTo>
                    <a:lnTo>
                      <a:pt x="50" y="188"/>
                    </a:lnTo>
                    <a:lnTo>
                      <a:pt x="26" y="194"/>
                    </a:lnTo>
                    <a:lnTo>
                      <a:pt x="16" y="190"/>
                    </a:lnTo>
                    <a:lnTo>
                      <a:pt x="16" y="188"/>
                    </a:lnTo>
                    <a:lnTo>
                      <a:pt x="16" y="184"/>
                    </a:lnTo>
                    <a:lnTo>
                      <a:pt x="14" y="178"/>
                    </a:lnTo>
                    <a:lnTo>
                      <a:pt x="8" y="170"/>
                    </a:lnTo>
                    <a:lnTo>
                      <a:pt x="6" y="158"/>
                    </a:lnTo>
                    <a:lnTo>
                      <a:pt x="4" y="154"/>
                    </a:lnTo>
                    <a:lnTo>
                      <a:pt x="10" y="140"/>
                    </a:lnTo>
                    <a:lnTo>
                      <a:pt x="98" y="142"/>
                    </a:lnTo>
                    <a:lnTo>
                      <a:pt x="100" y="134"/>
                    </a:lnTo>
                    <a:lnTo>
                      <a:pt x="96" y="126"/>
                    </a:lnTo>
                    <a:lnTo>
                      <a:pt x="84" y="4"/>
                    </a:lnTo>
                    <a:lnTo>
                      <a:pt x="112" y="4"/>
                    </a:lnTo>
                    <a:close/>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2" name="Freeform 433"/>
              <p:cNvSpPr>
                <a:spLocks/>
              </p:cNvSpPr>
              <p:nvPr/>
            </p:nvSpPr>
            <p:spPr bwMode="auto">
              <a:xfrm>
                <a:off x="2691" y="2163"/>
                <a:ext cx="230" cy="212"/>
              </a:xfrm>
              <a:custGeom>
                <a:avLst/>
                <a:gdLst>
                  <a:gd name="T0" fmla="*/ 108 w 230"/>
                  <a:gd name="T1" fmla="*/ 0 h 212"/>
                  <a:gd name="T2" fmla="*/ 188 w 230"/>
                  <a:gd name="T3" fmla="*/ 54 h 212"/>
                  <a:gd name="T4" fmla="*/ 200 w 230"/>
                  <a:gd name="T5" fmla="*/ 66 h 212"/>
                  <a:gd name="T6" fmla="*/ 218 w 230"/>
                  <a:gd name="T7" fmla="*/ 74 h 212"/>
                  <a:gd name="T8" fmla="*/ 216 w 230"/>
                  <a:gd name="T9" fmla="*/ 88 h 212"/>
                  <a:gd name="T10" fmla="*/ 230 w 230"/>
                  <a:gd name="T11" fmla="*/ 86 h 212"/>
                  <a:gd name="T12" fmla="*/ 230 w 230"/>
                  <a:gd name="T13" fmla="*/ 124 h 212"/>
                  <a:gd name="T14" fmla="*/ 220 w 230"/>
                  <a:gd name="T15" fmla="*/ 140 h 212"/>
                  <a:gd name="T16" fmla="*/ 190 w 230"/>
                  <a:gd name="T17" fmla="*/ 146 h 212"/>
                  <a:gd name="T18" fmla="*/ 176 w 230"/>
                  <a:gd name="T19" fmla="*/ 146 h 212"/>
                  <a:gd name="T20" fmla="*/ 158 w 230"/>
                  <a:gd name="T21" fmla="*/ 146 h 212"/>
                  <a:gd name="T22" fmla="*/ 138 w 230"/>
                  <a:gd name="T23" fmla="*/ 154 h 212"/>
                  <a:gd name="T24" fmla="*/ 122 w 230"/>
                  <a:gd name="T25" fmla="*/ 172 h 212"/>
                  <a:gd name="T26" fmla="*/ 114 w 230"/>
                  <a:gd name="T27" fmla="*/ 168 h 212"/>
                  <a:gd name="T28" fmla="*/ 106 w 230"/>
                  <a:gd name="T29" fmla="*/ 190 h 212"/>
                  <a:gd name="T30" fmla="*/ 96 w 230"/>
                  <a:gd name="T31" fmla="*/ 192 h 212"/>
                  <a:gd name="T32" fmla="*/ 94 w 230"/>
                  <a:gd name="T33" fmla="*/ 210 h 212"/>
                  <a:gd name="T34" fmla="*/ 58 w 230"/>
                  <a:gd name="T35" fmla="*/ 212 h 212"/>
                  <a:gd name="T36" fmla="*/ 50 w 230"/>
                  <a:gd name="T37" fmla="*/ 196 h 212"/>
                  <a:gd name="T38" fmla="*/ 46 w 230"/>
                  <a:gd name="T39" fmla="*/ 184 h 212"/>
                  <a:gd name="T40" fmla="*/ 22 w 230"/>
                  <a:gd name="T41" fmla="*/ 190 h 212"/>
                  <a:gd name="T42" fmla="*/ 12 w 230"/>
                  <a:gd name="T43" fmla="*/ 186 h 212"/>
                  <a:gd name="T44" fmla="*/ 12 w 230"/>
                  <a:gd name="T45" fmla="*/ 184 h 212"/>
                  <a:gd name="T46" fmla="*/ 12 w 230"/>
                  <a:gd name="T47" fmla="*/ 180 h 212"/>
                  <a:gd name="T48" fmla="*/ 10 w 230"/>
                  <a:gd name="T49" fmla="*/ 174 h 212"/>
                  <a:gd name="T50" fmla="*/ 4 w 230"/>
                  <a:gd name="T51" fmla="*/ 166 h 212"/>
                  <a:gd name="T52" fmla="*/ 2 w 230"/>
                  <a:gd name="T53" fmla="*/ 154 h 212"/>
                  <a:gd name="T54" fmla="*/ 0 w 230"/>
                  <a:gd name="T55" fmla="*/ 150 h 212"/>
                  <a:gd name="T56" fmla="*/ 6 w 230"/>
                  <a:gd name="T57" fmla="*/ 136 h 212"/>
                  <a:gd name="T58" fmla="*/ 94 w 230"/>
                  <a:gd name="T59" fmla="*/ 138 h 212"/>
                  <a:gd name="T60" fmla="*/ 96 w 230"/>
                  <a:gd name="T61" fmla="*/ 130 h 212"/>
                  <a:gd name="T62" fmla="*/ 92 w 230"/>
                  <a:gd name="T63" fmla="*/ 122 h 212"/>
                  <a:gd name="T64" fmla="*/ 80 w 230"/>
                  <a:gd name="T65" fmla="*/ 0 h 212"/>
                  <a:gd name="T66" fmla="*/ 108 w 230"/>
                  <a:gd name="T6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12">
                    <a:moveTo>
                      <a:pt x="108" y="0"/>
                    </a:moveTo>
                    <a:lnTo>
                      <a:pt x="188" y="54"/>
                    </a:lnTo>
                    <a:lnTo>
                      <a:pt x="200" y="66"/>
                    </a:lnTo>
                    <a:lnTo>
                      <a:pt x="218" y="74"/>
                    </a:lnTo>
                    <a:lnTo>
                      <a:pt x="216" y="88"/>
                    </a:lnTo>
                    <a:lnTo>
                      <a:pt x="230" y="86"/>
                    </a:lnTo>
                    <a:lnTo>
                      <a:pt x="230" y="124"/>
                    </a:lnTo>
                    <a:lnTo>
                      <a:pt x="220" y="140"/>
                    </a:lnTo>
                    <a:lnTo>
                      <a:pt x="190" y="146"/>
                    </a:lnTo>
                    <a:lnTo>
                      <a:pt x="176" y="146"/>
                    </a:lnTo>
                    <a:lnTo>
                      <a:pt x="158" y="146"/>
                    </a:lnTo>
                    <a:lnTo>
                      <a:pt x="138" y="154"/>
                    </a:lnTo>
                    <a:lnTo>
                      <a:pt x="122" y="172"/>
                    </a:lnTo>
                    <a:lnTo>
                      <a:pt x="114" y="168"/>
                    </a:lnTo>
                    <a:lnTo>
                      <a:pt x="106" y="190"/>
                    </a:lnTo>
                    <a:lnTo>
                      <a:pt x="96" y="192"/>
                    </a:lnTo>
                    <a:lnTo>
                      <a:pt x="94" y="210"/>
                    </a:lnTo>
                    <a:lnTo>
                      <a:pt x="58" y="212"/>
                    </a:lnTo>
                    <a:lnTo>
                      <a:pt x="50" y="196"/>
                    </a:lnTo>
                    <a:lnTo>
                      <a:pt x="46" y="184"/>
                    </a:lnTo>
                    <a:lnTo>
                      <a:pt x="22" y="190"/>
                    </a:lnTo>
                    <a:lnTo>
                      <a:pt x="12" y="186"/>
                    </a:lnTo>
                    <a:lnTo>
                      <a:pt x="12" y="184"/>
                    </a:lnTo>
                    <a:lnTo>
                      <a:pt x="12" y="180"/>
                    </a:lnTo>
                    <a:lnTo>
                      <a:pt x="10" y="174"/>
                    </a:lnTo>
                    <a:lnTo>
                      <a:pt x="4" y="166"/>
                    </a:lnTo>
                    <a:lnTo>
                      <a:pt x="2" y="154"/>
                    </a:lnTo>
                    <a:lnTo>
                      <a:pt x="0" y="150"/>
                    </a:lnTo>
                    <a:lnTo>
                      <a:pt x="6" y="136"/>
                    </a:lnTo>
                    <a:lnTo>
                      <a:pt x="94" y="138"/>
                    </a:lnTo>
                    <a:lnTo>
                      <a:pt x="96" y="130"/>
                    </a:lnTo>
                    <a:lnTo>
                      <a:pt x="92" y="122"/>
                    </a:lnTo>
                    <a:lnTo>
                      <a:pt x="80"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3" name="Freeform 434"/>
              <p:cNvSpPr>
                <a:spLocks/>
              </p:cNvSpPr>
              <p:nvPr/>
            </p:nvSpPr>
            <p:spPr bwMode="auto">
              <a:xfrm>
                <a:off x="2687" y="2159"/>
                <a:ext cx="238" cy="220"/>
              </a:xfrm>
              <a:custGeom>
                <a:avLst/>
                <a:gdLst>
                  <a:gd name="T0" fmla="*/ 84 w 238"/>
                  <a:gd name="T1" fmla="*/ 0 h 220"/>
                  <a:gd name="T2" fmla="*/ 82 w 238"/>
                  <a:gd name="T3" fmla="*/ 0 h 220"/>
                  <a:gd name="T4" fmla="*/ 80 w 238"/>
                  <a:gd name="T5" fmla="*/ 4 h 220"/>
                  <a:gd name="T6" fmla="*/ 92 w 238"/>
                  <a:gd name="T7" fmla="*/ 126 h 220"/>
                  <a:gd name="T8" fmla="*/ 96 w 238"/>
                  <a:gd name="T9" fmla="*/ 134 h 220"/>
                  <a:gd name="T10" fmla="*/ 10 w 238"/>
                  <a:gd name="T11" fmla="*/ 136 h 220"/>
                  <a:gd name="T12" fmla="*/ 10 w 238"/>
                  <a:gd name="T13" fmla="*/ 136 h 220"/>
                  <a:gd name="T14" fmla="*/ 8 w 238"/>
                  <a:gd name="T15" fmla="*/ 138 h 220"/>
                  <a:gd name="T16" fmla="*/ 2 w 238"/>
                  <a:gd name="T17" fmla="*/ 152 h 220"/>
                  <a:gd name="T18" fmla="*/ 0 w 238"/>
                  <a:gd name="T19" fmla="*/ 154 h 220"/>
                  <a:gd name="T20" fmla="*/ 4 w 238"/>
                  <a:gd name="T21" fmla="*/ 170 h 220"/>
                  <a:gd name="T22" fmla="*/ 6 w 238"/>
                  <a:gd name="T23" fmla="*/ 172 h 220"/>
                  <a:gd name="T24" fmla="*/ 12 w 238"/>
                  <a:gd name="T25" fmla="*/ 184 h 220"/>
                  <a:gd name="T26" fmla="*/ 12 w 238"/>
                  <a:gd name="T27" fmla="*/ 190 h 220"/>
                  <a:gd name="T28" fmla="*/ 12 w 238"/>
                  <a:gd name="T29" fmla="*/ 192 h 220"/>
                  <a:gd name="T30" fmla="*/ 24 w 238"/>
                  <a:gd name="T31" fmla="*/ 198 h 220"/>
                  <a:gd name="T32" fmla="*/ 26 w 238"/>
                  <a:gd name="T33" fmla="*/ 198 h 220"/>
                  <a:gd name="T34" fmla="*/ 26 w 238"/>
                  <a:gd name="T35" fmla="*/ 198 h 220"/>
                  <a:gd name="T36" fmla="*/ 50 w 238"/>
                  <a:gd name="T37" fmla="*/ 202 h 220"/>
                  <a:gd name="T38" fmla="*/ 58 w 238"/>
                  <a:gd name="T39" fmla="*/ 218 h 220"/>
                  <a:gd name="T40" fmla="*/ 62 w 238"/>
                  <a:gd name="T41" fmla="*/ 220 h 220"/>
                  <a:gd name="T42" fmla="*/ 62 w 238"/>
                  <a:gd name="T43" fmla="*/ 220 h 220"/>
                  <a:gd name="T44" fmla="*/ 98 w 238"/>
                  <a:gd name="T45" fmla="*/ 218 h 220"/>
                  <a:gd name="T46" fmla="*/ 102 w 238"/>
                  <a:gd name="T47" fmla="*/ 216 h 220"/>
                  <a:gd name="T48" fmla="*/ 110 w 238"/>
                  <a:gd name="T49" fmla="*/ 198 h 220"/>
                  <a:gd name="T50" fmla="*/ 114 w 238"/>
                  <a:gd name="T51" fmla="*/ 194 h 220"/>
                  <a:gd name="T52" fmla="*/ 124 w 238"/>
                  <a:gd name="T53" fmla="*/ 178 h 220"/>
                  <a:gd name="T54" fmla="*/ 126 w 238"/>
                  <a:gd name="T55" fmla="*/ 180 h 220"/>
                  <a:gd name="T56" fmla="*/ 128 w 238"/>
                  <a:gd name="T57" fmla="*/ 178 h 220"/>
                  <a:gd name="T58" fmla="*/ 164 w 238"/>
                  <a:gd name="T59" fmla="*/ 154 h 220"/>
                  <a:gd name="T60" fmla="*/ 194 w 238"/>
                  <a:gd name="T61" fmla="*/ 154 h 220"/>
                  <a:gd name="T62" fmla="*/ 194 w 238"/>
                  <a:gd name="T63" fmla="*/ 154 h 220"/>
                  <a:gd name="T64" fmla="*/ 224 w 238"/>
                  <a:gd name="T65" fmla="*/ 148 h 220"/>
                  <a:gd name="T66" fmla="*/ 238 w 238"/>
                  <a:gd name="T67" fmla="*/ 130 h 220"/>
                  <a:gd name="T68" fmla="*/ 238 w 238"/>
                  <a:gd name="T69" fmla="*/ 128 h 220"/>
                  <a:gd name="T70" fmla="*/ 238 w 238"/>
                  <a:gd name="T71" fmla="*/ 90 h 220"/>
                  <a:gd name="T72" fmla="*/ 236 w 238"/>
                  <a:gd name="T73" fmla="*/ 88 h 220"/>
                  <a:gd name="T74" fmla="*/ 234 w 238"/>
                  <a:gd name="T75" fmla="*/ 86 h 220"/>
                  <a:gd name="T76" fmla="*/ 224 w 238"/>
                  <a:gd name="T77" fmla="*/ 88 h 220"/>
                  <a:gd name="T78" fmla="*/ 226 w 238"/>
                  <a:gd name="T79" fmla="*/ 78 h 220"/>
                  <a:gd name="T80" fmla="*/ 224 w 238"/>
                  <a:gd name="T81" fmla="*/ 74 h 220"/>
                  <a:gd name="T82" fmla="*/ 194 w 238"/>
                  <a:gd name="T83" fmla="*/ 54 h 220"/>
                  <a:gd name="T84" fmla="*/ 194 w 238"/>
                  <a:gd name="T85" fmla="*/ 54 h 220"/>
                  <a:gd name="T86" fmla="*/ 114 w 238"/>
                  <a:gd name="T87" fmla="*/ 0 h 220"/>
                  <a:gd name="T88" fmla="*/ 112 w 238"/>
                  <a:gd name="T8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8" h="220">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4" name="Freeform 435"/>
              <p:cNvSpPr>
                <a:spLocks/>
              </p:cNvSpPr>
              <p:nvPr/>
            </p:nvSpPr>
            <p:spPr bwMode="auto">
              <a:xfrm>
                <a:off x="2785" y="2307"/>
                <a:ext cx="110" cy="82"/>
              </a:xfrm>
              <a:custGeom>
                <a:avLst/>
                <a:gdLst>
                  <a:gd name="T0" fmla="*/ 20 w 110"/>
                  <a:gd name="T1" fmla="*/ 82 h 82"/>
                  <a:gd name="T2" fmla="*/ 20 w 110"/>
                  <a:gd name="T3" fmla="*/ 82 h 82"/>
                  <a:gd name="T4" fmla="*/ 18 w 110"/>
                  <a:gd name="T5" fmla="*/ 82 h 82"/>
                  <a:gd name="T6" fmla="*/ 0 w 110"/>
                  <a:gd name="T7" fmla="*/ 68 h 82"/>
                  <a:gd name="T8" fmla="*/ 0 w 110"/>
                  <a:gd name="T9" fmla="*/ 68 h 82"/>
                  <a:gd name="T10" fmla="*/ 0 w 110"/>
                  <a:gd name="T11" fmla="*/ 66 h 82"/>
                  <a:gd name="T12" fmla="*/ 4 w 110"/>
                  <a:gd name="T13" fmla="*/ 46 h 82"/>
                  <a:gd name="T14" fmla="*/ 4 w 110"/>
                  <a:gd name="T15" fmla="*/ 46 h 82"/>
                  <a:gd name="T16" fmla="*/ 4 w 110"/>
                  <a:gd name="T17" fmla="*/ 46 h 82"/>
                  <a:gd name="T18" fmla="*/ 12 w 110"/>
                  <a:gd name="T19" fmla="*/ 44 h 82"/>
                  <a:gd name="T20" fmla="*/ 22 w 110"/>
                  <a:gd name="T21" fmla="*/ 22 h 82"/>
                  <a:gd name="T22" fmla="*/ 22 w 110"/>
                  <a:gd name="T23" fmla="*/ 22 h 82"/>
                  <a:gd name="T24" fmla="*/ 22 w 110"/>
                  <a:gd name="T25" fmla="*/ 22 h 82"/>
                  <a:gd name="T26" fmla="*/ 22 w 110"/>
                  <a:gd name="T27" fmla="*/ 22 h 82"/>
                  <a:gd name="T28" fmla="*/ 24 w 110"/>
                  <a:gd name="T29" fmla="*/ 22 h 82"/>
                  <a:gd name="T30" fmla="*/ 24 w 110"/>
                  <a:gd name="T31" fmla="*/ 22 h 82"/>
                  <a:gd name="T32" fmla="*/ 24 w 110"/>
                  <a:gd name="T33" fmla="*/ 22 h 82"/>
                  <a:gd name="T34" fmla="*/ 30 w 110"/>
                  <a:gd name="T35" fmla="*/ 24 h 82"/>
                  <a:gd name="T36" fmla="*/ 44 w 110"/>
                  <a:gd name="T37" fmla="*/ 10 h 82"/>
                  <a:gd name="T38" fmla="*/ 66 w 110"/>
                  <a:gd name="T39" fmla="*/ 0 h 82"/>
                  <a:gd name="T40" fmla="*/ 66 w 110"/>
                  <a:gd name="T41" fmla="*/ 0 h 82"/>
                  <a:gd name="T42" fmla="*/ 68 w 110"/>
                  <a:gd name="T43" fmla="*/ 0 h 82"/>
                  <a:gd name="T44" fmla="*/ 86 w 110"/>
                  <a:gd name="T45" fmla="*/ 0 h 82"/>
                  <a:gd name="T46" fmla="*/ 86 w 110"/>
                  <a:gd name="T47" fmla="*/ 0 h 82"/>
                  <a:gd name="T48" fmla="*/ 86 w 110"/>
                  <a:gd name="T49" fmla="*/ 0 h 82"/>
                  <a:gd name="T50" fmla="*/ 86 w 110"/>
                  <a:gd name="T51" fmla="*/ 0 h 82"/>
                  <a:gd name="T52" fmla="*/ 86 w 110"/>
                  <a:gd name="T53" fmla="*/ 2 h 82"/>
                  <a:gd name="T54" fmla="*/ 84 w 110"/>
                  <a:gd name="T55" fmla="*/ 8 h 82"/>
                  <a:gd name="T56" fmla="*/ 86 w 110"/>
                  <a:gd name="T57" fmla="*/ 14 h 82"/>
                  <a:gd name="T58" fmla="*/ 96 w 110"/>
                  <a:gd name="T59" fmla="*/ 26 h 82"/>
                  <a:gd name="T60" fmla="*/ 96 w 110"/>
                  <a:gd name="T61" fmla="*/ 26 h 82"/>
                  <a:gd name="T62" fmla="*/ 96 w 110"/>
                  <a:gd name="T63" fmla="*/ 28 h 82"/>
                  <a:gd name="T64" fmla="*/ 94 w 110"/>
                  <a:gd name="T65" fmla="*/ 32 h 82"/>
                  <a:gd name="T66" fmla="*/ 110 w 110"/>
                  <a:gd name="T67" fmla="*/ 40 h 82"/>
                  <a:gd name="T68" fmla="*/ 110 w 110"/>
                  <a:gd name="T69" fmla="*/ 40 h 82"/>
                  <a:gd name="T70" fmla="*/ 110 w 110"/>
                  <a:gd name="T71" fmla="*/ 42 h 82"/>
                  <a:gd name="T72" fmla="*/ 110 w 110"/>
                  <a:gd name="T73" fmla="*/ 54 h 82"/>
                  <a:gd name="T74" fmla="*/ 110 w 110"/>
                  <a:gd name="T75" fmla="*/ 54 h 82"/>
                  <a:gd name="T76" fmla="*/ 108 w 110"/>
                  <a:gd name="T77" fmla="*/ 56 h 82"/>
                  <a:gd name="T78" fmla="*/ 94 w 110"/>
                  <a:gd name="T79" fmla="*/ 60 h 82"/>
                  <a:gd name="T80" fmla="*/ 74 w 110"/>
                  <a:gd name="T81" fmla="*/ 60 h 82"/>
                  <a:gd name="T82" fmla="*/ 42 w 110"/>
                  <a:gd name="T83" fmla="*/ 60 h 82"/>
                  <a:gd name="T84" fmla="*/ 42 w 110"/>
                  <a:gd name="T85" fmla="*/ 78 h 82"/>
                  <a:gd name="T86" fmla="*/ 42 w 110"/>
                  <a:gd name="T87" fmla="*/ 78 h 82"/>
                  <a:gd name="T88" fmla="*/ 42 w 110"/>
                  <a:gd name="T89" fmla="*/ 80 h 82"/>
                  <a:gd name="T90" fmla="*/ 42 w 110"/>
                  <a:gd name="T91" fmla="*/ 80 h 82"/>
                  <a:gd name="T92" fmla="*/ 40 w 110"/>
                  <a:gd name="T93" fmla="*/ 80 h 82"/>
                  <a:gd name="T94" fmla="*/ 40 w 110"/>
                  <a:gd name="T95" fmla="*/ 80 h 82"/>
                  <a:gd name="T96" fmla="*/ 40 w 110"/>
                  <a:gd name="T97" fmla="*/ 80 h 82"/>
                  <a:gd name="T98" fmla="*/ 28 w 110"/>
                  <a:gd name="T99" fmla="*/ 76 h 82"/>
                  <a:gd name="T100" fmla="*/ 20 w 110"/>
                  <a:gd name="T101" fmla="*/ 82 h 82"/>
                  <a:gd name="T102" fmla="*/ 20 w 110"/>
                  <a:gd name="T103" fmla="*/ 82 h 82"/>
                  <a:gd name="T104" fmla="*/ 20 w 110"/>
                  <a:gd name="T105" fmla="*/ 82 h 82"/>
                  <a:gd name="T106" fmla="*/ 20 w 110"/>
                  <a:gd name="T10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82">
                    <a:moveTo>
                      <a:pt x="20" y="82"/>
                    </a:moveTo>
                    <a:lnTo>
                      <a:pt x="20" y="82"/>
                    </a:lnTo>
                    <a:lnTo>
                      <a:pt x="18" y="82"/>
                    </a:lnTo>
                    <a:lnTo>
                      <a:pt x="0" y="68"/>
                    </a:lnTo>
                    <a:lnTo>
                      <a:pt x="0" y="68"/>
                    </a:lnTo>
                    <a:lnTo>
                      <a:pt x="0" y="66"/>
                    </a:lnTo>
                    <a:lnTo>
                      <a:pt x="4" y="46"/>
                    </a:lnTo>
                    <a:lnTo>
                      <a:pt x="4" y="46"/>
                    </a:lnTo>
                    <a:lnTo>
                      <a:pt x="4" y="46"/>
                    </a:lnTo>
                    <a:lnTo>
                      <a:pt x="12" y="44"/>
                    </a:lnTo>
                    <a:lnTo>
                      <a:pt x="22" y="22"/>
                    </a:lnTo>
                    <a:lnTo>
                      <a:pt x="22" y="22"/>
                    </a:lnTo>
                    <a:lnTo>
                      <a:pt x="22" y="22"/>
                    </a:lnTo>
                    <a:lnTo>
                      <a:pt x="22" y="22"/>
                    </a:lnTo>
                    <a:lnTo>
                      <a:pt x="24" y="22"/>
                    </a:lnTo>
                    <a:lnTo>
                      <a:pt x="24" y="22"/>
                    </a:lnTo>
                    <a:lnTo>
                      <a:pt x="24" y="22"/>
                    </a:lnTo>
                    <a:lnTo>
                      <a:pt x="30" y="24"/>
                    </a:lnTo>
                    <a:lnTo>
                      <a:pt x="44" y="10"/>
                    </a:lnTo>
                    <a:lnTo>
                      <a:pt x="66" y="0"/>
                    </a:lnTo>
                    <a:lnTo>
                      <a:pt x="66" y="0"/>
                    </a:lnTo>
                    <a:lnTo>
                      <a:pt x="68" y="0"/>
                    </a:lnTo>
                    <a:lnTo>
                      <a:pt x="86" y="0"/>
                    </a:lnTo>
                    <a:lnTo>
                      <a:pt x="86" y="0"/>
                    </a:lnTo>
                    <a:lnTo>
                      <a:pt x="86" y="0"/>
                    </a:lnTo>
                    <a:lnTo>
                      <a:pt x="86" y="0"/>
                    </a:lnTo>
                    <a:lnTo>
                      <a:pt x="86" y="2"/>
                    </a:lnTo>
                    <a:lnTo>
                      <a:pt x="84" y="8"/>
                    </a:lnTo>
                    <a:lnTo>
                      <a:pt x="86" y="14"/>
                    </a:lnTo>
                    <a:lnTo>
                      <a:pt x="96" y="26"/>
                    </a:lnTo>
                    <a:lnTo>
                      <a:pt x="96" y="26"/>
                    </a:lnTo>
                    <a:lnTo>
                      <a:pt x="96" y="28"/>
                    </a:lnTo>
                    <a:lnTo>
                      <a:pt x="94" y="32"/>
                    </a:lnTo>
                    <a:lnTo>
                      <a:pt x="110" y="40"/>
                    </a:lnTo>
                    <a:lnTo>
                      <a:pt x="110" y="40"/>
                    </a:lnTo>
                    <a:lnTo>
                      <a:pt x="110" y="42"/>
                    </a:lnTo>
                    <a:lnTo>
                      <a:pt x="110" y="54"/>
                    </a:lnTo>
                    <a:lnTo>
                      <a:pt x="110" y="54"/>
                    </a:lnTo>
                    <a:lnTo>
                      <a:pt x="108" y="56"/>
                    </a:lnTo>
                    <a:lnTo>
                      <a:pt x="94" y="60"/>
                    </a:lnTo>
                    <a:lnTo>
                      <a:pt x="74" y="60"/>
                    </a:lnTo>
                    <a:lnTo>
                      <a:pt x="42" y="60"/>
                    </a:lnTo>
                    <a:lnTo>
                      <a:pt x="42" y="78"/>
                    </a:lnTo>
                    <a:lnTo>
                      <a:pt x="42" y="78"/>
                    </a:lnTo>
                    <a:lnTo>
                      <a:pt x="42" y="80"/>
                    </a:lnTo>
                    <a:lnTo>
                      <a:pt x="42" y="80"/>
                    </a:lnTo>
                    <a:lnTo>
                      <a:pt x="40" y="80"/>
                    </a:lnTo>
                    <a:lnTo>
                      <a:pt x="40" y="80"/>
                    </a:lnTo>
                    <a:lnTo>
                      <a:pt x="40" y="80"/>
                    </a:lnTo>
                    <a:lnTo>
                      <a:pt x="28" y="76"/>
                    </a:lnTo>
                    <a:lnTo>
                      <a:pt x="20" y="82"/>
                    </a:lnTo>
                    <a:lnTo>
                      <a:pt x="20" y="82"/>
                    </a:lnTo>
                    <a:lnTo>
                      <a:pt x="20" y="82"/>
                    </a:lnTo>
                    <a:lnTo>
                      <a:pt x="2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5" name="Freeform 436"/>
              <p:cNvSpPr>
                <a:spLocks noEditPoints="1"/>
              </p:cNvSpPr>
              <p:nvPr/>
            </p:nvSpPr>
            <p:spPr bwMode="auto">
              <a:xfrm>
                <a:off x="2783" y="2305"/>
                <a:ext cx="114" cy="86"/>
              </a:xfrm>
              <a:custGeom>
                <a:avLst/>
                <a:gdLst>
                  <a:gd name="T0" fmla="*/ 84 w 114"/>
                  <a:gd name="T1" fmla="*/ 10 h 86"/>
                  <a:gd name="T2" fmla="*/ 96 w 114"/>
                  <a:gd name="T3" fmla="*/ 30 h 86"/>
                  <a:gd name="T4" fmla="*/ 110 w 114"/>
                  <a:gd name="T5" fmla="*/ 44 h 86"/>
                  <a:gd name="T6" fmla="*/ 96 w 114"/>
                  <a:gd name="T7" fmla="*/ 60 h 86"/>
                  <a:gd name="T8" fmla="*/ 42 w 114"/>
                  <a:gd name="T9" fmla="*/ 60 h 86"/>
                  <a:gd name="T10" fmla="*/ 30 w 114"/>
                  <a:gd name="T11" fmla="*/ 74 h 86"/>
                  <a:gd name="T12" fmla="*/ 4 w 114"/>
                  <a:gd name="T13" fmla="*/ 70 h 86"/>
                  <a:gd name="T14" fmla="*/ 16 w 114"/>
                  <a:gd name="T15" fmla="*/ 48 h 86"/>
                  <a:gd name="T16" fmla="*/ 32 w 114"/>
                  <a:gd name="T17" fmla="*/ 30 h 86"/>
                  <a:gd name="T18" fmla="*/ 70 w 114"/>
                  <a:gd name="T19" fmla="*/ 4 h 86"/>
                  <a:gd name="T20" fmla="*/ 88 w 114"/>
                  <a:gd name="T21" fmla="*/ 0 h 86"/>
                  <a:gd name="T22" fmla="*/ 70 w 114"/>
                  <a:gd name="T23" fmla="*/ 0 h 86"/>
                  <a:gd name="T24" fmla="*/ 46 w 114"/>
                  <a:gd name="T25" fmla="*/ 8 h 86"/>
                  <a:gd name="T26" fmla="*/ 46 w 114"/>
                  <a:gd name="T27" fmla="*/ 10 h 86"/>
                  <a:gd name="T28" fmla="*/ 26 w 114"/>
                  <a:gd name="T29" fmla="*/ 22 h 86"/>
                  <a:gd name="T30" fmla="*/ 26 w 114"/>
                  <a:gd name="T31" fmla="*/ 22 h 86"/>
                  <a:gd name="T32" fmla="*/ 24 w 114"/>
                  <a:gd name="T33" fmla="*/ 22 h 86"/>
                  <a:gd name="T34" fmla="*/ 22 w 114"/>
                  <a:gd name="T35" fmla="*/ 24 h 86"/>
                  <a:gd name="T36" fmla="*/ 6 w 114"/>
                  <a:gd name="T37" fmla="*/ 46 h 86"/>
                  <a:gd name="T38" fmla="*/ 4 w 114"/>
                  <a:gd name="T39" fmla="*/ 46 h 86"/>
                  <a:gd name="T40" fmla="*/ 0 w 114"/>
                  <a:gd name="T41" fmla="*/ 68 h 86"/>
                  <a:gd name="T42" fmla="*/ 0 w 114"/>
                  <a:gd name="T43" fmla="*/ 70 h 86"/>
                  <a:gd name="T44" fmla="*/ 20 w 114"/>
                  <a:gd name="T45" fmla="*/ 86 h 86"/>
                  <a:gd name="T46" fmla="*/ 22 w 114"/>
                  <a:gd name="T47" fmla="*/ 86 h 86"/>
                  <a:gd name="T48" fmla="*/ 24 w 114"/>
                  <a:gd name="T49" fmla="*/ 86 h 86"/>
                  <a:gd name="T50" fmla="*/ 42 w 114"/>
                  <a:gd name="T51" fmla="*/ 84 h 86"/>
                  <a:gd name="T52" fmla="*/ 42 w 114"/>
                  <a:gd name="T53" fmla="*/ 84 h 86"/>
                  <a:gd name="T54" fmla="*/ 46 w 114"/>
                  <a:gd name="T55" fmla="*/ 84 h 86"/>
                  <a:gd name="T56" fmla="*/ 46 w 114"/>
                  <a:gd name="T57" fmla="*/ 80 h 86"/>
                  <a:gd name="T58" fmla="*/ 76 w 114"/>
                  <a:gd name="T59" fmla="*/ 64 h 86"/>
                  <a:gd name="T60" fmla="*/ 96 w 114"/>
                  <a:gd name="T61" fmla="*/ 64 h 86"/>
                  <a:gd name="T62" fmla="*/ 112 w 114"/>
                  <a:gd name="T63" fmla="*/ 60 h 86"/>
                  <a:gd name="T64" fmla="*/ 114 w 114"/>
                  <a:gd name="T65" fmla="*/ 58 h 86"/>
                  <a:gd name="T66" fmla="*/ 114 w 114"/>
                  <a:gd name="T67" fmla="*/ 44 h 86"/>
                  <a:gd name="T68" fmla="*/ 112 w 114"/>
                  <a:gd name="T69" fmla="*/ 40 h 86"/>
                  <a:gd name="T70" fmla="*/ 100 w 114"/>
                  <a:gd name="T71" fmla="*/ 30 h 86"/>
                  <a:gd name="T72" fmla="*/ 100 w 114"/>
                  <a:gd name="T73" fmla="*/ 26 h 86"/>
                  <a:gd name="T74" fmla="*/ 88 w 114"/>
                  <a:gd name="T75" fmla="*/ 12 h 86"/>
                  <a:gd name="T76" fmla="*/ 90 w 114"/>
                  <a:gd name="T77" fmla="*/ 6 h 86"/>
                  <a:gd name="T78" fmla="*/ 90 w 114"/>
                  <a:gd name="T79" fmla="*/ 2 h 86"/>
                  <a:gd name="T80" fmla="*/ 88 w 114"/>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 h="86">
                    <a:moveTo>
                      <a:pt x="88" y="4"/>
                    </a:moveTo>
                    <a:lnTo>
                      <a:pt x="84" y="10"/>
                    </a:lnTo>
                    <a:lnTo>
                      <a:pt x="86" y="16"/>
                    </a:lnTo>
                    <a:lnTo>
                      <a:pt x="96" y="30"/>
                    </a:lnTo>
                    <a:lnTo>
                      <a:pt x="94" y="34"/>
                    </a:lnTo>
                    <a:lnTo>
                      <a:pt x="110" y="44"/>
                    </a:lnTo>
                    <a:lnTo>
                      <a:pt x="110" y="56"/>
                    </a:lnTo>
                    <a:lnTo>
                      <a:pt x="96" y="60"/>
                    </a:lnTo>
                    <a:lnTo>
                      <a:pt x="76" y="60"/>
                    </a:lnTo>
                    <a:lnTo>
                      <a:pt x="42" y="60"/>
                    </a:lnTo>
                    <a:lnTo>
                      <a:pt x="42" y="80"/>
                    </a:lnTo>
                    <a:lnTo>
                      <a:pt x="30" y="74"/>
                    </a:lnTo>
                    <a:lnTo>
                      <a:pt x="22" y="82"/>
                    </a:lnTo>
                    <a:lnTo>
                      <a:pt x="4" y="70"/>
                    </a:lnTo>
                    <a:lnTo>
                      <a:pt x="8" y="50"/>
                    </a:lnTo>
                    <a:lnTo>
                      <a:pt x="16" y="48"/>
                    </a:lnTo>
                    <a:lnTo>
                      <a:pt x="26" y="26"/>
                    </a:lnTo>
                    <a:lnTo>
                      <a:pt x="32" y="30"/>
                    </a:lnTo>
                    <a:lnTo>
                      <a:pt x="48" y="12"/>
                    </a:lnTo>
                    <a:lnTo>
                      <a:pt x="70" y="4"/>
                    </a:lnTo>
                    <a:lnTo>
                      <a:pt x="88" y="4"/>
                    </a:lnTo>
                    <a:close/>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6" name="Freeform 437"/>
              <p:cNvSpPr>
                <a:spLocks/>
              </p:cNvSpPr>
              <p:nvPr/>
            </p:nvSpPr>
            <p:spPr bwMode="auto">
              <a:xfrm>
                <a:off x="2787" y="2309"/>
                <a:ext cx="106" cy="78"/>
              </a:xfrm>
              <a:custGeom>
                <a:avLst/>
                <a:gdLst>
                  <a:gd name="T0" fmla="*/ 84 w 106"/>
                  <a:gd name="T1" fmla="*/ 0 h 78"/>
                  <a:gd name="T2" fmla="*/ 80 w 106"/>
                  <a:gd name="T3" fmla="*/ 6 h 78"/>
                  <a:gd name="T4" fmla="*/ 82 w 106"/>
                  <a:gd name="T5" fmla="*/ 12 h 78"/>
                  <a:gd name="T6" fmla="*/ 92 w 106"/>
                  <a:gd name="T7" fmla="*/ 26 h 78"/>
                  <a:gd name="T8" fmla="*/ 90 w 106"/>
                  <a:gd name="T9" fmla="*/ 30 h 78"/>
                  <a:gd name="T10" fmla="*/ 106 w 106"/>
                  <a:gd name="T11" fmla="*/ 40 h 78"/>
                  <a:gd name="T12" fmla="*/ 106 w 106"/>
                  <a:gd name="T13" fmla="*/ 52 h 78"/>
                  <a:gd name="T14" fmla="*/ 92 w 106"/>
                  <a:gd name="T15" fmla="*/ 56 h 78"/>
                  <a:gd name="T16" fmla="*/ 72 w 106"/>
                  <a:gd name="T17" fmla="*/ 56 h 78"/>
                  <a:gd name="T18" fmla="*/ 38 w 106"/>
                  <a:gd name="T19" fmla="*/ 56 h 78"/>
                  <a:gd name="T20" fmla="*/ 38 w 106"/>
                  <a:gd name="T21" fmla="*/ 76 h 78"/>
                  <a:gd name="T22" fmla="*/ 26 w 106"/>
                  <a:gd name="T23" fmla="*/ 70 h 78"/>
                  <a:gd name="T24" fmla="*/ 18 w 106"/>
                  <a:gd name="T25" fmla="*/ 78 h 78"/>
                  <a:gd name="T26" fmla="*/ 0 w 106"/>
                  <a:gd name="T27" fmla="*/ 66 h 78"/>
                  <a:gd name="T28" fmla="*/ 4 w 106"/>
                  <a:gd name="T29" fmla="*/ 46 h 78"/>
                  <a:gd name="T30" fmla="*/ 12 w 106"/>
                  <a:gd name="T31" fmla="*/ 44 h 78"/>
                  <a:gd name="T32" fmla="*/ 22 w 106"/>
                  <a:gd name="T33" fmla="*/ 22 h 78"/>
                  <a:gd name="T34" fmla="*/ 28 w 106"/>
                  <a:gd name="T35" fmla="*/ 26 h 78"/>
                  <a:gd name="T36" fmla="*/ 44 w 106"/>
                  <a:gd name="T37" fmla="*/ 8 h 78"/>
                  <a:gd name="T38" fmla="*/ 66 w 106"/>
                  <a:gd name="T39" fmla="*/ 0 h 78"/>
                  <a:gd name="T40" fmla="*/ 84 w 106"/>
                  <a:gd name="T4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78">
                    <a:moveTo>
                      <a:pt x="84" y="0"/>
                    </a:moveTo>
                    <a:lnTo>
                      <a:pt x="80" y="6"/>
                    </a:lnTo>
                    <a:lnTo>
                      <a:pt x="82" y="12"/>
                    </a:lnTo>
                    <a:lnTo>
                      <a:pt x="92" y="26"/>
                    </a:lnTo>
                    <a:lnTo>
                      <a:pt x="90" y="30"/>
                    </a:lnTo>
                    <a:lnTo>
                      <a:pt x="106" y="40"/>
                    </a:lnTo>
                    <a:lnTo>
                      <a:pt x="106" y="52"/>
                    </a:lnTo>
                    <a:lnTo>
                      <a:pt x="92" y="56"/>
                    </a:lnTo>
                    <a:lnTo>
                      <a:pt x="72" y="56"/>
                    </a:lnTo>
                    <a:lnTo>
                      <a:pt x="38" y="56"/>
                    </a:lnTo>
                    <a:lnTo>
                      <a:pt x="38" y="76"/>
                    </a:lnTo>
                    <a:lnTo>
                      <a:pt x="26" y="70"/>
                    </a:lnTo>
                    <a:lnTo>
                      <a:pt x="18" y="78"/>
                    </a:lnTo>
                    <a:lnTo>
                      <a:pt x="0" y="66"/>
                    </a:lnTo>
                    <a:lnTo>
                      <a:pt x="4" y="46"/>
                    </a:lnTo>
                    <a:lnTo>
                      <a:pt x="12" y="44"/>
                    </a:lnTo>
                    <a:lnTo>
                      <a:pt x="22" y="22"/>
                    </a:lnTo>
                    <a:lnTo>
                      <a:pt x="28" y="26"/>
                    </a:lnTo>
                    <a:lnTo>
                      <a:pt x="44" y="8"/>
                    </a:lnTo>
                    <a:lnTo>
                      <a:pt x="66"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7" name="Freeform 438"/>
              <p:cNvSpPr>
                <a:spLocks/>
              </p:cNvSpPr>
              <p:nvPr/>
            </p:nvSpPr>
            <p:spPr bwMode="auto">
              <a:xfrm>
                <a:off x="2783" y="2305"/>
                <a:ext cx="114" cy="86"/>
              </a:xfrm>
              <a:custGeom>
                <a:avLst/>
                <a:gdLst>
                  <a:gd name="T0" fmla="*/ 88 w 114"/>
                  <a:gd name="T1" fmla="*/ 0 h 86"/>
                  <a:gd name="T2" fmla="*/ 70 w 114"/>
                  <a:gd name="T3" fmla="*/ 0 h 86"/>
                  <a:gd name="T4" fmla="*/ 70 w 114"/>
                  <a:gd name="T5" fmla="*/ 0 h 86"/>
                  <a:gd name="T6" fmla="*/ 68 w 114"/>
                  <a:gd name="T7" fmla="*/ 0 h 86"/>
                  <a:gd name="T8" fmla="*/ 46 w 114"/>
                  <a:gd name="T9" fmla="*/ 8 h 86"/>
                  <a:gd name="T10" fmla="*/ 46 w 114"/>
                  <a:gd name="T11" fmla="*/ 8 h 86"/>
                  <a:gd name="T12" fmla="*/ 46 w 114"/>
                  <a:gd name="T13" fmla="*/ 10 h 86"/>
                  <a:gd name="T14" fmla="*/ 32 w 114"/>
                  <a:gd name="T15" fmla="*/ 24 h 86"/>
                  <a:gd name="T16" fmla="*/ 26 w 114"/>
                  <a:gd name="T17" fmla="*/ 22 h 86"/>
                  <a:gd name="T18" fmla="*/ 26 w 114"/>
                  <a:gd name="T19" fmla="*/ 22 h 86"/>
                  <a:gd name="T20" fmla="*/ 26 w 114"/>
                  <a:gd name="T21" fmla="*/ 22 h 86"/>
                  <a:gd name="T22" fmla="*/ 26 w 114"/>
                  <a:gd name="T23" fmla="*/ 22 h 86"/>
                  <a:gd name="T24" fmla="*/ 24 w 114"/>
                  <a:gd name="T25" fmla="*/ 22 h 86"/>
                  <a:gd name="T26" fmla="*/ 24 w 114"/>
                  <a:gd name="T27" fmla="*/ 22 h 86"/>
                  <a:gd name="T28" fmla="*/ 22 w 114"/>
                  <a:gd name="T29" fmla="*/ 24 h 86"/>
                  <a:gd name="T30" fmla="*/ 14 w 114"/>
                  <a:gd name="T31" fmla="*/ 44 h 86"/>
                  <a:gd name="T32" fmla="*/ 6 w 114"/>
                  <a:gd name="T33" fmla="*/ 46 h 86"/>
                  <a:gd name="T34" fmla="*/ 6 w 114"/>
                  <a:gd name="T35" fmla="*/ 46 h 86"/>
                  <a:gd name="T36" fmla="*/ 4 w 114"/>
                  <a:gd name="T37" fmla="*/ 46 h 86"/>
                  <a:gd name="T38" fmla="*/ 4 w 114"/>
                  <a:gd name="T39" fmla="*/ 48 h 86"/>
                  <a:gd name="T40" fmla="*/ 0 w 114"/>
                  <a:gd name="T41" fmla="*/ 68 h 86"/>
                  <a:gd name="T42" fmla="*/ 0 w 114"/>
                  <a:gd name="T43" fmla="*/ 68 h 86"/>
                  <a:gd name="T44" fmla="*/ 0 w 114"/>
                  <a:gd name="T45" fmla="*/ 70 h 86"/>
                  <a:gd name="T46" fmla="*/ 2 w 114"/>
                  <a:gd name="T47" fmla="*/ 72 h 86"/>
                  <a:gd name="T48" fmla="*/ 20 w 114"/>
                  <a:gd name="T49" fmla="*/ 86 h 86"/>
                  <a:gd name="T50" fmla="*/ 20 w 114"/>
                  <a:gd name="T51" fmla="*/ 86 h 86"/>
                  <a:gd name="T52" fmla="*/ 22 w 114"/>
                  <a:gd name="T53" fmla="*/ 86 h 86"/>
                  <a:gd name="T54" fmla="*/ 22 w 114"/>
                  <a:gd name="T55" fmla="*/ 86 h 86"/>
                  <a:gd name="T56" fmla="*/ 24 w 114"/>
                  <a:gd name="T57" fmla="*/ 86 h 86"/>
                  <a:gd name="T58" fmla="*/ 32 w 114"/>
                  <a:gd name="T59" fmla="*/ 80 h 86"/>
                  <a:gd name="T60" fmla="*/ 42 w 114"/>
                  <a:gd name="T61" fmla="*/ 84 h 86"/>
                  <a:gd name="T62" fmla="*/ 42 w 114"/>
                  <a:gd name="T63" fmla="*/ 84 h 86"/>
                  <a:gd name="T64" fmla="*/ 42 w 114"/>
                  <a:gd name="T65" fmla="*/ 84 h 86"/>
                  <a:gd name="T66" fmla="*/ 42 w 114"/>
                  <a:gd name="T67" fmla="*/ 84 h 86"/>
                  <a:gd name="T68" fmla="*/ 46 w 114"/>
                  <a:gd name="T69" fmla="*/ 84 h 86"/>
                  <a:gd name="T70" fmla="*/ 46 w 114"/>
                  <a:gd name="T71" fmla="*/ 84 h 86"/>
                  <a:gd name="T72" fmla="*/ 46 w 114"/>
                  <a:gd name="T73" fmla="*/ 80 h 86"/>
                  <a:gd name="T74" fmla="*/ 46 w 114"/>
                  <a:gd name="T75" fmla="*/ 64 h 86"/>
                  <a:gd name="T76" fmla="*/ 76 w 114"/>
                  <a:gd name="T77" fmla="*/ 64 h 86"/>
                  <a:gd name="T78" fmla="*/ 96 w 114"/>
                  <a:gd name="T79" fmla="*/ 64 h 86"/>
                  <a:gd name="T80" fmla="*/ 96 w 114"/>
                  <a:gd name="T81" fmla="*/ 64 h 86"/>
                  <a:gd name="T82" fmla="*/ 96 w 114"/>
                  <a:gd name="T83" fmla="*/ 64 h 86"/>
                  <a:gd name="T84" fmla="*/ 112 w 114"/>
                  <a:gd name="T85" fmla="*/ 60 h 86"/>
                  <a:gd name="T86" fmla="*/ 112 w 114"/>
                  <a:gd name="T87" fmla="*/ 60 h 86"/>
                  <a:gd name="T88" fmla="*/ 114 w 114"/>
                  <a:gd name="T89" fmla="*/ 58 h 86"/>
                  <a:gd name="T90" fmla="*/ 114 w 114"/>
                  <a:gd name="T91" fmla="*/ 56 h 86"/>
                  <a:gd name="T92" fmla="*/ 114 w 114"/>
                  <a:gd name="T93" fmla="*/ 44 h 86"/>
                  <a:gd name="T94" fmla="*/ 114 w 114"/>
                  <a:gd name="T95" fmla="*/ 44 h 86"/>
                  <a:gd name="T96" fmla="*/ 112 w 114"/>
                  <a:gd name="T97" fmla="*/ 40 h 86"/>
                  <a:gd name="T98" fmla="*/ 100 w 114"/>
                  <a:gd name="T99" fmla="*/ 32 h 86"/>
                  <a:gd name="T100" fmla="*/ 100 w 114"/>
                  <a:gd name="T101" fmla="*/ 30 h 86"/>
                  <a:gd name="T102" fmla="*/ 100 w 114"/>
                  <a:gd name="T103" fmla="*/ 30 h 86"/>
                  <a:gd name="T104" fmla="*/ 100 w 114"/>
                  <a:gd name="T105" fmla="*/ 26 h 86"/>
                  <a:gd name="T106" fmla="*/ 88 w 114"/>
                  <a:gd name="T107" fmla="*/ 14 h 86"/>
                  <a:gd name="T108" fmla="*/ 88 w 114"/>
                  <a:gd name="T109" fmla="*/ 12 h 86"/>
                  <a:gd name="T110" fmla="*/ 90 w 114"/>
                  <a:gd name="T111" fmla="*/ 6 h 86"/>
                  <a:gd name="T112" fmla="*/ 90 w 114"/>
                  <a:gd name="T113" fmla="*/ 6 h 86"/>
                  <a:gd name="T114" fmla="*/ 90 w 114"/>
                  <a:gd name="T115" fmla="*/ 2 h 86"/>
                  <a:gd name="T116" fmla="*/ 90 w 114"/>
                  <a:gd name="T117" fmla="*/ 2 h 86"/>
                  <a:gd name="T118" fmla="*/ 88 w 114"/>
                  <a:gd name="T119" fmla="*/ 0 h 86"/>
                  <a:gd name="T120" fmla="*/ 88 w 114"/>
                  <a:gd name="T1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86">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8" name="Freeform 439"/>
              <p:cNvSpPr>
                <a:spLocks/>
              </p:cNvSpPr>
              <p:nvPr/>
            </p:nvSpPr>
            <p:spPr bwMode="auto">
              <a:xfrm>
                <a:off x="2819" y="2363"/>
                <a:ext cx="54" cy="94"/>
              </a:xfrm>
              <a:custGeom>
                <a:avLst/>
                <a:gdLst>
                  <a:gd name="T0" fmla="*/ 18 w 54"/>
                  <a:gd name="T1" fmla="*/ 94 h 94"/>
                  <a:gd name="T2" fmla="*/ 18 w 54"/>
                  <a:gd name="T3" fmla="*/ 94 h 94"/>
                  <a:gd name="T4" fmla="*/ 18 w 54"/>
                  <a:gd name="T5" fmla="*/ 94 h 94"/>
                  <a:gd name="T6" fmla="*/ 8 w 54"/>
                  <a:gd name="T7" fmla="*/ 88 h 94"/>
                  <a:gd name="T8" fmla="*/ 8 w 54"/>
                  <a:gd name="T9" fmla="*/ 88 h 94"/>
                  <a:gd name="T10" fmla="*/ 6 w 54"/>
                  <a:gd name="T11" fmla="*/ 86 h 94"/>
                  <a:gd name="T12" fmla="*/ 0 w 54"/>
                  <a:gd name="T13" fmla="*/ 66 h 94"/>
                  <a:gd name="T14" fmla="*/ 0 w 54"/>
                  <a:gd name="T15" fmla="*/ 66 h 94"/>
                  <a:gd name="T16" fmla="*/ 0 w 54"/>
                  <a:gd name="T17" fmla="*/ 66 h 94"/>
                  <a:gd name="T18" fmla="*/ 8 w 54"/>
                  <a:gd name="T19" fmla="*/ 46 h 94"/>
                  <a:gd name="T20" fmla="*/ 4 w 54"/>
                  <a:gd name="T21" fmla="*/ 22 h 94"/>
                  <a:gd name="T22" fmla="*/ 4 w 54"/>
                  <a:gd name="T23" fmla="*/ 2 h 94"/>
                  <a:gd name="T24" fmla="*/ 4 w 54"/>
                  <a:gd name="T25" fmla="*/ 2 h 94"/>
                  <a:gd name="T26" fmla="*/ 6 w 54"/>
                  <a:gd name="T27" fmla="*/ 0 h 94"/>
                  <a:gd name="T28" fmla="*/ 38 w 54"/>
                  <a:gd name="T29" fmla="*/ 0 h 94"/>
                  <a:gd name="T30" fmla="*/ 38 w 54"/>
                  <a:gd name="T31" fmla="*/ 0 h 94"/>
                  <a:gd name="T32" fmla="*/ 40 w 54"/>
                  <a:gd name="T33" fmla="*/ 0 h 94"/>
                  <a:gd name="T34" fmla="*/ 50 w 54"/>
                  <a:gd name="T35" fmla="*/ 16 h 94"/>
                  <a:gd name="T36" fmla="*/ 50 w 54"/>
                  <a:gd name="T37" fmla="*/ 16 h 94"/>
                  <a:gd name="T38" fmla="*/ 50 w 54"/>
                  <a:gd name="T39" fmla="*/ 18 h 94"/>
                  <a:gd name="T40" fmla="*/ 48 w 54"/>
                  <a:gd name="T41" fmla="*/ 28 h 94"/>
                  <a:gd name="T42" fmla="*/ 48 w 54"/>
                  <a:gd name="T43" fmla="*/ 38 h 94"/>
                  <a:gd name="T44" fmla="*/ 50 w 54"/>
                  <a:gd name="T45" fmla="*/ 44 h 94"/>
                  <a:gd name="T46" fmla="*/ 54 w 54"/>
                  <a:gd name="T47" fmla="*/ 74 h 94"/>
                  <a:gd name="T48" fmla="*/ 54 w 54"/>
                  <a:gd name="T49" fmla="*/ 74 h 94"/>
                  <a:gd name="T50" fmla="*/ 52 w 54"/>
                  <a:gd name="T51" fmla="*/ 76 h 94"/>
                  <a:gd name="T52" fmla="*/ 42 w 54"/>
                  <a:gd name="T53" fmla="*/ 80 h 94"/>
                  <a:gd name="T54" fmla="*/ 32 w 54"/>
                  <a:gd name="T55" fmla="*/ 90 h 94"/>
                  <a:gd name="T56" fmla="*/ 32 w 54"/>
                  <a:gd name="T57" fmla="*/ 90 h 94"/>
                  <a:gd name="T58" fmla="*/ 32 w 54"/>
                  <a:gd name="T59" fmla="*/ 90 h 94"/>
                  <a:gd name="T60" fmla="*/ 18 w 54"/>
                  <a:gd name="T61" fmla="*/ 94 h 94"/>
                  <a:gd name="T62" fmla="*/ 18 w 54"/>
                  <a:gd name="T63" fmla="*/ 94 h 94"/>
                  <a:gd name="T64" fmla="*/ 18 w 54"/>
                  <a:gd name="T65" fmla="*/ 94 h 94"/>
                  <a:gd name="T66" fmla="*/ 18 w 54"/>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94">
                    <a:moveTo>
                      <a:pt x="18" y="94"/>
                    </a:moveTo>
                    <a:lnTo>
                      <a:pt x="18" y="94"/>
                    </a:lnTo>
                    <a:lnTo>
                      <a:pt x="18" y="94"/>
                    </a:lnTo>
                    <a:lnTo>
                      <a:pt x="8" y="88"/>
                    </a:lnTo>
                    <a:lnTo>
                      <a:pt x="8" y="88"/>
                    </a:lnTo>
                    <a:lnTo>
                      <a:pt x="6" y="86"/>
                    </a:lnTo>
                    <a:lnTo>
                      <a:pt x="0" y="66"/>
                    </a:lnTo>
                    <a:lnTo>
                      <a:pt x="0" y="66"/>
                    </a:lnTo>
                    <a:lnTo>
                      <a:pt x="0" y="66"/>
                    </a:lnTo>
                    <a:lnTo>
                      <a:pt x="8" y="46"/>
                    </a:lnTo>
                    <a:lnTo>
                      <a:pt x="4" y="22"/>
                    </a:lnTo>
                    <a:lnTo>
                      <a:pt x="4" y="2"/>
                    </a:lnTo>
                    <a:lnTo>
                      <a:pt x="4" y="2"/>
                    </a:lnTo>
                    <a:lnTo>
                      <a:pt x="6" y="0"/>
                    </a:lnTo>
                    <a:lnTo>
                      <a:pt x="38" y="0"/>
                    </a:lnTo>
                    <a:lnTo>
                      <a:pt x="38" y="0"/>
                    </a:lnTo>
                    <a:lnTo>
                      <a:pt x="40" y="0"/>
                    </a:lnTo>
                    <a:lnTo>
                      <a:pt x="50" y="16"/>
                    </a:lnTo>
                    <a:lnTo>
                      <a:pt x="50" y="16"/>
                    </a:lnTo>
                    <a:lnTo>
                      <a:pt x="50" y="18"/>
                    </a:lnTo>
                    <a:lnTo>
                      <a:pt x="48" y="28"/>
                    </a:lnTo>
                    <a:lnTo>
                      <a:pt x="48" y="38"/>
                    </a:lnTo>
                    <a:lnTo>
                      <a:pt x="50" y="44"/>
                    </a:lnTo>
                    <a:lnTo>
                      <a:pt x="54" y="74"/>
                    </a:lnTo>
                    <a:lnTo>
                      <a:pt x="54" y="74"/>
                    </a:lnTo>
                    <a:lnTo>
                      <a:pt x="52" y="76"/>
                    </a:lnTo>
                    <a:lnTo>
                      <a:pt x="42" y="80"/>
                    </a:lnTo>
                    <a:lnTo>
                      <a:pt x="32" y="90"/>
                    </a:lnTo>
                    <a:lnTo>
                      <a:pt x="32" y="90"/>
                    </a:lnTo>
                    <a:lnTo>
                      <a:pt x="32" y="90"/>
                    </a:lnTo>
                    <a:lnTo>
                      <a:pt x="18" y="94"/>
                    </a:lnTo>
                    <a:lnTo>
                      <a:pt x="18" y="94"/>
                    </a:lnTo>
                    <a:lnTo>
                      <a:pt x="18" y="94"/>
                    </a:lnTo>
                    <a:lnTo>
                      <a:pt x="1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9" name="Freeform 440"/>
              <p:cNvSpPr>
                <a:spLocks noEditPoints="1"/>
              </p:cNvSpPr>
              <p:nvPr/>
            </p:nvSpPr>
            <p:spPr bwMode="auto">
              <a:xfrm>
                <a:off x="2817" y="2361"/>
                <a:ext cx="58" cy="98"/>
              </a:xfrm>
              <a:custGeom>
                <a:avLst/>
                <a:gdLst>
                  <a:gd name="T0" fmla="*/ 40 w 58"/>
                  <a:gd name="T1" fmla="*/ 4 h 98"/>
                  <a:gd name="T2" fmla="*/ 50 w 58"/>
                  <a:gd name="T3" fmla="*/ 20 h 98"/>
                  <a:gd name="T4" fmla="*/ 48 w 58"/>
                  <a:gd name="T5" fmla="*/ 30 h 98"/>
                  <a:gd name="T6" fmla="*/ 48 w 58"/>
                  <a:gd name="T7" fmla="*/ 40 h 98"/>
                  <a:gd name="T8" fmla="*/ 50 w 58"/>
                  <a:gd name="T9" fmla="*/ 46 h 98"/>
                  <a:gd name="T10" fmla="*/ 54 w 58"/>
                  <a:gd name="T11" fmla="*/ 76 h 98"/>
                  <a:gd name="T12" fmla="*/ 44 w 58"/>
                  <a:gd name="T13" fmla="*/ 80 h 98"/>
                  <a:gd name="T14" fmla="*/ 34 w 58"/>
                  <a:gd name="T15" fmla="*/ 90 h 98"/>
                  <a:gd name="T16" fmla="*/ 20 w 58"/>
                  <a:gd name="T17" fmla="*/ 94 h 98"/>
                  <a:gd name="T18" fmla="*/ 10 w 58"/>
                  <a:gd name="T19" fmla="*/ 88 h 98"/>
                  <a:gd name="T20" fmla="*/ 4 w 58"/>
                  <a:gd name="T21" fmla="*/ 68 h 98"/>
                  <a:gd name="T22" fmla="*/ 12 w 58"/>
                  <a:gd name="T23" fmla="*/ 48 h 98"/>
                  <a:gd name="T24" fmla="*/ 8 w 58"/>
                  <a:gd name="T25" fmla="*/ 24 h 98"/>
                  <a:gd name="T26" fmla="*/ 8 w 58"/>
                  <a:gd name="T27" fmla="*/ 4 h 98"/>
                  <a:gd name="T28" fmla="*/ 40 w 58"/>
                  <a:gd name="T29" fmla="*/ 4 h 98"/>
                  <a:gd name="T30" fmla="*/ 40 w 58"/>
                  <a:gd name="T31" fmla="*/ 0 h 98"/>
                  <a:gd name="T32" fmla="*/ 8 w 58"/>
                  <a:gd name="T33" fmla="*/ 0 h 98"/>
                  <a:gd name="T34" fmla="*/ 8 w 58"/>
                  <a:gd name="T35" fmla="*/ 0 h 98"/>
                  <a:gd name="T36" fmla="*/ 6 w 58"/>
                  <a:gd name="T37" fmla="*/ 0 h 98"/>
                  <a:gd name="T38" fmla="*/ 4 w 58"/>
                  <a:gd name="T39" fmla="*/ 4 h 98"/>
                  <a:gd name="T40" fmla="*/ 4 w 58"/>
                  <a:gd name="T41" fmla="*/ 24 h 98"/>
                  <a:gd name="T42" fmla="*/ 4 w 58"/>
                  <a:gd name="T43" fmla="*/ 24 h 98"/>
                  <a:gd name="T44" fmla="*/ 4 w 58"/>
                  <a:gd name="T45" fmla="*/ 24 h 98"/>
                  <a:gd name="T46" fmla="*/ 8 w 58"/>
                  <a:gd name="T47" fmla="*/ 48 h 98"/>
                  <a:gd name="T48" fmla="*/ 0 w 58"/>
                  <a:gd name="T49" fmla="*/ 66 h 98"/>
                  <a:gd name="T50" fmla="*/ 0 w 58"/>
                  <a:gd name="T51" fmla="*/ 66 h 98"/>
                  <a:gd name="T52" fmla="*/ 0 w 58"/>
                  <a:gd name="T53" fmla="*/ 70 h 98"/>
                  <a:gd name="T54" fmla="*/ 6 w 58"/>
                  <a:gd name="T55" fmla="*/ 90 h 98"/>
                  <a:gd name="T56" fmla="*/ 6 w 58"/>
                  <a:gd name="T57" fmla="*/ 90 h 98"/>
                  <a:gd name="T58" fmla="*/ 8 w 58"/>
                  <a:gd name="T59" fmla="*/ 92 h 98"/>
                  <a:gd name="T60" fmla="*/ 18 w 58"/>
                  <a:gd name="T61" fmla="*/ 96 h 98"/>
                  <a:gd name="T62" fmla="*/ 18 w 58"/>
                  <a:gd name="T63" fmla="*/ 96 h 98"/>
                  <a:gd name="T64" fmla="*/ 20 w 58"/>
                  <a:gd name="T65" fmla="*/ 98 h 98"/>
                  <a:gd name="T66" fmla="*/ 20 w 58"/>
                  <a:gd name="T67" fmla="*/ 98 h 98"/>
                  <a:gd name="T68" fmla="*/ 22 w 58"/>
                  <a:gd name="T69" fmla="*/ 98 h 98"/>
                  <a:gd name="T70" fmla="*/ 34 w 58"/>
                  <a:gd name="T71" fmla="*/ 94 h 98"/>
                  <a:gd name="T72" fmla="*/ 34 w 58"/>
                  <a:gd name="T73" fmla="*/ 94 h 98"/>
                  <a:gd name="T74" fmla="*/ 36 w 58"/>
                  <a:gd name="T75" fmla="*/ 92 h 98"/>
                  <a:gd name="T76" fmla="*/ 46 w 58"/>
                  <a:gd name="T77" fmla="*/ 84 h 98"/>
                  <a:gd name="T78" fmla="*/ 56 w 58"/>
                  <a:gd name="T79" fmla="*/ 78 h 98"/>
                  <a:gd name="T80" fmla="*/ 56 w 58"/>
                  <a:gd name="T81" fmla="*/ 78 h 98"/>
                  <a:gd name="T82" fmla="*/ 58 w 58"/>
                  <a:gd name="T83" fmla="*/ 78 h 98"/>
                  <a:gd name="T84" fmla="*/ 58 w 58"/>
                  <a:gd name="T85" fmla="*/ 74 h 98"/>
                  <a:gd name="T86" fmla="*/ 54 w 58"/>
                  <a:gd name="T87" fmla="*/ 46 h 98"/>
                  <a:gd name="T88" fmla="*/ 54 w 58"/>
                  <a:gd name="T89" fmla="*/ 46 h 98"/>
                  <a:gd name="T90" fmla="*/ 54 w 58"/>
                  <a:gd name="T91" fmla="*/ 46 h 98"/>
                  <a:gd name="T92" fmla="*/ 52 w 58"/>
                  <a:gd name="T93" fmla="*/ 38 h 98"/>
                  <a:gd name="T94" fmla="*/ 52 w 58"/>
                  <a:gd name="T95" fmla="*/ 30 h 98"/>
                  <a:gd name="T96" fmla="*/ 54 w 58"/>
                  <a:gd name="T97" fmla="*/ 20 h 98"/>
                  <a:gd name="T98" fmla="*/ 54 w 58"/>
                  <a:gd name="T99" fmla="*/ 20 h 98"/>
                  <a:gd name="T100" fmla="*/ 54 w 58"/>
                  <a:gd name="T101" fmla="*/ 18 h 98"/>
                  <a:gd name="T102" fmla="*/ 44 w 58"/>
                  <a:gd name="T103" fmla="*/ 2 h 98"/>
                  <a:gd name="T104" fmla="*/ 44 w 58"/>
                  <a:gd name="T105" fmla="*/ 2 h 98"/>
                  <a:gd name="T106" fmla="*/ 40 w 58"/>
                  <a:gd name="T107" fmla="*/ 0 h 98"/>
                  <a:gd name="T108" fmla="*/ 40 w 58"/>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8">
                    <a:moveTo>
                      <a:pt x="40" y="4"/>
                    </a:moveTo>
                    <a:lnTo>
                      <a:pt x="50" y="20"/>
                    </a:lnTo>
                    <a:lnTo>
                      <a:pt x="48" y="30"/>
                    </a:lnTo>
                    <a:lnTo>
                      <a:pt x="48" y="40"/>
                    </a:lnTo>
                    <a:lnTo>
                      <a:pt x="50" y="46"/>
                    </a:lnTo>
                    <a:lnTo>
                      <a:pt x="54" y="76"/>
                    </a:lnTo>
                    <a:lnTo>
                      <a:pt x="44" y="80"/>
                    </a:lnTo>
                    <a:lnTo>
                      <a:pt x="34" y="90"/>
                    </a:lnTo>
                    <a:lnTo>
                      <a:pt x="20" y="94"/>
                    </a:lnTo>
                    <a:lnTo>
                      <a:pt x="10" y="88"/>
                    </a:lnTo>
                    <a:lnTo>
                      <a:pt x="4" y="68"/>
                    </a:lnTo>
                    <a:lnTo>
                      <a:pt x="12" y="48"/>
                    </a:lnTo>
                    <a:lnTo>
                      <a:pt x="8" y="24"/>
                    </a:lnTo>
                    <a:lnTo>
                      <a:pt x="8" y="4"/>
                    </a:lnTo>
                    <a:lnTo>
                      <a:pt x="40" y="4"/>
                    </a:lnTo>
                    <a:close/>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0" name="Freeform 441"/>
              <p:cNvSpPr>
                <a:spLocks/>
              </p:cNvSpPr>
              <p:nvPr/>
            </p:nvSpPr>
            <p:spPr bwMode="auto">
              <a:xfrm>
                <a:off x="2821" y="2365"/>
                <a:ext cx="50" cy="90"/>
              </a:xfrm>
              <a:custGeom>
                <a:avLst/>
                <a:gdLst>
                  <a:gd name="T0" fmla="*/ 36 w 50"/>
                  <a:gd name="T1" fmla="*/ 0 h 90"/>
                  <a:gd name="T2" fmla="*/ 46 w 50"/>
                  <a:gd name="T3" fmla="*/ 16 h 90"/>
                  <a:gd name="T4" fmla="*/ 44 w 50"/>
                  <a:gd name="T5" fmla="*/ 26 h 90"/>
                  <a:gd name="T6" fmla="*/ 44 w 50"/>
                  <a:gd name="T7" fmla="*/ 36 h 90"/>
                  <a:gd name="T8" fmla="*/ 46 w 50"/>
                  <a:gd name="T9" fmla="*/ 42 h 90"/>
                  <a:gd name="T10" fmla="*/ 50 w 50"/>
                  <a:gd name="T11" fmla="*/ 72 h 90"/>
                  <a:gd name="T12" fmla="*/ 40 w 50"/>
                  <a:gd name="T13" fmla="*/ 76 h 90"/>
                  <a:gd name="T14" fmla="*/ 30 w 50"/>
                  <a:gd name="T15" fmla="*/ 86 h 90"/>
                  <a:gd name="T16" fmla="*/ 16 w 50"/>
                  <a:gd name="T17" fmla="*/ 90 h 90"/>
                  <a:gd name="T18" fmla="*/ 6 w 50"/>
                  <a:gd name="T19" fmla="*/ 84 h 90"/>
                  <a:gd name="T20" fmla="*/ 0 w 50"/>
                  <a:gd name="T21" fmla="*/ 64 h 90"/>
                  <a:gd name="T22" fmla="*/ 8 w 50"/>
                  <a:gd name="T23" fmla="*/ 44 h 90"/>
                  <a:gd name="T24" fmla="*/ 4 w 50"/>
                  <a:gd name="T25" fmla="*/ 20 h 90"/>
                  <a:gd name="T26" fmla="*/ 4 w 50"/>
                  <a:gd name="T27" fmla="*/ 0 h 90"/>
                  <a:gd name="T28" fmla="*/ 36 w 50"/>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90">
                    <a:moveTo>
                      <a:pt x="36" y="0"/>
                    </a:moveTo>
                    <a:lnTo>
                      <a:pt x="46" y="16"/>
                    </a:lnTo>
                    <a:lnTo>
                      <a:pt x="44" y="26"/>
                    </a:lnTo>
                    <a:lnTo>
                      <a:pt x="44" y="36"/>
                    </a:lnTo>
                    <a:lnTo>
                      <a:pt x="46" y="42"/>
                    </a:lnTo>
                    <a:lnTo>
                      <a:pt x="50" y="72"/>
                    </a:lnTo>
                    <a:lnTo>
                      <a:pt x="40" y="76"/>
                    </a:lnTo>
                    <a:lnTo>
                      <a:pt x="30" y="86"/>
                    </a:lnTo>
                    <a:lnTo>
                      <a:pt x="16" y="90"/>
                    </a:lnTo>
                    <a:lnTo>
                      <a:pt x="6" y="84"/>
                    </a:lnTo>
                    <a:lnTo>
                      <a:pt x="0" y="64"/>
                    </a:lnTo>
                    <a:lnTo>
                      <a:pt x="8" y="44"/>
                    </a:lnTo>
                    <a:lnTo>
                      <a:pt x="4" y="20"/>
                    </a:lnTo>
                    <a:lnTo>
                      <a:pt x="4"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1" name="Freeform 442"/>
              <p:cNvSpPr>
                <a:spLocks/>
              </p:cNvSpPr>
              <p:nvPr/>
            </p:nvSpPr>
            <p:spPr bwMode="auto">
              <a:xfrm>
                <a:off x="2817" y="2361"/>
                <a:ext cx="58" cy="98"/>
              </a:xfrm>
              <a:custGeom>
                <a:avLst/>
                <a:gdLst>
                  <a:gd name="T0" fmla="*/ 40 w 58"/>
                  <a:gd name="T1" fmla="*/ 0 h 98"/>
                  <a:gd name="T2" fmla="*/ 8 w 58"/>
                  <a:gd name="T3" fmla="*/ 0 h 98"/>
                  <a:gd name="T4" fmla="*/ 8 w 58"/>
                  <a:gd name="T5" fmla="*/ 0 h 98"/>
                  <a:gd name="T6" fmla="*/ 6 w 58"/>
                  <a:gd name="T7" fmla="*/ 0 h 98"/>
                  <a:gd name="T8" fmla="*/ 4 w 58"/>
                  <a:gd name="T9" fmla="*/ 4 h 98"/>
                  <a:gd name="T10" fmla="*/ 4 w 58"/>
                  <a:gd name="T11" fmla="*/ 24 h 98"/>
                  <a:gd name="T12" fmla="*/ 4 w 58"/>
                  <a:gd name="T13" fmla="*/ 24 h 98"/>
                  <a:gd name="T14" fmla="*/ 4 w 58"/>
                  <a:gd name="T15" fmla="*/ 24 h 98"/>
                  <a:gd name="T16" fmla="*/ 8 w 58"/>
                  <a:gd name="T17" fmla="*/ 48 h 98"/>
                  <a:gd name="T18" fmla="*/ 0 w 58"/>
                  <a:gd name="T19" fmla="*/ 66 h 98"/>
                  <a:gd name="T20" fmla="*/ 0 w 58"/>
                  <a:gd name="T21" fmla="*/ 66 h 98"/>
                  <a:gd name="T22" fmla="*/ 0 w 58"/>
                  <a:gd name="T23" fmla="*/ 70 h 98"/>
                  <a:gd name="T24" fmla="*/ 6 w 58"/>
                  <a:gd name="T25" fmla="*/ 90 h 98"/>
                  <a:gd name="T26" fmla="*/ 6 w 58"/>
                  <a:gd name="T27" fmla="*/ 90 h 98"/>
                  <a:gd name="T28" fmla="*/ 8 w 58"/>
                  <a:gd name="T29" fmla="*/ 92 h 98"/>
                  <a:gd name="T30" fmla="*/ 18 w 58"/>
                  <a:gd name="T31" fmla="*/ 96 h 98"/>
                  <a:gd name="T32" fmla="*/ 18 w 58"/>
                  <a:gd name="T33" fmla="*/ 96 h 98"/>
                  <a:gd name="T34" fmla="*/ 20 w 58"/>
                  <a:gd name="T35" fmla="*/ 98 h 98"/>
                  <a:gd name="T36" fmla="*/ 20 w 58"/>
                  <a:gd name="T37" fmla="*/ 98 h 98"/>
                  <a:gd name="T38" fmla="*/ 22 w 58"/>
                  <a:gd name="T39" fmla="*/ 98 h 98"/>
                  <a:gd name="T40" fmla="*/ 34 w 58"/>
                  <a:gd name="T41" fmla="*/ 94 h 98"/>
                  <a:gd name="T42" fmla="*/ 34 w 58"/>
                  <a:gd name="T43" fmla="*/ 94 h 98"/>
                  <a:gd name="T44" fmla="*/ 36 w 58"/>
                  <a:gd name="T45" fmla="*/ 92 h 98"/>
                  <a:gd name="T46" fmla="*/ 46 w 58"/>
                  <a:gd name="T47" fmla="*/ 84 h 98"/>
                  <a:gd name="T48" fmla="*/ 56 w 58"/>
                  <a:gd name="T49" fmla="*/ 78 h 98"/>
                  <a:gd name="T50" fmla="*/ 56 w 58"/>
                  <a:gd name="T51" fmla="*/ 78 h 98"/>
                  <a:gd name="T52" fmla="*/ 58 w 58"/>
                  <a:gd name="T53" fmla="*/ 78 h 98"/>
                  <a:gd name="T54" fmla="*/ 58 w 58"/>
                  <a:gd name="T55" fmla="*/ 74 h 98"/>
                  <a:gd name="T56" fmla="*/ 54 w 58"/>
                  <a:gd name="T57" fmla="*/ 46 h 98"/>
                  <a:gd name="T58" fmla="*/ 54 w 58"/>
                  <a:gd name="T59" fmla="*/ 46 h 98"/>
                  <a:gd name="T60" fmla="*/ 54 w 58"/>
                  <a:gd name="T61" fmla="*/ 46 h 98"/>
                  <a:gd name="T62" fmla="*/ 52 w 58"/>
                  <a:gd name="T63" fmla="*/ 38 h 98"/>
                  <a:gd name="T64" fmla="*/ 52 w 58"/>
                  <a:gd name="T65" fmla="*/ 30 h 98"/>
                  <a:gd name="T66" fmla="*/ 54 w 58"/>
                  <a:gd name="T67" fmla="*/ 20 h 98"/>
                  <a:gd name="T68" fmla="*/ 54 w 58"/>
                  <a:gd name="T69" fmla="*/ 20 h 98"/>
                  <a:gd name="T70" fmla="*/ 54 w 58"/>
                  <a:gd name="T71" fmla="*/ 18 h 98"/>
                  <a:gd name="T72" fmla="*/ 44 w 58"/>
                  <a:gd name="T73" fmla="*/ 2 h 98"/>
                  <a:gd name="T74" fmla="*/ 44 w 58"/>
                  <a:gd name="T75" fmla="*/ 2 h 98"/>
                  <a:gd name="T76" fmla="*/ 40 w 58"/>
                  <a:gd name="T77" fmla="*/ 0 h 98"/>
                  <a:gd name="T78" fmla="*/ 40 w 58"/>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98">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2" name="Freeform 443"/>
              <p:cNvSpPr>
                <a:spLocks/>
              </p:cNvSpPr>
              <p:nvPr/>
            </p:nvSpPr>
            <p:spPr bwMode="auto">
              <a:xfrm>
                <a:off x="2741" y="2373"/>
                <a:ext cx="86" cy="88"/>
              </a:xfrm>
              <a:custGeom>
                <a:avLst/>
                <a:gdLst>
                  <a:gd name="T0" fmla="*/ 12 w 86"/>
                  <a:gd name="T1" fmla="*/ 88 h 88"/>
                  <a:gd name="T2" fmla="*/ 12 w 86"/>
                  <a:gd name="T3" fmla="*/ 88 h 88"/>
                  <a:gd name="T4" fmla="*/ 10 w 86"/>
                  <a:gd name="T5" fmla="*/ 88 h 88"/>
                  <a:gd name="T6" fmla="*/ 10 w 86"/>
                  <a:gd name="T7" fmla="*/ 88 h 88"/>
                  <a:gd name="T8" fmla="*/ 10 w 86"/>
                  <a:gd name="T9" fmla="*/ 86 h 88"/>
                  <a:gd name="T10" fmla="*/ 14 w 86"/>
                  <a:gd name="T11" fmla="*/ 70 h 88"/>
                  <a:gd name="T12" fmla="*/ 12 w 86"/>
                  <a:gd name="T13" fmla="*/ 66 h 88"/>
                  <a:gd name="T14" fmla="*/ 8 w 86"/>
                  <a:gd name="T15" fmla="*/ 62 h 88"/>
                  <a:gd name="T16" fmla="*/ 0 w 86"/>
                  <a:gd name="T17" fmla="*/ 62 h 88"/>
                  <a:gd name="T18" fmla="*/ 0 w 86"/>
                  <a:gd name="T19" fmla="*/ 62 h 88"/>
                  <a:gd name="T20" fmla="*/ 0 w 86"/>
                  <a:gd name="T21" fmla="*/ 60 h 88"/>
                  <a:gd name="T22" fmla="*/ 0 w 86"/>
                  <a:gd name="T23" fmla="*/ 44 h 88"/>
                  <a:gd name="T24" fmla="*/ 0 w 86"/>
                  <a:gd name="T25" fmla="*/ 44 h 88"/>
                  <a:gd name="T26" fmla="*/ 0 w 86"/>
                  <a:gd name="T27" fmla="*/ 42 h 88"/>
                  <a:gd name="T28" fmla="*/ 4 w 86"/>
                  <a:gd name="T29" fmla="*/ 40 h 88"/>
                  <a:gd name="T30" fmla="*/ 2 w 86"/>
                  <a:gd name="T31" fmla="*/ 32 h 88"/>
                  <a:gd name="T32" fmla="*/ 2 w 86"/>
                  <a:gd name="T33" fmla="*/ 32 h 88"/>
                  <a:gd name="T34" fmla="*/ 4 w 86"/>
                  <a:gd name="T35" fmla="*/ 30 h 88"/>
                  <a:gd name="T36" fmla="*/ 8 w 86"/>
                  <a:gd name="T37" fmla="*/ 28 h 88"/>
                  <a:gd name="T38" fmla="*/ 6 w 86"/>
                  <a:gd name="T39" fmla="*/ 18 h 88"/>
                  <a:gd name="T40" fmla="*/ 2 w 86"/>
                  <a:gd name="T41" fmla="*/ 12 h 88"/>
                  <a:gd name="T42" fmla="*/ 2 w 86"/>
                  <a:gd name="T43" fmla="*/ 12 h 88"/>
                  <a:gd name="T44" fmla="*/ 2 w 86"/>
                  <a:gd name="T45" fmla="*/ 10 h 88"/>
                  <a:gd name="T46" fmla="*/ 4 w 86"/>
                  <a:gd name="T47" fmla="*/ 4 h 88"/>
                  <a:gd name="T48" fmla="*/ 4 w 86"/>
                  <a:gd name="T49" fmla="*/ 4 h 88"/>
                  <a:gd name="T50" fmla="*/ 6 w 86"/>
                  <a:gd name="T51" fmla="*/ 2 h 88"/>
                  <a:gd name="T52" fmla="*/ 6 w 86"/>
                  <a:gd name="T53" fmla="*/ 2 h 88"/>
                  <a:gd name="T54" fmla="*/ 42 w 86"/>
                  <a:gd name="T55" fmla="*/ 0 h 88"/>
                  <a:gd name="T56" fmla="*/ 42 w 86"/>
                  <a:gd name="T57" fmla="*/ 0 h 88"/>
                  <a:gd name="T58" fmla="*/ 44 w 86"/>
                  <a:gd name="T59" fmla="*/ 2 h 88"/>
                  <a:gd name="T60" fmla="*/ 60 w 86"/>
                  <a:gd name="T61" fmla="*/ 12 h 88"/>
                  <a:gd name="T62" fmla="*/ 68 w 86"/>
                  <a:gd name="T63" fmla="*/ 6 h 88"/>
                  <a:gd name="T64" fmla="*/ 68 w 86"/>
                  <a:gd name="T65" fmla="*/ 6 h 88"/>
                  <a:gd name="T66" fmla="*/ 68 w 86"/>
                  <a:gd name="T67" fmla="*/ 6 h 88"/>
                  <a:gd name="T68" fmla="*/ 68 w 86"/>
                  <a:gd name="T69" fmla="*/ 6 h 88"/>
                  <a:gd name="T70" fmla="*/ 70 w 86"/>
                  <a:gd name="T71" fmla="*/ 6 h 88"/>
                  <a:gd name="T72" fmla="*/ 82 w 86"/>
                  <a:gd name="T73" fmla="*/ 12 h 88"/>
                  <a:gd name="T74" fmla="*/ 82 w 86"/>
                  <a:gd name="T75" fmla="*/ 12 h 88"/>
                  <a:gd name="T76" fmla="*/ 84 w 86"/>
                  <a:gd name="T77" fmla="*/ 12 h 88"/>
                  <a:gd name="T78" fmla="*/ 86 w 86"/>
                  <a:gd name="T79" fmla="*/ 36 h 88"/>
                  <a:gd name="T80" fmla="*/ 86 w 86"/>
                  <a:gd name="T81" fmla="*/ 36 h 88"/>
                  <a:gd name="T82" fmla="*/ 86 w 86"/>
                  <a:gd name="T83" fmla="*/ 38 h 88"/>
                  <a:gd name="T84" fmla="*/ 78 w 86"/>
                  <a:gd name="T85" fmla="*/ 56 h 88"/>
                  <a:gd name="T86" fmla="*/ 86 w 86"/>
                  <a:gd name="T87" fmla="*/ 74 h 88"/>
                  <a:gd name="T88" fmla="*/ 86 w 86"/>
                  <a:gd name="T89" fmla="*/ 74 h 88"/>
                  <a:gd name="T90" fmla="*/ 84 w 86"/>
                  <a:gd name="T91" fmla="*/ 76 h 88"/>
                  <a:gd name="T92" fmla="*/ 84 w 86"/>
                  <a:gd name="T93" fmla="*/ 76 h 88"/>
                  <a:gd name="T94" fmla="*/ 84 w 86"/>
                  <a:gd name="T95" fmla="*/ 76 h 88"/>
                  <a:gd name="T96" fmla="*/ 46 w 86"/>
                  <a:gd name="T97" fmla="*/ 76 h 88"/>
                  <a:gd name="T98" fmla="*/ 24 w 86"/>
                  <a:gd name="T99" fmla="*/ 86 h 88"/>
                  <a:gd name="T100" fmla="*/ 12 w 86"/>
                  <a:gd name="T101" fmla="*/ 88 h 88"/>
                  <a:gd name="T102" fmla="*/ 12 w 86"/>
                  <a:gd name="T103" fmla="*/ 88 h 88"/>
                  <a:gd name="T104" fmla="*/ 12 w 86"/>
                  <a:gd name="T105" fmla="*/ 88 h 88"/>
                  <a:gd name="T106" fmla="*/ 12 w 86"/>
                  <a:gd name="T10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88">
                    <a:moveTo>
                      <a:pt x="12" y="88"/>
                    </a:moveTo>
                    <a:lnTo>
                      <a:pt x="12" y="88"/>
                    </a:lnTo>
                    <a:lnTo>
                      <a:pt x="10" y="88"/>
                    </a:lnTo>
                    <a:lnTo>
                      <a:pt x="10" y="88"/>
                    </a:lnTo>
                    <a:lnTo>
                      <a:pt x="10" y="86"/>
                    </a:lnTo>
                    <a:lnTo>
                      <a:pt x="14" y="70"/>
                    </a:lnTo>
                    <a:lnTo>
                      <a:pt x="12" y="66"/>
                    </a:lnTo>
                    <a:lnTo>
                      <a:pt x="8" y="62"/>
                    </a:lnTo>
                    <a:lnTo>
                      <a:pt x="0" y="62"/>
                    </a:lnTo>
                    <a:lnTo>
                      <a:pt x="0" y="62"/>
                    </a:lnTo>
                    <a:lnTo>
                      <a:pt x="0" y="60"/>
                    </a:lnTo>
                    <a:lnTo>
                      <a:pt x="0" y="44"/>
                    </a:lnTo>
                    <a:lnTo>
                      <a:pt x="0" y="44"/>
                    </a:lnTo>
                    <a:lnTo>
                      <a:pt x="0" y="42"/>
                    </a:lnTo>
                    <a:lnTo>
                      <a:pt x="4" y="40"/>
                    </a:lnTo>
                    <a:lnTo>
                      <a:pt x="2" y="32"/>
                    </a:lnTo>
                    <a:lnTo>
                      <a:pt x="2" y="32"/>
                    </a:lnTo>
                    <a:lnTo>
                      <a:pt x="4" y="30"/>
                    </a:lnTo>
                    <a:lnTo>
                      <a:pt x="8" y="28"/>
                    </a:lnTo>
                    <a:lnTo>
                      <a:pt x="6" y="18"/>
                    </a:lnTo>
                    <a:lnTo>
                      <a:pt x="2" y="12"/>
                    </a:lnTo>
                    <a:lnTo>
                      <a:pt x="2" y="12"/>
                    </a:lnTo>
                    <a:lnTo>
                      <a:pt x="2" y="10"/>
                    </a:lnTo>
                    <a:lnTo>
                      <a:pt x="4" y="4"/>
                    </a:lnTo>
                    <a:lnTo>
                      <a:pt x="4" y="4"/>
                    </a:lnTo>
                    <a:lnTo>
                      <a:pt x="6" y="2"/>
                    </a:lnTo>
                    <a:lnTo>
                      <a:pt x="6" y="2"/>
                    </a:lnTo>
                    <a:lnTo>
                      <a:pt x="42" y="0"/>
                    </a:lnTo>
                    <a:lnTo>
                      <a:pt x="42" y="0"/>
                    </a:lnTo>
                    <a:lnTo>
                      <a:pt x="44" y="2"/>
                    </a:lnTo>
                    <a:lnTo>
                      <a:pt x="60" y="12"/>
                    </a:lnTo>
                    <a:lnTo>
                      <a:pt x="68" y="6"/>
                    </a:lnTo>
                    <a:lnTo>
                      <a:pt x="68" y="6"/>
                    </a:lnTo>
                    <a:lnTo>
                      <a:pt x="68" y="6"/>
                    </a:lnTo>
                    <a:lnTo>
                      <a:pt x="68" y="6"/>
                    </a:lnTo>
                    <a:lnTo>
                      <a:pt x="70" y="6"/>
                    </a:lnTo>
                    <a:lnTo>
                      <a:pt x="82" y="12"/>
                    </a:lnTo>
                    <a:lnTo>
                      <a:pt x="82" y="12"/>
                    </a:lnTo>
                    <a:lnTo>
                      <a:pt x="84" y="12"/>
                    </a:lnTo>
                    <a:lnTo>
                      <a:pt x="86" y="36"/>
                    </a:lnTo>
                    <a:lnTo>
                      <a:pt x="86" y="36"/>
                    </a:lnTo>
                    <a:lnTo>
                      <a:pt x="86" y="38"/>
                    </a:lnTo>
                    <a:lnTo>
                      <a:pt x="78" y="56"/>
                    </a:lnTo>
                    <a:lnTo>
                      <a:pt x="86" y="74"/>
                    </a:lnTo>
                    <a:lnTo>
                      <a:pt x="86" y="74"/>
                    </a:lnTo>
                    <a:lnTo>
                      <a:pt x="84" y="76"/>
                    </a:lnTo>
                    <a:lnTo>
                      <a:pt x="84" y="76"/>
                    </a:lnTo>
                    <a:lnTo>
                      <a:pt x="84" y="76"/>
                    </a:lnTo>
                    <a:lnTo>
                      <a:pt x="46" y="76"/>
                    </a:lnTo>
                    <a:lnTo>
                      <a:pt x="24"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3" name="Freeform 444"/>
              <p:cNvSpPr>
                <a:spLocks noEditPoints="1"/>
              </p:cNvSpPr>
              <p:nvPr/>
            </p:nvSpPr>
            <p:spPr bwMode="auto">
              <a:xfrm>
                <a:off x="2739" y="2371"/>
                <a:ext cx="90" cy="92"/>
              </a:xfrm>
              <a:custGeom>
                <a:avLst/>
                <a:gdLst>
                  <a:gd name="T0" fmla="*/ 62 w 90"/>
                  <a:gd name="T1" fmla="*/ 16 h 92"/>
                  <a:gd name="T2" fmla="*/ 84 w 90"/>
                  <a:gd name="T3" fmla="*/ 16 h 92"/>
                  <a:gd name="T4" fmla="*/ 78 w 90"/>
                  <a:gd name="T5" fmla="*/ 58 h 92"/>
                  <a:gd name="T6" fmla="*/ 48 w 90"/>
                  <a:gd name="T7" fmla="*/ 76 h 92"/>
                  <a:gd name="T8" fmla="*/ 14 w 90"/>
                  <a:gd name="T9" fmla="*/ 88 h 92"/>
                  <a:gd name="T10" fmla="*/ 16 w 90"/>
                  <a:gd name="T11" fmla="*/ 66 h 92"/>
                  <a:gd name="T12" fmla="*/ 4 w 90"/>
                  <a:gd name="T13" fmla="*/ 62 h 92"/>
                  <a:gd name="T14" fmla="*/ 4 w 90"/>
                  <a:gd name="T15" fmla="*/ 46 h 92"/>
                  <a:gd name="T16" fmla="*/ 6 w 90"/>
                  <a:gd name="T17" fmla="*/ 34 h 92"/>
                  <a:gd name="T18" fmla="*/ 10 w 90"/>
                  <a:gd name="T19" fmla="*/ 20 h 92"/>
                  <a:gd name="T20" fmla="*/ 8 w 90"/>
                  <a:gd name="T21" fmla="*/ 6 h 92"/>
                  <a:gd name="T22" fmla="*/ 44 w 90"/>
                  <a:gd name="T23" fmla="*/ 0 h 92"/>
                  <a:gd name="T24" fmla="*/ 44 w 90"/>
                  <a:gd name="T25" fmla="*/ 0 h 92"/>
                  <a:gd name="T26" fmla="*/ 8 w 90"/>
                  <a:gd name="T27" fmla="*/ 2 h 92"/>
                  <a:gd name="T28" fmla="*/ 4 w 90"/>
                  <a:gd name="T29" fmla="*/ 6 h 92"/>
                  <a:gd name="T30" fmla="*/ 2 w 90"/>
                  <a:gd name="T31" fmla="*/ 12 h 92"/>
                  <a:gd name="T32" fmla="*/ 6 w 90"/>
                  <a:gd name="T33" fmla="*/ 22 h 92"/>
                  <a:gd name="T34" fmla="*/ 6 w 90"/>
                  <a:gd name="T35" fmla="*/ 30 h 92"/>
                  <a:gd name="T36" fmla="*/ 4 w 90"/>
                  <a:gd name="T37" fmla="*/ 32 h 92"/>
                  <a:gd name="T38" fmla="*/ 4 w 90"/>
                  <a:gd name="T39" fmla="*/ 40 h 92"/>
                  <a:gd name="T40" fmla="*/ 0 w 90"/>
                  <a:gd name="T41" fmla="*/ 42 h 92"/>
                  <a:gd name="T42" fmla="*/ 0 w 90"/>
                  <a:gd name="T43" fmla="*/ 52 h 92"/>
                  <a:gd name="T44" fmla="*/ 0 w 90"/>
                  <a:gd name="T45" fmla="*/ 62 h 92"/>
                  <a:gd name="T46" fmla="*/ 2 w 90"/>
                  <a:gd name="T47" fmla="*/ 66 h 92"/>
                  <a:gd name="T48" fmla="*/ 12 w 90"/>
                  <a:gd name="T49" fmla="*/ 70 h 92"/>
                  <a:gd name="T50" fmla="*/ 10 w 90"/>
                  <a:gd name="T51" fmla="*/ 88 h 92"/>
                  <a:gd name="T52" fmla="*/ 12 w 90"/>
                  <a:gd name="T53" fmla="*/ 92 h 92"/>
                  <a:gd name="T54" fmla="*/ 14 w 90"/>
                  <a:gd name="T55" fmla="*/ 92 h 92"/>
                  <a:gd name="T56" fmla="*/ 16 w 90"/>
                  <a:gd name="T57" fmla="*/ 92 h 92"/>
                  <a:gd name="T58" fmla="*/ 48 w 90"/>
                  <a:gd name="T59" fmla="*/ 80 h 92"/>
                  <a:gd name="T60" fmla="*/ 86 w 90"/>
                  <a:gd name="T61" fmla="*/ 80 h 92"/>
                  <a:gd name="T62" fmla="*/ 88 w 90"/>
                  <a:gd name="T63" fmla="*/ 80 h 92"/>
                  <a:gd name="T64" fmla="*/ 82 w 90"/>
                  <a:gd name="T65" fmla="*/ 58 h 92"/>
                  <a:gd name="T66" fmla="*/ 90 w 90"/>
                  <a:gd name="T67" fmla="*/ 40 h 92"/>
                  <a:gd name="T68" fmla="*/ 88 w 90"/>
                  <a:gd name="T69" fmla="*/ 14 h 92"/>
                  <a:gd name="T70" fmla="*/ 84 w 90"/>
                  <a:gd name="T71" fmla="*/ 12 h 92"/>
                  <a:gd name="T72" fmla="*/ 72 w 90"/>
                  <a:gd name="T73" fmla="*/ 6 h 92"/>
                  <a:gd name="T74" fmla="*/ 70 w 90"/>
                  <a:gd name="T75" fmla="*/ 6 h 92"/>
                  <a:gd name="T76" fmla="*/ 62 w 90"/>
                  <a:gd name="T77" fmla="*/ 12 h 92"/>
                  <a:gd name="T78" fmla="*/ 46 w 90"/>
                  <a:gd name="T79" fmla="*/ 2 h 92"/>
                  <a:gd name="T80" fmla="*/ 44 w 90"/>
                  <a:gd name="T8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2">
                    <a:moveTo>
                      <a:pt x="44" y="4"/>
                    </a:moveTo>
                    <a:lnTo>
                      <a:pt x="62" y="16"/>
                    </a:lnTo>
                    <a:lnTo>
                      <a:pt x="70" y="10"/>
                    </a:lnTo>
                    <a:lnTo>
                      <a:pt x="84" y="16"/>
                    </a:lnTo>
                    <a:lnTo>
                      <a:pt x="88" y="40"/>
                    </a:lnTo>
                    <a:lnTo>
                      <a:pt x="78" y="58"/>
                    </a:lnTo>
                    <a:lnTo>
                      <a:pt x="86" y="76"/>
                    </a:lnTo>
                    <a:lnTo>
                      <a:pt x="48" y="76"/>
                    </a:lnTo>
                    <a:lnTo>
                      <a:pt x="24" y="86"/>
                    </a:lnTo>
                    <a:lnTo>
                      <a:pt x="14" y="88"/>
                    </a:lnTo>
                    <a:lnTo>
                      <a:pt x="18" y="72"/>
                    </a:lnTo>
                    <a:lnTo>
                      <a:pt x="16" y="66"/>
                    </a:lnTo>
                    <a:lnTo>
                      <a:pt x="10" y="64"/>
                    </a:lnTo>
                    <a:lnTo>
                      <a:pt x="4" y="62"/>
                    </a:lnTo>
                    <a:lnTo>
                      <a:pt x="4" y="52"/>
                    </a:lnTo>
                    <a:lnTo>
                      <a:pt x="4" y="46"/>
                    </a:lnTo>
                    <a:lnTo>
                      <a:pt x="8" y="42"/>
                    </a:lnTo>
                    <a:lnTo>
                      <a:pt x="6" y="34"/>
                    </a:lnTo>
                    <a:lnTo>
                      <a:pt x="12" y="32"/>
                    </a:lnTo>
                    <a:lnTo>
                      <a:pt x="10" y="20"/>
                    </a:lnTo>
                    <a:lnTo>
                      <a:pt x="6" y="14"/>
                    </a:lnTo>
                    <a:lnTo>
                      <a:pt x="8" y="6"/>
                    </a:lnTo>
                    <a:lnTo>
                      <a:pt x="44" y="4"/>
                    </a:lnTo>
                    <a:close/>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4" name="Freeform 445"/>
              <p:cNvSpPr>
                <a:spLocks/>
              </p:cNvSpPr>
              <p:nvPr/>
            </p:nvSpPr>
            <p:spPr bwMode="auto">
              <a:xfrm>
                <a:off x="2743" y="2375"/>
                <a:ext cx="84" cy="84"/>
              </a:xfrm>
              <a:custGeom>
                <a:avLst/>
                <a:gdLst>
                  <a:gd name="T0" fmla="*/ 40 w 84"/>
                  <a:gd name="T1" fmla="*/ 0 h 84"/>
                  <a:gd name="T2" fmla="*/ 58 w 84"/>
                  <a:gd name="T3" fmla="*/ 12 h 84"/>
                  <a:gd name="T4" fmla="*/ 66 w 84"/>
                  <a:gd name="T5" fmla="*/ 6 h 84"/>
                  <a:gd name="T6" fmla="*/ 80 w 84"/>
                  <a:gd name="T7" fmla="*/ 12 h 84"/>
                  <a:gd name="T8" fmla="*/ 84 w 84"/>
                  <a:gd name="T9" fmla="*/ 36 h 84"/>
                  <a:gd name="T10" fmla="*/ 74 w 84"/>
                  <a:gd name="T11" fmla="*/ 54 h 84"/>
                  <a:gd name="T12" fmla="*/ 82 w 84"/>
                  <a:gd name="T13" fmla="*/ 72 h 84"/>
                  <a:gd name="T14" fmla="*/ 44 w 84"/>
                  <a:gd name="T15" fmla="*/ 72 h 84"/>
                  <a:gd name="T16" fmla="*/ 20 w 84"/>
                  <a:gd name="T17" fmla="*/ 82 h 84"/>
                  <a:gd name="T18" fmla="*/ 10 w 84"/>
                  <a:gd name="T19" fmla="*/ 84 h 84"/>
                  <a:gd name="T20" fmla="*/ 14 w 84"/>
                  <a:gd name="T21" fmla="*/ 68 h 84"/>
                  <a:gd name="T22" fmla="*/ 12 w 84"/>
                  <a:gd name="T23" fmla="*/ 62 h 84"/>
                  <a:gd name="T24" fmla="*/ 6 w 84"/>
                  <a:gd name="T25" fmla="*/ 60 h 84"/>
                  <a:gd name="T26" fmla="*/ 0 w 84"/>
                  <a:gd name="T27" fmla="*/ 58 h 84"/>
                  <a:gd name="T28" fmla="*/ 0 w 84"/>
                  <a:gd name="T29" fmla="*/ 48 h 84"/>
                  <a:gd name="T30" fmla="*/ 0 w 84"/>
                  <a:gd name="T31" fmla="*/ 42 h 84"/>
                  <a:gd name="T32" fmla="*/ 4 w 84"/>
                  <a:gd name="T33" fmla="*/ 38 h 84"/>
                  <a:gd name="T34" fmla="*/ 2 w 84"/>
                  <a:gd name="T35" fmla="*/ 30 h 84"/>
                  <a:gd name="T36" fmla="*/ 8 w 84"/>
                  <a:gd name="T37" fmla="*/ 28 h 84"/>
                  <a:gd name="T38" fmla="*/ 6 w 84"/>
                  <a:gd name="T39" fmla="*/ 16 h 84"/>
                  <a:gd name="T40" fmla="*/ 2 w 84"/>
                  <a:gd name="T41" fmla="*/ 10 h 84"/>
                  <a:gd name="T42" fmla="*/ 4 w 84"/>
                  <a:gd name="T43" fmla="*/ 2 h 84"/>
                  <a:gd name="T44" fmla="*/ 40 w 84"/>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84">
                    <a:moveTo>
                      <a:pt x="40" y="0"/>
                    </a:moveTo>
                    <a:lnTo>
                      <a:pt x="58" y="12"/>
                    </a:lnTo>
                    <a:lnTo>
                      <a:pt x="66" y="6"/>
                    </a:lnTo>
                    <a:lnTo>
                      <a:pt x="80" y="12"/>
                    </a:lnTo>
                    <a:lnTo>
                      <a:pt x="84" y="36"/>
                    </a:lnTo>
                    <a:lnTo>
                      <a:pt x="74" y="54"/>
                    </a:lnTo>
                    <a:lnTo>
                      <a:pt x="82" y="72"/>
                    </a:lnTo>
                    <a:lnTo>
                      <a:pt x="44" y="72"/>
                    </a:lnTo>
                    <a:lnTo>
                      <a:pt x="20" y="82"/>
                    </a:lnTo>
                    <a:lnTo>
                      <a:pt x="10" y="84"/>
                    </a:lnTo>
                    <a:lnTo>
                      <a:pt x="14" y="68"/>
                    </a:lnTo>
                    <a:lnTo>
                      <a:pt x="12" y="62"/>
                    </a:lnTo>
                    <a:lnTo>
                      <a:pt x="6" y="60"/>
                    </a:lnTo>
                    <a:lnTo>
                      <a:pt x="0" y="58"/>
                    </a:lnTo>
                    <a:lnTo>
                      <a:pt x="0" y="48"/>
                    </a:lnTo>
                    <a:lnTo>
                      <a:pt x="0" y="42"/>
                    </a:lnTo>
                    <a:lnTo>
                      <a:pt x="4" y="38"/>
                    </a:lnTo>
                    <a:lnTo>
                      <a:pt x="2" y="30"/>
                    </a:lnTo>
                    <a:lnTo>
                      <a:pt x="8" y="28"/>
                    </a:lnTo>
                    <a:lnTo>
                      <a:pt x="6" y="16"/>
                    </a:lnTo>
                    <a:lnTo>
                      <a:pt x="2" y="10"/>
                    </a:lnTo>
                    <a:lnTo>
                      <a:pt x="4"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5" name="Freeform 446"/>
              <p:cNvSpPr>
                <a:spLocks/>
              </p:cNvSpPr>
              <p:nvPr/>
            </p:nvSpPr>
            <p:spPr bwMode="auto">
              <a:xfrm>
                <a:off x="2739" y="2371"/>
                <a:ext cx="90" cy="92"/>
              </a:xfrm>
              <a:custGeom>
                <a:avLst/>
                <a:gdLst>
                  <a:gd name="T0" fmla="*/ 44 w 90"/>
                  <a:gd name="T1" fmla="*/ 0 h 92"/>
                  <a:gd name="T2" fmla="*/ 44 w 90"/>
                  <a:gd name="T3" fmla="*/ 0 h 92"/>
                  <a:gd name="T4" fmla="*/ 44 w 90"/>
                  <a:gd name="T5" fmla="*/ 0 h 92"/>
                  <a:gd name="T6" fmla="*/ 8 w 90"/>
                  <a:gd name="T7" fmla="*/ 2 h 92"/>
                  <a:gd name="T8" fmla="*/ 8 w 90"/>
                  <a:gd name="T9" fmla="*/ 2 h 92"/>
                  <a:gd name="T10" fmla="*/ 6 w 90"/>
                  <a:gd name="T11" fmla="*/ 4 h 92"/>
                  <a:gd name="T12" fmla="*/ 4 w 90"/>
                  <a:gd name="T13" fmla="*/ 6 h 92"/>
                  <a:gd name="T14" fmla="*/ 2 w 90"/>
                  <a:gd name="T15" fmla="*/ 12 h 92"/>
                  <a:gd name="T16" fmla="*/ 2 w 90"/>
                  <a:gd name="T17" fmla="*/ 12 h 92"/>
                  <a:gd name="T18" fmla="*/ 4 w 90"/>
                  <a:gd name="T19" fmla="*/ 16 h 92"/>
                  <a:gd name="T20" fmla="*/ 6 w 90"/>
                  <a:gd name="T21" fmla="*/ 22 h 92"/>
                  <a:gd name="T22" fmla="*/ 8 w 90"/>
                  <a:gd name="T23" fmla="*/ 30 h 92"/>
                  <a:gd name="T24" fmla="*/ 6 w 90"/>
                  <a:gd name="T25" fmla="*/ 30 h 92"/>
                  <a:gd name="T26" fmla="*/ 6 w 90"/>
                  <a:gd name="T27" fmla="*/ 30 h 92"/>
                  <a:gd name="T28" fmla="*/ 4 w 90"/>
                  <a:gd name="T29" fmla="*/ 32 h 92"/>
                  <a:gd name="T30" fmla="*/ 2 w 90"/>
                  <a:gd name="T31" fmla="*/ 34 h 92"/>
                  <a:gd name="T32" fmla="*/ 4 w 90"/>
                  <a:gd name="T33" fmla="*/ 40 h 92"/>
                  <a:gd name="T34" fmla="*/ 0 w 90"/>
                  <a:gd name="T35" fmla="*/ 42 h 92"/>
                  <a:gd name="T36" fmla="*/ 0 w 90"/>
                  <a:gd name="T37" fmla="*/ 42 h 92"/>
                  <a:gd name="T38" fmla="*/ 0 w 90"/>
                  <a:gd name="T39" fmla="*/ 46 h 92"/>
                  <a:gd name="T40" fmla="*/ 0 w 90"/>
                  <a:gd name="T41" fmla="*/ 52 h 92"/>
                  <a:gd name="T42" fmla="*/ 0 w 90"/>
                  <a:gd name="T43" fmla="*/ 62 h 92"/>
                  <a:gd name="T44" fmla="*/ 0 w 90"/>
                  <a:gd name="T45" fmla="*/ 62 h 92"/>
                  <a:gd name="T46" fmla="*/ 0 w 90"/>
                  <a:gd name="T47" fmla="*/ 64 h 92"/>
                  <a:gd name="T48" fmla="*/ 2 w 90"/>
                  <a:gd name="T49" fmla="*/ 66 h 92"/>
                  <a:gd name="T50" fmla="*/ 8 w 90"/>
                  <a:gd name="T51" fmla="*/ 66 h 92"/>
                  <a:gd name="T52" fmla="*/ 12 w 90"/>
                  <a:gd name="T53" fmla="*/ 70 h 92"/>
                  <a:gd name="T54" fmla="*/ 14 w 90"/>
                  <a:gd name="T55" fmla="*/ 72 h 92"/>
                  <a:gd name="T56" fmla="*/ 10 w 90"/>
                  <a:gd name="T57" fmla="*/ 88 h 92"/>
                  <a:gd name="T58" fmla="*/ 10 w 90"/>
                  <a:gd name="T59" fmla="*/ 88 h 92"/>
                  <a:gd name="T60" fmla="*/ 12 w 90"/>
                  <a:gd name="T61" fmla="*/ 92 h 92"/>
                  <a:gd name="T62" fmla="*/ 12 w 90"/>
                  <a:gd name="T63" fmla="*/ 92 h 92"/>
                  <a:gd name="T64" fmla="*/ 14 w 90"/>
                  <a:gd name="T65" fmla="*/ 92 h 92"/>
                  <a:gd name="T66" fmla="*/ 14 w 90"/>
                  <a:gd name="T67" fmla="*/ 92 h 92"/>
                  <a:gd name="T68" fmla="*/ 16 w 90"/>
                  <a:gd name="T69" fmla="*/ 92 h 92"/>
                  <a:gd name="T70" fmla="*/ 26 w 90"/>
                  <a:gd name="T71" fmla="*/ 90 h 92"/>
                  <a:gd name="T72" fmla="*/ 48 w 90"/>
                  <a:gd name="T73" fmla="*/ 80 h 92"/>
                  <a:gd name="T74" fmla="*/ 86 w 90"/>
                  <a:gd name="T75" fmla="*/ 80 h 92"/>
                  <a:gd name="T76" fmla="*/ 86 w 90"/>
                  <a:gd name="T77" fmla="*/ 80 h 92"/>
                  <a:gd name="T78" fmla="*/ 88 w 90"/>
                  <a:gd name="T79" fmla="*/ 80 h 92"/>
                  <a:gd name="T80" fmla="*/ 88 w 90"/>
                  <a:gd name="T81" fmla="*/ 80 h 92"/>
                  <a:gd name="T82" fmla="*/ 88 w 90"/>
                  <a:gd name="T83" fmla="*/ 76 h 92"/>
                  <a:gd name="T84" fmla="*/ 82 w 90"/>
                  <a:gd name="T85" fmla="*/ 58 h 92"/>
                  <a:gd name="T86" fmla="*/ 90 w 90"/>
                  <a:gd name="T87" fmla="*/ 40 h 92"/>
                  <a:gd name="T88" fmla="*/ 90 w 90"/>
                  <a:gd name="T89" fmla="*/ 40 h 92"/>
                  <a:gd name="T90" fmla="*/ 90 w 90"/>
                  <a:gd name="T91" fmla="*/ 38 h 92"/>
                  <a:gd name="T92" fmla="*/ 88 w 90"/>
                  <a:gd name="T93" fmla="*/ 14 h 92"/>
                  <a:gd name="T94" fmla="*/ 88 w 90"/>
                  <a:gd name="T95" fmla="*/ 14 h 92"/>
                  <a:gd name="T96" fmla="*/ 84 w 90"/>
                  <a:gd name="T97" fmla="*/ 12 h 92"/>
                  <a:gd name="T98" fmla="*/ 72 w 90"/>
                  <a:gd name="T99" fmla="*/ 6 h 92"/>
                  <a:gd name="T100" fmla="*/ 72 w 90"/>
                  <a:gd name="T101" fmla="*/ 6 h 92"/>
                  <a:gd name="T102" fmla="*/ 70 w 90"/>
                  <a:gd name="T103" fmla="*/ 6 h 92"/>
                  <a:gd name="T104" fmla="*/ 70 w 90"/>
                  <a:gd name="T105" fmla="*/ 6 h 92"/>
                  <a:gd name="T106" fmla="*/ 68 w 90"/>
                  <a:gd name="T107" fmla="*/ 6 h 92"/>
                  <a:gd name="T108" fmla="*/ 62 w 90"/>
                  <a:gd name="T109" fmla="*/ 12 h 92"/>
                  <a:gd name="T110" fmla="*/ 46 w 90"/>
                  <a:gd name="T111" fmla="*/ 2 h 92"/>
                  <a:gd name="T112" fmla="*/ 46 w 90"/>
                  <a:gd name="T113" fmla="*/ 2 h 92"/>
                  <a:gd name="T114" fmla="*/ 44 w 90"/>
                  <a:gd name="T115" fmla="*/ 0 h 92"/>
                  <a:gd name="T116" fmla="*/ 44 w 90"/>
                  <a:gd name="T1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92">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6" name="Freeform 447"/>
              <p:cNvSpPr>
                <a:spLocks/>
              </p:cNvSpPr>
              <p:nvPr/>
            </p:nvSpPr>
            <p:spPr bwMode="auto">
              <a:xfrm>
                <a:off x="2997" y="2485"/>
                <a:ext cx="26" cy="28"/>
              </a:xfrm>
              <a:custGeom>
                <a:avLst/>
                <a:gdLst>
                  <a:gd name="T0" fmla="*/ 4 w 26"/>
                  <a:gd name="T1" fmla="*/ 28 h 28"/>
                  <a:gd name="T2" fmla="*/ 4 w 26"/>
                  <a:gd name="T3" fmla="*/ 28 h 28"/>
                  <a:gd name="T4" fmla="*/ 2 w 26"/>
                  <a:gd name="T5" fmla="*/ 26 h 28"/>
                  <a:gd name="T6" fmla="*/ 0 w 26"/>
                  <a:gd name="T7" fmla="*/ 12 h 28"/>
                  <a:gd name="T8" fmla="*/ 0 w 26"/>
                  <a:gd name="T9" fmla="*/ 12 h 28"/>
                  <a:gd name="T10" fmla="*/ 0 w 26"/>
                  <a:gd name="T11" fmla="*/ 12 h 28"/>
                  <a:gd name="T12" fmla="*/ 4 w 26"/>
                  <a:gd name="T13" fmla="*/ 2 h 28"/>
                  <a:gd name="T14" fmla="*/ 4 w 26"/>
                  <a:gd name="T15" fmla="*/ 2 h 28"/>
                  <a:gd name="T16" fmla="*/ 6 w 26"/>
                  <a:gd name="T17" fmla="*/ 0 h 28"/>
                  <a:gd name="T18" fmla="*/ 24 w 26"/>
                  <a:gd name="T19" fmla="*/ 0 h 28"/>
                  <a:gd name="T20" fmla="*/ 24 w 26"/>
                  <a:gd name="T21" fmla="*/ 0 h 28"/>
                  <a:gd name="T22" fmla="*/ 26 w 26"/>
                  <a:gd name="T23" fmla="*/ 2 h 28"/>
                  <a:gd name="T24" fmla="*/ 26 w 26"/>
                  <a:gd name="T25" fmla="*/ 2 h 28"/>
                  <a:gd name="T26" fmla="*/ 26 w 26"/>
                  <a:gd name="T27" fmla="*/ 4 h 28"/>
                  <a:gd name="T28" fmla="*/ 24 w 26"/>
                  <a:gd name="T29" fmla="*/ 24 h 28"/>
                  <a:gd name="T30" fmla="*/ 24 w 26"/>
                  <a:gd name="T31" fmla="*/ 24 h 28"/>
                  <a:gd name="T32" fmla="*/ 22 w 26"/>
                  <a:gd name="T33" fmla="*/ 26 h 28"/>
                  <a:gd name="T34" fmla="*/ 22 w 26"/>
                  <a:gd name="T35" fmla="*/ 26 h 28"/>
                  <a:gd name="T36" fmla="*/ 4 w 26"/>
                  <a:gd name="T37" fmla="*/ 28 h 28"/>
                  <a:gd name="T38" fmla="*/ 4 w 26"/>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8">
                    <a:moveTo>
                      <a:pt x="4" y="28"/>
                    </a:moveTo>
                    <a:lnTo>
                      <a:pt x="4" y="28"/>
                    </a:lnTo>
                    <a:lnTo>
                      <a:pt x="2" y="26"/>
                    </a:lnTo>
                    <a:lnTo>
                      <a:pt x="0" y="12"/>
                    </a:lnTo>
                    <a:lnTo>
                      <a:pt x="0" y="12"/>
                    </a:lnTo>
                    <a:lnTo>
                      <a:pt x="0" y="12"/>
                    </a:lnTo>
                    <a:lnTo>
                      <a:pt x="4" y="2"/>
                    </a:lnTo>
                    <a:lnTo>
                      <a:pt x="4" y="2"/>
                    </a:lnTo>
                    <a:lnTo>
                      <a:pt x="6" y="0"/>
                    </a:lnTo>
                    <a:lnTo>
                      <a:pt x="24" y="0"/>
                    </a:lnTo>
                    <a:lnTo>
                      <a:pt x="24" y="0"/>
                    </a:lnTo>
                    <a:lnTo>
                      <a:pt x="26" y="2"/>
                    </a:lnTo>
                    <a:lnTo>
                      <a:pt x="26" y="2"/>
                    </a:lnTo>
                    <a:lnTo>
                      <a:pt x="26" y="4"/>
                    </a:lnTo>
                    <a:lnTo>
                      <a:pt x="24" y="24"/>
                    </a:lnTo>
                    <a:lnTo>
                      <a:pt x="24" y="24"/>
                    </a:lnTo>
                    <a:lnTo>
                      <a:pt x="22" y="26"/>
                    </a:lnTo>
                    <a:lnTo>
                      <a:pt x="22"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7" name="Freeform 448"/>
              <p:cNvSpPr>
                <a:spLocks noEditPoints="1"/>
              </p:cNvSpPr>
              <p:nvPr/>
            </p:nvSpPr>
            <p:spPr bwMode="auto">
              <a:xfrm>
                <a:off x="2995" y="2483"/>
                <a:ext cx="30" cy="32"/>
              </a:xfrm>
              <a:custGeom>
                <a:avLst/>
                <a:gdLst>
                  <a:gd name="T0" fmla="*/ 26 w 30"/>
                  <a:gd name="T1" fmla="*/ 4 h 32"/>
                  <a:gd name="T2" fmla="*/ 24 w 30"/>
                  <a:gd name="T3" fmla="*/ 26 h 32"/>
                  <a:gd name="T4" fmla="*/ 6 w 30"/>
                  <a:gd name="T5" fmla="*/ 28 h 32"/>
                  <a:gd name="T6" fmla="*/ 4 w 30"/>
                  <a:gd name="T7" fmla="*/ 14 h 32"/>
                  <a:gd name="T8" fmla="*/ 8 w 30"/>
                  <a:gd name="T9" fmla="*/ 4 h 32"/>
                  <a:gd name="T10" fmla="*/ 26 w 30"/>
                  <a:gd name="T11" fmla="*/ 4 h 32"/>
                  <a:gd name="T12" fmla="*/ 26 w 30"/>
                  <a:gd name="T13" fmla="*/ 0 h 32"/>
                  <a:gd name="T14" fmla="*/ 8 w 30"/>
                  <a:gd name="T15" fmla="*/ 0 h 32"/>
                  <a:gd name="T16" fmla="*/ 8 w 30"/>
                  <a:gd name="T17" fmla="*/ 0 h 32"/>
                  <a:gd name="T18" fmla="*/ 6 w 30"/>
                  <a:gd name="T19" fmla="*/ 2 h 32"/>
                  <a:gd name="T20" fmla="*/ 4 w 30"/>
                  <a:gd name="T21" fmla="*/ 4 h 32"/>
                  <a:gd name="T22" fmla="*/ 0 w 30"/>
                  <a:gd name="T23" fmla="*/ 14 h 32"/>
                  <a:gd name="T24" fmla="*/ 0 w 30"/>
                  <a:gd name="T25" fmla="*/ 14 h 32"/>
                  <a:gd name="T26" fmla="*/ 0 w 30"/>
                  <a:gd name="T27" fmla="*/ 14 h 32"/>
                  <a:gd name="T28" fmla="*/ 2 w 30"/>
                  <a:gd name="T29" fmla="*/ 28 h 32"/>
                  <a:gd name="T30" fmla="*/ 2 w 30"/>
                  <a:gd name="T31" fmla="*/ 28 h 32"/>
                  <a:gd name="T32" fmla="*/ 4 w 30"/>
                  <a:gd name="T33" fmla="*/ 30 h 32"/>
                  <a:gd name="T34" fmla="*/ 6 w 30"/>
                  <a:gd name="T35" fmla="*/ 32 h 32"/>
                  <a:gd name="T36" fmla="*/ 6 w 30"/>
                  <a:gd name="T37" fmla="*/ 32 h 32"/>
                  <a:gd name="T38" fmla="*/ 6 w 30"/>
                  <a:gd name="T39" fmla="*/ 32 h 32"/>
                  <a:gd name="T40" fmla="*/ 24 w 30"/>
                  <a:gd name="T41" fmla="*/ 30 h 32"/>
                  <a:gd name="T42" fmla="*/ 24 w 30"/>
                  <a:gd name="T43" fmla="*/ 30 h 32"/>
                  <a:gd name="T44" fmla="*/ 28 w 30"/>
                  <a:gd name="T45" fmla="*/ 28 h 32"/>
                  <a:gd name="T46" fmla="*/ 28 w 30"/>
                  <a:gd name="T47" fmla="*/ 26 h 32"/>
                  <a:gd name="T48" fmla="*/ 30 w 30"/>
                  <a:gd name="T49" fmla="*/ 6 h 32"/>
                  <a:gd name="T50" fmla="*/ 30 w 30"/>
                  <a:gd name="T51" fmla="*/ 6 h 32"/>
                  <a:gd name="T52" fmla="*/ 30 w 30"/>
                  <a:gd name="T53" fmla="*/ 2 h 32"/>
                  <a:gd name="T54" fmla="*/ 30 w 30"/>
                  <a:gd name="T55" fmla="*/ 2 h 32"/>
                  <a:gd name="T56" fmla="*/ 26 w 30"/>
                  <a:gd name="T57" fmla="*/ 0 h 32"/>
                  <a:gd name="T58" fmla="*/ 26 w 3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32">
                    <a:moveTo>
                      <a:pt x="26" y="4"/>
                    </a:moveTo>
                    <a:lnTo>
                      <a:pt x="24" y="26"/>
                    </a:lnTo>
                    <a:lnTo>
                      <a:pt x="6" y="28"/>
                    </a:lnTo>
                    <a:lnTo>
                      <a:pt x="4" y="14"/>
                    </a:lnTo>
                    <a:lnTo>
                      <a:pt x="8" y="4"/>
                    </a:lnTo>
                    <a:lnTo>
                      <a:pt x="26" y="4"/>
                    </a:lnTo>
                    <a:close/>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8" name="Freeform 449"/>
              <p:cNvSpPr>
                <a:spLocks/>
              </p:cNvSpPr>
              <p:nvPr/>
            </p:nvSpPr>
            <p:spPr bwMode="auto">
              <a:xfrm>
                <a:off x="2999" y="2487"/>
                <a:ext cx="22" cy="24"/>
              </a:xfrm>
              <a:custGeom>
                <a:avLst/>
                <a:gdLst>
                  <a:gd name="T0" fmla="*/ 22 w 22"/>
                  <a:gd name="T1" fmla="*/ 0 h 24"/>
                  <a:gd name="T2" fmla="*/ 20 w 22"/>
                  <a:gd name="T3" fmla="*/ 22 h 24"/>
                  <a:gd name="T4" fmla="*/ 2 w 22"/>
                  <a:gd name="T5" fmla="*/ 24 h 24"/>
                  <a:gd name="T6" fmla="*/ 0 w 22"/>
                  <a:gd name="T7" fmla="*/ 10 h 24"/>
                  <a:gd name="T8" fmla="*/ 4 w 22"/>
                  <a:gd name="T9" fmla="*/ 0 h 24"/>
                  <a:gd name="T10" fmla="*/ 22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22" y="0"/>
                    </a:moveTo>
                    <a:lnTo>
                      <a:pt x="20" y="22"/>
                    </a:lnTo>
                    <a:lnTo>
                      <a:pt x="2" y="24"/>
                    </a:lnTo>
                    <a:lnTo>
                      <a:pt x="0" y="10"/>
                    </a:lnTo>
                    <a:lnTo>
                      <a:pt x="4"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9" name="Freeform 450"/>
              <p:cNvSpPr>
                <a:spLocks/>
              </p:cNvSpPr>
              <p:nvPr/>
            </p:nvSpPr>
            <p:spPr bwMode="auto">
              <a:xfrm>
                <a:off x="2995" y="2483"/>
                <a:ext cx="30" cy="32"/>
              </a:xfrm>
              <a:custGeom>
                <a:avLst/>
                <a:gdLst>
                  <a:gd name="T0" fmla="*/ 26 w 30"/>
                  <a:gd name="T1" fmla="*/ 0 h 32"/>
                  <a:gd name="T2" fmla="*/ 8 w 30"/>
                  <a:gd name="T3" fmla="*/ 0 h 32"/>
                  <a:gd name="T4" fmla="*/ 8 w 30"/>
                  <a:gd name="T5" fmla="*/ 0 h 32"/>
                  <a:gd name="T6" fmla="*/ 6 w 30"/>
                  <a:gd name="T7" fmla="*/ 2 h 32"/>
                  <a:gd name="T8" fmla="*/ 4 w 30"/>
                  <a:gd name="T9" fmla="*/ 4 h 32"/>
                  <a:gd name="T10" fmla="*/ 0 w 30"/>
                  <a:gd name="T11" fmla="*/ 14 h 32"/>
                  <a:gd name="T12" fmla="*/ 0 w 30"/>
                  <a:gd name="T13" fmla="*/ 14 h 32"/>
                  <a:gd name="T14" fmla="*/ 0 w 30"/>
                  <a:gd name="T15" fmla="*/ 14 h 32"/>
                  <a:gd name="T16" fmla="*/ 2 w 30"/>
                  <a:gd name="T17" fmla="*/ 28 h 32"/>
                  <a:gd name="T18" fmla="*/ 2 w 30"/>
                  <a:gd name="T19" fmla="*/ 28 h 32"/>
                  <a:gd name="T20" fmla="*/ 4 w 30"/>
                  <a:gd name="T21" fmla="*/ 30 h 32"/>
                  <a:gd name="T22" fmla="*/ 6 w 30"/>
                  <a:gd name="T23" fmla="*/ 32 h 32"/>
                  <a:gd name="T24" fmla="*/ 6 w 30"/>
                  <a:gd name="T25" fmla="*/ 32 h 32"/>
                  <a:gd name="T26" fmla="*/ 6 w 30"/>
                  <a:gd name="T27" fmla="*/ 32 h 32"/>
                  <a:gd name="T28" fmla="*/ 24 w 30"/>
                  <a:gd name="T29" fmla="*/ 30 h 32"/>
                  <a:gd name="T30" fmla="*/ 24 w 30"/>
                  <a:gd name="T31" fmla="*/ 30 h 32"/>
                  <a:gd name="T32" fmla="*/ 28 w 30"/>
                  <a:gd name="T33" fmla="*/ 28 h 32"/>
                  <a:gd name="T34" fmla="*/ 28 w 30"/>
                  <a:gd name="T35" fmla="*/ 26 h 32"/>
                  <a:gd name="T36" fmla="*/ 30 w 30"/>
                  <a:gd name="T37" fmla="*/ 6 h 32"/>
                  <a:gd name="T38" fmla="*/ 30 w 30"/>
                  <a:gd name="T39" fmla="*/ 6 h 32"/>
                  <a:gd name="T40" fmla="*/ 30 w 30"/>
                  <a:gd name="T41" fmla="*/ 2 h 32"/>
                  <a:gd name="T42" fmla="*/ 30 w 30"/>
                  <a:gd name="T43" fmla="*/ 2 h 32"/>
                  <a:gd name="T44" fmla="*/ 26 w 30"/>
                  <a:gd name="T45" fmla="*/ 0 h 32"/>
                  <a:gd name="T46" fmla="*/ 26 w 30"/>
                  <a:gd name="T4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2">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0" name="Freeform 451"/>
              <p:cNvSpPr>
                <a:spLocks/>
              </p:cNvSpPr>
              <p:nvPr/>
            </p:nvSpPr>
            <p:spPr bwMode="auto">
              <a:xfrm>
                <a:off x="3473" y="2693"/>
                <a:ext cx="104" cy="200"/>
              </a:xfrm>
              <a:custGeom>
                <a:avLst/>
                <a:gdLst>
                  <a:gd name="T0" fmla="*/ 18 w 104"/>
                  <a:gd name="T1" fmla="*/ 200 h 200"/>
                  <a:gd name="T2" fmla="*/ 18 w 104"/>
                  <a:gd name="T3" fmla="*/ 200 h 200"/>
                  <a:gd name="T4" fmla="*/ 16 w 104"/>
                  <a:gd name="T5" fmla="*/ 198 h 200"/>
                  <a:gd name="T6" fmla="*/ 8 w 104"/>
                  <a:gd name="T7" fmla="*/ 180 h 200"/>
                  <a:gd name="T8" fmla="*/ 6 w 104"/>
                  <a:gd name="T9" fmla="*/ 162 h 200"/>
                  <a:gd name="T10" fmla="*/ 0 w 104"/>
                  <a:gd name="T11" fmla="*/ 146 h 200"/>
                  <a:gd name="T12" fmla="*/ 0 w 104"/>
                  <a:gd name="T13" fmla="*/ 146 h 200"/>
                  <a:gd name="T14" fmla="*/ 0 w 104"/>
                  <a:gd name="T15" fmla="*/ 146 h 200"/>
                  <a:gd name="T16" fmla="*/ 14 w 104"/>
                  <a:gd name="T17" fmla="*/ 126 h 200"/>
                  <a:gd name="T18" fmla="*/ 18 w 104"/>
                  <a:gd name="T19" fmla="*/ 110 h 200"/>
                  <a:gd name="T20" fmla="*/ 14 w 104"/>
                  <a:gd name="T21" fmla="*/ 96 h 200"/>
                  <a:gd name="T22" fmla="*/ 8 w 104"/>
                  <a:gd name="T23" fmla="*/ 82 h 200"/>
                  <a:gd name="T24" fmla="*/ 8 w 104"/>
                  <a:gd name="T25" fmla="*/ 82 h 200"/>
                  <a:gd name="T26" fmla="*/ 10 w 104"/>
                  <a:gd name="T27" fmla="*/ 80 h 200"/>
                  <a:gd name="T28" fmla="*/ 16 w 104"/>
                  <a:gd name="T29" fmla="*/ 72 h 200"/>
                  <a:gd name="T30" fmla="*/ 20 w 104"/>
                  <a:gd name="T31" fmla="*/ 64 h 200"/>
                  <a:gd name="T32" fmla="*/ 20 w 104"/>
                  <a:gd name="T33" fmla="*/ 64 h 200"/>
                  <a:gd name="T34" fmla="*/ 20 w 104"/>
                  <a:gd name="T35" fmla="*/ 62 h 200"/>
                  <a:gd name="T36" fmla="*/ 42 w 104"/>
                  <a:gd name="T37" fmla="*/ 54 h 200"/>
                  <a:gd name="T38" fmla="*/ 62 w 104"/>
                  <a:gd name="T39" fmla="*/ 40 h 200"/>
                  <a:gd name="T40" fmla="*/ 70 w 104"/>
                  <a:gd name="T41" fmla="*/ 28 h 200"/>
                  <a:gd name="T42" fmla="*/ 70 w 104"/>
                  <a:gd name="T43" fmla="*/ 28 h 200"/>
                  <a:gd name="T44" fmla="*/ 70 w 104"/>
                  <a:gd name="T45" fmla="*/ 28 h 200"/>
                  <a:gd name="T46" fmla="*/ 76 w 104"/>
                  <a:gd name="T47" fmla="*/ 24 h 200"/>
                  <a:gd name="T48" fmla="*/ 84 w 104"/>
                  <a:gd name="T49" fmla="*/ 10 h 200"/>
                  <a:gd name="T50" fmla="*/ 84 w 104"/>
                  <a:gd name="T51" fmla="*/ 2 h 200"/>
                  <a:gd name="T52" fmla="*/ 84 w 104"/>
                  <a:gd name="T53" fmla="*/ 2 h 200"/>
                  <a:gd name="T54" fmla="*/ 86 w 104"/>
                  <a:gd name="T55" fmla="*/ 0 h 200"/>
                  <a:gd name="T56" fmla="*/ 86 w 104"/>
                  <a:gd name="T57" fmla="*/ 0 h 200"/>
                  <a:gd name="T58" fmla="*/ 86 w 104"/>
                  <a:gd name="T59" fmla="*/ 0 h 200"/>
                  <a:gd name="T60" fmla="*/ 86 w 104"/>
                  <a:gd name="T61" fmla="*/ 0 h 200"/>
                  <a:gd name="T62" fmla="*/ 88 w 104"/>
                  <a:gd name="T63" fmla="*/ 2 h 200"/>
                  <a:gd name="T64" fmla="*/ 100 w 104"/>
                  <a:gd name="T65" fmla="*/ 20 h 200"/>
                  <a:gd name="T66" fmla="*/ 102 w 104"/>
                  <a:gd name="T67" fmla="*/ 38 h 200"/>
                  <a:gd name="T68" fmla="*/ 104 w 104"/>
                  <a:gd name="T69" fmla="*/ 48 h 200"/>
                  <a:gd name="T70" fmla="*/ 104 w 104"/>
                  <a:gd name="T71" fmla="*/ 58 h 200"/>
                  <a:gd name="T72" fmla="*/ 104 w 104"/>
                  <a:gd name="T73" fmla="*/ 58 h 200"/>
                  <a:gd name="T74" fmla="*/ 104 w 104"/>
                  <a:gd name="T75" fmla="*/ 60 h 200"/>
                  <a:gd name="T76" fmla="*/ 94 w 104"/>
                  <a:gd name="T77" fmla="*/ 62 h 200"/>
                  <a:gd name="T78" fmla="*/ 94 w 104"/>
                  <a:gd name="T79" fmla="*/ 74 h 200"/>
                  <a:gd name="T80" fmla="*/ 76 w 104"/>
                  <a:gd name="T81" fmla="*/ 134 h 200"/>
                  <a:gd name="T82" fmla="*/ 70 w 104"/>
                  <a:gd name="T83" fmla="*/ 162 h 200"/>
                  <a:gd name="T84" fmla="*/ 58 w 104"/>
                  <a:gd name="T85" fmla="*/ 190 h 200"/>
                  <a:gd name="T86" fmla="*/ 58 w 104"/>
                  <a:gd name="T87" fmla="*/ 190 h 200"/>
                  <a:gd name="T88" fmla="*/ 58 w 104"/>
                  <a:gd name="T89" fmla="*/ 192 h 200"/>
                  <a:gd name="T90" fmla="*/ 38 w 104"/>
                  <a:gd name="T91" fmla="*/ 200 h 200"/>
                  <a:gd name="T92" fmla="*/ 38 w 104"/>
                  <a:gd name="T93" fmla="*/ 200 h 200"/>
                  <a:gd name="T94" fmla="*/ 38 w 104"/>
                  <a:gd name="T95" fmla="*/ 200 h 200"/>
                  <a:gd name="T96" fmla="*/ 38 w 104"/>
                  <a:gd name="T97" fmla="*/ 200 h 200"/>
                  <a:gd name="T98" fmla="*/ 18 w 104"/>
                  <a:gd name="T99" fmla="*/ 200 h 200"/>
                  <a:gd name="T100" fmla="*/ 18 w 104"/>
                  <a:gd name="T10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200">
                    <a:moveTo>
                      <a:pt x="18" y="200"/>
                    </a:moveTo>
                    <a:lnTo>
                      <a:pt x="18" y="200"/>
                    </a:lnTo>
                    <a:lnTo>
                      <a:pt x="16" y="198"/>
                    </a:lnTo>
                    <a:lnTo>
                      <a:pt x="8" y="180"/>
                    </a:lnTo>
                    <a:lnTo>
                      <a:pt x="6" y="162"/>
                    </a:lnTo>
                    <a:lnTo>
                      <a:pt x="0" y="146"/>
                    </a:lnTo>
                    <a:lnTo>
                      <a:pt x="0" y="146"/>
                    </a:lnTo>
                    <a:lnTo>
                      <a:pt x="0" y="146"/>
                    </a:lnTo>
                    <a:lnTo>
                      <a:pt x="14" y="126"/>
                    </a:lnTo>
                    <a:lnTo>
                      <a:pt x="18" y="110"/>
                    </a:lnTo>
                    <a:lnTo>
                      <a:pt x="14" y="96"/>
                    </a:lnTo>
                    <a:lnTo>
                      <a:pt x="8" y="82"/>
                    </a:lnTo>
                    <a:lnTo>
                      <a:pt x="8" y="82"/>
                    </a:lnTo>
                    <a:lnTo>
                      <a:pt x="10" y="80"/>
                    </a:lnTo>
                    <a:lnTo>
                      <a:pt x="16" y="72"/>
                    </a:lnTo>
                    <a:lnTo>
                      <a:pt x="20" y="64"/>
                    </a:lnTo>
                    <a:lnTo>
                      <a:pt x="20" y="64"/>
                    </a:lnTo>
                    <a:lnTo>
                      <a:pt x="20" y="62"/>
                    </a:lnTo>
                    <a:lnTo>
                      <a:pt x="42" y="54"/>
                    </a:lnTo>
                    <a:lnTo>
                      <a:pt x="62" y="40"/>
                    </a:lnTo>
                    <a:lnTo>
                      <a:pt x="70" y="28"/>
                    </a:lnTo>
                    <a:lnTo>
                      <a:pt x="70" y="28"/>
                    </a:lnTo>
                    <a:lnTo>
                      <a:pt x="70" y="28"/>
                    </a:lnTo>
                    <a:lnTo>
                      <a:pt x="76" y="24"/>
                    </a:lnTo>
                    <a:lnTo>
                      <a:pt x="84" y="10"/>
                    </a:lnTo>
                    <a:lnTo>
                      <a:pt x="84" y="2"/>
                    </a:lnTo>
                    <a:lnTo>
                      <a:pt x="84" y="2"/>
                    </a:lnTo>
                    <a:lnTo>
                      <a:pt x="86" y="0"/>
                    </a:lnTo>
                    <a:lnTo>
                      <a:pt x="86" y="0"/>
                    </a:lnTo>
                    <a:lnTo>
                      <a:pt x="86" y="0"/>
                    </a:lnTo>
                    <a:lnTo>
                      <a:pt x="86" y="0"/>
                    </a:lnTo>
                    <a:lnTo>
                      <a:pt x="88" y="2"/>
                    </a:lnTo>
                    <a:lnTo>
                      <a:pt x="100" y="20"/>
                    </a:lnTo>
                    <a:lnTo>
                      <a:pt x="102" y="38"/>
                    </a:lnTo>
                    <a:lnTo>
                      <a:pt x="104" y="48"/>
                    </a:lnTo>
                    <a:lnTo>
                      <a:pt x="104" y="58"/>
                    </a:lnTo>
                    <a:lnTo>
                      <a:pt x="104" y="58"/>
                    </a:lnTo>
                    <a:lnTo>
                      <a:pt x="104" y="60"/>
                    </a:lnTo>
                    <a:lnTo>
                      <a:pt x="94" y="62"/>
                    </a:lnTo>
                    <a:lnTo>
                      <a:pt x="94" y="74"/>
                    </a:lnTo>
                    <a:lnTo>
                      <a:pt x="76" y="134"/>
                    </a:lnTo>
                    <a:lnTo>
                      <a:pt x="70" y="162"/>
                    </a:lnTo>
                    <a:lnTo>
                      <a:pt x="58" y="190"/>
                    </a:lnTo>
                    <a:lnTo>
                      <a:pt x="58" y="190"/>
                    </a:lnTo>
                    <a:lnTo>
                      <a:pt x="58" y="192"/>
                    </a:lnTo>
                    <a:lnTo>
                      <a:pt x="38" y="200"/>
                    </a:lnTo>
                    <a:lnTo>
                      <a:pt x="38" y="200"/>
                    </a:lnTo>
                    <a:lnTo>
                      <a:pt x="38" y="200"/>
                    </a:lnTo>
                    <a:lnTo>
                      <a:pt x="38" y="200"/>
                    </a:lnTo>
                    <a:lnTo>
                      <a:pt x="18" y="200"/>
                    </a:lnTo>
                    <a:lnTo>
                      <a:pt x="18"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1" name="Freeform 452"/>
              <p:cNvSpPr>
                <a:spLocks noEditPoints="1"/>
              </p:cNvSpPr>
              <p:nvPr/>
            </p:nvSpPr>
            <p:spPr bwMode="auto">
              <a:xfrm>
                <a:off x="3471" y="2691"/>
                <a:ext cx="108" cy="204"/>
              </a:xfrm>
              <a:custGeom>
                <a:avLst/>
                <a:gdLst>
                  <a:gd name="T0" fmla="*/ 100 w 108"/>
                  <a:gd name="T1" fmla="*/ 22 h 204"/>
                  <a:gd name="T2" fmla="*/ 104 w 108"/>
                  <a:gd name="T3" fmla="*/ 50 h 204"/>
                  <a:gd name="T4" fmla="*/ 94 w 108"/>
                  <a:gd name="T5" fmla="*/ 62 h 204"/>
                  <a:gd name="T6" fmla="*/ 76 w 108"/>
                  <a:gd name="T7" fmla="*/ 136 h 204"/>
                  <a:gd name="T8" fmla="*/ 58 w 108"/>
                  <a:gd name="T9" fmla="*/ 192 h 204"/>
                  <a:gd name="T10" fmla="*/ 20 w 108"/>
                  <a:gd name="T11" fmla="*/ 200 h 204"/>
                  <a:gd name="T12" fmla="*/ 10 w 108"/>
                  <a:gd name="T13" fmla="*/ 164 h 204"/>
                  <a:gd name="T14" fmla="*/ 18 w 108"/>
                  <a:gd name="T15" fmla="*/ 130 h 204"/>
                  <a:gd name="T16" fmla="*/ 18 w 108"/>
                  <a:gd name="T17" fmla="*/ 98 h 204"/>
                  <a:gd name="T18" fmla="*/ 20 w 108"/>
                  <a:gd name="T19" fmla="*/ 74 h 204"/>
                  <a:gd name="T20" fmla="*/ 44 w 108"/>
                  <a:gd name="T21" fmla="*/ 58 h 204"/>
                  <a:gd name="T22" fmla="*/ 72 w 108"/>
                  <a:gd name="T23" fmla="*/ 30 h 204"/>
                  <a:gd name="T24" fmla="*/ 88 w 108"/>
                  <a:gd name="T25" fmla="*/ 14 h 204"/>
                  <a:gd name="T26" fmla="*/ 88 w 108"/>
                  <a:gd name="T27" fmla="*/ 0 h 204"/>
                  <a:gd name="T28" fmla="*/ 88 w 108"/>
                  <a:gd name="T29" fmla="*/ 0 h 204"/>
                  <a:gd name="T30" fmla="*/ 86 w 108"/>
                  <a:gd name="T31" fmla="*/ 2 h 204"/>
                  <a:gd name="T32" fmla="*/ 84 w 108"/>
                  <a:gd name="T33" fmla="*/ 12 h 204"/>
                  <a:gd name="T34" fmla="*/ 72 w 108"/>
                  <a:gd name="T35" fmla="*/ 28 h 204"/>
                  <a:gd name="T36" fmla="*/ 70 w 108"/>
                  <a:gd name="T37" fmla="*/ 28 h 204"/>
                  <a:gd name="T38" fmla="*/ 42 w 108"/>
                  <a:gd name="T39" fmla="*/ 54 h 204"/>
                  <a:gd name="T40" fmla="*/ 22 w 108"/>
                  <a:gd name="T41" fmla="*/ 62 h 204"/>
                  <a:gd name="T42" fmla="*/ 16 w 108"/>
                  <a:gd name="T43" fmla="*/ 72 h 204"/>
                  <a:gd name="T44" fmla="*/ 10 w 108"/>
                  <a:gd name="T45" fmla="*/ 80 h 204"/>
                  <a:gd name="T46" fmla="*/ 14 w 108"/>
                  <a:gd name="T47" fmla="*/ 98 h 204"/>
                  <a:gd name="T48" fmla="*/ 14 w 108"/>
                  <a:gd name="T49" fmla="*/ 128 h 204"/>
                  <a:gd name="T50" fmla="*/ 0 w 108"/>
                  <a:gd name="T51" fmla="*/ 146 h 204"/>
                  <a:gd name="T52" fmla="*/ 6 w 108"/>
                  <a:gd name="T53" fmla="*/ 164 h 204"/>
                  <a:gd name="T54" fmla="*/ 8 w 108"/>
                  <a:gd name="T55" fmla="*/ 182 h 204"/>
                  <a:gd name="T56" fmla="*/ 16 w 108"/>
                  <a:gd name="T57" fmla="*/ 200 h 204"/>
                  <a:gd name="T58" fmla="*/ 20 w 108"/>
                  <a:gd name="T59" fmla="*/ 204 h 204"/>
                  <a:gd name="T60" fmla="*/ 38 w 108"/>
                  <a:gd name="T61" fmla="*/ 204 h 204"/>
                  <a:gd name="T62" fmla="*/ 40 w 108"/>
                  <a:gd name="T63" fmla="*/ 204 h 204"/>
                  <a:gd name="T64" fmla="*/ 60 w 108"/>
                  <a:gd name="T65" fmla="*/ 196 h 204"/>
                  <a:gd name="T66" fmla="*/ 62 w 108"/>
                  <a:gd name="T67" fmla="*/ 194 h 204"/>
                  <a:gd name="T68" fmla="*/ 74 w 108"/>
                  <a:gd name="T69" fmla="*/ 166 h 204"/>
                  <a:gd name="T70" fmla="*/ 80 w 108"/>
                  <a:gd name="T71" fmla="*/ 138 h 204"/>
                  <a:gd name="T72" fmla="*/ 98 w 108"/>
                  <a:gd name="T73" fmla="*/ 78 h 204"/>
                  <a:gd name="T74" fmla="*/ 98 w 108"/>
                  <a:gd name="T75" fmla="*/ 66 h 204"/>
                  <a:gd name="T76" fmla="*/ 106 w 108"/>
                  <a:gd name="T77" fmla="*/ 64 h 204"/>
                  <a:gd name="T78" fmla="*/ 108 w 108"/>
                  <a:gd name="T79" fmla="*/ 60 h 204"/>
                  <a:gd name="T80" fmla="*/ 108 w 108"/>
                  <a:gd name="T81" fmla="*/ 50 h 204"/>
                  <a:gd name="T82" fmla="*/ 106 w 108"/>
                  <a:gd name="T83" fmla="*/ 38 h 204"/>
                  <a:gd name="T84" fmla="*/ 104 w 108"/>
                  <a:gd name="T85" fmla="*/ 22 h 204"/>
                  <a:gd name="T86" fmla="*/ 92 w 108"/>
                  <a:gd name="T87" fmla="*/ 2 h 204"/>
                  <a:gd name="T88" fmla="*/ 88 w 108"/>
                  <a:gd name="T8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 h="204">
                    <a:moveTo>
                      <a:pt x="88" y="4"/>
                    </a:moveTo>
                    <a:lnTo>
                      <a:pt x="100" y="22"/>
                    </a:lnTo>
                    <a:lnTo>
                      <a:pt x="102" y="40"/>
                    </a:lnTo>
                    <a:lnTo>
                      <a:pt x="104" y="50"/>
                    </a:lnTo>
                    <a:lnTo>
                      <a:pt x="104" y="60"/>
                    </a:lnTo>
                    <a:lnTo>
                      <a:pt x="94" y="62"/>
                    </a:lnTo>
                    <a:lnTo>
                      <a:pt x="94" y="76"/>
                    </a:lnTo>
                    <a:lnTo>
                      <a:pt x="76" y="136"/>
                    </a:lnTo>
                    <a:lnTo>
                      <a:pt x="70" y="164"/>
                    </a:lnTo>
                    <a:lnTo>
                      <a:pt x="58" y="192"/>
                    </a:lnTo>
                    <a:lnTo>
                      <a:pt x="40" y="200"/>
                    </a:lnTo>
                    <a:lnTo>
                      <a:pt x="20" y="200"/>
                    </a:lnTo>
                    <a:lnTo>
                      <a:pt x="12" y="182"/>
                    </a:lnTo>
                    <a:lnTo>
                      <a:pt x="10" y="164"/>
                    </a:lnTo>
                    <a:lnTo>
                      <a:pt x="4" y="148"/>
                    </a:lnTo>
                    <a:lnTo>
                      <a:pt x="18" y="130"/>
                    </a:lnTo>
                    <a:lnTo>
                      <a:pt x="22" y="112"/>
                    </a:lnTo>
                    <a:lnTo>
                      <a:pt x="18" y="98"/>
                    </a:lnTo>
                    <a:lnTo>
                      <a:pt x="12" y="84"/>
                    </a:lnTo>
                    <a:lnTo>
                      <a:pt x="20" y="74"/>
                    </a:lnTo>
                    <a:lnTo>
                      <a:pt x="24" y="66"/>
                    </a:lnTo>
                    <a:lnTo>
                      <a:pt x="44" y="58"/>
                    </a:lnTo>
                    <a:lnTo>
                      <a:pt x="66" y="44"/>
                    </a:lnTo>
                    <a:lnTo>
                      <a:pt x="72" y="30"/>
                    </a:lnTo>
                    <a:lnTo>
                      <a:pt x="80" y="28"/>
                    </a:lnTo>
                    <a:lnTo>
                      <a:pt x="88" y="14"/>
                    </a:lnTo>
                    <a:lnTo>
                      <a:pt x="88" y="4"/>
                    </a:lnTo>
                    <a:close/>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2" name="Freeform 453"/>
              <p:cNvSpPr>
                <a:spLocks/>
              </p:cNvSpPr>
              <p:nvPr/>
            </p:nvSpPr>
            <p:spPr bwMode="auto">
              <a:xfrm>
                <a:off x="3475" y="2695"/>
                <a:ext cx="100" cy="196"/>
              </a:xfrm>
              <a:custGeom>
                <a:avLst/>
                <a:gdLst>
                  <a:gd name="T0" fmla="*/ 84 w 100"/>
                  <a:gd name="T1" fmla="*/ 0 h 196"/>
                  <a:gd name="T2" fmla="*/ 96 w 100"/>
                  <a:gd name="T3" fmla="*/ 18 h 196"/>
                  <a:gd name="T4" fmla="*/ 98 w 100"/>
                  <a:gd name="T5" fmla="*/ 36 h 196"/>
                  <a:gd name="T6" fmla="*/ 100 w 100"/>
                  <a:gd name="T7" fmla="*/ 46 h 196"/>
                  <a:gd name="T8" fmla="*/ 100 w 100"/>
                  <a:gd name="T9" fmla="*/ 56 h 196"/>
                  <a:gd name="T10" fmla="*/ 90 w 100"/>
                  <a:gd name="T11" fmla="*/ 58 h 196"/>
                  <a:gd name="T12" fmla="*/ 90 w 100"/>
                  <a:gd name="T13" fmla="*/ 72 h 196"/>
                  <a:gd name="T14" fmla="*/ 72 w 100"/>
                  <a:gd name="T15" fmla="*/ 132 h 196"/>
                  <a:gd name="T16" fmla="*/ 66 w 100"/>
                  <a:gd name="T17" fmla="*/ 160 h 196"/>
                  <a:gd name="T18" fmla="*/ 54 w 100"/>
                  <a:gd name="T19" fmla="*/ 188 h 196"/>
                  <a:gd name="T20" fmla="*/ 36 w 100"/>
                  <a:gd name="T21" fmla="*/ 196 h 196"/>
                  <a:gd name="T22" fmla="*/ 16 w 100"/>
                  <a:gd name="T23" fmla="*/ 196 h 196"/>
                  <a:gd name="T24" fmla="*/ 8 w 100"/>
                  <a:gd name="T25" fmla="*/ 178 h 196"/>
                  <a:gd name="T26" fmla="*/ 6 w 100"/>
                  <a:gd name="T27" fmla="*/ 160 h 196"/>
                  <a:gd name="T28" fmla="*/ 0 w 100"/>
                  <a:gd name="T29" fmla="*/ 144 h 196"/>
                  <a:gd name="T30" fmla="*/ 14 w 100"/>
                  <a:gd name="T31" fmla="*/ 126 h 196"/>
                  <a:gd name="T32" fmla="*/ 18 w 100"/>
                  <a:gd name="T33" fmla="*/ 108 h 196"/>
                  <a:gd name="T34" fmla="*/ 14 w 100"/>
                  <a:gd name="T35" fmla="*/ 94 h 196"/>
                  <a:gd name="T36" fmla="*/ 8 w 100"/>
                  <a:gd name="T37" fmla="*/ 80 h 196"/>
                  <a:gd name="T38" fmla="*/ 16 w 100"/>
                  <a:gd name="T39" fmla="*/ 70 h 196"/>
                  <a:gd name="T40" fmla="*/ 20 w 100"/>
                  <a:gd name="T41" fmla="*/ 62 h 196"/>
                  <a:gd name="T42" fmla="*/ 40 w 100"/>
                  <a:gd name="T43" fmla="*/ 54 h 196"/>
                  <a:gd name="T44" fmla="*/ 62 w 100"/>
                  <a:gd name="T45" fmla="*/ 40 h 196"/>
                  <a:gd name="T46" fmla="*/ 68 w 100"/>
                  <a:gd name="T47" fmla="*/ 26 h 196"/>
                  <a:gd name="T48" fmla="*/ 76 w 100"/>
                  <a:gd name="T49" fmla="*/ 24 h 196"/>
                  <a:gd name="T50" fmla="*/ 84 w 100"/>
                  <a:gd name="T51" fmla="*/ 10 h 196"/>
                  <a:gd name="T52" fmla="*/ 84 w 100"/>
                  <a:gd name="T5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96">
                    <a:moveTo>
                      <a:pt x="84" y="0"/>
                    </a:moveTo>
                    <a:lnTo>
                      <a:pt x="96" y="18"/>
                    </a:lnTo>
                    <a:lnTo>
                      <a:pt x="98" y="36"/>
                    </a:lnTo>
                    <a:lnTo>
                      <a:pt x="100" y="46"/>
                    </a:lnTo>
                    <a:lnTo>
                      <a:pt x="100" y="56"/>
                    </a:lnTo>
                    <a:lnTo>
                      <a:pt x="90" y="58"/>
                    </a:lnTo>
                    <a:lnTo>
                      <a:pt x="90" y="72"/>
                    </a:lnTo>
                    <a:lnTo>
                      <a:pt x="72" y="132"/>
                    </a:lnTo>
                    <a:lnTo>
                      <a:pt x="66" y="160"/>
                    </a:lnTo>
                    <a:lnTo>
                      <a:pt x="54" y="188"/>
                    </a:lnTo>
                    <a:lnTo>
                      <a:pt x="36" y="196"/>
                    </a:lnTo>
                    <a:lnTo>
                      <a:pt x="16" y="196"/>
                    </a:lnTo>
                    <a:lnTo>
                      <a:pt x="8" y="178"/>
                    </a:lnTo>
                    <a:lnTo>
                      <a:pt x="6" y="160"/>
                    </a:lnTo>
                    <a:lnTo>
                      <a:pt x="0" y="144"/>
                    </a:lnTo>
                    <a:lnTo>
                      <a:pt x="14" y="126"/>
                    </a:lnTo>
                    <a:lnTo>
                      <a:pt x="18" y="108"/>
                    </a:lnTo>
                    <a:lnTo>
                      <a:pt x="14" y="94"/>
                    </a:lnTo>
                    <a:lnTo>
                      <a:pt x="8" y="80"/>
                    </a:lnTo>
                    <a:lnTo>
                      <a:pt x="16" y="70"/>
                    </a:lnTo>
                    <a:lnTo>
                      <a:pt x="20" y="62"/>
                    </a:lnTo>
                    <a:lnTo>
                      <a:pt x="40" y="54"/>
                    </a:lnTo>
                    <a:lnTo>
                      <a:pt x="62" y="40"/>
                    </a:lnTo>
                    <a:lnTo>
                      <a:pt x="68" y="26"/>
                    </a:lnTo>
                    <a:lnTo>
                      <a:pt x="76" y="24"/>
                    </a:lnTo>
                    <a:lnTo>
                      <a:pt x="84" y="1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3" name="Freeform 454"/>
              <p:cNvSpPr>
                <a:spLocks/>
              </p:cNvSpPr>
              <p:nvPr/>
            </p:nvSpPr>
            <p:spPr bwMode="auto">
              <a:xfrm>
                <a:off x="3471" y="2691"/>
                <a:ext cx="108" cy="204"/>
              </a:xfrm>
              <a:custGeom>
                <a:avLst/>
                <a:gdLst>
                  <a:gd name="T0" fmla="*/ 88 w 108"/>
                  <a:gd name="T1" fmla="*/ 0 h 204"/>
                  <a:gd name="T2" fmla="*/ 88 w 108"/>
                  <a:gd name="T3" fmla="*/ 0 h 204"/>
                  <a:gd name="T4" fmla="*/ 84 w 108"/>
                  <a:gd name="T5" fmla="*/ 4 h 204"/>
                  <a:gd name="T6" fmla="*/ 76 w 108"/>
                  <a:gd name="T7" fmla="*/ 24 h 204"/>
                  <a:gd name="T8" fmla="*/ 72 w 108"/>
                  <a:gd name="T9" fmla="*/ 28 h 204"/>
                  <a:gd name="T10" fmla="*/ 62 w 108"/>
                  <a:gd name="T11" fmla="*/ 40 h 204"/>
                  <a:gd name="T12" fmla="*/ 22 w 108"/>
                  <a:gd name="T13" fmla="*/ 62 h 204"/>
                  <a:gd name="T14" fmla="*/ 20 w 108"/>
                  <a:gd name="T15" fmla="*/ 64 h 204"/>
                  <a:gd name="T16" fmla="*/ 10 w 108"/>
                  <a:gd name="T17" fmla="*/ 80 h 204"/>
                  <a:gd name="T18" fmla="*/ 10 w 108"/>
                  <a:gd name="T19" fmla="*/ 84 h 204"/>
                  <a:gd name="T20" fmla="*/ 18 w 108"/>
                  <a:gd name="T21" fmla="*/ 112 h 204"/>
                  <a:gd name="T22" fmla="*/ 0 w 108"/>
                  <a:gd name="T23" fmla="*/ 146 h 204"/>
                  <a:gd name="T24" fmla="*/ 0 w 108"/>
                  <a:gd name="T25" fmla="*/ 150 h 204"/>
                  <a:gd name="T26" fmla="*/ 8 w 108"/>
                  <a:gd name="T27" fmla="*/ 182 h 204"/>
                  <a:gd name="T28" fmla="*/ 8 w 108"/>
                  <a:gd name="T29" fmla="*/ 184 h 204"/>
                  <a:gd name="T30" fmla="*/ 16 w 108"/>
                  <a:gd name="T31" fmla="*/ 200 h 204"/>
                  <a:gd name="T32" fmla="*/ 38 w 108"/>
                  <a:gd name="T33" fmla="*/ 204 h 204"/>
                  <a:gd name="T34" fmla="*/ 40 w 108"/>
                  <a:gd name="T35" fmla="*/ 204 h 204"/>
                  <a:gd name="T36" fmla="*/ 40 w 108"/>
                  <a:gd name="T37" fmla="*/ 204 h 204"/>
                  <a:gd name="T38" fmla="*/ 60 w 108"/>
                  <a:gd name="T39" fmla="*/ 196 h 204"/>
                  <a:gd name="T40" fmla="*/ 74 w 108"/>
                  <a:gd name="T41" fmla="*/ 166 h 204"/>
                  <a:gd name="T42" fmla="*/ 74 w 108"/>
                  <a:gd name="T43" fmla="*/ 166 h 204"/>
                  <a:gd name="T44" fmla="*/ 98 w 108"/>
                  <a:gd name="T45" fmla="*/ 78 h 204"/>
                  <a:gd name="T46" fmla="*/ 98 w 108"/>
                  <a:gd name="T47" fmla="*/ 76 h 204"/>
                  <a:gd name="T48" fmla="*/ 106 w 108"/>
                  <a:gd name="T49" fmla="*/ 64 h 204"/>
                  <a:gd name="T50" fmla="*/ 108 w 108"/>
                  <a:gd name="T51" fmla="*/ 64 h 204"/>
                  <a:gd name="T52" fmla="*/ 108 w 108"/>
                  <a:gd name="T53" fmla="*/ 50 h 204"/>
                  <a:gd name="T54" fmla="*/ 108 w 108"/>
                  <a:gd name="T55" fmla="*/ 50 h 204"/>
                  <a:gd name="T56" fmla="*/ 104 w 108"/>
                  <a:gd name="T57" fmla="*/ 22 h 204"/>
                  <a:gd name="T58" fmla="*/ 102 w 108"/>
                  <a:gd name="T59" fmla="*/ 20 h 204"/>
                  <a:gd name="T60" fmla="*/ 92 w 108"/>
                  <a:gd name="T61" fmla="*/ 2 h 204"/>
                  <a:gd name="T62" fmla="*/ 88 w 108"/>
                  <a:gd name="T6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204">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4" name="Freeform 455"/>
              <p:cNvSpPr>
                <a:spLocks/>
              </p:cNvSpPr>
              <p:nvPr/>
            </p:nvSpPr>
            <p:spPr bwMode="auto">
              <a:xfrm>
                <a:off x="3099" y="2839"/>
                <a:ext cx="232" cy="200"/>
              </a:xfrm>
              <a:custGeom>
                <a:avLst/>
                <a:gdLst>
                  <a:gd name="T0" fmla="*/ 46 w 232"/>
                  <a:gd name="T1" fmla="*/ 200 h 200"/>
                  <a:gd name="T2" fmla="*/ 30 w 232"/>
                  <a:gd name="T3" fmla="*/ 194 h 200"/>
                  <a:gd name="T4" fmla="*/ 30 w 232"/>
                  <a:gd name="T5" fmla="*/ 192 h 200"/>
                  <a:gd name="T6" fmla="*/ 18 w 232"/>
                  <a:gd name="T7" fmla="*/ 170 h 200"/>
                  <a:gd name="T8" fmla="*/ 18 w 232"/>
                  <a:gd name="T9" fmla="*/ 166 h 200"/>
                  <a:gd name="T10" fmla="*/ 18 w 232"/>
                  <a:gd name="T11" fmla="*/ 146 h 200"/>
                  <a:gd name="T12" fmla="*/ 4 w 232"/>
                  <a:gd name="T13" fmla="*/ 112 h 200"/>
                  <a:gd name="T14" fmla="*/ 0 w 232"/>
                  <a:gd name="T15" fmla="*/ 100 h 200"/>
                  <a:gd name="T16" fmla="*/ 2 w 232"/>
                  <a:gd name="T17" fmla="*/ 96 h 200"/>
                  <a:gd name="T18" fmla="*/ 2 w 232"/>
                  <a:gd name="T19" fmla="*/ 94 h 200"/>
                  <a:gd name="T20" fmla="*/ 6 w 232"/>
                  <a:gd name="T21" fmla="*/ 92 h 200"/>
                  <a:gd name="T22" fmla="*/ 8 w 232"/>
                  <a:gd name="T23" fmla="*/ 92 h 200"/>
                  <a:gd name="T24" fmla="*/ 10 w 232"/>
                  <a:gd name="T25" fmla="*/ 94 h 200"/>
                  <a:gd name="T26" fmla="*/ 22 w 232"/>
                  <a:gd name="T27" fmla="*/ 104 h 200"/>
                  <a:gd name="T28" fmla="*/ 46 w 232"/>
                  <a:gd name="T29" fmla="*/ 96 h 200"/>
                  <a:gd name="T30" fmla="*/ 46 w 232"/>
                  <a:gd name="T31" fmla="*/ 44 h 200"/>
                  <a:gd name="T32" fmla="*/ 48 w 232"/>
                  <a:gd name="T33" fmla="*/ 42 h 200"/>
                  <a:gd name="T34" fmla="*/ 48 w 232"/>
                  <a:gd name="T35" fmla="*/ 42 h 200"/>
                  <a:gd name="T36" fmla="*/ 60 w 232"/>
                  <a:gd name="T37" fmla="*/ 54 h 200"/>
                  <a:gd name="T38" fmla="*/ 62 w 232"/>
                  <a:gd name="T39" fmla="*/ 54 h 200"/>
                  <a:gd name="T40" fmla="*/ 72 w 232"/>
                  <a:gd name="T41" fmla="*/ 70 h 200"/>
                  <a:gd name="T42" fmla="*/ 88 w 232"/>
                  <a:gd name="T43" fmla="*/ 50 h 200"/>
                  <a:gd name="T44" fmla="*/ 90 w 232"/>
                  <a:gd name="T45" fmla="*/ 50 h 200"/>
                  <a:gd name="T46" fmla="*/ 98 w 232"/>
                  <a:gd name="T47" fmla="*/ 50 h 200"/>
                  <a:gd name="T48" fmla="*/ 108 w 232"/>
                  <a:gd name="T49" fmla="*/ 56 h 200"/>
                  <a:gd name="T50" fmla="*/ 130 w 232"/>
                  <a:gd name="T51" fmla="*/ 42 h 200"/>
                  <a:gd name="T52" fmla="*/ 164 w 232"/>
                  <a:gd name="T53" fmla="*/ 6 h 200"/>
                  <a:gd name="T54" fmla="*/ 172 w 232"/>
                  <a:gd name="T55" fmla="*/ 6 h 200"/>
                  <a:gd name="T56" fmla="*/ 174 w 232"/>
                  <a:gd name="T57" fmla="*/ 2 h 200"/>
                  <a:gd name="T58" fmla="*/ 176 w 232"/>
                  <a:gd name="T59" fmla="*/ 0 h 200"/>
                  <a:gd name="T60" fmla="*/ 202 w 232"/>
                  <a:gd name="T61" fmla="*/ 2 h 200"/>
                  <a:gd name="T62" fmla="*/ 210 w 232"/>
                  <a:gd name="T63" fmla="*/ 8 h 200"/>
                  <a:gd name="T64" fmla="*/ 212 w 232"/>
                  <a:gd name="T65" fmla="*/ 10 h 200"/>
                  <a:gd name="T66" fmla="*/ 218 w 232"/>
                  <a:gd name="T67" fmla="*/ 70 h 200"/>
                  <a:gd name="T68" fmla="*/ 230 w 232"/>
                  <a:gd name="T69" fmla="*/ 72 h 200"/>
                  <a:gd name="T70" fmla="*/ 232 w 232"/>
                  <a:gd name="T71" fmla="*/ 74 h 200"/>
                  <a:gd name="T72" fmla="*/ 228 w 232"/>
                  <a:gd name="T73" fmla="*/ 84 h 200"/>
                  <a:gd name="T74" fmla="*/ 228 w 232"/>
                  <a:gd name="T75" fmla="*/ 96 h 200"/>
                  <a:gd name="T76" fmla="*/ 220 w 232"/>
                  <a:gd name="T77" fmla="*/ 104 h 200"/>
                  <a:gd name="T78" fmla="*/ 200 w 232"/>
                  <a:gd name="T79" fmla="*/ 132 h 200"/>
                  <a:gd name="T80" fmla="*/ 168 w 232"/>
                  <a:gd name="T81" fmla="*/ 162 h 200"/>
                  <a:gd name="T82" fmla="*/ 148 w 232"/>
                  <a:gd name="T83" fmla="*/ 182 h 200"/>
                  <a:gd name="T84" fmla="*/ 126 w 232"/>
                  <a:gd name="T85" fmla="*/ 186 h 200"/>
                  <a:gd name="T86" fmla="*/ 114 w 232"/>
                  <a:gd name="T87" fmla="*/ 192 h 200"/>
                  <a:gd name="T88" fmla="*/ 114 w 232"/>
                  <a:gd name="T89" fmla="*/ 192 h 200"/>
                  <a:gd name="T90" fmla="*/ 78 w 232"/>
                  <a:gd name="T91" fmla="*/ 190 h 200"/>
                  <a:gd name="T92" fmla="*/ 46 w 232"/>
                  <a:gd name="T93" fmla="*/ 200 h 200"/>
                  <a:gd name="T94" fmla="*/ 46 w 232"/>
                  <a:gd name="T9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00">
                    <a:moveTo>
                      <a:pt x="46" y="200"/>
                    </a:moveTo>
                    <a:lnTo>
                      <a:pt x="46" y="200"/>
                    </a:lnTo>
                    <a:lnTo>
                      <a:pt x="44" y="200"/>
                    </a:lnTo>
                    <a:lnTo>
                      <a:pt x="30" y="194"/>
                    </a:lnTo>
                    <a:lnTo>
                      <a:pt x="30" y="194"/>
                    </a:lnTo>
                    <a:lnTo>
                      <a:pt x="30" y="192"/>
                    </a:lnTo>
                    <a:lnTo>
                      <a:pt x="24" y="182"/>
                    </a:lnTo>
                    <a:lnTo>
                      <a:pt x="18" y="170"/>
                    </a:lnTo>
                    <a:lnTo>
                      <a:pt x="18" y="170"/>
                    </a:lnTo>
                    <a:lnTo>
                      <a:pt x="18" y="166"/>
                    </a:lnTo>
                    <a:lnTo>
                      <a:pt x="26" y="158"/>
                    </a:lnTo>
                    <a:lnTo>
                      <a:pt x="18" y="146"/>
                    </a:lnTo>
                    <a:lnTo>
                      <a:pt x="10" y="134"/>
                    </a:lnTo>
                    <a:lnTo>
                      <a:pt x="4" y="112"/>
                    </a:lnTo>
                    <a:lnTo>
                      <a:pt x="0" y="100"/>
                    </a:lnTo>
                    <a:lnTo>
                      <a:pt x="0" y="100"/>
                    </a:lnTo>
                    <a:lnTo>
                      <a:pt x="0" y="98"/>
                    </a:lnTo>
                    <a:lnTo>
                      <a:pt x="2" y="96"/>
                    </a:lnTo>
                    <a:lnTo>
                      <a:pt x="2" y="96"/>
                    </a:lnTo>
                    <a:lnTo>
                      <a:pt x="2" y="94"/>
                    </a:lnTo>
                    <a:lnTo>
                      <a:pt x="6" y="92"/>
                    </a:lnTo>
                    <a:lnTo>
                      <a:pt x="6" y="92"/>
                    </a:lnTo>
                    <a:lnTo>
                      <a:pt x="6" y="92"/>
                    </a:lnTo>
                    <a:lnTo>
                      <a:pt x="8" y="92"/>
                    </a:lnTo>
                    <a:lnTo>
                      <a:pt x="8" y="92"/>
                    </a:lnTo>
                    <a:lnTo>
                      <a:pt x="10" y="94"/>
                    </a:lnTo>
                    <a:lnTo>
                      <a:pt x="14" y="100"/>
                    </a:lnTo>
                    <a:lnTo>
                      <a:pt x="22" y="104"/>
                    </a:lnTo>
                    <a:lnTo>
                      <a:pt x="34" y="104"/>
                    </a:lnTo>
                    <a:lnTo>
                      <a:pt x="46" y="96"/>
                    </a:lnTo>
                    <a:lnTo>
                      <a:pt x="46" y="44"/>
                    </a:lnTo>
                    <a:lnTo>
                      <a:pt x="46" y="44"/>
                    </a:lnTo>
                    <a:lnTo>
                      <a:pt x="48" y="42"/>
                    </a:lnTo>
                    <a:lnTo>
                      <a:pt x="48" y="42"/>
                    </a:lnTo>
                    <a:lnTo>
                      <a:pt x="48" y="42"/>
                    </a:lnTo>
                    <a:lnTo>
                      <a:pt x="48" y="42"/>
                    </a:lnTo>
                    <a:lnTo>
                      <a:pt x="50" y="42"/>
                    </a:lnTo>
                    <a:lnTo>
                      <a:pt x="60" y="54"/>
                    </a:lnTo>
                    <a:lnTo>
                      <a:pt x="60" y="54"/>
                    </a:lnTo>
                    <a:lnTo>
                      <a:pt x="62" y="54"/>
                    </a:lnTo>
                    <a:lnTo>
                      <a:pt x="62" y="70"/>
                    </a:lnTo>
                    <a:lnTo>
                      <a:pt x="72" y="70"/>
                    </a:lnTo>
                    <a:lnTo>
                      <a:pt x="84" y="60"/>
                    </a:lnTo>
                    <a:lnTo>
                      <a:pt x="88" y="50"/>
                    </a:lnTo>
                    <a:lnTo>
                      <a:pt x="88" y="50"/>
                    </a:lnTo>
                    <a:lnTo>
                      <a:pt x="90" y="50"/>
                    </a:lnTo>
                    <a:lnTo>
                      <a:pt x="98" y="50"/>
                    </a:lnTo>
                    <a:lnTo>
                      <a:pt x="98" y="50"/>
                    </a:lnTo>
                    <a:lnTo>
                      <a:pt x="100" y="50"/>
                    </a:lnTo>
                    <a:lnTo>
                      <a:pt x="108" y="56"/>
                    </a:lnTo>
                    <a:lnTo>
                      <a:pt x="124" y="54"/>
                    </a:lnTo>
                    <a:lnTo>
                      <a:pt x="130" y="42"/>
                    </a:lnTo>
                    <a:lnTo>
                      <a:pt x="164" y="6"/>
                    </a:lnTo>
                    <a:lnTo>
                      <a:pt x="164" y="6"/>
                    </a:lnTo>
                    <a:lnTo>
                      <a:pt x="166" y="6"/>
                    </a:lnTo>
                    <a:lnTo>
                      <a:pt x="172" y="6"/>
                    </a:lnTo>
                    <a:lnTo>
                      <a:pt x="174" y="2"/>
                    </a:lnTo>
                    <a:lnTo>
                      <a:pt x="174" y="2"/>
                    </a:lnTo>
                    <a:lnTo>
                      <a:pt x="176" y="0"/>
                    </a:lnTo>
                    <a:lnTo>
                      <a:pt x="176" y="0"/>
                    </a:lnTo>
                    <a:lnTo>
                      <a:pt x="202" y="2"/>
                    </a:lnTo>
                    <a:lnTo>
                      <a:pt x="202" y="2"/>
                    </a:lnTo>
                    <a:lnTo>
                      <a:pt x="204" y="2"/>
                    </a:lnTo>
                    <a:lnTo>
                      <a:pt x="210" y="8"/>
                    </a:lnTo>
                    <a:lnTo>
                      <a:pt x="210" y="8"/>
                    </a:lnTo>
                    <a:lnTo>
                      <a:pt x="212" y="10"/>
                    </a:lnTo>
                    <a:lnTo>
                      <a:pt x="218" y="30"/>
                    </a:lnTo>
                    <a:lnTo>
                      <a:pt x="218" y="70"/>
                    </a:lnTo>
                    <a:lnTo>
                      <a:pt x="230" y="72"/>
                    </a:lnTo>
                    <a:lnTo>
                      <a:pt x="230" y="72"/>
                    </a:lnTo>
                    <a:lnTo>
                      <a:pt x="232" y="74"/>
                    </a:lnTo>
                    <a:lnTo>
                      <a:pt x="232" y="74"/>
                    </a:lnTo>
                    <a:lnTo>
                      <a:pt x="232" y="76"/>
                    </a:lnTo>
                    <a:lnTo>
                      <a:pt x="228" y="84"/>
                    </a:lnTo>
                    <a:lnTo>
                      <a:pt x="228" y="96"/>
                    </a:lnTo>
                    <a:lnTo>
                      <a:pt x="228" y="96"/>
                    </a:lnTo>
                    <a:lnTo>
                      <a:pt x="226" y="98"/>
                    </a:lnTo>
                    <a:lnTo>
                      <a:pt x="220" y="104"/>
                    </a:lnTo>
                    <a:lnTo>
                      <a:pt x="206" y="120"/>
                    </a:lnTo>
                    <a:lnTo>
                      <a:pt x="200" y="132"/>
                    </a:lnTo>
                    <a:lnTo>
                      <a:pt x="188" y="148"/>
                    </a:lnTo>
                    <a:lnTo>
                      <a:pt x="168" y="162"/>
                    </a:lnTo>
                    <a:lnTo>
                      <a:pt x="148" y="182"/>
                    </a:lnTo>
                    <a:lnTo>
                      <a:pt x="148" y="182"/>
                    </a:lnTo>
                    <a:lnTo>
                      <a:pt x="146" y="182"/>
                    </a:lnTo>
                    <a:lnTo>
                      <a:pt x="126" y="186"/>
                    </a:lnTo>
                    <a:lnTo>
                      <a:pt x="114" y="192"/>
                    </a:lnTo>
                    <a:lnTo>
                      <a:pt x="114" y="192"/>
                    </a:lnTo>
                    <a:lnTo>
                      <a:pt x="114" y="192"/>
                    </a:lnTo>
                    <a:lnTo>
                      <a:pt x="114" y="192"/>
                    </a:lnTo>
                    <a:lnTo>
                      <a:pt x="98" y="190"/>
                    </a:lnTo>
                    <a:lnTo>
                      <a:pt x="78" y="190"/>
                    </a:lnTo>
                    <a:lnTo>
                      <a:pt x="64" y="196"/>
                    </a:lnTo>
                    <a:lnTo>
                      <a:pt x="46" y="200"/>
                    </a:lnTo>
                    <a:lnTo>
                      <a:pt x="46" y="200"/>
                    </a:lnTo>
                    <a:lnTo>
                      <a:pt x="46" y="200"/>
                    </a:lnTo>
                    <a:lnTo>
                      <a:pt x="46"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5" name="Freeform 456"/>
              <p:cNvSpPr>
                <a:spLocks noEditPoints="1"/>
              </p:cNvSpPr>
              <p:nvPr/>
            </p:nvSpPr>
            <p:spPr bwMode="auto">
              <a:xfrm>
                <a:off x="3097" y="2837"/>
                <a:ext cx="236" cy="204"/>
              </a:xfrm>
              <a:custGeom>
                <a:avLst/>
                <a:gdLst>
                  <a:gd name="T0" fmla="*/ 212 w 236"/>
                  <a:gd name="T1" fmla="*/ 12 h 204"/>
                  <a:gd name="T2" fmla="*/ 218 w 236"/>
                  <a:gd name="T3" fmla="*/ 74 h 204"/>
                  <a:gd name="T4" fmla="*/ 228 w 236"/>
                  <a:gd name="T5" fmla="*/ 98 h 204"/>
                  <a:gd name="T6" fmla="*/ 200 w 236"/>
                  <a:gd name="T7" fmla="*/ 132 h 204"/>
                  <a:gd name="T8" fmla="*/ 148 w 236"/>
                  <a:gd name="T9" fmla="*/ 182 h 204"/>
                  <a:gd name="T10" fmla="*/ 100 w 236"/>
                  <a:gd name="T11" fmla="*/ 190 h 204"/>
                  <a:gd name="T12" fmla="*/ 48 w 236"/>
                  <a:gd name="T13" fmla="*/ 200 h 204"/>
                  <a:gd name="T14" fmla="*/ 20 w 236"/>
                  <a:gd name="T15" fmla="*/ 170 h 204"/>
                  <a:gd name="T16" fmla="*/ 14 w 236"/>
                  <a:gd name="T17" fmla="*/ 134 h 204"/>
                  <a:gd name="T18" fmla="*/ 4 w 236"/>
                  <a:gd name="T19" fmla="*/ 98 h 204"/>
                  <a:gd name="T20" fmla="*/ 16 w 236"/>
                  <a:gd name="T21" fmla="*/ 104 h 204"/>
                  <a:gd name="T22" fmla="*/ 50 w 236"/>
                  <a:gd name="T23" fmla="*/ 98 h 204"/>
                  <a:gd name="T24" fmla="*/ 62 w 236"/>
                  <a:gd name="T25" fmla="*/ 74 h 204"/>
                  <a:gd name="T26" fmla="*/ 92 w 236"/>
                  <a:gd name="T27" fmla="*/ 54 h 204"/>
                  <a:gd name="T28" fmla="*/ 126 w 236"/>
                  <a:gd name="T29" fmla="*/ 58 h 204"/>
                  <a:gd name="T30" fmla="*/ 176 w 236"/>
                  <a:gd name="T31" fmla="*/ 10 h 204"/>
                  <a:gd name="T32" fmla="*/ 178 w 236"/>
                  <a:gd name="T33" fmla="*/ 0 h 204"/>
                  <a:gd name="T34" fmla="*/ 174 w 236"/>
                  <a:gd name="T35" fmla="*/ 6 h 204"/>
                  <a:gd name="T36" fmla="*/ 164 w 236"/>
                  <a:gd name="T37" fmla="*/ 8 h 204"/>
                  <a:gd name="T38" fmla="*/ 130 w 236"/>
                  <a:gd name="T39" fmla="*/ 44 h 204"/>
                  <a:gd name="T40" fmla="*/ 102 w 236"/>
                  <a:gd name="T41" fmla="*/ 50 h 204"/>
                  <a:gd name="T42" fmla="*/ 92 w 236"/>
                  <a:gd name="T43" fmla="*/ 50 h 204"/>
                  <a:gd name="T44" fmla="*/ 88 w 236"/>
                  <a:gd name="T45" fmla="*/ 52 h 204"/>
                  <a:gd name="T46" fmla="*/ 66 w 236"/>
                  <a:gd name="T47" fmla="*/ 70 h 204"/>
                  <a:gd name="T48" fmla="*/ 64 w 236"/>
                  <a:gd name="T49" fmla="*/ 54 h 204"/>
                  <a:gd name="T50" fmla="*/ 50 w 236"/>
                  <a:gd name="T51" fmla="*/ 42 h 204"/>
                  <a:gd name="T52" fmla="*/ 50 w 236"/>
                  <a:gd name="T53" fmla="*/ 42 h 204"/>
                  <a:gd name="T54" fmla="*/ 46 w 236"/>
                  <a:gd name="T55" fmla="*/ 96 h 204"/>
                  <a:gd name="T56" fmla="*/ 18 w 236"/>
                  <a:gd name="T57" fmla="*/ 100 h 204"/>
                  <a:gd name="T58" fmla="*/ 10 w 236"/>
                  <a:gd name="T59" fmla="*/ 92 h 204"/>
                  <a:gd name="T60" fmla="*/ 6 w 236"/>
                  <a:gd name="T61" fmla="*/ 92 h 204"/>
                  <a:gd name="T62" fmla="*/ 2 w 236"/>
                  <a:gd name="T63" fmla="*/ 96 h 204"/>
                  <a:gd name="T64" fmla="*/ 0 w 236"/>
                  <a:gd name="T65" fmla="*/ 104 h 204"/>
                  <a:gd name="T66" fmla="*/ 10 w 236"/>
                  <a:gd name="T67" fmla="*/ 136 h 204"/>
                  <a:gd name="T68" fmla="*/ 24 w 236"/>
                  <a:gd name="T69" fmla="*/ 158 h 204"/>
                  <a:gd name="T70" fmla="*/ 16 w 236"/>
                  <a:gd name="T71" fmla="*/ 170 h 204"/>
                  <a:gd name="T72" fmla="*/ 30 w 236"/>
                  <a:gd name="T73" fmla="*/ 196 h 204"/>
                  <a:gd name="T74" fmla="*/ 46 w 236"/>
                  <a:gd name="T75" fmla="*/ 204 h 204"/>
                  <a:gd name="T76" fmla="*/ 48 w 236"/>
                  <a:gd name="T77" fmla="*/ 204 h 204"/>
                  <a:gd name="T78" fmla="*/ 82 w 236"/>
                  <a:gd name="T79" fmla="*/ 194 h 204"/>
                  <a:gd name="T80" fmla="*/ 116 w 236"/>
                  <a:gd name="T81" fmla="*/ 196 h 204"/>
                  <a:gd name="T82" fmla="*/ 118 w 236"/>
                  <a:gd name="T83" fmla="*/ 196 h 204"/>
                  <a:gd name="T84" fmla="*/ 148 w 236"/>
                  <a:gd name="T85" fmla="*/ 186 h 204"/>
                  <a:gd name="T86" fmla="*/ 190 w 236"/>
                  <a:gd name="T87" fmla="*/ 152 h 204"/>
                  <a:gd name="T88" fmla="*/ 204 w 236"/>
                  <a:gd name="T89" fmla="*/ 134 h 204"/>
                  <a:gd name="T90" fmla="*/ 210 w 236"/>
                  <a:gd name="T91" fmla="*/ 124 h 204"/>
                  <a:gd name="T92" fmla="*/ 230 w 236"/>
                  <a:gd name="T93" fmla="*/ 102 h 204"/>
                  <a:gd name="T94" fmla="*/ 236 w 236"/>
                  <a:gd name="T95" fmla="*/ 78 h 204"/>
                  <a:gd name="T96" fmla="*/ 236 w 236"/>
                  <a:gd name="T97" fmla="*/ 74 h 204"/>
                  <a:gd name="T98" fmla="*/ 222 w 236"/>
                  <a:gd name="T99" fmla="*/ 66 h 204"/>
                  <a:gd name="T100" fmla="*/ 222 w 236"/>
                  <a:gd name="T101" fmla="*/ 32 h 204"/>
                  <a:gd name="T102" fmla="*/ 214 w 236"/>
                  <a:gd name="T103" fmla="*/ 8 h 204"/>
                  <a:gd name="T104" fmla="*/ 204 w 236"/>
                  <a:gd name="T105" fmla="*/ 2 h 204"/>
                  <a:gd name="T106" fmla="*/ 178 w 236"/>
                  <a:gd name="T10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04">
                    <a:moveTo>
                      <a:pt x="178" y="4"/>
                    </a:moveTo>
                    <a:lnTo>
                      <a:pt x="204" y="6"/>
                    </a:lnTo>
                    <a:lnTo>
                      <a:pt x="212" y="12"/>
                    </a:lnTo>
                    <a:lnTo>
                      <a:pt x="218" y="34"/>
                    </a:lnTo>
                    <a:lnTo>
                      <a:pt x="218" y="66"/>
                    </a:lnTo>
                    <a:lnTo>
                      <a:pt x="218" y="74"/>
                    </a:lnTo>
                    <a:lnTo>
                      <a:pt x="232" y="76"/>
                    </a:lnTo>
                    <a:lnTo>
                      <a:pt x="228" y="86"/>
                    </a:lnTo>
                    <a:lnTo>
                      <a:pt x="228" y="98"/>
                    </a:lnTo>
                    <a:lnTo>
                      <a:pt x="220" y="104"/>
                    </a:lnTo>
                    <a:lnTo>
                      <a:pt x="206" y="122"/>
                    </a:lnTo>
                    <a:lnTo>
                      <a:pt x="200" y="132"/>
                    </a:lnTo>
                    <a:lnTo>
                      <a:pt x="188" y="148"/>
                    </a:lnTo>
                    <a:lnTo>
                      <a:pt x="170" y="162"/>
                    </a:lnTo>
                    <a:lnTo>
                      <a:pt x="148" y="182"/>
                    </a:lnTo>
                    <a:lnTo>
                      <a:pt x="128" y="186"/>
                    </a:lnTo>
                    <a:lnTo>
                      <a:pt x="116" y="192"/>
                    </a:lnTo>
                    <a:lnTo>
                      <a:pt x="100" y="190"/>
                    </a:lnTo>
                    <a:lnTo>
                      <a:pt x="80" y="190"/>
                    </a:lnTo>
                    <a:lnTo>
                      <a:pt x="64" y="196"/>
                    </a:lnTo>
                    <a:lnTo>
                      <a:pt x="48" y="200"/>
                    </a:lnTo>
                    <a:lnTo>
                      <a:pt x="34" y="194"/>
                    </a:lnTo>
                    <a:lnTo>
                      <a:pt x="28" y="182"/>
                    </a:lnTo>
                    <a:lnTo>
                      <a:pt x="20" y="170"/>
                    </a:lnTo>
                    <a:lnTo>
                      <a:pt x="30" y="160"/>
                    </a:lnTo>
                    <a:lnTo>
                      <a:pt x="22" y="146"/>
                    </a:lnTo>
                    <a:lnTo>
                      <a:pt x="14" y="134"/>
                    </a:lnTo>
                    <a:lnTo>
                      <a:pt x="8" y="114"/>
                    </a:lnTo>
                    <a:lnTo>
                      <a:pt x="4" y="102"/>
                    </a:lnTo>
                    <a:lnTo>
                      <a:pt x="4" y="98"/>
                    </a:lnTo>
                    <a:lnTo>
                      <a:pt x="8" y="96"/>
                    </a:lnTo>
                    <a:lnTo>
                      <a:pt x="10" y="96"/>
                    </a:lnTo>
                    <a:lnTo>
                      <a:pt x="16" y="104"/>
                    </a:lnTo>
                    <a:lnTo>
                      <a:pt x="22" y="108"/>
                    </a:lnTo>
                    <a:lnTo>
                      <a:pt x="36" y="108"/>
                    </a:lnTo>
                    <a:lnTo>
                      <a:pt x="50" y="98"/>
                    </a:lnTo>
                    <a:lnTo>
                      <a:pt x="50" y="46"/>
                    </a:lnTo>
                    <a:lnTo>
                      <a:pt x="62" y="56"/>
                    </a:lnTo>
                    <a:lnTo>
                      <a:pt x="62" y="74"/>
                    </a:lnTo>
                    <a:lnTo>
                      <a:pt x="76" y="74"/>
                    </a:lnTo>
                    <a:lnTo>
                      <a:pt x="88" y="64"/>
                    </a:lnTo>
                    <a:lnTo>
                      <a:pt x="92" y="54"/>
                    </a:lnTo>
                    <a:lnTo>
                      <a:pt x="100" y="54"/>
                    </a:lnTo>
                    <a:lnTo>
                      <a:pt x="110" y="60"/>
                    </a:lnTo>
                    <a:lnTo>
                      <a:pt x="126" y="58"/>
                    </a:lnTo>
                    <a:lnTo>
                      <a:pt x="134" y="46"/>
                    </a:lnTo>
                    <a:lnTo>
                      <a:pt x="168" y="10"/>
                    </a:lnTo>
                    <a:lnTo>
                      <a:pt x="176" y="10"/>
                    </a:lnTo>
                    <a:lnTo>
                      <a:pt x="178" y="4"/>
                    </a:lnTo>
                    <a:close/>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6" name="Freeform 457"/>
              <p:cNvSpPr>
                <a:spLocks/>
              </p:cNvSpPr>
              <p:nvPr/>
            </p:nvSpPr>
            <p:spPr bwMode="auto">
              <a:xfrm>
                <a:off x="3101" y="2841"/>
                <a:ext cx="228" cy="196"/>
              </a:xfrm>
              <a:custGeom>
                <a:avLst/>
                <a:gdLst>
                  <a:gd name="T0" fmla="*/ 174 w 228"/>
                  <a:gd name="T1" fmla="*/ 0 h 196"/>
                  <a:gd name="T2" fmla="*/ 200 w 228"/>
                  <a:gd name="T3" fmla="*/ 2 h 196"/>
                  <a:gd name="T4" fmla="*/ 208 w 228"/>
                  <a:gd name="T5" fmla="*/ 8 h 196"/>
                  <a:gd name="T6" fmla="*/ 214 w 228"/>
                  <a:gd name="T7" fmla="*/ 30 h 196"/>
                  <a:gd name="T8" fmla="*/ 214 w 228"/>
                  <a:gd name="T9" fmla="*/ 62 h 196"/>
                  <a:gd name="T10" fmla="*/ 214 w 228"/>
                  <a:gd name="T11" fmla="*/ 70 h 196"/>
                  <a:gd name="T12" fmla="*/ 228 w 228"/>
                  <a:gd name="T13" fmla="*/ 72 h 196"/>
                  <a:gd name="T14" fmla="*/ 224 w 228"/>
                  <a:gd name="T15" fmla="*/ 82 h 196"/>
                  <a:gd name="T16" fmla="*/ 224 w 228"/>
                  <a:gd name="T17" fmla="*/ 94 h 196"/>
                  <a:gd name="T18" fmla="*/ 216 w 228"/>
                  <a:gd name="T19" fmla="*/ 100 h 196"/>
                  <a:gd name="T20" fmla="*/ 202 w 228"/>
                  <a:gd name="T21" fmla="*/ 118 h 196"/>
                  <a:gd name="T22" fmla="*/ 196 w 228"/>
                  <a:gd name="T23" fmla="*/ 128 h 196"/>
                  <a:gd name="T24" fmla="*/ 184 w 228"/>
                  <a:gd name="T25" fmla="*/ 144 h 196"/>
                  <a:gd name="T26" fmla="*/ 166 w 228"/>
                  <a:gd name="T27" fmla="*/ 158 h 196"/>
                  <a:gd name="T28" fmla="*/ 144 w 228"/>
                  <a:gd name="T29" fmla="*/ 178 h 196"/>
                  <a:gd name="T30" fmla="*/ 124 w 228"/>
                  <a:gd name="T31" fmla="*/ 182 h 196"/>
                  <a:gd name="T32" fmla="*/ 112 w 228"/>
                  <a:gd name="T33" fmla="*/ 188 h 196"/>
                  <a:gd name="T34" fmla="*/ 96 w 228"/>
                  <a:gd name="T35" fmla="*/ 186 h 196"/>
                  <a:gd name="T36" fmla="*/ 76 w 228"/>
                  <a:gd name="T37" fmla="*/ 186 h 196"/>
                  <a:gd name="T38" fmla="*/ 60 w 228"/>
                  <a:gd name="T39" fmla="*/ 192 h 196"/>
                  <a:gd name="T40" fmla="*/ 44 w 228"/>
                  <a:gd name="T41" fmla="*/ 196 h 196"/>
                  <a:gd name="T42" fmla="*/ 30 w 228"/>
                  <a:gd name="T43" fmla="*/ 190 h 196"/>
                  <a:gd name="T44" fmla="*/ 24 w 228"/>
                  <a:gd name="T45" fmla="*/ 178 h 196"/>
                  <a:gd name="T46" fmla="*/ 16 w 228"/>
                  <a:gd name="T47" fmla="*/ 166 h 196"/>
                  <a:gd name="T48" fmla="*/ 26 w 228"/>
                  <a:gd name="T49" fmla="*/ 156 h 196"/>
                  <a:gd name="T50" fmla="*/ 18 w 228"/>
                  <a:gd name="T51" fmla="*/ 142 h 196"/>
                  <a:gd name="T52" fmla="*/ 10 w 228"/>
                  <a:gd name="T53" fmla="*/ 130 h 196"/>
                  <a:gd name="T54" fmla="*/ 4 w 228"/>
                  <a:gd name="T55" fmla="*/ 110 h 196"/>
                  <a:gd name="T56" fmla="*/ 0 w 228"/>
                  <a:gd name="T57" fmla="*/ 98 h 196"/>
                  <a:gd name="T58" fmla="*/ 0 w 228"/>
                  <a:gd name="T59" fmla="*/ 94 h 196"/>
                  <a:gd name="T60" fmla="*/ 4 w 228"/>
                  <a:gd name="T61" fmla="*/ 92 h 196"/>
                  <a:gd name="T62" fmla="*/ 6 w 228"/>
                  <a:gd name="T63" fmla="*/ 92 h 196"/>
                  <a:gd name="T64" fmla="*/ 12 w 228"/>
                  <a:gd name="T65" fmla="*/ 100 h 196"/>
                  <a:gd name="T66" fmla="*/ 18 w 228"/>
                  <a:gd name="T67" fmla="*/ 104 h 196"/>
                  <a:gd name="T68" fmla="*/ 32 w 228"/>
                  <a:gd name="T69" fmla="*/ 104 h 196"/>
                  <a:gd name="T70" fmla="*/ 46 w 228"/>
                  <a:gd name="T71" fmla="*/ 94 h 196"/>
                  <a:gd name="T72" fmla="*/ 46 w 228"/>
                  <a:gd name="T73" fmla="*/ 42 h 196"/>
                  <a:gd name="T74" fmla="*/ 58 w 228"/>
                  <a:gd name="T75" fmla="*/ 52 h 196"/>
                  <a:gd name="T76" fmla="*/ 58 w 228"/>
                  <a:gd name="T77" fmla="*/ 70 h 196"/>
                  <a:gd name="T78" fmla="*/ 72 w 228"/>
                  <a:gd name="T79" fmla="*/ 70 h 196"/>
                  <a:gd name="T80" fmla="*/ 84 w 228"/>
                  <a:gd name="T81" fmla="*/ 60 h 196"/>
                  <a:gd name="T82" fmla="*/ 88 w 228"/>
                  <a:gd name="T83" fmla="*/ 50 h 196"/>
                  <a:gd name="T84" fmla="*/ 96 w 228"/>
                  <a:gd name="T85" fmla="*/ 50 h 196"/>
                  <a:gd name="T86" fmla="*/ 106 w 228"/>
                  <a:gd name="T87" fmla="*/ 56 h 196"/>
                  <a:gd name="T88" fmla="*/ 122 w 228"/>
                  <a:gd name="T89" fmla="*/ 54 h 196"/>
                  <a:gd name="T90" fmla="*/ 130 w 228"/>
                  <a:gd name="T91" fmla="*/ 42 h 196"/>
                  <a:gd name="T92" fmla="*/ 164 w 228"/>
                  <a:gd name="T93" fmla="*/ 6 h 196"/>
                  <a:gd name="T94" fmla="*/ 172 w 228"/>
                  <a:gd name="T95" fmla="*/ 6 h 196"/>
                  <a:gd name="T96" fmla="*/ 174 w 228"/>
                  <a:gd name="T9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196">
                    <a:moveTo>
                      <a:pt x="174" y="0"/>
                    </a:moveTo>
                    <a:lnTo>
                      <a:pt x="200" y="2"/>
                    </a:lnTo>
                    <a:lnTo>
                      <a:pt x="208" y="8"/>
                    </a:lnTo>
                    <a:lnTo>
                      <a:pt x="214" y="30"/>
                    </a:lnTo>
                    <a:lnTo>
                      <a:pt x="214" y="62"/>
                    </a:lnTo>
                    <a:lnTo>
                      <a:pt x="214" y="70"/>
                    </a:lnTo>
                    <a:lnTo>
                      <a:pt x="228" y="72"/>
                    </a:lnTo>
                    <a:lnTo>
                      <a:pt x="224" y="82"/>
                    </a:lnTo>
                    <a:lnTo>
                      <a:pt x="224" y="94"/>
                    </a:lnTo>
                    <a:lnTo>
                      <a:pt x="216" y="100"/>
                    </a:lnTo>
                    <a:lnTo>
                      <a:pt x="202" y="118"/>
                    </a:lnTo>
                    <a:lnTo>
                      <a:pt x="196" y="128"/>
                    </a:lnTo>
                    <a:lnTo>
                      <a:pt x="184" y="144"/>
                    </a:lnTo>
                    <a:lnTo>
                      <a:pt x="166" y="158"/>
                    </a:lnTo>
                    <a:lnTo>
                      <a:pt x="144" y="178"/>
                    </a:lnTo>
                    <a:lnTo>
                      <a:pt x="124" y="182"/>
                    </a:lnTo>
                    <a:lnTo>
                      <a:pt x="112" y="188"/>
                    </a:lnTo>
                    <a:lnTo>
                      <a:pt x="96" y="186"/>
                    </a:lnTo>
                    <a:lnTo>
                      <a:pt x="76" y="186"/>
                    </a:lnTo>
                    <a:lnTo>
                      <a:pt x="60" y="192"/>
                    </a:lnTo>
                    <a:lnTo>
                      <a:pt x="44" y="196"/>
                    </a:lnTo>
                    <a:lnTo>
                      <a:pt x="30" y="190"/>
                    </a:lnTo>
                    <a:lnTo>
                      <a:pt x="24" y="178"/>
                    </a:lnTo>
                    <a:lnTo>
                      <a:pt x="16" y="166"/>
                    </a:lnTo>
                    <a:lnTo>
                      <a:pt x="26" y="156"/>
                    </a:lnTo>
                    <a:lnTo>
                      <a:pt x="18" y="142"/>
                    </a:lnTo>
                    <a:lnTo>
                      <a:pt x="10" y="130"/>
                    </a:lnTo>
                    <a:lnTo>
                      <a:pt x="4" y="110"/>
                    </a:lnTo>
                    <a:lnTo>
                      <a:pt x="0" y="98"/>
                    </a:lnTo>
                    <a:lnTo>
                      <a:pt x="0" y="94"/>
                    </a:lnTo>
                    <a:lnTo>
                      <a:pt x="4" y="92"/>
                    </a:lnTo>
                    <a:lnTo>
                      <a:pt x="6" y="92"/>
                    </a:lnTo>
                    <a:lnTo>
                      <a:pt x="12" y="100"/>
                    </a:lnTo>
                    <a:lnTo>
                      <a:pt x="18" y="104"/>
                    </a:lnTo>
                    <a:lnTo>
                      <a:pt x="32" y="104"/>
                    </a:lnTo>
                    <a:lnTo>
                      <a:pt x="46" y="94"/>
                    </a:lnTo>
                    <a:lnTo>
                      <a:pt x="46" y="42"/>
                    </a:lnTo>
                    <a:lnTo>
                      <a:pt x="58" y="52"/>
                    </a:lnTo>
                    <a:lnTo>
                      <a:pt x="58" y="70"/>
                    </a:lnTo>
                    <a:lnTo>
                      <a:pt x="72" y="70"/>
                    </a:lnTo>
                    <a:lnTo>
                      <a:pt x="84" y="60"/>
                    </a:lnTo>
                    <a:lnTo>
                      <a:pt x="88" y="50"/>
                    </a:lnTo>
                    <a:lnTo>
                      <a:pt x="96" y="50"/>
                    </a:lnTo>
                    <a:lnTo>
                      <a:pt x="106" y="56"/>
                    </a:lnTo>
                    <a:lnTo>
                      <a:pt x="122" y="54"/>
                    </a:lnTo>
                    <a:lnTo>
                      <a:pt x="130" y="42"/>
                    </a:lnTo>
                    <a:lnTo>
                      <a:pt x="164" y="6"/>
                    </a:lnTo>
                    <a:lnTo>
                      <a:pt x="172" y="6"/>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7" name="Freeform 458"/>
              <p:cNvSpPr>
                <a:spLocks/>
              </p:cNvSpPr>
              <p:nvPr/>
            </p:nvSpPr>
            <p:spPr bwMode="auto">
              <a:xfrm>
                <a:off x="3097" y="2837"/>
                <a:ext cx="236" cy="204"/>
              </a:xfrm>
              <a:custGeom>
                <a:avLst/>
                <a:gdLst>
                  <a:gd name="T0" fmla="*/ 178 w 236"/>
                  <a:gd name="T1" fmla="*/ 0 h 204"/>
                  <a:gd name="T2" fmla="*/ 174 w 236"/>
                  <a:gd name="T3" fmla="*/ 4 h 204"/>
                  <a:gd name="T4" fmla="*/ 168 w 236"/>
                  <a:gd name="T5" fmla="*/ 6 h 204"/>
                  <a:gd name="T6" fmla="*/ 164 w 236"/>
                  <a:gd name="T7" fmla="*/ 8 h 204"/>
                  <a:gd name="T8" fmla="*/ 130 w 236"/>
                  <a:gd name="T9" fmla="*/ 44 h 204"/>
                  <a:gd name="T10" fmla="*/ 124 w 236"/>
                  <a:gd name="T11" fmla="*/ 54 h 204"/>
                  <a:gd name="T12" fmla="*/ 102 w 236"/>
                  <a:gd name="T13" fmla="*/ 50 h 204"/>
                  <a:gd name="T14" fmla="*/ 100 w 236"/>
                  <a:gd name="T15" fmla="*/ 50 h 204"/>
                  <a:gd name="T16" fmla="*/ 92 w 236"/>
                  <a:gd name="T17" fmla="*/ 50 h 204"/>
                  <a:gd name="T18" fmla="*/ 88 w 236"/>
                  <a:gd name="T19" fmla="*/ 52 h 204"/>
                  <a:gd name="T20" fmla="*/ 74 w 236"/>
                  <a:gd name="T21" fmla="*/ 70 h 204"/>
                  <a:gd name="T22" fmla="*/ 66 w 236"/>
                  <a:gd name="T23" fmla="*/ 56 h 204"/>
                  <a:gd name="T24" fmla="*/ 64 w 236"/>
                  <a:gd name="T25" fmla="*/ 54 h 204"/>
                  <a:gd name="T26" fmla="*/ 54 w 236"/>
                  <a:gd name="T27" fmla="*/ 44 h 204"/>
                  <a:gd name="T28" fmla="*/ 50 w 236"/>
                  <a:gd name="T29" fmla="*/ 42 h 204"/>
                  <a:gd name="T30" fmla="*/ 50 w 236"/>
                  <a:gd name="T31" fmla="*/ 42 h 204"/>
                  <a:gd name="T32" fmla="*/ 46 w 236"/>
                  <a:gd name="T33" fmla="*/ 46 h 204"/>
                  <a:gd name="T34" fmla="*/ 36 w 236"/>
                  <a:gd name="T35" fmla="*/ 104 h 204"/>
                  <a:gd name="T36" fmla="*/ 18 w 236"/>
                  <a:gd name="T37" fmla="*/ 100 h 204"/>
                  <a:gd name="T38" fmla="*/ 14 w 236"/>
                  <a:gd name="T39" fmla="*/ 94 h 204"/>
                  <a:gd name="T40" fmla="*/ 8 w 236"/>
                  <a:gd name="T41" fmla="*/ 92 h 204"/>
                  <a:gd name="T42" fmla="*/ 6 w 236"/>
                  <a:gd name="T43" fmla="*/ 92 h 204"/>
                  <a:gd name="T44" fmla="*/ 4 w 236"/>
                  <a:gd name="T45" fmla="*/ 94 h 204"/>
                  <a:gd name="T46" fmla="*/ 0 w 236"/>
                  <a:gd name="T47" fmla="*/ 100 h 204"/>
                  <a:gd name="T48" fmla="*/ 0 w 236"/>
                  <a:gd name="T49" fmla="*/ 104 h 204"/>
                  <a:gd name="T50" fmla="*/ 10 w 236"/>
                  <a:gd name="T51" fmla="*/ 136 h 204"/>
                  <a:gd name="T52" fmla="*/ 10 w 236"/>
                  <a:gd name="T53" fmla="*/ 136 h 204"/>
                  <a:gd name="T54" fmla="*/ 24 w 236"/>
                  <a:gd name="T55" fmla="*/ 158 h 204"/>
                  <a:gd name="T56" fmla="*/ 18 w 236"/>
                  <a:gd name="T57" fmla="*/ 168 h 204"/>
                  <a:gd name="T58" fmla="*/ 18 w 236"/>
                  <a:gd name="T59" fmla="*/ 172 h 204"/>
                  <a:gd name="T60" fmla="*/ 30 w 236"/>
                  <a:gd name="T61" fmla="*/ 196 h 204"/>
                  <a:gd name="T62" fmla="*/ 32 w 236"/>
                  <a:gd name="T63" fmla="*/ 198 h 204"/>
                  <a:gd name="T64" fmla="*/ 46 w 236"/>
                  <a:gd name="T65" fmla="*/ 204 h 204"/>
                  <a:gd name="T66" fmla="*/ 48 w 236"/>
                  <a:gd name="T67" fmla="*/ 204 h 204"/>
                  <a:gd name="T68" fmla="*/ 66 w 236"/>
                  <a:gd name="T69" fmla="*/ 200 h 204"/>
                  <a:gd name="T70" fmla="*/ 100 w 236"/>
                  <a:gd name="T71" fmla="*/ 194 h 204"/>
                  <a:gd name="T72" fmla="*/ 116 w 236"/>
                  <a:gd name="T73" fmla="*/ 196 h 204"/>
                  <a:gd name="T74" fmla="*/ 116 w 236"/>
                  <a:gd name="T75" fmla="*/ 196 h 204"/>
                  <a:gd name="T76" fmla="*/ 130 w 236"/>
                  <a:gd name="T77" fmla="*/ 190 h 204"/>
                  <a:gd name="T78" fmla="*/ 148 w 236"/>
                  <a:gd name="T79" fmla="*/ 186 h 204"/>
                  <a:gd name="T80" fmla="*/ 172 w 236"/>
                  <a:gd name="T81" fmla="*/ 166 h 204"/>
                  <a:gd name="T82" fmla="*/ 190 w 236"/>
                  <a:gd name="T83" fmla="*/ 152 h 204"/>
                  <a:gd name="T84" fmla="*/ 204 w 236"/>
                  <a:gd name="T85" fmla="*/ 134 h 204"/>
                  <a:gd name="T86" fmla="*/ 204 w 236"/>
                  <a:gd name="T87" fmla="*/ 134 h 204"/>
                  <a:gd name="T88" fmla="*/ 224 w 236"/>
                  <a:gd name="T89" fmla="*/ 106 h 204"/>
                  <a:gd name="T90" fmla="*/ 230 w 236"/>
                  <a:gd name="T91" fmla="*/ 102 h 204"/>
                  <a:gd name="T92" fmla="*/ 232 w 236"/>
                  <a:gd name="T93" fmla="*/ 86 h 204"/>
                  <a:gd name="T94" fmla="*/ 236 w 236"/>
                  <a:gd name="T95" fmla="*/ 78 h 204"/>
                  <a:gd name="T96" fmla="*/ 236 w 236"/>
                  <a:gd name="T97" fmla="*/ 74 h 204"/>
                  <a:gd name="T98" fmla="*/ 222 w 236"/>
                  <a:gd name="T99" fmla="*/ 72 h 204"/>
                  <a:gd name="T100" fmla="*/ 222 w 236"/>
                  <a:gd name="T101" fmla="*/ 34 h 204"/>
                  <a:gd name="T102" fmla="*/ 222 w 236"/>
                  <a:gd name="T103" fmla="*/ 32 h 204"/>
                  <a:gd name="T104" fmla="*/ 216 w 236"/>
                  <a:gd name="T105" fmla="*/ 10 h 204"/>
                  <a:gd name="T106" fmla="*/ 206 w 236"/>
                  <a:gd name="T107" fmla="*/ 4 h 204"/>
                  <a:gd name="T108" fmla="*/ 204 w 236"/>
                  <a:gd name="T109" fmla="*/ 2 h 204"/>
                  <a:gd name="T110" fmla="*/ 178 w 236"/>
                  <a:gd name="T111" fmla="*/ 0 h 204"/>
                  <a:gd name="T112" fmla="*/ 178 w 236"/>
                  <a:gd name="T11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04">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8" name="Freeform 459"/>
              <p:cNvSpPr>
                <a:spLocks/>
              </p:cNvSpPr>
              <p:nvPr/>
            </p:nvSpPr>
            <p:spPr bwMode="auto">
              <a:xfrm>
                <a:off x="3221" y="2749"/>
                <a:ext cx="110" cy="100"/>
              </a:xfrm>
              <a:custGeom>
                <a:avLst/>
                <a:gdLst>
                  <a:gd name="T0" fmla="*/ 56 w 110"/>
                  <a:gd name="T1" fmla="*/ 98 h 100"/>
                  <a:gd name="T2" fmla="*/ 56 w 110"/>
                  <a:gd name="T3" fmla="*/ 98 h 100"/>
                  <a:gd name="T4" fmla="*/ 54 w 110"/>
                  <a:gd name="T5" fmla="*/ 96 h 100"/>
                  <a:gd name="T6" fmla="*/ 52 w 110"/>
                  <a:gd name="T7" fmla="*/ 92 h 100"/>
                  <a:gd name="T8" fmla="*/ 40 w 110"/>
                  <a:gd name="T9" fmla="*/ 92 h 100"/>
                  <a:gd name="T10" fmla="*/ 40 w 110"/>
                  <a:gd name="T11" fmla="*/ 92 h 100"/>
                  <a:gd name="T12" fmla="*/ 40 w 110"/>
                  <a:gd name="T13" fmla="*/ 90 h 100"/>
                  <a:gd name="T14" fmla="*/ 32 w 110"/>
                  <a:gd name="T15" fmla="*/ 72 h 100"/>
                  <a:gd name="T16" fmla="*/ 12 w 110"/>
                  <a:gd name="T17" fmla="*/ 62 h 100"/>
                  <a:gd name="T18" fmla="*/ 12 w 110"/>
                  <a:gd name="T19" fmla="*/ 62 h 100"/>
                  <a:gd name="T20" fmla="*/ 10 w 110"/>
                  <a:gd name="T21" fmla="*/ 60 h 100"/>
                  <a:gd name="T22" fmla="*/ 8 w 110"/>
                  <a:gd name="T23" fmla="*/ 46 h 100"/>
                  <a:gd name="T24" fmla="*/ 0 w 110"/>
                  <a:gd name="T25" fmla="*/ 36 h 100"/>
                  <a:gd name="T26" fmla="*/ 0 w 110"/>
                  <a:gd name="T27" fmla="*/ 36 h 100"/>
                  <a:gd name="T28" fmla="*/ 0 w 110"/>
                  <a:gd name="T29" fmla="*/ 34 h 100"/>
                  <a:gd name="T30" fmla="*/ 0 w 110"/>
                  <a:gd name="T31" fmla="*/ 34 h 100"/>
                  <a:gd name="T32" fmla="*/ 2 w 110"/>
                  <a:gd name="T33" fmla="*/ 34 h 100"/>
                  <a:gd name="T34" fmla="*/ 26 w 110"/>
                  <a:gd name="T35" fmla="*/ 32 h 100"/>
                  <a:gd name="T36" fmla="*/ 38 w 110"/>
                  <a:gd name="T37" fmla="*/ 16 h 100"/>
                  <a:gd name="T38" fmla="*/ 38 w 110"/>
                  <a:gd name="T39" fmla="*/ 16 h 100"/>
                  <a:gd name="T40" fmla="*/ 40 w 110"/>
                  <a:gd name="T41" fmla="*/ 16 h 100"/>
                  <a:gd name="T42" fmla="*/ 48 w 110"/>
                  <a:gd name="T43" fmla="*/ 14 h 100"/>
                  <a:gd name="T44" fmla="*/ 56 w 110"/>
                  <a:gd name="T45" fmla="*/ 2 h 100"/>
                  <a:gd name="T46" fmla="*/ 56 w 110"/>
                  <a:gd name="T47" fmla="*/ 2 h 100"/>
                  <a:gd name="T48" fmla="*/ 58 w 110"/>
                  <a:gd name="T49" fmla="*/ 0 h 100"/>
                  <a:gd name="T50" fmla="*/ 72 w 110"/>
                  <a:gd name="T51" fmla="*/ 0 h 100"/>
                  <a:gd name="T52" fmla="*/ 108 w 110"/>
                  <a:gd name="T53" fmla="*/ 14 h 100"/>
                  <a:gd name="T54" fmla="*/ 108 w 110"/>
                  <a:gd name="T55" fmla="*/ 14 h 100"/>
                  <a:gd name="T56" fmla="*/ 108 w 110"/>
                  <a:gd name="T57" fmla="*/ 16 h 100"/>
                  <a:gd name="T58" fmla="*/ 110 w 110"/>
                  <a:gd name="T59" fmla="*/ 40 h 100"/>
                  <a:gd name="T60" fmla="*/ 110 w 110"/>
                  <a:gd name="T61" fmla="*/ 68 h 100"/>
                  <a:gd name="T62" fmla="*/ 110 w 110"/>
                  <a:gd name="T63" fmla="*/ 68 h 100"/>
                  <a:gd name="T64" fmla="*/ 110 w 110"/>
                  <a:gd name="T65" fmla="*/ 68 h 100"/>
                  <a:gd name="T66" fmla="*/ 104 w 110"/>
                  <a:gd name="T67" fmla="*/ 84 h 100"/>
                  <a:gd name="T68" fmla="*/ 104 w 110"/>
                  <a:gd name="T69" fmla="*/ 84 h 100"/>
                  <a:gd name="T70" fmla="*/ 102 w 110"/>
                  <a:gd name="T71" fmla="*/ 86 h 100"/>
                  <a:gd name="T72" fmla="*/ 84 w 110"/>
                  <a:gd name="T73" fmla="*/ 100 h 100"/>
                  <a:gd name="T74" fmla="*/ 84 w 110"/>
                  <a:gd name="T75" fmla="*/ 100 h 100"/>
                  <a:gd name="T76" fmla="*/ 82 w 110"/>
                  <a:gd name="T77" fmla="*/ 100 h 100"/>
                  <a:gd name="T78" fmla="*/ 82 w 110"/>
                  <a:gd name="T79" fmla="*/ 100 h 100"/>
                  <a:gd name="T80" fmla="*/ 56 w 110"/>
                  <a:gd name="T81" fmla="*/ 98 h 100"/>
                  <a:gd name="T82" fmla="*/ 56 w 110"/>
                  <a:gd name="T83"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100">
                    <a:moveTo>
                      <a:pt x="56" y="98"/>
                    </a:moveTo>
                    <a:lnTo>
                      <a:pt x="56" y="98"/>
                    </a:lnTo>
                    <a:lnTo>
                      <a:pt x="54" y="96"/>
                    </a:lnTo>
                    <a:lnTo>
                      <a:pt x="52" y="92"/>
                    </a:lnTo>
                    <a:lnTo>
                      <a:pt x="40" y="92"/>
                    </a:lnTo>
                    <a:lnTo>
                      <a:pt x="40" y="92"/>
                    </a:lnTo>
                    <a:lnTo>
                      <a:pt x="40" y="90"/>
                    </a:lnTo>
                    <a:lnTo>
                      <a:pt x="32" y="72"/>
                    </a:lnTo>
                    <a:lnTo>
                      <a:pt x="12" y="62"/>
                    </a:lnTo>
                    <a:lnTo>
                      <a:pt x="12" y="62"/>
                    </a:lnTo>
                    <a:lnTo>
                      <a:pt x="10" y="60"/>
                    </a:lnTo>
                    <a:lnTo>
                      <a:pt x="8" y="46"/>
                    </a:lnTo>
                    <a:lnTo>
                      <a:pt x="0" y="36"/>
                    </a:lnTo>
                    <a:lnTo>
                      <a:pt x="0" y="36"/>
                    </a:lnTo>
                    <a:lnTo>
                      <a:pt x="0" y="34"/>
                    </a:lnTo>
                    <a:lnTo>
                      <a:pt x="0" y="34"/>
                    </a:lnTo>
                    <a:lnTo>
                      <a:pt x="2" y="34"/>
                    </a:lnTo>
                    <a:lnTo>
                      <a:pt x="26" y="32"/>
                    </a:lnTo>
                    <a:lnTo>
                      <a:pt x="38" y="16"/>
                    </a:lnTo>
                    <a:lnTo>
                      <a:pt x="38" y="16"/>
                    </a:lnTo>
                    <a:lnTo>
                      <a:pt x="40" y="16"/>
                    </a:lnTo>
                    <a:lnTo>
                      <a:pt x="48" y="14"/>
                    </a:lnTo>
                    <a:lnTo>
                      <a:pt x="56" y="2"/>
                    </a:lnTo>
                    <a:lnTo>
                      <a:pt x="56" y="2"/>
                    </a:lnTo>
                    <a:lnTo>
                      <a:pt x="58" y="0"/>
                    </a:lnTo>
                    <a:lnTo>
                      <a:pt x="72" y="0"/>
                    </a:lnTo>
                    <a:lnTo>
                      <a:pt x="108" y="14"/>
                    </a:lnTo>
                    <a:lnTo>
                      <a:pt x="108" y="14"/>
                    </a:lnTo>
                    <a:lnTo>
                      <a:pt x="108" y="16"/>
                    </a:lnTo>
                    <a:lnTo>
                      <a:pt x="110" y="40"/>
                    </a:lnTo>
                    <a:lnTo>
                      <a:pt x="110" y="68"/>
                    </a:lnTo>
                    <a:lnTo>
                      <a:pt x="110" y="68"/>
                    </a:lnTo>
                    <a:lnTo>
                      <a:pt x="110" y="68"/>
                    </a:lnTo>
                    <a:lnTo>
                      <a:pt x="104" y="84"/>
                    </a:lnTo>
                    <a:lnTo>
                      <a:pt x="104" y="84"/>
                    </a:lnTo>
                    <a:lnTo>
                      <a:pt x="102" y="86"/>
                    </a:lnTo>
                    <a:lnTo>
                      <a:pt x="84" y="100"/>
                    </a:lnTo>
                    <a:lnTo>
                      <a:pt x="84" y="100"/>
                    </a:lnTo>
                    <a:lnTo>
                      <a:pt x="82" y="100"/>
                    </a:lnTo>
                    <a:lnTo>
                      <a:pt x="82" y="100"/>
                    </a:lnTo>
                    <a:lnTo>
                      <a:pt x="56" y="98"/>
                    </a:lnTo>
                    <a:lnTo>
                      <a:pt x="5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9" name="Freeform 460"/>
              <p:cNvSpPr>
                <a:spLocks noEditPoints="1"/>
              </p:cNvSpPr>
              <p:nvPr/>
            </p:nvSpPr>
            <p:spPr bwMode="auto">
              <a:xfrm>
                <a:off x="3219" y="2747"/>
                <a:ext cx="114" cy="104"/>
              </a:xfrm>
              <a:custGeom>
                <a:avLst/>
                <a:gdLst>
                  <a:gd name="T0" fmla="*/ 108 w 114"/>
                  <a:gd name="T1" fmla="*/ 18 h 104"/>
                  <a:gd name="T2" fmla="*/ 110 w 114"/>
                  <a:gd name="T3" fmla="*/ 70 h 104"/>
                  <a:gd name="T4" fmla="*/ 84 w 114"/>
                  <a:gd name="T5" fmla="*/ 100 h 104"/>
                  <a:gd name="T6" fmla="*/ 56 w 114"/>
                  <a:gd name="T7" fmla="*/ 92 h 104"/>
                  <a:gd name="T8" fmla="*/ 36 w 114"/>
                  <a:gd name="T9" fmla="*/ 74 h 104"/>
                  <a:gd name="T10" fmla="*/ 12 w 114"/>
                  <a:gd name="T11" fmla="*/ 48 h 104"/>
                  <a:gd name="T12" fmla="*/ 30 w 114"/>
                  <a:gd name="T13" fmla="*/ 36 h 104"/>
                  <a:gd name="T14" fmla="*/ 52 w 114"/>
                  <a:gd name="T15" fmla="*/ 18 h 104"/>
                  <a:gd name="T16" fmla="*/ 74 w 114"/>
                  <a:gd name="T17" fmla="*/ 4 h 104"/>
                  <a:gd name="T18" fmla="*/ 60 w 114"/>
                  <a:gd name="T19" fmla="*/ 0 h 104"/>
                  <a:gd name="T20" fmla="*/ 56 w 114"/>
                  <a:gd name="T21" fmla="*/ 2 h 104"/>
                  <a:gd name="T22" fmla="*/ 40 w 114"/>
                  <a:gd name="T23" fmla="*/ 16 h 104"/>
                  <a:gd name="T24" fmla="*/ 38 w 114"/>
                  <a:gd name="T25" fmla="*/ 16 h 104"/>
                  <a:gd name="T26" fmla="*/ 4 w 114"/>
                  <a:gd name="T27" fmla="*/ 34 h 104"/>
                  <a:gd name="T28" fmla="*/ 0 w 114"/>
                  <a:gd name="T29" fmla="*/ 36 h 104"/>
                  <a:gd name="T30" fmla="*/ 0 w 114"/>
                  <a:gd name="T31" fmla="*/ 40 h 104"/>
                  <a:gd name="T32" fmla="*/ 10 w 114"/>
                  <a:gd name="T33" fmla="*/ 64 h 104"/>
                  <a:gd name="T34" fmla="*/ 14 w 114"/>
                  <a:gd name="T35" fmla="*/ 66 h 104"/>
                  <a:gd name="T36" fmla="*/ 40 w 114"/>
                  <a:gd name="T37" fmla="*/ 92 h 104"/>
                  <a:gd name="T38" fmla="*/ 42 w 114"/>
                  <a:gd name="T39" fmla="*/ 96 h 104"/>
                  <a:gd name="T40" fmla="*/ 54 w 114"/>
                  <a:gd name="T41" fmla="*/ 100 h 104"/>
                  <a:gd name="T42" fmla="*/ 54 w 114"/>
                  <a:gd name="T43" fmla="*/ 102 h 104"/>
                  <a:gd name="T44" fmla="*/ 84 w 114"/>
                  <a:gd name="T45" fmla="*/ 104 h 104"/>
                  <a:gd name="T46" fmla="*/ 84 w 114"/>
                  <a:gd name="T47" fmla="*/ 104 h 104"/>
                  <a:gd name="T48" fmla="*/ 86 w 114"/>
                  <a:gd name="T49" fmla="*/ 104 h 104"/>
                  <a:gd name="T50" fmla="*/ 106 w 114"/>
                  <a:gd name="T51" fmla="*/ 88 h 104"/>
                  <a:gd name="T52" fmla="*/ 114 w 114"/>
                  <a:gd name="T53" fmla="*/ 72 h 104"/>
                  <a:gd name="T54" fmla="*/ 114 w 114"/>
                  <a:gd name="T55" fmla="*/ 70 h 104"/>
                  <a:gd name="T56" fmla="*/ 112 w 114"/>
                  <a:gd name="T57" fmla="*/ 16 h 104"/>
                  <a:gd name="T58" fmla="*/ 112 w 114"/>
                  <a:gd name="T59" fmla="*/ 14 h 104"/>
                  <a:gd name="T60" fmla="*/ 74 w 114"/>
                  <a:gd name="T61" fmla="*/ 0 h 104"/>
                  <a:gd name="T62" fmla="*/ 74 w 114"/>
                  <a:gd name="T6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4">
                    <a:moveTo>
                      <a:pt x="74" y="4"/>
                    </a:moveTo>
                    <a:lnTo>
                      <a:pt x="108" y="18"/>
                    </a:lnTo>
                    <a:lnTo>
                      <a:pt x="110" y="42"/>
                    </a:lnTo>
                    <a:lnTo>
                      <a:pt x="110" y="70"/>
                    </a:lnTo>
                    <a:lnTo>
                      <a:pt x="104" y="86"/>
                    </a:lnTo>
                    <a:lnTo>
                      <a:pt x="84" y="100"/>
                    </a:lnTo>
                    <a:lnTo>
                      <a:pt x="58" y="98"/>
                    </a:lnTo>
                    <a:lnTo>
                      <a:pt x="56" y="92"/>
                    </a:lnTo>
                    <a:lnTo>
                      <a:pt x="44" y="92"/>
                    </a:lnTo>
                    <a:lnTo>
                      <a:pt x="36" y="74"/>
                    </a:lnTo>
                    <a:lnTo>
                      <a:pt x="14" y="62"/>
                    </a:lnTo>
                    <a:lnTo>
                      <a:pt x="12" y="48"/>
                    </a:lnTo>
                    <a:lnTo>
                      <a:pt x="4" y="38"/>
                    </a:lnTo>
                    <a:lnTo>
                      <a:pt x="30" y="36"/>
                    </a:lnTo>
                    <a:lnTo>
                      <a:pt x="42" y="20"/>
                    </a:lnTo>
                    <a:lnTo>
                      <a:pt x="52" y="18"/>
                    </a:lnTo>
                    <a:lnTo>
                      <a:pt x="60" y="4"/>
                    </a:lnTo>
                    <a:lnTo>
                      <a:pt x="74" y="4"/>
                    </a:lnTo>
                    <a:close/>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0" name="Freeform 461"/>
              <p:cNvSpPr>
                <a:spLocks/>
              </p:cNvSpPr>
              <p:nvPr/>
            </p:nvSpPr>
            <p:spPr bwMode="auto">
              <a:xfrm>
                <a:off x="3223" y="2751"/>
                <a:ext cx="106" cy="96"/>
              </a:xfrm>
              <a:custGeom>
                <a:avLst/>
                <a:gdLst>
                  <a:gd name="T0" fmla="*/ 70 w 106"/>
                  <a:gd name="T1" fmla="*/ 0 h 96"/>
                  <a:gd name="T2" fmla="*/ 104 w 106"/>
                  <a:gd name="T3" fmla="*/ 14 h 96"/>
                  <a:gd name="T4" fmla="*/ 106 w 106"/>
                  <a:gd name="T5" fmla="*/ 38 h 96"/>
                  <a:gd name="T6" fmla="*/ 106 w 106"/>
                  <a:gd name="T7" fmla="*/ 66 h 96"/>
                  <a:gd name="T8" fmla="*/ 100 w 106"/>
                  <a:gd name="T9" fmla="*/ 82 h 96"/>
                  <a:gd name="T10" fmla="*/ 80 w 106"/>
                  <a:gd name="T11" fmla="*/ 96 h 96"/>
                  <a:gd name="T12" fmla="*/ 54 w 106"/>
                  <a:gd name="T13" fmla="*/ 94 h 96"/>
                  <a:gd name="T14" fmla="*/ 52 w 106"/>
                  <a:gd name="T15" fmla="*/ 88 h 96"/>
                  <a:gd name="T16" fmla="*/ 40 w 106"/>
                  <a:gd name="T17" fmla="*/ 88 h 96"/>
                  <a:gd name="T18" fmla="*/ 32 w 106"/>
                  <a:gd name="T19" fmla="*/ 70 h 96"/>
                  <a:gd name="T20" fmla="*/ 10 w 106"/>
                  <a:gd name="T21" fmla="*/ 58 h 96"/>
                  <a:gd name="T22" fmla="*/ 8 w 106"/>
                  <a:gd name="T23" fmla="*/ 44 h 96"/>
                  <a:gd name="T24" fmla="*/ 0 w 106"/>
                  <a:gd name="T25" fmla="*/ 34 h 96"/>
                  <a:gd name="T26" fmla="*/ 26 w 106"/>
                  <a:gd name="T27" fmla="*/ 32 h 96"/>
                  <a:gd name="T28" fmla="*/ 38 w 106"/>
                  <a:gd name="T29" fmla="*/ 16 h 96"/>
                  <a:gd name="T30" fmla="*/ 48 w 106"/>
                  <a:gd name="T31" fmla="*/ 14 h 96"/>
                  <a:gd name="T32" fmla="*/ 56 w 106"/>
                  <a:gd name="T33" fmla="*/ 0 h 96"/>
                  <a:gd name="T34" fmla="*/ 70 w 106"/>
                  <a:gd name="T3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6">
                    <a:moveTo>
                      <a:pt x="70" y="0"/>
                    </a:moveTo>
                    <a:lnTo>
                      <a:pt x="104" y="14"/>
                    </a:lnTo>
                    <a:lnTo>
                      <a:pt x="106" y="38"/>
                    </a:lnTo>
                    <a:lnTo>
                      <a:pt x="106" y="66"/>
                    </a:lnTo>
                    <a:lnTo>
                      <a:pt x="100" y="82"/>
                    </a:lnTo>
                    <a:lnTo>
                      <a:pt x="80" y="96"/>
                    </a:lnTo>
                    <a:lnTo>
                      <a:pt x="54" y="94"/>
                    </a:lnTo>
                    <a:lnTo>
                      <a:pt x="52" y="88"/>
                    </a:lnTo>
                    <a:lnTo>
                      <a:pt x="40" y="88"/>
                    </a:lnTo>
                    <a:lnTo>
                      <a:pt x="32" y="70"/>
                    </a:lnTo>
                    <a:lnTo>
                      <a:pt x="10" y="58"/>
                    </a:lnTo>
                    <a:lnTo>
                      <a:pt x="8" y="44"/>
                    </a:lnTo>
                    <a:lnTo>
                      <a:pt x="0" y="34"/>
                    </a:lnTo>
                    <a:lnTo>
                      <a:pt x="26" y="32"/>
                    </a:lnTo>
                    <a:lnTo>
                      <a:pt x="38" y="16"/>
                    </a:lnTo>
                    <a:lnTo>
                      <a:pt x="48" y="14"/>
                    </a:lnTo>
                    <a:lnTo>
                      <a:pt x="56"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1" name="Freeform 462"/>
              <p:cNvSpPr>
                <a:spLocks/>
              </p:cNvSpPr>
              <p:nvPr/>
            </p:nvSpPr>
            <p:spPr bwMode="auto">
              <a:xfrm>
                <a:off x="3219" y="2747"/>
                <a:ext cx="114" cy="104"/>
              </a:xfrm>
              <a:custGeom>
                <a:avLst/>
                <a:gdLst>
                  <a:gd name="T0" fmla="*/ 74 w 114"/>
                  <a:gd name="T1" fmla="*/ 0 h 104"/>
                  <a:gd name="T2" fmla="*/ 60 w 114"/>
                  <a:gd name="T3" fmla="*/ 0 h 104"/>
                  <a:gd name="T4" fmla="*/ 60 w 114"/>
                  <a:gd name="T5" fmla="*/ 0 h 104"/>
                  <a:gd name="T6" fmla="*/ 56 w 114"/>
                  <a:gd name="T7" fmla="*/ 2 h 104"/>
                  <a:gd name="T8" fmla="*/ 50 w 114"/>
                  <a:gd name="T9" fmla="*/ 14 h 104"/>
                  <a:gd name="T10" fmla="*/ 40 w 114"/>
                  <a:gd name="T11" fmla="*/ 16 h 104"/>
                  <a:gd name="T12" fmla="*/ 40 w 114"/>
                  <a:gd name="T13" fmla="*/ 16 h 104"/>
                  <a:gd name="T14" fmla="*/ 38 w 114"/>
                  <a:gd name="T15" fmla="*/ 16 h 104"/>
                  <a:gd name="T16" fmla="*/ 26 w 114"/>
                  <a:gd name="T17" fmla="*/ 32 h 104"/>
                  <a:gd name="T18" fmla="*/ 4 w 114"/>
                  <a:gd name="T19" fmla="*/ 34 h 104"/>
                  <a:gd name="T20" fmla="*/ 4 w 114"/>
                  <a:gd name="T21" fmla="*/ 34 h 104"/>
                  <a:gd name="T22" fmla="*/ 0 w 114"/>
                  <a:gd name="T23" fmla="*/ 36 h 104"/>
                  <a:gd name="T24" fmla="*/ 0 w 114"/>
                  <a:gd name="T25" fmla="*/ 36 h 104"/>
                  <a:gd name="T26" fmla="*/ 0 w 114"/>
                  <a:gd name="T27" fmla="*/ 40 h 104"/>
                  <a:gd name="T28" fmla="*/ 8 w 114"/>
                  <a:gd name="T29" fmla="*/ 50 h 104"/>
                  <a:gd name="T30" fmla="*/ 10 w 114"/>
                  <a:gd name="T31" fmla="*/ 64 h 104"/>
                  <a:gd name="T32" fmla="*/ 10 w 114"/>
                  <a:gd name="T33" fmla="*/ 64 h 104"/>
                  <a:gd name="T34" fmla="*/ 14 w 114"/>
                  <a:gd name="T35" fmla="*/ 66 h 104"/>
                  <a:gd name="T36" fmla="*/ 32 w 114"/>
                  <a:gd name="T37" fmla="*/ 76 h 104"/>
                  <a:gd name="T38" fmla="*/ 40 w 114"/>
                  <a:gd name="T39" fmla="*/ 92 h 104"/>
                  <a:gd name="T40" fmla="*/ 40 w 114"/>
                  <a:gd name="T41" fmla="*/ 92 h 104"/>
                  <a:gd name="T42" fmla="*/ 42 w 114"/>
                  <a:gd name="T43" fmla="*/ 96 h 104"/>
                  <a:gd name="T44" fmla="*/ 52 w 114"/>
                  <a:gd name="T45" fmla="*/ 96 h 104"/>
                  <a:gd name="T46" fmla="*/ 54 w 114"/>
                  <a:gd name="T47" fmla="*/ 100 h 104"/>
                  <a:gd name="T48" fmla="*/ 54 w 114"/>
                  <a:gd name="T49" fmla="*/ 100 h 104"/>
                  <a:gd name="T50" fmla="*/ 54 w 114"/>
                  <a:gd name="T51" fmla="*/ 102 h 104"/>
                  <a:gd name="T52" fmla="*/ 58 w 114"/>
                  <a:gd name="T53" fmla="*/ 102 h 104"/>
                  <a:gd name="T54" fmla="*/ 84 w 114"/>
                  <a:gd name="T55" fmla="*/ 104 h 104"/>
                  <a:gd name="T56" fmla="*/ 84 w 114"/>
                  <a:gd name="T57" fmla="*/ 104 h 104"/>
                  <a:gd name="T58" fmla="*/ 84 w 114"/>
                  <a:gd name="T59" fmla="*/ 104 h 104"/>
                  <a:gd name="T60" fmla="*/ 84 w 114"/>
                  <a:gd name="T61" fmla="*/ 104 h 104"/>
                  <a:gd name="T62" fmla="*/ 86 w 114"/>
                  <a:gd name="T63" fmla="*/ 104 h 104"/>
                  <a:gd name="T64" fmla="*/ 106 w 114"/>
                  <a:gd name="T65" fmla="*/ 88 h 104"/>
                  <a:gd name="T66" fmla="*/ 106 w 114"/>
                  <a:gd name="T67" fmla="*/ 88 h 104"/>
                  <a:gd name="T68" fmla="*/ 108 w 114"/>
                  <a:gd name="T69" fmla="*/ 88 h 104"/>
                  <a:gd name="T70" fmla="*/ 114 w 114"/>
                  <a:gd name="T71" fmla="*/ 72 h 104"/>
                  <a:gd name="T72" fmla="*/ 114 w 114"/>
                  <a:gd name="T73" fmla="*/ 72 h 104"/>
                  <a:gd name="T74" fmla="*/ 114 w 114"/>
                  <a:gd name="T75" fmla="*/ 70 h 104"/>
                  <a:gd name="T76" fmla="*/ 114 w 114"/>
                  <a:gd name="T77" fmla="*/ 42 h 104"/>
                  <a:gd name="T78" fmla="*/ 112 w 114"/>
                  <a:gd name="T79" fmla="*/ 16 h 104"/>
                  <a:gd name="T80" fmla="*/ 112 w 114"/>
                  <a:gd name="T81" fmla="*/ 16 h 104"/>
                  <a:gd name="T82" fmla="*/ 112 w 114"/>
                  <a:gd name="T83" fmla="*/ 14 h 104"/>
                  <a:gd name="T84" fmla="*/ 110 w 114"/>
                  <a:gd name="T85" fmla="*/ 14 h 104"/>
                  <a:gd name="T86" fmla="*/ 74 w 114"/>
                  <a:gd name="T87" fmla="*/ 0 h 104"/>
                  <a:gd name="T88" fmla="*/ 74 w 114"/>
                  <a:gd name="T89" fmla="*/ 0 h 104"/>
                  <a:gd name="T90" fmla="*/ 74 w 114"/>
                  <a:gd name="T91" fmla="*/ 0 h 104"/>
                  <a:gd name="T92" fmla="*/ 74 w 114"/>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104">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2" name="Freeform 463"/>
              <p:cNvSpPr>
                <a:spLocks/>
              </p:cNvSpPr>
              <p:nvPr/>
            </p:nvSpPr>
            <p:spPr bwMode="auto">
              <a:xfrm>
                <a:off x="3143" y="2777"/>
                <a:ext cx="132" cy="140"/>
              </a:xfrm>
              <a:custGeom>
                <a:avLst/>
                <a:gdLst>
                  <a:gd name="T0" fmla="*/ 12 w 132"/>
                  <a:gd name="T1" fmla="*/ 140 h 140"/>
                  <a:gd name="T2" fmla="*/ 12 w 132"/>
                  <a:gd name="T3" fmla="*/ 140 h 140"/>
                  <a:gd name="T4" fmla="*/ 10 w 132"/>
                  <a:gd name="T5" fmla="*/ 138 h 140"/>
                  <a:gd name="T6" fmla="*/ 10 w 132"/>
                  <a:gd name="T7" fmla="*/ 120 h 140"/>
                  <a:gd name="T8" fmla="*/ 0 w 132"/>
                  <a:gd name="T9" fmla="*/ 110 h 140"/>
                  <a:gd name="T10" fmla="*/ 0 w 132"/>
                  <a:gd name="T11" fmla="*/ 110 h 140"/>
                  <a:gd name="T12" fmla="*/ 0 w 132"/>
                  <a:gd name="T13" fmla="*/ 108 h 140"/>
                  <a:gd name="T14" fmla="*/ 0 w 132"/>
                  <a:gd name="T15" fmla="*/ 64 h 140"/>
                  <a:gd name="T16" fmla="*/ 0 w 132"/>
                  <a:gd name="T17" fmla="*/ 64 h 140"/>
                  <a:gd name="T18" fmla="*/ 2 w 132"/>
                  <a:gd name="T19" fmla="*/ 62 h 140"/>
                  <a:gd name="T20" fmla="*/ 12 w 132"/>
                  <a:gd name="T21" fmla="*/ 62 h 140"/>
                  <a:gd name="T22" fmla="*/ 14 w 132"/>
                  <a:gd name="T23" fmla="*/ 6 h 140"/>
                  <a:gd name="T24" fmla="*/ 14 w 132"/>
                  <a:gd name="T25" fmla="*/ 6 h 140"/>
                  <a:gd name="T26" fmla="*/ 16 w 132"/>
                  <a:gd name="T27" fmla="*/ 4 h 140"/>
                  <a:gd name="T28" fmla="*/ 16 w 132"/>
                  <a:gd name="T29" fmla="*/ 4 h 140"/>
                  <a:gd name="T30" fmla="*/ 46 w 132"/>
                  <a:gd name="T31" fmla="*/ 0 h 140"/>
                  <a:gd name="T32" fmla="*/ 46 w 132"/>
                  <a:gd name="T33" fmla="*/ 0 h 140"/>
                  <a:gd name="T34" fmla="*/ 48 w 132"/>
                  <a:gd name="T35" fmla="*/ 2 h 140"/>
                  <a:gd name="T36" fmla="*/ 52 w 132"/>
                  <a:gd name="T37" fmla="*/ 8 h 140"/>
                  <a:gd name="T38" fmla="*/ 76 w 132"/>
                  <a:gd name="T39" fmla="*/ 0 h 140"/>
                  <a:gd name="T40" fmla="*/ 76 w 132"/>
                  <a:gd name="T41" fmla="*/ 0 h 140"/>
                  <a:gd name="T42" fmla="*/ 76 w 132"/>
                  <a:gd name="T43" fmla="*/ 0 h 140"/>
                  <a:gd name="T44" fmla="*/ 76 w 132"/>
                  <a:gd name="T45" fmla="*/ 0 h 140"/>
                  <a:gd name="T46" fmla="*/ 78 w 132"/>
                  <a:gd name="T47" fmla="*/ 2 h 140"/>
                  <a:gd name="T48" fmla="*/ 86 w 132"/>
                  <a:gd name="T49" fmla="*/ 12 h 140"/>
                  <a:gd name="T50" fmla="*/ 90 w 132"/>
                  <a:gd name="T51" fmla="*/ 28 h 140"/>
                  <a:gd name="T52" fmla="*/ 110 w 132"/>
                  <a:gd name="T53" fmla="*/ 38 h 140"/>
                  <a:gd name="T54" fmla="*/ 110 w 132"/>
                  <a:gd name="T55" fmla="*/ 38 h 140"/>
                  <a:gd name="T56" fmla="*/ 110 w 132"/>
                  <a:gd name="T57" fmla="*/ 38 h 140"/>
                  <a:gd name="T58" fmla="*/ 118 w 132"/>
                  <a:gd name="T59" fmla="*/ 56 h 140"/>
                  <a:gd name="T60" fmla="*/ 130 w 132"/>
                  <a:gd name="T61" fmla="*/ 58 h 140"/>
                  <a:gd name="T62" fmla="*/ 130 w 132"/>
                  <a:gd name="T63" fmla="*/ 58 h 140"/>
                  <a:gd name="T64" fmla="*/ 130 w 132"/>
                  <a:gd name="T65" fmla="*/ 60 h 140"/>
                  <a:gd name="T66" fmla="*/ 132 w 132"/>
                  <a:gd name="T67" fmla="*/ 66 h 140"/>
                  <a:gd name="T68" fmla="*/ 132 w 132"/>
                  <a:gd name="T69" fmla="*/ 66 h 140"/>
                  <a:gd name="T70" fmla="*/ 132 w 132"/>
                  <a:gd name="T71" fmla="*/ 68 h 140"/>
                  <a:gd name="T72" fmla="*/ 130 w 132"/>
                  <a:gd name="T73" fmla="*/ 72 h 140"/>
                  <a:gd name="T74" fmla="*/ 130 w 132"/>
                  <a:gd name="T75" fmla="*/ 72 h 140"/>
                  <a:gd name="T76" fmla="*/ 128 w 132"/>
                  <a:gd name="T77" fmla="*/ 72 h 140"/>
                  <a:gd name="T78" fmla="*/ 120 w 132"/>
                  <a:gd name="T79" fmla="*/ 72 h 140"/>
                  <a:gd name="T80" fmla="*/ 88 w 132"/>
                  <a:gd name="T81" fmla="*/ 110 h 140"/>
                  <a:gd name="T82" fmla="*/ 80 w 132"/>
                  <a:gd name="T83" fmla="*/ 122 h 140"/>
                  <a:gd name="T84" fmla="*/ 80 w 132"/>
                  <a:gd name="T85" fmla="*/ 122 h 140"/>
                  <a:gd name="T86" fmla="*/ 78 w 132"/>
                  <a:gd name="T87" fmla="*/ 122 h 140"/>
                  <a:gd name="T88" fmla="*/ 78 w 132"/>
                  <a:gd name="T89" fmla="*/ 122 h 140"/>
                  <a:gd name="T90" fmla="*/ 60 w 132"/>
                  <a:gd name="T91" fmla="*/ 124 h 140"/>
                  <a:gd name="T92" fmla="*/ 60 w 132"/>
                  <a:gd name="T93" fmla="*/ 124 h 140"/>
                  <a:gd name="T94" fmla="*/ 60 w 132"/>
                  <a:gd name="T95" fmla="*/ 124 h 140"/>
                  <a:gd name="T96" fmla="*/ 52 w 132"/>
                  <a:gd name="T97" fmla="*/ 118 h 140"/>
                  <a:gd name="T98" fmla="*/ 44 w 132"/>
                  <a:gd name="T99" fmla="*/ 118 h 140"/>
                  <a:gd name="T100" fmla="*/ 42 w 132"/>
                  <a:gd name="T101" fmla="*/ 126 h 140"/>
                  <a:gd name="T102" fmla="*/ 42 w 132"/>
                  <a:gd name="T103" fmla="*/ 126 h 140"/>
                  <a:gd name="T104" fmla="*/ 40 w 132"/>
                  <a:gd name="T105" fmla="*/ 128 h 140"/>
                  <a:gd name="T106" fmla="*/ 28 w 132"/>
                  <a:gd name="T107" fmla="*/ 138 h 140"/>
                  <a:gd name="T108" fmla="*/ 28 w 132"/>
                  <a:gd name="T109" fmla="*/ 138 h 140"/>
                  <a:gd name="T110" fmla="*/ 26 w 132"/>
                  <a:gd name="T111" fmla="*/ 140 h 140"/>
                  <a:gd name="T112" fmla="*/ 12 w 132"/>
                  <a:gd name="T11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140">
                    <a:moveTo>
                      <a:pt x="12" y="140"/>
                    </a:moveTo>
                    <a:lnTo>
                      <a:pt x="12" y="140"/>
                    </a:lnTo>
                    <a:lnTo>
                      <a:pt x="10" y="138"/>
                    </a:lnTo>
                    <a:lnTo>
                      <a:pt x="10" y="120"/>
                    </a:lnTo>
                    <a:lnTo>
                      <a:pt x="0" y="110"/>
                    </a:lnTo>
                    <a:lnTo>
                      <a:pt x="0" y="110"/>
                    </a:lnTo>
                    <a:lnTo>
                      <a:pt x="0" y="108"/>
                    </a:lnTo>
                    <a:lnTo>
                      <a:pt x="0" y="64"/>
                    </a:lnTo>
                    <a:lnTo>
                      <a:pt x="0" y="64"/>
                    </a:lnTo>
                    <a:lnTo>
                      <a:pt x="2" y="62"/>
                    </a:lnTo>
                    <a:lnTo>
                      <a:pt x="12" y="62"/>
                    </a:lnTo>
                    <a:lnTo>
                      <a:pt x="14" y="6"/>
                    </a:lnTo>
                    <a:lnTo>
                      <a:pt x="14" y="6"/>
                    </a:lnTo>
                    <a:lnTo>
                      <a:pt x="16" y="4"/>
                    </a:lnTo>
                    <a:lnTo>
                      <a:pt x="16" y="4"/>
                    </a:lnTo>
                    <a:lnTo>
                      <a:pt x="46" y="0"/>
                    </a:lnTo>
                    <a:lnTo>
                      <a:pt x="46" y="0"/>
                    </a:lnTo>
                    <a:lnTo>
                      <a:pt x="48" y="2"/>
                    </a:lnTo>
                    <a:lnTo>
                      <a:pt x="52" y="8"/>
                    </a:lnTo>
                    <a:lnTo>
                      <a:pt x="76" y="0"/>
                    </a:lnTo>
                    <a:lnTo>
                      <a:pt x="76" y="0"/>
                    </a:lnTo>
                    <a:lnTo>
                      <a:pt x="76" y="0"/>
                    </a:lnTo>
                    <a:lnTo>
                      <a:pt x="76" y="0"/>
                    </a:lnTo>
                    <a:lnTo>
                      <a:pt x="78" y="2"/>
                    </a:lnTo>
                    <a:lnTo>
                      <a:pt x="86" y="12"/>
                    </a:lnTo>
                    <a:lnTo>
                      <a:pt x="90" y="28"/>
                    </a:lnTo>
                    <a:lnTo>
                      <a:pt x="110" y="38"/>
                    </a:lnTo>
                    <a:lnTo>
                      <a:pt x="110" y="38"/>
                    </a:lnTo>
                    <a:lnTo>
                      <a:pt x="110" y="38"/>
                    </a:lnTo>
                    <a:lnTo>
                      <a:pt x="118" y="56"/>
                    </a:lnTo>
                    <a:lnTo>
                      <a:pt x="130" y="58"/>
                    </a:lnTo>
                    <a:lnTo>
                      <a:pt x="130" y="58"/>
                    </a:lnTo>
                    <a:lnTo>
                      <a:pt x="130" y="60"/>
                    </a:lnTo>
                    <a:lnTo>
                      <a:pt x="132" y="66"/>
                    </a:lnTo>
                    <a:lnTo>
                      <a:pt x="132" y="66"/>
                    </a:lnTo>
                    <a:lnTo>
                      <a:pt x="132" y="68"/>
                    </a:lnTo>
                    <a:lnTo>
                      <a:pt x="130" y="72"/>
                    </a:lnTo>
                    <a:lnTo>
                      <a:pt x="130" y="72"/>
                    </a:lnTo>
                    <a:lnTo>
                      <a:pt x="128" y="72"/>
                    </a:lnTo>
                    <a:lnTo>
                      <a:pt x="120" y="72"/>
                    </a:lnTo>
                    <a:lnTo>
                      <a:pt x="88" y="110"/>
                    </a:lnTo>
                    <a:lnTo>
                      <a:pt x="80" y="122"/>
                    </a:lnTo>
                    <a:lnTo>
                      <a:pt x="80" y="122"/>
                    </a:lnTo>
                    <a:lnTo>
                      <a:pt x="78" y="122"/>
                    </a:lnTo>
                    <a:lnTo>
                      <a:pt x="78" y="122"/>
                    </a:lnTo>
                    <a:lnTo>
                      <a:pt x="60" y="124"/>
                    </a:lnTo>
                    <a:lnTo>
                      <a:pt x="60" y="124"/>
                    </a:lnTo>
                    <a:lnTo>
                      <a:pt x="60" y="124"/>
                    </a:lnTo>
                    <a:lnTo>
                      <a:pt x="52" y="118"/>
                    </a:lnTo>
                    <a:lnTo>
                      <a:pt x="44" y="118"/>
                    </a:lnTo>
                    <a:lnTo>
                      <a:pt x="42" y="126"/>
                    </a:lnTo>
                    <a:lnTo>
                      <a:pt x="42" y="126"/>
                    </a:lnTo>
                    <a:lnTo>
                      <a:pt x="40" y="128"/>
                    </a:lnTo>
                    <a:lnTo>
                      <a:pt x="28" y="138"/>
                    </a:lnTo>
                    <a:lnTo>
                      <a:pt x="28" y="138"/>
                    </a:lnTo>
                    <a:lnTo>
                      <a:pt x="26" y="140"/>
                    </a:lnTo>
                    <a:lnTo>
                      <a:pt x="12" y="1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3" name="Freeform 464"/>
              <p:cNvSpPr>
                <a:spLocks noEditPoints="1"/>
              </p:cNvSpPr>
              <p:nvPr/>
            </p:nvSpPr>
            <p:spPr bwMode="auto">
              <a:xfrm>
                <a:off x="3141" y="2775"/>
                <a:ext cx="136" cy="144"/>
              </a:xfrm>
              <a:custGeom>
                <a:avLst/>
                <a:gdLst>
                  <a:gd name="T0" fmla="*/ 86 w 136"/>
                  <a:gd name="T1" fmla="*/ 16 h 144"/>
                  <a:gd name="T2" fmla="*/ 112 w 136"/>
                  <a:gd name="T3" fmla="*/ 42 h 144"/>
                  <a:gd name="T4" fmla="*/ 130 w 136"/>
                  <a:gd name="T5" fmla="*/ 62 h 144"/>
                  <a:gd name="T6" fmla="*/ 130 w 136"/>
                  <a:gd name="T7" fmla="*/ 72 h 144"/>
                  <a:gd name="T8" fmla="*/ 88 w 136"/>
                  <a:gd name="T9" fmla="*/ 110 h 144"/>
                  <a:gd name="T10" fmla="*/ 62 w 136"/>
                  <a:gd name="T11" fmla="*/ 124 h 144"/>
                  <a:gd name="T12" fmla="*/ 46 w 136"/>
                  <a:gd name="T13" fmla="*/ 118 h 144"/>
                  <a:gd name="T14" fmla="*/ 28 w 136"/>
                  <a:gd name="T15" fmla="*/ 140 h 144"/>
                  <a:gd name="T16" fmla="*/ 14 w 136"/>
                  <a:gd name="T17" fmla="*/ 120 h 144"/>
                  <a:gd name="T18" fmla="*/ 4 w 136"/>
                  <a:gd name="T19" fmla="*/ 66 h 144"/>
                  <a:gd name="T20" fmla="*/ 18 w 136"/>
                  <a:gd name="T21" fmla="*/ 8 h 144"/>
                  <a:gd name="T22" fmla="*/ 54 w 136"/>
                  <a:gd name="T23" fmla="*/ 12 h 144"/>
                  <a:gd name="T24" fmla="*/ 78 w 136"/>
                  <a:gd name="T25" fmla="*/ 0 h 144"/>
                  <a:gd name="T26" fmla="*/ 78 w 136"/>
                  <a:gd name="T27" fmla="*/ 0 h 144"/>
                  <a:gd name="T28" fmla="*/ 52 w 136"/>
                  <a:gd name="T29" fmla="*/ 2 h 144"/>
                  <a:gd name="T30" fmla="*/ 48 w 136"/>
                  <a:gd name="T31" fmla="*/ 0 h 144"/>
                  <a:gd name="T32" fmla="*/ 48 w 136"/>
                  <a:gd name="T33" fmla="*/ 0 h 144"/>
                  <a:gd name="T34" fmla="*/ 18 w 136"/>
                  <a:gd name="T35" fmla="*/ 4 h 144"/>
                  <a:gd name="T36" fmla="*/ 14 w 136"/>
                  <a:gd name="T37" fmla="*/ 8 h 144"/>
                  <a:gd name="T38" fmla="*/ 4 w 136"/>
                  <a:gd name="T39" fmla="*/ 62 h 144"/>
                  <a:gd name="T40" fmla="*/ 2 w 136"/>
                  <a:gd name="T41" fmla="*/ 62 h 144"/>
                  <a:gd name="T42" fmla="*/ 0 w 136"/>
                  <a:gd name="T43" fmla="*/ 110 h 144"/>
                  <a:gd name="T44" fmla="*/ 2 w 136"/>
                  <a:gd name="T45" fmla="*/ 112 h 144"/>
                  <a:gd name="T46" fmla="*/ 10 w 136"/>
                  <a:gd name="T47" fmla="*/ 140 h 144"/>
                  <a:gd name="T48" fmla="*/ 12 w 136"/>
                  <a:gd name="T49" fmla="*/ 142 h 144"/>
                  <a:gd name="T50" fmla="*/ 28 w 136"/>
                  <a:gd name="T51" fmla="*/ 144 h 144"/>
                  <a:gd name="T52" fmla="*/ 32 w 136"/>
                  <a:gd name="T53" fmla="*/ 142 h 144"/>
                  <a:gd name="T54" fmla="*/ 44 w 136"/>
                  <a:gd name="T55" fmla="*/ 132 h 144"/>
                  <a:gd name="T56" fmla="*/ 48 w 136"/>
                  <a:gd name="T57" fmla="*/ 122 h 144"/>
                  <a:gd name="T58" fmla="*/ 60 w 136"/>
                  <a:gd name="T59" fmla="*/ 128 h 144"/>
                  <a:gd name="T60" fmla="*/ 62 w 136"/>
                  <a:gd name="T61" fmla="*/ 128 h 144"/>
                  <a:gd name="T62" fmla="*/ 64 w 136"/>
                  <a:gd name="T63" fmla="*/ 128 h 144"/>
                  <a:gd name="T64" fmla="*/ 82 w 136"/>
                  <a:gd name="T65" fmla="*/ 126 h 144"/>
                  <a:gd name="T66" fmla="*/ 92 w 136"/>
                  <a:gd name="T67" fmla="*/ 112 h 144"/>
                  <a:gd name="T68" fmla="*/ 130 w 136"/>
                  <a:gd name="T69" fmla="*/ 76 h 144"/>
                  <a:gd name="T70" fmla="*/ 132 w 136"/>
                  <a:gd name="T71" fmla="*/ 76 h 144"/>
                  <a:gd name="T72" fmla="*/ 136 w 136"/>
                  <a:gd name="T73" fmla="*/ 72 h 144"/>
                  <a:gd name="T74" fmla="*/ 136 w 136"/>
                  <a:gd name="T75" fmla="*/ 68 h 144"/>
                  <a:gd name="T76" fmla="*/ 134 w 136"/>
                  <a:gd name="T77" fmla="*/ 60 h 144"/>
                  <a:gd name="T78" fmla="*/ 132 w 136"/>
                  <a:gd name="T79" fmla="*/ 58 h 144"/>
                  <a:gd name="T80" fmla="*/ 114 w 136"/>
                  <a:gd name="T81" fmla="*/ 40 h 144"/>
                  <a:gd name="T82" fmla="*/ 112 w 136"/>
                  <a:gd name="T83" fmla="*/ 38 h 144"/>
                  <a:gd name="T84" fmla="*/ 90 w 136"/>
                  <a:gd name="T85" fmla="*/ 14 h 144"/>
                  <a:gd name="T86" fmla="*/ 90 w 136"/>
                  <a:gd name="T87" fmla="*/ 14 h 144"/>
                  <a:gd name="T88" fmla="*/ 82 w 136"/>
                  <a:gd name="T89" fmla="*/ 2 h 144"/>
                  <a:gd name="T90" fmla="*/ 78 w 136"/>
                  <a:gd name="T9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144">
                    <a:moveTo>
                      <a:pt x="78" y="4"/>
                    </a:moveTo>
                    <a:lnTo>
                      <a:pt x="86" y="16"/>
                    </a:lnTo>
                    <a:lnTo>
                      <a:pt x="90" y="30"/>
                    </a:lnTo>
                    <a:lnTo>
                      <a:pt x="112" y="42"/>
                    </a:lnTo>
                    <a:lnTo>
                      <a:pt x="118" y="60"/>
                    </a:lnTo>
                    <a:lnTo>
                      <a:pt x="130" y="62"/>
                    </a:lnTo>
                    <a:lnTo>
                      <a:pt x="132" y="70"/>
                    </a:lnTo>
                    <a:lnTo>
                      <a:pt x="130" y="72"/>
                    </a:lnTo>
                    <a:lnTo>
                      <a:pt x="122" y="72"/>
                    </a:lnTo>
                    <a:lnTo>
                      <a:pt x="88" y="110"/>
                    </a:lnTo>
                    <a:lnTo>
                      <a:pt x="80" y="122"/>
                    </a:lnTo>
                    <a:lnTo>
                      <a:pt x="62" y="124"/>
                    </a:lnTo>
                    <a:lnTo>
                      <a:pt x="54" y="118"/>
                    </a:lnTo>
                    <a:lnTo>
                      <a:pt x="46" y="118"/>
                    </a:lnTo>
                    <a:lnTo>
                      <a:pt x="42" y="128"/>
                    </a:lnTo>
                    <a:lnTo>
                      <a:pt x="28" y="140"/>
                    </a:lnTo>
                    <a:lnTo>
                      <a:pt x="14" y="140"/>
                    </a:lnTo>
                    <a:lnTo>
                      <a:pt x="14" y="120"/>
                    </a:lnTo>
                    <a:lnTo>
                      <a:pt x="4" y="110"/>
                    </a:lnTo>
                    <a:lnTo>
                      <a:pt x="4" y="66"/>
                    </a:lnTo>
                    <a:lnTo>
                      <a:pt x="16" y="66"/>
                    </a:lnTo>
                    <a:lnTo>
                      <a:pt x="18" y="8"/>
                    </a:lnTo>
                    <a:lnTo>
                      <a:pt x="48" y="4"/>
                    </a:lnTo>
                    <a:lnTo>
                      <a:pt x="54" y="12"/>
                    </a:lnTo>
                    <a:lnTo>
                      <a:pt x="78" y="4"/>
                    </a:lnTo>
                    <a:close/>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4" name="Freeform 465"/>
              <p:cNvSpPr>
                <a:spLocks/>
              </p:cNvSpPr>
              <p:nvPr/>
            </p:nvSpPr>
            <p:spPr bwMode="auto">
              <a:xfrm>
                <a:off x="3145" y="2779"/>
                <a:ext cx="128" cy="136"/>
              </a:xfrm>
              <a:custGeom>
                <a:avLst/>
                <a:gdLst>
                  <a:gd name="T0" fmla="*/ 74 w 128"/>
                  <a:gd name="T1" fmla="*/ 0 h 136"/>
                  <a:gd name="T2" fmla="*/ 82 w 128"/>
                  <a:gd name="T3" fmla="*/ 12 h 136"/>
                  <a:gd name="T4" fmla="*/ 86 w 128"/>
                  <a:gd name="T5" fmla="*/ 26 h 136"/>
                  <a:gd name="T6" fmla="*/ 108 w 128"/>
                  <a:gd name="T7" fmla="*/ 38 h 136"/>
                  <a:gd name="T8" fmla="*/ 114 w 128"/>
                  <a:gd name="T9" fmla="*/ 56 h 136"/>
                  <a:gd name="T10" fmla="*/ 126 w 128"/>
                  <a:gd name="T11" fmla="*/ 58 h 136"/>
                  <a:gd name="T12" fmla="*/ 128 w 128"/>
                  <a:gd name="T13" fmla="*/ 66 h 136"/>
                  <a:gd name="T14" fmla="*/ 126 w 128"/>
                  <a:gd name="T15" fmla="*/ 68 h 136"/>
                  <a:gd name="T16" fmla="*/ 118 w 128"/>
                  <a:gd name="T17" fmla="*/ 68 h 136"/>
                  <a:gd name="T18" fmla="*/ 84 w 128"/>
                  <a:gd name="T19" fmla="*/ 106 h 136"/>
                  <a:gd name="T20" fmla="*/ 76 w 128"/>
                  <a:gd name="T21" fmla="*/ 118 h 136"/>
                  <a:gd name="T22" fmla="*/ 58 w 128"/>
                  <a:gd name="T23" fmla="*/ 120 h 136"/>
                  <a:gd name="T24" fmla="*/ 50 w 128"/>
                  <a:gd name="T25" fmla="*/ 114 h 136"/>
                  <a:gd name="T26" fmla="*/ 42 w 128"/>
                  <a:gd name="T27" fmla="*/ 114 h 136"/>
                  <a:gd name="T28" fmla="*/ 38 w 128"/>
                  <a:gd name="T29" fmla="*/ 124 h 136"/>
                  <a:gd name="T30" fmla="*/ 24 w 128"/>
                  <a:gd name="T31" fmla="*/ 136 h 136"/>
                  <a:gd name="T32" fmla="*/ 10 w 128"/>
                  <a:gd name="T33" fmla="*/ 136 h 136"/>
                  <a:gd name="T34" fmla="*/ 10 w 128"/>
                  <a:gd name="T35" fmla="*/ 116 h 136"/>
                  <a:gd name="T36" fmla="*/ 0 w 128"/>
                  <a:gd name="T37" fmla="*/ 106 h 136"/>
                  <a:gd name="T38" fmla="*/ 0 w 128"/>
                  <a:gd name="T39" fmla="*/ 62 h 136"/>
                  <a:gd name="T40" fmla="*/ 12 w 128"/>
                  <a:gd name="T41" fmla="*/ 62 h 136"/>
                  <a:gd name="T42" fmla="*/ 14 w 128"/>
                  <a:gd name="T43" fmla="*/ 4 h 136"/>
                  <a:gd name="T44" fmla="*/ 44 w 128"/>
                  <a:gd name="T45" fmla="*/ 0 h 136"/>
                  <a:gd name="T46" fmla="*/ 50 w 128"/>
                  <a:gd name="T47" fmla="*/ 8 h 136"/>
                  <a:gd name="T48" fmla="*/ 74 w 128"/>
                  <a:gd name="T4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36">
                    <a:moveTo>
                      <a:pt x="74" y="0"/>
                    </a:moveTo>
                    <a:lnTo>
                      <a:pt x="82" y="12"/>
                    </a:lnTo>
                    <a:lnTo>
                      <a:pt x="86" y="26"/>
                    </a:lnTo>
                    <a:lnTo>
                      <a:pt x="108" y="38"/>
                    </a:lnTo>
                    <a:lnTo>
                      <a:pt x="114" y="56"/>
                    </a:lnTo>
                    <a:lnTo>
                      <a:pt x="126" y="58"/>
                    </a:lnTo>
                    <a:lnTo>
                      <a:pt x="128" y="66"/>
                    </a:lnTo>
                    <a:lnTo>
                      <a:pt x="126" y="68"/>
                    </a:lnTo>
                    <a:lnTo>
                      <a:pt x="118" y="68"/>
                    </a:lnTo>
                    <a:lnTo>
                      <a:pt x="84" y="106"/>
                    </a:lnTo>
                    <a:lnTo>
                      <a:pt x="76" y="118"/>
                    </a:lnTo>
                    <a:lnTo>
                      <a:pt x="58" y="120"/>
                    </a:lnTo>
                    <a:lnTo>
                      <a:pt x="50" y="114"/>
                    </a:lnTo>
                    <a:lnTo>
                      <a:pt x="42" y="114"/>
                    </a:lnTo>
                    <a:lnTo>
                      <a:pt x="38" y="124"/>
                    </a:lnTo>
                    <a:lnTo>
                      <a:pt x="24" y="136"/>
                    </a:lnTo>
                    <a:lnTo>
                      <a:pt x="10" y="136"/>
                    </a:lnTo>
                    <a:lnTo>
                      <a:pt x="10" y="116"/>
                    </a:lnTo>
                    <a:lnTo>
                      <a:pt x="0" y="106"/>
                    </a:lnTo>
                    <a:lnTo>
                      <a:pt x="0" y="62"/>
                    </a:lnTo>
                    <a:lnTo>
                      <a:pt x="12" y="62"/>
                    </a:lnTo>
                    <a:lnTo>
                      <a:pt x="14" y="4"/>
                    </a:lnTo>
                    <a:lnTo>
                      <a:pt x="44" y="0"/>
                    </a:lnTo>
                    <a:lnTo>
                      <a:pt x="50" y="8"/>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5" name="Freeform 466"/>
              <p:cNvSpPr>
                <a:spLocks/>
              </p:cNvSpPr>
              <p:nvPr/>
            </p:nvSpPr>
            <p:spPr bwMode="auto">
              <a:xfrm>
                <a:off x="3141" y="2775"/>
                <a:ext cx="136" cy="144"/>
              </a:xfrm>
              <a:custGeom>
                <a:avLst/>
                <a:gdLst>
                  <a:gd name="T0" fmla="*/ 78 w 136"/>
                  <a:gd name="T1" fmla="*/ 0 h 144"/>
                  <a:gd name="T2" fmla="*/ 56 w 136"/>
                  <a:gd name="T3" fmla="*/ 8 h 144"/>
                  <a:gd name="T4" fmla="*/ 52 w 136"/>
                  <a:gd name="T5" fmla="*/ 2 h 144"/>
                  <a:gd name="T6" fmla="*/ 48 w 136"/>
                  <a:gd name="T7" fmla="*/ 0 h 144"/>
                  <a:gd name="T8" fmla="*/ 18 w 136"/>
                  <a:gd name="T9" fmla="*/ 4 h 144"/>
                  <a:gd name="T10" fmla="*/ 16 w 136"/>
                  <a:gd name="T11" fmla="*/ 6 h 144"/>
                  <a:gd name="T12" fmla="*/ 12 w 136"/>
                  <a:gd name="T13" fmla="*/ 62 h 144"/>
                  <a:gd name="T14" fmla="*/ 4 w 136"/>
                  <a:gd name="T15" fmla="*/ 62 h 144"/>
                  <a:gd name="T16" fmla="*/ 0 w 136"/>
                  <a:gd name="T17" fmla="*/ 66 h 144"/>
                  <a:gd name="T18" fmla="*/ 0 w 136"/>
                  <a:gd name="T19" fmla="*/ 110 h 144"/>
                  <a:gd name="T20" fmla="*/ 10 w 136"/>
                  <a:gd name="T21" fmla="*/ 122 h 144"/>
                  <a:gd name="T22" fmla="*/ 10 w 136"/>
                  <a:gd name="T23" fmla="*/ 140 h 144"/>
                  <a:gd name="T24" fmla="*/ 14 w 136"/>
                  <a:gd name="T25" fmla="*/ 144 h 144"/>
                  <a:gd name="T26" fmla="*/ 28 w 136"/>
                  <a:gd name="T27" fmla="*/ 144 h 144"/>
                  <a:gd name="T28" fmla="*/ 44 w 136"/>
                  <a:gd name="T29" fmla="*/ 132 h 144"/>
                  <a:gd name="T30" fmla="*/ 46 w 136"/>
                  <a:gd name="T31" fmla="*/ 130 h 144"/>
                  <a:gd name="T32" fmla="*/ 52 w 136"/>
                  <a:gd name="T33" fmla="*/ 122 h 144"/>
                  <a:gd name="T34" fmla="*/ 60 w 136"/>
                  <a:gd name="T35" fmla="*/ 128 h 144"/>
                  <a:gd name="T36" fmla="*/ 62 w 136"/>
                  <a:gd name="T37" fmla="*/ 128 h 144"/>
                  <a:gd name="T38" fmla="*/ 82 w 136"/>
                  <a:gd name="T39" fmla="*/ 126 h 144"/>
                  <a:gd name="T40" fmla="*/ 84 w 136"/>
                  <a:gd name="T41" fmla="*/ 124 h 144"/>
                  <a:gd name="T42" fmla="*/ 124 w 136"/>
                  <a:gd name="T43" fmla="*/ 76 h 144"/>
                  <a:gd name="T44" fmla="*/ 130 w 136"/>
                  <a:gd name="T45" fmla="*/ 76 h 144"/>
                  <a:gd name="T46" fmla="*/ 134 w 136"/>
                  <a:gd name="T47" fmla="*/ 74 h 144"/>
                  <a:gd name="T48" fmla="*/ 136 w 136"/>
                  <a:gd name="T49" fmla="*/ 72 h 144"/>
                  <a:gd name="T50" fmla="*/ 134 w 136"/>
                  <a:gd name="T51" fmla="*/ 60 h 144"/>
                  <a:gd name="T52" fmla="*/ 134 w 136"/>
                  <a:gd name="T53" fmla="*/ 58 h 144"/>
                  <a:gd name="T54" fmla="*/ 122 w 136"/>
                  <a:gd name="T55" fmla="*/ 56 h 144"/>
                  <a:gd name="T56" fmla="*/ 114 w 136"/>
                  <a:gd name="T57" fmla="*/ 40 h 144"/>
                  <a:gd name="T58" fmla="*/ 94 w 136"/>
                  <a:gd name="T59" fmla="*/ 28 h 144"/>
                  <a:gd name="T60" fmla="*/ 90 w 136"/>
                  <a:gd name="T61" fmla="*/ 14 h 144"/>
                  <a:gd name="T62" fmla="*/ 82 w 136"/>
                  <a:gd name="T63" fmla="*/ 2 h 144"/>
                  <a:gd name="T64" fmla="*/ 78 w 136"/>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144">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6" name="Freeform 467"/>
              <p:cNvSpPr>
                <a:spLocks/>
              </p:cNvSpPr>
              <p:nvPr/>
            </p:nvSpPr>
            <p:spPr bwMode="auto">
              <a:xfrm>
                <a:off x="3031" y="2773"/>
                <a:ext cx="132" cy="172"/>
              </a:xfrm>
              <a:custGeom>
                <a:avLst/>
                <a:gdLst>
                  <a:gd name="T0" fmla="*/ 88 w 132"/>
                  <a:gd name="T1" fmla="*/ 172 h 172"/>
                  <a:gd name="T2" fmla="*/ 88 w 132"/>
                  <a:gd name="T3" fmla="*/ 172 h 172"/>
                  <a:gd name="T4" fmla="*/ 86 w 132"/>
                  <a:gd name="T5" fmla="*/ 172 h 172"/>
                  <a:gd name="T6" fmla="*/ 80 w 132"/>
                  <a:gd name="T7" fmla="*/ 168 h 172"/>
                  <a:gd name="T8" fmla="*/ 80 w 132"/>
                  <a:gd name="T9" fmla="*/ 168 h 172"/>
                  <a:gd name="T10" fmla="*/ 78 w 132"/>
                  <a:gd name="T11" fmla="*/ 168 h 172"/>
                  <a:gd name="T12" fmla="*/ 74 w 132"/>
                  <a:gd name="T13" fmla="*/ 162 h 172"/>
                  <a:gd name="T14" fmla="*/ 68 w 132"/>
                  <a:gd name="T15" fmla="*/ 166 h 172"/>
                  <a:gd name="T16" fmla="*/ 68 w 132"/>
                  <a:gd name="T17" fmla="*/ 166 h 172"/>
                  <a:gd name="T18" fmla="*/ 68 w 132"/>
                  <a:gd name="T19" fmla="*/ 166 h 172"/>
                  <a:gd name="T20" fmla="*/ 68 w 132"/>
                  <a:gd name="T21" fmla="*/ 166 h 172"/>
                  <a:gd name="T22" fmla="*/ 66 w 132"/>
                  <a:gd name="T23" fmla="*/ 166 h 172"/>
                  <a:gd name="T24" fmla="*/ 48 w 132"/>
                  <a:gd name="T25" fmla="*/ 146 h 172"/>
                  <a:gd name="T26" fmla="*/ 48 w 132"/>
                  <a:gd name="T27" fmla="*/ 146 h 172"/>
                  <a:gd name="T28" fmla="*/ 48 w 132"/>
                  <a:gd name="T29" fmla="*/ 146 h 172"/>
                  <a:gd name="T30" fmla="*/ 40 w 132"/>
                  <a:gd name="T31" fmla="*/ 112 h 172"/>
                  <a:gd name="T32" fmla="*/ 34 w 132"/>
                  <a:gd name="T33" fmla="*/ 102 h 172"/>
                  <a:gd name="T34" fmla="*/ 34 w 132"/>
                  <a:gd name="T35" fmla="*/ 102 h 172"/>
                  <a:gd name="T36" fmla="*/ 34 w 132"/>
                  <a:gd name="T37" fmla="*/ 102 h 172"/>
                  <a:gd name="T38" fmla="*/ 34 w 132"/>
                  <a:gd name="T39" fmla="*/ 74 h 172"/>
                  <a:gd name="T40" fmla="*/ 12 w 132"/>
                  <a:gd name="T41" fmla="*/ 34 h 172"/>
                  <a:gd name="T42" fmla="*/ 0 w 132"/>
                  <a:gd name="T43" fmla="*/ 16 h 172"/>
                  <a:gd name="T44" fmla="*/ 0 w 132"/>
                  <a:gd name="T45" fmla="*/ 16 h 172"/>
                  <a:gd name="T46" fmla="*/ 0 w 132"/>
                  <a:gd name="T47" fmla="*/ 16 h 172"/>
                  <a:gd name="T48" fmla="*/ 0 w 132"/>
                  <a:gd name="T49" fmla="*/ 2 h 172"/>
                  <a:gd name="T50" fmla="*/ 0 w 132"/>
                  <a:gd name="T51" fmla="*/ 2 h 172"/>
                  <a:gd name="T52" fmla="*/ 2 w 132"/>
                  <a:gd name="T53" fmla="*/ 0 h 172"/>
                  <a:gd name="T54" fmla="*/ 90 w 132"/>
                  <a:gd name="T55" fmla="*/ 0 h 172"/>
                  <a:gd name="T56" fmla="*/ 90 w 132"/>
                  <a:gd name="T57" fmla="*/ 0 h 172"/>
                  <a:gd name="T58" fmla="*/ 92 w 132"/>
                  <a:gd name="T59" fmla="*/ 0 h 172"/>
                  <a:gd name="T60" fmla="*/ 98 w 132"/>
                  <a:gd name="T61" fmla="*/ 4 h 172"/>
                  <a:gd name="T62" fmla="*/ 124 w 132"/>
                  <a:gd name="T63" fmla="*/ 6 h 172"/>
                  <a:gd name="T64" fmla="*/ 124 w 132"/>
                  <a:gd name="T65" fmla="*/ 6 h 172"/>
                  <a:gd name="T66" fmla="*/ 124 w 132"/>
                  <a:gd name="T67" fmla="*/ 6 h 172"/>
                  <a:gd name="T68" fmla="*/ 132 w 132"/>
                  <a:gd name="T69" fmla="*/ 12 h 172"/>
                  <a:gd name="T70" fmla="*/ 132 w 132"/>
                  <a:gd name="T71" fmla="*/ 12 h 172"/>
                  <a:gd name="T72" fmla="*/ 132 w 132"/>
                  <a:gd name="T73" fmla="*/ 14 h 172"/>
                  <a:gd name="T74" fmla="*/ 130 w 132"/>
                  <a:gd name="T75" fmla="*/ 68 h 172"/>
                  <a:gd name="T76" fmla="*/ 130 w 132"/>
                  <a:gd name="T77" fmla="*/ 68 h 172"/>
                  <a:gd name="T78" fmla="*/ 128 w 132"/>
                  <a:gd name="T79" fmla="*/ 70 h 172"/>
                  <a:gd name="T80" fmla="*/ 118 w 132"/>
                  <a:gd name="T81" fmla="*/ 70 h 172"/>
                  <a:gd name="T82" fmla="*/ 118 w 132"/>
                  <a:gd name="T83" fmla="*/ 160 h 172"/>
                  <a:gd name="T84" fmla="*/ 118 w 132"/>
                  <a:gd name="T85" fmla="*/ 160 h 172"/>
                  <a:gd name="T86" fmla="*/ 118 w 132"/>
                  <a:gd name="T87" fmla="*/ 162 h 172"/>
                  <a:gd name="T88" fmla="*/ 102 w 132"/>
                  <a:gd name="T89" fmla="*/ 172 h 172"/>
                  <a:gd name="T90" fmla="*/ 102 w 132"/>
                  <a:gd name="T91" fmla="*/ 172 h 172"/>
                  <a:gd name="T92" fmla="*/ 102 w 132"/>
                  <a:gd name="T93" fmla="*/ 172 h 172"/>
                  <a:gd name="T94" fmla="*/ 88 w 132"/>
                  <a:gd name="T9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 h="172">
                    <a:moveTo>
                      <a:pt x="88" y="172"/>
                    </a:moveTo>
                    <a:lnTo>
                      <a:pt x="88" y="172"/>
                    </a:lnTo>
                    <a:lnTo>
                      <a:pt x="86" y="172"/>
                    </a:lnTo>
                    <a:lnTo>
                      <a:pt x="80" y="168"/>
                    </a:lnTo>
                    <a:lnTo>
                      <a:pt x="80" y="168"/>
                    </a:lnTo>
                    <a:lnTo>
                      <a:pt x="78" y="168"/>
                    </a:lnTo>
                    <a:lnTo>
                      <a:pt x="74" y="162"/>
                    </a:lnTo>
                    <a:lnTo>
                      <a:pt x="68" y="166"/>
                    </a:lnTo>
                    <a:lnTo>
                      <a:pt x="68" y="166"/>
                    </a:lnTo>
                    <a:lnTo>
                      <a:pt x="68" y="166"/>
                    </a:lnTo>
                    <a:lnTo>
                      <a:pt x="68" y="166"/>
                    </a:lnTo>
                    <a:lnTo>
                      <a:pt x="66" y="166"/>
                    </a:lnTo>
                    <a:lnTo>
                      <a:pt x="48" y="146"/>
                    </a:lnTo>
                    <a:lnTo>
                      <a:pt x="48" y="146"/>
                    </a:lnTo>
                    <a:lnTo>
                      <a:pt x="48" y="146"/>
                    </a:lnTo>
                    <a:lnTo>
                      <a:pt x="40" y="112"/>
                    </a:lnTo>
                    <a:lnTo>
                      <a:pt x="34" y="102"/>
                    </a:lnTo>
                    <a:lnTo>
                      <a:pt x="34" y="102"/>
                    </a:lnTo>
                    <a:lnTo>
                      <a:pt x="34" y="102"/>
                    </a:lnTo>
                    <a:lnTo>
                      <a:pt x="34" y="74"/>
                    </a:lnTo>
                    <a:lnTo>
                      <a:pt x="12" y="34"/>
                    </a:lnTo>
                    <a:lnTo>
                      <a:pt x="0" y="16"/>
                    </a:lnTo>
                    <a:lnTo>
                      <a:pt x="0" y="16"/>
                    </a:lnTo>
                    <a:lnTo>
                      <a:pt x="0" y="16"/>
                    </a:lnTo>
                    <a:lnTo>
                      <a:pt x="0" y="2"/>
                    </a:lnTo>
                    <a:lnTo>
                      <a:pt x="0" y="2"/>
                    </a:lnTo>
                    <a:lnTo>
                      <a:pt x="2" y="0"/>
                    </a:lnTo>
                    <a:lnTo>
                      <a:pt x="90" y="0"/>
                    </a:lnTo>
                    <a:lnTo>
                      <a:pt x="90" y="0"/>
                    </a:lnTo>
                    <a:lnTo>
                      <a:pt x="92" y="0"/>
                    </a:lnTo>
                    <a:lnTo>
                      <a:pt x="98" y="4"/>
                    </a:lnTo>
                    <a:lnTo>
                      <a:pt x="124" y="6"/>
                    </a:lnTo>
                    <a:lnTo>
                      <a:pt x="124" y="6"/>
                    </a:lnTo>
                    <a:lnTo>
                      <a:pt x="124" y="6"/>
                    </a:lnTo>
                    <a:lnTo>
                      <a:pt x="132" y="12"/>
                    </a:lnTo>
                    <a:lnTo>
                      <a:pt x="132" y="12"/>
                    </a:lnTo>
                    <a:lnTo>
                      <a:pt x="132" y="14"/>
                    </a:lnTo>
                    <a:lnTo>
                      <a:pt x="130" y="68"/>
                    </a:lnTo>
                    <a:lnTo>
                      <a:pt x="130" y="68"/>
                    </a:lnTo>
                    <a:lnTo>
                      <a:pt x="128" y="70"/>
                    </a:lnTo>
                    <a:lnTo>
                      <a:pt x="118" y="70"/>
                    </a:lnTo>
                    <a:lnTo>
                      <a:pt x="118" y="160"/>
                    </a:lnTo>
                    <a:lnTo>
                      <a:pt x="118" y="160"/>
                    </a:lnTo>
                    <a:lnTo>
                      <a:pt x="118" y="162"/>
                    </a:lnTo>
                    <a:lnTo>
                      <a:pt x="102" y="172"/>
                    </a:lnTo>
                    <a:lnTo>
                      <a:pt x="102" y="172"/>
                    </a:lnTo>
                    <a:lnTo>
                      <a:pt x="102" y="172"/>
                    </a:lnTo>
                    <a:lnTo>
                      <a:pt x="88"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7" name="Freeform 468"/>
              <p:cNvSpPr>
                <a:spLocks noEditPoints="1"/>
              </p:cNvSpPr>
              <p:nvPr/>
            </p:nvSpPr>
            <p:spPr bwMode="auto">
              <a:xfrm>
                <a:off x="3029" y="2771"/>
                <a:ext cx="136" cy="176"/>
              </a:xfrm>
              <a:custGeom>
                <a:avLst/>
                <a:gdLst>
                  <a:gd name="T0" fmla="*/ 100 w 136"/>
                  <a:gd name="T1" fmla="*/ 8 h 176"/>
                  <a:gd name="T2" fmla="*/ 132 w 136"/>
                  <a:gd name="T3" fmla="*/ 16 h 176"/>
                  <a:gd name="T4" fmla="*/ 118 w 136"/>
                  <a:gd name="T5" fmla="*/ 70 h 176"/>
                  <a:gd name="T6" fmla="*/ 104 w 136"/>
                  <a:gd name="T7" fmla="*/ 172 h 176"/>
                  <a:gd name="T8" fmla="*/ 82 w 136"/>
                  <a:gd name="T9" fmla="*/ 168 h 176"/>
                  <a:gd name="T10" fmla="*/ 70 w 136"/>
                  <a:gd name="T11" fmla="*/ 166 h 176"/>
                  <a:gd name="T12" fmla="*/ 44 w 136"/>
                  <a:gd name="T13" fmla="*/ 114 h 176"/>
                  <a:gd name="T14" fmla="*/ 38 w 136"/>
                  <a:gd name="T15" fmla="*/ 74 h 176"/>
                  <a:gd name="T16" fmla="*/ 4 w 136"/>
                  <a:gd name="T17" fmla="*/ 18 h 176"/>
                  <a:gd name="T18" fmla="*/ 92 w 136"/>
                  <a:gd name="T19" fmla="*/ 4 h 176"/>
                  <a:gd name="T20" fmla="*/ 4 w 136"/>
                  <a:gd name="T21" fmla="*/ 0 h 176"/>
                  <a:gd name="T22" fmla="*/ 2 w 136"/>
                  <a:gd name="T23" fmla="*/ 0 h 176"/>
                  <a:gd name="T24" fmla="*/ 0 w 136"/>
                  <a:gd name="T25" fmla="*/ 18 h 176"/>
                  <a:gd name="T26" fmla="*/ 0 w 136"/>
                  <a:gd name="T27" fmla="*/ 20 h 176"/>
                  <a:gd name="T28" fmla="*/ 34 w 136"/>
                  <a:gd name="T29" fmla="*/ 76 h 176"/>
                  <a:gd name="T30" fmla="*/ 34 w 136"/>
                  <a:gd name="T31" fmla="*/ 104 h 176"/>
                  <a:gd name="T32" fmla="*/ 40 w 136"/>
                  <a:gd name="T33" fmla="*/ 114 h 176"/>
                  <a:gd name="T34" fmla="*/ 48 w 136"/>
                  <a:gd name="T35" fmla="*/ 148 h 176"/>
                  <a:gd name="T36" fmla="*/ 66 w 136"/>
                  <a:gd name="T37" fmla="*/ 168 h 176"/>
                  <a:gd name="T38" fmla="*/ 70 w 136"/>
                  <a:gd name="T39" fmla="*/ 170 h 176"/>
                  <a:gd name="T40" fmla="*/ 72 w 136"/>
                  <a:gd name="T41" fmla="*/ 170 h 176"/>
                  <a:gd name="T42" fmla="*/ 78 w 136"/>
                  <a:gd name="T43" fmla="*/ 170 h 176"/>
                  <a:gd name="T44" fmla="*/ 80 w 136"/>
                  <a:gd name="T45" fmla="*/ 172 h 176"/>
                  <a:gd name="T46" fmla="*/ 88 w 136"/>
                  <a:gd name="T47" fmla="*/ 176 h 176"/>
                  <a:gd name="T48" fmla="*/ 104 w 136"/>
                  <a:gd name="T49" fmla="*/ 176 h 176"/>
                  <a:gd name="T50" fmla="*/ 106 w 136"/>
                  <a:gd name="T51" fmla="*/ 174 h 176"/>
                  <a:gd name="T52" fmla="*/ 120 w 136"/>
                  <a:gd name="T53" fmla="*/ 166 h 176"/>
                  <a:gd name="T54" fmla="*/ 122 w 136"/>
                  <a:gd name="T55" fmla="*/ 74 h 176"/>
                  <a:gd name="T56" fmla="*/ 130 w 136"/>
                  <a:gd name="T57" fmla="*/ 74 h 176"/>
                  <a:gd name="T58" fmla="*/ 134 w 136"/>
                  <a:gd name="T59" fmla="*/ 70 h 176"/>
                  <a:gd name="T60" fmla="*/ 136 w 136"/>
                  <a:gd name="T61" fmla="*/ 16 h 176"/>
                  <a:gd name="T62" fmla="*/ 128 w 136"/>
                  <a:gd name="T63" fmla="*/ 6 h 176"/>
                  <a:gd name="T64" fmla="*/ 126 w 136"/>
                  <a:gd name="T65" fmla="*/ 6 h 176"/>
                  <a:gd name="T66" fmla="*/ 96 w 136"/>
                  <a:gd name="T67" fmla="*/ 0 h 176"/>
                  <a:gd name="T68" fmla="*/ 92 w 136"/>
                  <a:gd name="T6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76">
                    <a:moveTo>
                      <a:pt x="92" y="4"/>
                    </a:moveTo>
                    <a:lnTo>
                      <a:pt x="100" y="8"/>
                    </a:lnTo>
                    <a:lnTo>
                      <a:pt x="126" y="10"/>
                    </a:lnTo>
                    <a:lnTo>
                      <a:pt x="132" y="16"/>
                    </a:lnTo>
                    <a:lnTo>
                      <a:pt x="130" y="70"/>
                    </a:lnTo>
                    <a:lnTo>
                      <a:pt x="118" y="70"/>
                    </a:lnTo>
                    <a:lnTo>
                      <a:pt x="118" y="162"/>
                    </a:lnTo>
                    <a:lnTo>
                      <a:pt x="104" y="172"/>
                    </a:lnTo>
                    <a:lnTo>
                      <a:pt x="90" y="172"/>
                    </a:lnTo>
                    <a:lnTo>
                      <a:pt x="82" y="168"/>
                    </a:lnTo>
                    <a:lnTo>
                      <a:pt x="76" y="160"/>
                    </a:lnTo>
                    <a:lnTo>
                      <a:pt x="70" y="166"/>
                    </a:lnTo>
                    <a:lnTo>
                      <a:pt x="52" y="146"/>
                    </a:lnTo>
                    <a:lnTo>
                      <a:pt x="44" y="114"/>
                    </a:lnTo>
                    <a:lnTo>
                      <a:pt x="38" y="104"/>
                    </a:lnTo>
                    <a:lnTo>
                      <a:pt x="38" y="74"/>
                    </a:lnTo>
                    <a:lnTo>
                      <a:pt x="14" y="34"/>
                    </a:lnTo>
                    <a:lnTo>
                      <a:pt x="4" y="18"/>
                    </a:lnTo>
                    <a:lnTo>
                      <a:pt x="4" y="4"/>
                    </a:lnTo>
                    <a:lnTo>
                      <a:pt x="92" y="4"/>
                    </a:lnTo>
                    <a:close/>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8" name="Freeform 469"/>
              <p:cNvSpPr>
                <a:spLocks/>
              </p:cNvSpPr>
              <p:nvPr/>
            </p:nvSpPr>
            <p:spPr bwMode="auto">
              <a:xfrm>
                <a:off x="3033" y="2775"/>
                <a:ext cx="128" cy="168"/>
              </a:xfrm>
              <a:custGeom>
                <a:avLst/>
                <a:gdLst>
                  <a:gd name="T0" fmla="*/ 88 w 128"/>
                  <a:gd name="T1" fmla="*/ 0 h 168"/>
                  <a:gd name="T2" fmla="*/ 96 w 128"/>
                  <a:gd name="T3" fmla="*/ 4 h 168"/>
                  <a:gd name="T4" fmla="*/ 122 w 128"/>
                  <a:gd name="T5" fmla="*/ 6 h 168"/>
                  <a:gd name="T6" fmla="*/ 128 w 128"/>
                  <a:gd name="T7" fmla="*/ 12 h 168"/>
                  <a:gd name="T8" fmla="*/ 126 w 128"/>
                  <a:gd name="T9" fmla="*/ 66 h 168"/>
                  <a:gd name="T10" fmla="*/ 114 w 128"/>
                  <a:gd name="T11" fmla="*/ 66 h 168"/>
                  <a:gd name="T12" fmla="*/ 114 w 128"/>
                  <a:gd name="T13" fmla="*/ 158 h 168"/>
                  <a:gd name="T14" fmla="*/ 100 w 128"/>
                  <a:gd name="T15" fmla="*/ 168 h 168"/>
                  <a:gd name="T16" fmla="*/ 86 w 128"/>
                  <a:gd name="T17" fmla="*/ 168 h 168"/>
                  <a:gd name="T18" fmla="*/ 78 w 128"/>
                  <a:gd name="T19" fmla="*/ 164 h 168"/>
                  <a:gd name="T20" fmla="*/ 72 w 128"/>
                  <a:gd name="T21" fmla="*/ 156 h 168"/>
                  <a:gd name="T22" fmla="*/ 66 w 128"/>
                  <a:gd name="T23" fmla="*/ 162 h 168"/>
                  <a:gd name="T24" fmla="*/ 48 w 128"/>
                  <a:gd name="T25" fmla="*/ 142 h 168"/>
                  <a:gd name="T26" fmla="*/ 40 w 128"/>
                  <a:gd name="T27" fmla="*/ 110 h 168"/>
                  <a:gd name="T28" fmla="*/ 34 w 128"/>
                  <a:gd name="T29" fmla="*/ 100 h 168"/>
                  <a:gd name="T30" fmla="*/ 34 w 128"/>
                  <a:gd name="T31" fmla="*/ 70 h 168"/>
                  <a:gd name="T32" fmla="*/ 10 w 128"/>
                  <a:gd name="T33" fmla="*/ 30 h 168"/>
                  <a:gd name="T34" fmla="*/ 0 w 128"/>
                  <a:gd name="T35" fmla="*/ 14 h 168"/>
                  <a:gd name="T36" fmla="*/ 0 w 128"/>
                  <a:gd name="T37" fmla="*/ 0 h 168"/>
                  <a:gd name="T38" fmla="*/ 88 w 128"/>
                  <a:gd name="T3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8">
                    <a:moveTo>
                      <a:pt x="88" y="0"/>
                    </a:moveTo>
                    <a:lnTo>
                      <a:pt x="96" y="4"/>
                    </a:lnTo>
                    <a:lnTo>
                      <a:pt x="122" y="6"/>
                    </a:lnTo>
                    <a:lnTo>
                      <a:pt x="128" y="12"/>
                    </a:lnTo>
                    <a:lnTo>
                      <a:pt x="126" y="66"/>
                    </a:lnTo>
                    <a:lnTo>
                      <a:pt x="114" y="66"/>
                    </a:lnTo>
                    <a:lnTo>
                      <a:pt x="114" y="158"/>
                    </a:lnTo>
                    <a:lnTo>
                      <a:pt x="100" y="168"/>
                    </a:lnTo>
                    <a:lnTo>
                      <a:pt x="86" y="168"/>
                    </a:lnTo>
                    <a:lnTo>
                      <a:pt x="78" y="164"/>
                    </a:lnTo>
                    <a:lnTo>
                      <a:pt x="72" y="156"/>
                    </a:lnTo>
                    <a:lnTo>
                      <a:pt x="66" y="162"/>
                    </a:lnTo>
                    <a:lnTo>
                      <a:pt x="48" y="142"/>
                    </a:lnTo>
                    <a:lnTo>
                      <a:pt x="40" y="110"/>
                    </a:lnTo>
                    <a:lnTo>
                      <a:pt x="34" y="100"/>
                    </a:lnTo>
                    <a:lnTo>
                      <a:pt x="34" y="70"/>
                    </a:lnTo>
                    <a:lnTo>
                      <a:pt x="10" y="30"/>
                    </a:lnTo>
                    <a:lnTo>
                      <a:pt x="0" y="14"/>
                    </a:lnTo>
                    <a:lnTo>
                      <a:pt x="0"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9" name="Freeform 470"/>
              <p:cNvSpPr>
                <a:spLocks/>
              </p:cNvSpPr>
              <p:nvPr/>
            </p:nvSpPr>
            <p:spPr bwMode="auto">
              <a:xfrm>
                <a:off x="3029" y="2771"/>
                <a:ext cx="136" cy="176"/>
              </a:xfrm>
              <a:custGeom>
                <a:avLst/>
                <a:gdLst>
                  <a:gd name="T0" fmla="*/ 92 w 136"/>
                  <a:gd name="T1" fmla="*/ 0 h 176"/>
                  <a:gd name="T2" fmla="*/ 4 w 136"/>
                  <a:gd name="T3" fmla="*/ 0 h 176"/>
                  <a:gd name="T4" fmla="*/ 4 w 136"/>
                  <a:gd name="T5" fmla="*/ 0 h 176"/>
                  <a:gd name="T6" fmla="*/ 2 w 136"/>
                  <a:gd name="T7" fmla="*/ 0 h 176"/>
                  <a:gd name="T8" fmla="*/ 0 w 136"/>
                  <a:gd name="T9" fmla="*/ 4 h 176"/>
                  <a:gd name="T10" fmla="*/ 0 w 136"/>
                  <a:gd name="T11" fmla="*/ 18 h 176"/>
                  <a:gd name="T12" fmla="*/ 0 w 136"/>
                  <a:gd name="T13" fmla="*/ 18 h 176"/>
                  <a:gd name="T14" fmla="*/ 0 w 136"/>
                  <a:gd name="T15" fmla="*/ 20 h 176"/>
                  <a:gd name="T16" fmla="*/ 12 w 136"/>
                  <a:gd name="T17" fmla="*/ 36 h 176"/>
                  <a:gd name="T18" fmla="*/ 34 w 136"/>
                  <a:gd name="T19" fmla="*/ 76 h 176"/>
                  <a:gd name="T20" fmla="*/ 34 w 136"/>
                  <a:gd name="T21" fmla="*/ 104 h 176"/>
                  <a:gd name="T22" fmla="*/ 34 w 136"/>
                  <a:gd name="T23" fmla="*/ 104 h 176"/>
                  <a:gd name="T24" fmla="*/ 34 w 136"/>
                  <a:gd name="T25" fmla="*/ 104 h 176"/>
                  <a:gd name="T26" fmla="*/ 40 w 136"/>
                  <a:gd name="T27" fmla="*/ 114 h 176"/>
                  <a:gd name="T28" fmla="*/ 48 w 136"/>
                  <a:gd name="T29" fmla="*/ 148 h 176"/>
                  <a:gd name="T30" fmla="*/ 48 w 136"/>
                  <a:gd name="T31" fmla="*/ 148 h 176"/>
                  <a:gd name="T32" fmla="*/ 48 w 136"/>
                  <a:gd name="T33" fmla="*/ 150 h 176"/>
                  <a:gd name="T34" fmla="*/ 66 w 136"/>
                  <a:gd name="T35" fmla="*/ 168 h 176"/>
                  <a:gd name="T36" fmla="*/ 66 w 136"/>
                  <a:gd name="T37" fmla="*/ 168 h 176"/>
                  <a:gd name="T38" fmla="*/ 70 w 136"/>
                  <a:gd name="T39" fmla="*/ 170 h 176"/>
                  <a:gd name="T40" fmla="*/ 70 w 136"/>
                  <a:gd name="T41" fmla="*/ 170 h 176"/>
                  <a:gd name="T42" fmla="*/ 72 w 136"/>
                  <a:gd name="T43" fmla="*/ 170 h 176"/>
                  <a:gd name="T44" fmla="*/ 76 w 136"/>
                  <a:gd name="T45" fmla="*/ 166 h 176"/>
                  <a:gd name="T46" fmla="*/ 78 w 136"/>
                  <a:gd name="T47" fmla="*/ 170 h 176"/>
                  <a:gd name="T48" fmla="*/ 78 w 136"/>
                  <a:gd name="T49" fmla="*/ 170 h 176"/>
                  <a:gd name="T50" fmla="*/ 80 w 136"/>
                  <a:gd name="T51" fmla="*/ 172 h 176"/>
                  <a:gd name="T52" fmla="*/ 88 w 136"/>
                  <a:gd name="T53" fmla="*/ 176 h 176"/>
                  <a:gd name="T54" fmla="*/ 88 w 136"/>
                  <a:gd name="T55" fmla="*/ 176 h 176"/>
                  <a:gd name="T56" fmla="*/ 90 w 136"/>
                  <a:gd name="T57" fmla="*/ 176 h 176"/>
                  <a:gd name="T58" fmla="*/ 104 w 136"/>
                  <a:gd name="T59" fmla="*/ 176 h 176"/>
                  <a:gd name="T60" fmla="*/ 104 w 136"/>
                  <a:gd name="T61" fmla="*/ 176 h 176"/>
                  <a:gd name="T62" fmla="*/ 106 w 136"/>
                  <a:gd name="T63" fmla="*/ 174 h 176"/>
                  <a:gd name="T64" fmla="*/ 120 w 136"/>
                  <a:gd name="T65" fmla="*/ 166 h 176"/>
                  <a:gd name="T66" fmla="*/ 120 w 136"/>
                  <a:gd name="T67" fmla="*/ 166 h 176"/>
                  <a:gd name="T68" fmla="*/ 122 w 136"/>
                  <a:gd name="T69" fmla="*/ 162 h 176"/>
                  <a:gd name="T70" fmla="*/ 122 w 136"/>
                  <a:gd name="T71" fmla="*/ 74 h 176"/>
                  <a:gd name="T72" fmla="*/ 130 w 136"/>
                  <a:gd name="T73" fmla="*/ 74 h 176"/>
                  <a:gd name="T74" fmla="*/ 130 w 136"/>
                  <a:gd name="T75" fmla="*/ 74 h 176"/>
                  <a:gd name="T76" fmla="*/ 134 w 136"/>
                  <a:gd name="T77" fmla="*/ 72 h 176"/>
                  <a:gd name="T78" fmla="*/ 134 w 136"/>
                  <a:gd name="T79" fmla="*/ 70 h 176"/>
                  <a:gd name="T80" fmla="*/ 136 w 136"/>
                  <a:gd name="T81" fmla="*/ 16 h 176"/>
                  <a:gd name="T82" fmla="*/ 136 w 136"/>
                  <a:gd name="T83" fmla="*/ 16 h 176"/>
                  <a:gd name="T84" fmla="*/ 136 w 136"/>
                  <a:gd name="T85" fmla="*/ 12 h 176"/>
                  <a:gd name="T86" fmla="*/ 128 w 136"/>
                  <a:gd name="T87" fmla="*/ 6 h 176"/>
                  <a:gd name="T88" fmla="*/ 128 w 136"/>
                  <a:gd name="T89" fmla="*/ 6 h 176"/>
                  <a:gd name="T90" fmla="*/ 126 w 136"/>
                  <a:gd name="T91" fmla="*/ 6 h 176"/>
                  <a:gd name="T92" fmla="*/ 102 w 136"/>
                  <a:gd name="T93" fmla="*/ 4 h 176"/>
                  <a:gd name="T94" fmla="*/ 96 w 136"/>
                  <a:gd name="T95" fmla="*/ 0 h 176"/>
                  <a:gd name="T96" fmla="*/ 96 w 136"/>
                  <a:gd name="T97" fmla="*/ 0 h 176"/>
                  <a:gd name="T98" fmla="*/ 92 w 136"/>
                  <a:gd name="T99" fmla="*/ 0 h 176"/>
                  <a:gd name="T100" fmla="*/ 92 w 136"/>
                  <a:gd name="T10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76">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0" name="Freeform 471"/>
              <p:cNvSpPr>
                <a:spLocks/>
              </p:cNvSpPr>
              <p:nvPr/>
            </p:nvSpPr>
            <p:spPr bwMode="auto">
              <a:xfrm>
                <a:off x="3293" y="2671"/>
                <a:ext cx="150" cy="246"/>
              </a:xfrm>
              <a:custGeom>
                <a:avLst/>
                <a:gdLst>
                  <a:gd name="T0" fmla="*/ 24 w 150"/>
                  <a:gd name="T1" fmla="*/ 244 h 246"/>
                  <a:gd name="T2" fmla="*/ 22 w 150"/>
                  <a:gd name="T3" fmla="*/ 200 h 246"/>
                  <a:gd name="T4" fmla="*/ 8 w 150"/>
                  <a:gd name="T5" fmla="*/ 176 h 246"/>
                  <a:gd name="T6" fmla="*/ 8 w 150"/>
                  <a:gd name="T7" fmla="*/ 174 h 246"/>
                  <a:gd name="T8" fmla="*/ 8 w 150"/>
                  <a:gd name="T9" fmla="*/ 172 h 246"/>
                  <a:gd name="T10" fmla="*/ 36 w 150"/>
                  <a:gd name="T11" fmla="*/ 142 h 246"/>
                  <a:gd name="T12" fmla="*/ 34 w 150"/>
                  <a:gd name="T13" fmla="*/ 92 h 246"/>
                  <a:gd name="T14" fmla="*/ 2 w 150"/>
                  <a:gd name="T15" fmla="*/ 82 h 246"/>
                  <a:gd name="T16" fmla="*/ 0 w 150"/>
                  <a:gd name="T17" fmla="*/ 66 h 246"/>
                  <a:gd name="T18" fmla="*/ 2 w 150"/>
                  <a:gd name="T19" fmla="*/ 64 h 246"/>
                  <a:gd name="T20" fmla="*/ 62 w 150"/>
                  <a:gd name="T21" fmla="*/ 58 h 246"/>
                  <a:gd name="T22" fmla="*/ 64 w 150"/>
                  <a:gd name="T23" fmla="*/ 58 h 246"/>
                  <a:gd name="T24" fmla="*/ 64 w 150"/>
                  <a:gd name="T25" fmla="*/ 60 h 246"/>
                  <a:gd name="T26" fmla="*/ 70 w 150"/>
                  <a:gd name="T27" fmla="*/ 94 h 246"/>
                  <a:gd name="T28" fmla="*/ 76 w 150"/>
                  <a:gd name="T29" fmla="*/ 60 h 246"/>
                  <a:gd name="T30" fmla="*/ 58 w 150"/>
                  <a:gd name="T31" fmla="*/ 32 h 246"/>
                  <a:gd name="T32" fmla="*/ 58 w 150"/>
                  <a:gd name="T33" fmla="*/ 30 h 246"/>
                  <a:gd name="T34" fmla="*/ 62 w 150"/>
                  <a:gd name="T35" fmla="*/ 16 h 246"/>
                  <a:gd name="T36" fmla="*/ 64 w 150"/>
                  <a:gd name="T37" fmla="*/ 14 h 246"/>
                  <a:gd name="T38" fmla="*/ 106 w 150"/>
                  <a:gd name="T39" fmla="*/ 18 h 246"/>
                  <a:gd name="T40" fmla="*/ 144 w 150"/>
                  <a:gd name="T41" fmla="*/ 0 h 246"/>
                  <a:gd name="T42" fmla="*/ 144 w 150"/>
                  <a:gd name="T43" fmla="*/ 0 h 246"/>
                  <a:gd name="T44" fmla="*/ 146 w 150"/>
                  <a:gd name="T45" fmla="*/ 0 h 246"/>
                  <a:gd name="T46" fmla="*/ 146 w 150"/>
                  <a:gd name="T47" fmla="*/ 2 h 246"/>
                  <a:gd name="T48" fmla="*/ 150 w 150"/>
                  <a:gd name="T49" fmla="*/ 74 h 246"/>
                  <a:gd name="T50" fmla="*/ 150 w 150"/>
                  <a:gd name="T51" fmla="*/ 76 h 246"/>
                  <a:gd name="T52" fmla="*/ 104 w 150"/>
                  <a:gd name="T53" fmla="*/ 110 h 246"/>
                  <a:gd name="T54" fmla="*/ 66 w 150"/>
                  <a:gd name="T55" fmla="*/ 140 h 246"/>
                  <a:gd name="T56" fmla="*/ 76 w 150"/>
                  <a:gd name="T57" fmla="*/ 176 h 246"/>
                  <a:gd name="T58" fmla="*/ 76 w 150"/>
                  <a:gd name="T59" fmla="*/ 178 h 246"/>
                  <a:gd name="T60" fmla="*/ 74 w 150"/>
                  <a:gd name="T61" fmla="*/ 206 h 246"/>
                  <a:gd name="T62" fmla="*/ 38 w 150"/>
                  <a:gd name="T63" fmla="*/ 226 h 246"/>
                  <a:gd name="T64" fmla="*/ 38 w 150"/>
                  <a:gd name="T65" fmla="*/ 238 h 246"/>
                  <a:gd name="T66" fmla="*/ 40 w 150"/>
                  <a:gd name="T67" fmla="*/ 242 h 246"/>
                  <a:gd name="T68" fmla="*/ 40 w 150"/>
                  <a:gd name="T69" fmla="*/ 244 h 246"/>
                  <a:gd name="T70" fmla="*/ 38 w 150"/>
                  <a:gd name="T71" fmla="*/ 246 h 246"/>
                  <a:gd name="T72" fmla="*/ 24 w 150"/>
                  <a:gd name="T73"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0" h="246">
                    <a:moveTo>
                      <a:pt x="24" y="244"/>
                    </a:moveTo>
                    <a:lnTo>
                      <a:pt x="24" y="244"/>
                    </a:lnTo>
                    <a:lnTo>
                      <a:pt x="22" y="242"/>
                    </a:lnTo>
                    <a:lnTo>
                      <a:pt x="22" y="200"/>
                    </a:lnTo>
                    <a:lnTo>
                      <a:pt x="16" y="180"/>
                    </a:lnTo>
                    <a:lnTo>
                      <a:pt x="8" y="176"/>
                    </a:lnTo>
                    <a:lnTo>
                      <a:pt x="8" y="176"/>
                    </a:lnTo>
                    <a:lnTo>
                      <a:pt x="8" y="174"/>
                    </a:lnTo>
                    <a:lnTo>
                      <a:pt x="8" y="174"/>
                    </a:lnTo>
                    <a:lnTo>
                      <a:pt x="8" y="172"/>
                    </a:lnTo>
                    <a:lnTo>
                      <a:pt x="28" y="158"/>
                    </a:lnTo>
                    <a:lnTo>
                      <a:pt x="36" y="142"/>
                    </a:lnTo>
                    <a:lnTo>
                      <a:pt x="36" y="116"/>
                    </a:lnTo>
                    <a:lnTo>
                      <a:pt x="34" y="92"/>
                    </a:lnTo>
                    <a:lnTo>
                      <a:pt x="2" y="82"/>
                    </a:lnTo>
                    <a:lnTo>
                      <a:pt x="2" y="82"/>
                    </a:lnTo>
                    <a:lnTo>
                      <a:pt x="0" y="80"/>
                    </a:lnTo>
                    <a:lnTo>
                      <a:pt x="0" y="66"/>
                    </a:lnTo>
                    <a:lnTo>
                      <a:pt x="0" y="66"/>
                    </a:lnTo>
                    <a:lnTo>
                      <a:pt x="2" y="64"/>
                    </a:lnTo>
                    <a:lnTo>
                      <a:pt x="48" y="58"/>
                    </a:lnTo>
                    <a:lnTo>
                      <a:pt x="62" y="58"/>
                    </a:lnTo>
                    <a:lnTo>
                      <a:pt x="62" y="58"/>
                    </a:lnTo>
                    <a:lnTo>
                      <a:pt x="64" y="58"/>
                    </a:lnTo>
                    <a:lnTo>
                      <a:pt x="64" y="58"/>
                    </a:lnTo>
                    <a:lnTo>
                      <a:pt x="64" y="60"/>
                    </a:lnTo>
                    <a:lnTo>
                      <a:pt x="62" y="86"/>
                    </a:lnTo>
                    <a:lnTo>
                      <a:pt x="70" y="94"/>
                    </a:lnTo>
                    <a:lnTo>
                      <a:pt x="78" y="84"/>
                    </a:lnTo>
                    <a:lnTo>
                      <a:pt x="76" y="60"/>
                    </a:lnTo>
                    <a:lnTo>
                      <a:pt x="64" y="46"/>
                    </a:lnTo>
                    <a:lnTo>
                      <a:pt x="58" y="32"/>
                    </a:lnTo>
                    <a:lnTo>
                      <a:pt x="58" y="32"/>
                    </a:lnTo>
                    <a:lnTo>
                      <a:pt x="58" y="30"/>
                    </a:lnTo>
                    <a:lnTo>
                      <a:pt x="62" y="16"/>
                    </a:lnTo>
                    <a:lnTo>
                      <a:pt x="62" y="16"/>
                    </a:lnTo>
                    <a:lnTo>
                      <a:pt x="64" y="14"/>
                    </a:lnTo>
                    <a:lnTo>
                      <a:pt x="64" y="14"/>
                    </a:lnTo>
                    <a:lnTo>
                      <a:pt x="84" y="16"/>
                    </a:lnTo>
                    <a:lnTo>
                      <a:pt x="106" y="18"/>
                    </a:lnTo>
                    <a:lnTo>
                      <a:pt x="130" y="10"/>
                    </a:lnTo>
                    <a:lnTo>
                      <a:pt x="144" y="0"/>
                    </a:lnTo>
                    <a:lnTo>
                      <a:pt x="144" y="0"/>
                    </a:lnTo>
                    <a:lnTo>
                      <a:pt x="144" y="0"/>
                    </a:lnTo>
                    <a:lnTo>
                      <a:pt x="144" y="0"/>
                    </a:lnTo>
                    <a:lnTo>
                      <a:pt x="146" y="0"/>
                    </a:lnTo>
                    <a:lnTo>
                      <a:pt x="146" y="0"/>
                    </a:lnTo>
                    <a:lnTo>
                      <a:pt x="146" y="2"/>
                    </a:lnTo>
                    <a:lnTo>
                      <a:pt x="146" y="38"/>
                    </a:lnTo>
                    <a:lnTo>
                      <a:pt x="150" y="74"/>
                    </a:lnTo>
                    <a:lnTo>
                      <a:pt x="150" y="74"/>
                    </a:lnTo>
                    <a:lnTo>
                      <a:pt x="150" y="76"/>
                    </a:lnTo>
                    <a:lnTo>
                      <a:pt x="134" y="92"/>
                    </a:lnTo>
                    <a:lnTo>
                      <a:pt x="104" y="110"/>
                    </a:lnTo>
                    <a:lnTo>
                      <a:pt x="72" y="138"/>
                    </a:lnTo>
                    <a:lnTo>
                      <a:pt x="66" y="140"/>
                    </a:lnTo>
                    <a:lnTo>
                      <a:pt x="68" y="152"/>
                    </a:lnTo>
                    <a:lnTo>
                      <a:pt x="76" y="176"/>
                    </a:lnTo>
                    <a:lnTo>
                      <a:pt x="76" y="176"/>
                    </a:lnTo>
                    <a:lnTo>
                      <a:pt x="76" y="178"/>
                    </a:lnTo>
                    <a:lnTo>
                      <a:pt x="74" y="206"/>
                    </a:lnTo>
                    <a:lnTo>
                      <a:pt x="74" y="206"/>
                    </a:lnTo>
                    <a:lnTo>
                      <a:pt x="72" y="208"/>
                    </a:lnTo>
                    <a:lnTo>
                      <a:pt x="38" y="226"/>
                    </a:lnTo>
                    <a:lnTo>
                      <a:pt x="36" y="230"/>
                    </a:lnTo>
                    <a:lnTo>
                      <a:pt x="38" y="238"/>
                    </a:lnTo>
                    <a:lnTo>
                      <a:pt x="40" y="242"/>
                    </a:lnTo>
                    <a:lnTo>
                      <a:pt x="40" y="242"/>
                    </a:lnTo>
                    <a:lnTo>
                      <a:pt x="40" y="244"/>
                    </a:lnTo>
                    <a:lnTo>
                      <a:pt x="40" y="244"/>
                    </a:lnTo>
                    <a:lnTo>
                      <a:pt x="38" y="246"/>
                    </a:lnTo>
                    <a:lnTo>
                      <a:pt x="38" y="246"/>
                    </a:lnTo>
                    <a:lnTo>
                      <a:pt x="24" y="244"/>
                    </a:lnTo>
                    <a:lnTo>
                      <a:pt x="24"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1" name="Freeform 472"/>
              <p:cNvSpPr>
                <a:spLocks noEditPoints="1"/>
              </p:cNvSpPr>
              <p:nvPr/>
            </p:nvSpPr>
            <p:spPr bwMode="auto">
              <a:xfrm>
                <a:off x="3291" y="2669"/>
                <a:ext cx="154" cy="250"/>
              </a:xfrm>
              <a:custGeom>
                <a:avLst/>
                <a:gdLst>
                  <a:gd name="T0" fmla="*/ 150 w 154"/>
                  <a:gd name="T1" fmla="*/ 76 h 250"/>
                  <a:gd name="T2" fmla="*/ 74 w 154"/>
                  <a:gd name="T3" fmla="*/ 138 h 250"/>
                  <a:gd name="T4" fmla="*/ 76 w 154"/>
                  <a:gd name="T5" fmla="*/ 180 h 250"/>
                  <a:gd name="T6" fmla="*/ 36 w 154"/>
                  <a:gd name="T7" fmla="*/ 232 h 250"/>
                  <a:gd name="T8" fmla="*/ 26 w 154"/>
                  <a:gd name="T9" fmla="*/ 244 h 250"/>
                  <a:gd name="T10" fmla="*/ 20 w 154"/>
                  <a:gd name="T11" fmla="*/ 182 h 250"/>
                  <a:gd name="T12" fmla="*/ 40 w 154"/>
                  <a:gd name="T13" fmla="*/ 146 h 250"/>
                  <a:gd name="T14" fmla="*/ 4 w 154"/>
                  <a:gd name="T15" fmla="*/ 82 h 250"/>
                  <a:gd name="T16" fmla="*/ 64 w 154"/>
                  <a:gd name="T17" fmla="*/ 62 h 250"/>
                  <a:gd name="T18" fmla="*/ 82 w 154"/>
                  <a:gd name="T19" fmla="*/ 86 h 250"/>
                  <a:gd name="T20" fmla="*/ 62 w 154"/>
                  <a:gd name="T21" fmla="*/ 32 h 250"/>
                  <a:gd name="T22" fmla="*/ 110 w 154"/>
                  <a:gd name="T23" fmla="*/ 22 h 250"/>
                  <a:gd name="T24" fmla="*/ 146 w 154"/>
                  <a:gd name="T25" fmla="*/ 0 h 250"/>
                  <a:gd name="T26" fmla="*/ 130 w 154"/>
                  <a:gd name="T27" fmla="*/ 10 h 250"/>
                  <a:gd name="T28" fmla="*/ 66 w 154"/>
                  <a:gd name="T29" fmla="*/ 14 h 250"/>
                  <a:gd name="T30" fmla="*/ 66 w 154"/>
                  <a:gd name="T31" fmla="*/ 14 h 250"/>
                  <a:gd name="T32" fmla="*/ 58 w 154"/>
                  <a:gd name="T33" fmla="*/ 32 h 250"/>
                  <a:gd name="T34" fmla="*/ 64 w 154"/>
                  <a:gd name="T35" fmla="*/ 48 h 250"/>
                  <a:gd name="T36" fmla="*/ 76 w 154"/>
                  <a:gd name="T37" fmla="*/ 62 h 250"/>
                  <a:gd name="T38" fmla="*/ 66 w 154"/>
                  <a:gd name="T39" fmla="*/ 86 h 250"/>
                  <a:gd name="T40" fmla="*/ 68 w 154"/>
                  <a:gd name="T41" fmla="*/ 58 h 250"/>
                  <a:gd name="T42" fmla="*/ 50 w 154"/>
                  <a:gd name="T43" fmla="*/ 58 h 250"/>
                  <a:gd name="T44" fmla="*/ 4 w 154"/>
                  <a:gd name="T45" fmla="*/ 64 h 250"/>
                  <a:gd name="T46" fmla="*/ 0 w 154"/>
                  <a:gd name="T47" fmla="*/ 68 h 250"/>
                  <a:gd name="T48" fmla="*/ 2 w 154"/>
                  <a:gd name="T49" fmla="*/ 86 h 250"/>
                  <a:gd name="T50" fmla="*/ 36 w 154"/>
                  <a:gd name="T51" fmla="*/ 118 h 250"/>
                  <a:gd name="T52" fmla="*/ 10 w 154"/>
                  <a:gd name="T53" fmla="*/ 172 h 250"/>
                  <a:gd name="T54" fmla="*/ 8 w 154"/>
                  <a:gd name="T55" fmla="*/ 176 h 250"/>
                  <a:gd name="T56" fmla="*/ 22 w 154"/>
                  <a:gd name="T57" fmla="*/ 204 h 250"/>
                  <a:gd name="T58" fmla="*/ 22 w 154"/>
                  <a:gd name="T59" fmla="*/ 244 h 250"/>
                  <a:gd name="T60" fmla="*/ 40 w 154"/>
                  <a:gd name="T61" fmla="*/ 250 h 250"/>
                  <a:gd name="T62" fmla="*/ 40 w 154"/>
                  <a:gd name="T63" fmla="*/ 250 h 250"/>
                  <a:gd name="T64" fmla="*/ 44 w 154"/>
                  <a:gd name="T65" fmla="*/ 244 h 250"/>
                  <a:gd name="T66" fmla="*/ 42 w 154"/>
                  <a:gd name="T67" fmla="*/ 238 h 250"/>
                  <a:gd name="T68" fmla="*/ 76 w 154"/>
                  <a:gd name="T69" fmla="*/ 212 h 250"/>
                  <a:gd name="T70" fmla="*/ 80 w 154"/>
                  <a:gd name="T71" fmla="*/ 180 h 250"/>
                  <a:gd name="T72" fmla="*/ 72 w 154"/>
                  <a:gd name="T73" fmla="*/ 154 h 250"/>
                  <a:gd name="T74" fmla="*/ 74 w 154"/>
                  <a:gd name="T75" fmla="*/ 142 h 250"/>
                  <a:gd name="T76" fmla="*/ 136 w 154"/>
                  <a:gd name="T77" fmla="*/ 96 h 250"/>
                  <a:gd name="T78" fmla="*/ 154 w 154"/>
                  <a:gd name="T79" fmla="*/ 78 h 250"/>
                  <a:gd name="T80" fmla="*/ 150 w 154"/>
                  <a:gd name="T81" fmla="*/ 40 h 250"/>
                  <a:gd name="T82" fmla="*/ 148 w 154"/>
                  <a:gd name="T83" fmla="*/ 0 h 250"/>
                  <a:gd name="T84" fmla="*/ 146 w 154"/>
                  <a:gd name="T8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50">
                    <a:moveTo>
                      <a:pt x="146" y="4"/>
                    </a:moveTo>
                    <a:lnTo>
                      <a:pt x="146" y="40"/>
                    </a:lnTo>
                    <a:lnTo>
                      <a:pt x="150" y="76"/>
                    </a:lnTo>
                    <a:lnTo>
                      <a:pt x="134" y="92"/>
                    </a:lnTo>
                    <a:lnTo>
                      <a:pt x="106" y="110"/>
                    </a:lnTo>
                    <a:lnTo>
                      <a:pt x="74" y="138"/>
                    </a:lnTo>
                    <a:lnTo>
                      <a:pt x="66" y="142"/>
                    </a:lnTo>
                    <a:lnTo>
                      <a:pt x="68" y="154"/>
                    </a:lnTo>
                    <a:lnTo>
                      <a:pt x="76" y="180"/>
                    </a:lnTo>
                    <a:lnTo>
                      <a:pt x="74" y="208"/>
                    </a:lnTo>
                    <a:lnTo>
                      <a:pt x="40" y="226"/>
                    </a:lnTo>
                    <a:lnTo>
                      <a:pt x="36" y="232"/>
                    </a:lnTo>
                    <a:lnTo>
                      <a:pt x="40" y="240"/>
                    </a:lnTo>
                    <a:lnTo>
                      <a:pt x="40" y="246"/>
                    </a:lnTo>
                    <a:lnTo>
                      <a:pt x="26" y="244"/>
                    </a:lnTo>
                    <a:lnTo>
                      <a:pt x="26" y="234"/>
                    </a:lnTo>
                    <a:lnTo>
                      <a:pt x="26" y="202"/>
                    </a:lnTo>
                    <a:lnTo>
                      <a:pt x="20" y="182"/>
                    </a:lnTo>
                    <a:lnTo>
                      <a:pt x="12" y="176"/>
                    </a:lnTo>
                    <a:lnTo>
                      <a:pt x="32" y="162"/>
                    </a:lnTo>
                    <a:lnTo>
                      <a:pt x="40" y="146"/>
                    </a:lnTo>
                    <a:lnTo>
                      <a:pt x="40" y="118"/>
                    </a:lnTo>
                    <a:lnTo>
                      <a:pt x="38" y="94"/>
                    </a:lnTo>
                    <a:lnTo>
                      <a:pt x="4" y="82"/>
                    </a:lnTo>
                    <a:lnTo>
                      <a:pt x="4" y="68"/>
                    </a:lnTo>
                    <a:lnTo>
                      <a:pt x="50" y="62"/>
                    </a:lnTo>
                    <a:lnTo>
                      <a:pt x="64" y="62"/>
                    </a:lnTo>
                    <a:lnTo>
                      <a:pt x="62" y="88"/>
                    </a:lnTo>
                    <a:lnTo>
                      <a:pt x="74" y="98"/>
                    </a:lnTo>
                    <a:lnTo>
                      <a:pt x="82" y="86"/>
                    </a:lnTo>
                    <a:lnTo>
                      <a:pt x="80" y="62"/>
                    </a:lnTo>
                    <a:lnTo>
                      <a:pt x="68" y="48"/>
                    </a:lnTo>
                    <a:lnTo>
                      <a:pt x="62" y="32"/>
                    </a:lnTo>
                    <a:lnTo>
                      <a:pt x="66" y="18"/>
                    </a:lnTo>
                    <a:lnTo>
                      <a:pt x="86" y="20"/>
                    </a:lnTo>
                    <a:lnTo>
                      <a:pt x="110" y="22"/>
                    </a:lnTo>
                    <a:lnTo>
                      <a:pt x="132" y="14"/>
                    </a:lnTo>
                    <a:lnTo>
                      <a:pt x="146" y="4"/>
                    </a:lnTo>
                    <a:close/>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2" name="Freeform 473"/>
              <p:cNvSpPr>
                <a:spLocks/>
              </p:cNvSpPr>
              <p:nvPr/>
            </p:nvSpPr>
            <p:spPr bwMode="auto">
              <a:xfrm>
                <a:off x="3295" y="2673"/>
                <a:ext cx="146" cy="242"/>
              </a:xfrm>
              <a:custGeom>
                <a:avLst/>
                <a:gdLst>
                  <a:gd name="T0" fmla="*/ 142 w 146"/>
                  <a:gd name="T1" fmla="*/ 0 h 242"/>
                  <a:gd name="T2" fmla="*/ 142 w 146"/>
                  <a:gd name="T3" fmla="*/ 36 h 242"/>
                  <a:gd name="T4" fmla="*/ 146 w 146"/>
                  <a:gd name="T5" fmla="*/ 72 h 242"/>
                  <a:gd name="T6" fmla="*/ 130 w 146"/>
                  <a:gd name="T7" fmla="*/ 88 h 242"/>
                  <a:gd name="T8" fmla="*/ 102 w 146"/>
                  <a:gd name="T9" fmla="*/ 106 h 242"/>
                  <a:gd name="T10" fmla="*/ 70 w 146"/>
                  <a:gd name="T11" fmla="*/ 134 h 242"/>
                  <a:gd name="T12" fmla="*/ 62 w 146"/>
                  <a:gd name="T13" fmla="*/ 138 h 242"/>
                  <a:gd name="T14" fmla="*/ 64 w 146"/>
                  <a:gd name="T15" fmla="*/ 150 h 242"/>
                  <a:gd name="T16" fmla="*/ 72 w 146"/>
                  <a:gd name="T17" fmla="*/ 176 h 242"/>
                  <a:gd name="T18" fmla="*/ 70 w 146"/>
                  <a:gd name="T19" fmla="*/ 204 h 242"/>
                  <a:gd name="T20" fmla="*/ 36 w 146"/>
                  <a:gd name="T21" fmla="*/ 222 h 242"/>
                  <a:gd name="T22" fmla="*/ 32 w 146"/>
                  <a:gd name="T23" fmla="*/ 228 h 242"/>
                  <a:gd name="T24" fmla="*/ 36 w 146"/>
                  <a:gd name="T25" fmla="*/ 236 h 242"/>
                  <a:gd name="T26" fmla="*/ 36 w 146"/>
                  <a:gd name="T27" fmla="*/ 242 h 242"/>
                  <a:gd name="T28" fmla="*/ 22 w 146"/>
                  <a:gd name="T29" fmla="*/ 240 h 242"/>
                  <a:gd name="T30" fmla="*/ 22 w 146"/>
                  <a:gd name="T31" fmla="*/ 230 h 242"/>
                  <a:gd name="T32" fmla="*/ 22 w 146"/>
                  <a:gd name="T33" fmla="*/ 198 h 242"/>
                  <a:gd name="T34" fmla="*/ 16 w 146"/>
                  <a:gd name="T35" fmla="*/ 178 h 242"/>
                  <a:gd name="T36" fmla="*/ 8 w 146"/>
                  <a:gd name="T37" fmla="*/ 172 h 242"/>
                  <a:gd name="T38" fmla="*/ 28 w 146"/>
                  <a:gd name="T39" fmla="*/ 158 h 242"/>
                  <a:gd name="T40" fmla="*/ 36 w 146"/>
                  <a:gd name="T41" fmla="*/ 142 h 242"/>
                  <a:gd name="T42" fmla="*/ 36 w 146"/>
                  <a:gd name="T43" fmla="*/ 114 h 242"/>
                  <a:gd name="T44" fmla="*/ 34 w 146"/>
                  <a:gd name="T45" fmla="*/ 90 h 242"/>
                  <a:gd name="T46" fmla="*/ 0 w 146"/>
                  <a:gd name="T47" fmla="*/ 78 h 242"/>
                  <a:gd name="T48" fmla="*/ 0 w 146"/>
                  <a:gd name="T49" fmla="*/ 64 h 242"/>
                  <a:gd name="T50" fmla="*/ 46 w 146"/>
                  <a:gd name="T51" fmla="*/ 58 h 242"/>
                  <a:gd name="T52" fmla="*/ 60 w 146"/>
                  <a:gd name="T53" fmla="*/ 58 h 242"/>
                  <a:gd name="T54" fmla="*/ 58 w 146"/>
                  <a:gd name="T55" fmla="*/ 84 h 242"/>
                  <a:gd name="T56" fmla="*/ 70 w 146"/>
                  <a:gd name="T57" fmla="*/ 94 h 242"/>
                  <a:gd name="T58" fmla="*/ 78 w 146"/>
                  <a:gd name="T59" fmla="*/ 82 h 242"/>
                  <a:gd name="T60" fmla="*/ 76 w 146"/>
                  <a:gd name="T61" fmla="*/ 58 h 242"/>
                  <a:gd name="T62" fmla="*/ 64 w 146"/>
                  <a:gd name="T63" fmla="*/ 44 h 242"/>
                  <a:gd name="T64" fmla="*/ 58 w 146"/>
                  <a:gd name="T65" fmla="*/ 28 h 242"/>
                  <a:gd name="T66" fmla="*/ 62 w 146"/>
                  <a:gd name="T67" fmla="*/ 14 h 242"/>
                  <a:gd name="T68" fmla="*/ 82 w 146"/>
                  <a:gd name="T69" fmla="*/ 16 h 242"/>
                  <a:gd name="T70" fmla="*/ 106 w 146"/>
                  <a:gd name="T71" fmla="*/ 18 h 242"/>
                  <a:gd name="T72" fmla="*/ 128 w 146"/>
                  <a:gd name="T73" fmla="*/ 10 h 242"/>
                  <a:gd name="T74" fmla="*/ 142 w 146"/>
                  <a:gd name="T7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42">
                    <a:moveTo>
                      <a:pt x="142" y="0"/>
                    </a:moveTo>
                    <a:lnTo>
                      <a:pt x="142" y="36"/>
                    </a:lnTo>
                    <a:lnTo>
                      <a:pt x="146" y="72"/>
                    </a:lnTo>
                    <a:lnTo>
                      <a:pt x="130" y="88"/>
                    </a:lnTo>
                    <a:lnTo>
                      <a:pt x="102" y="106"/>
                    </a:lnTo>
                    <a:lnTo>
                      <a:pt x="70" y="134"/>
                    </a:lnTo>
                    <a:lnTo>
                      <a:pt x="62" y="138"/>
                    </a:lnTo>
                    <a:lnTo>
                      <a:pt x="64" y="150"/>
                    </a:lnTo>
                    <a:lnTo>
                      <a:pt x="72" y="176"/>
                    </a:lnTo>
                    <a:lnTo>
                      <a:pt x="70" y="204"/>
                    </a:lnTo>
                    <a:lnTo>
                      <a:pt x="36" y="222"/>
                    </a:lnTo>
                    <a:lnTo>
                      <a:pt x="32" y="228"/>
                    </a:lnTo>
                    <a:lnTo>
                      <a:pt x="36" y="236"/>
                    </a:lnTo>
                    <a:lnTo>
                      <a:pt x="36" y="242"/>
                    </a:lnTo>
                    <a:lnTo>
                      <a:pt x="22" y="240"/>
                    </a:lnTo>
                    <a:lnTo>
                      <a:pt x="22" y="230"/>
                    </a:lnTo>
                    <a:lnTo>
                      <a:pt x="22" y="198"/>
                    </a:lnTo>
                    <a:lnTo>
                      <a:pt x="16" y="178"/>
                    </a:lnTo>
                    <a:lnTo>
                      <a:pt x="8" y="172"/>
                    </a:lnTo>
                    <a:lnTo>
                      <a:pt x="28" y="158"/>
                    </a:lnTo>
                    <a:lnTo>
                      <a:pt x="36" y="142"/>
                    </a:lnTo>
                    <a:lnTo>
                      <a:pt x="36" y="114"/>
                    </a:lnTo>
                    <a:lnTo>
                      <a:pt x="34" y="90"/>
                    </a:lnTo>
                    <a:lnTo>
                      <a:pt x="0" y="78"/>
                    </a:lnTo>
                    <a:lnTo>
                      <a:pt x="0" y="64"/>
                    </a:lnTo>
                    <a:lnTo>
                      <a:pt x="46" y="58"/>
                    </a:lnTo>
                    <a:lnTo>
                      <a:pt x="60" y="58"/>
                    </a:lnTo>
                    <a:lnTo>
                      <a:pt x="58" y="84"/>
                    </a:lnTo>
                    <a:lnTo>
                      <a:pt x="70" y="94"/>
                    </a:lnTo>
                    <a:lnTo>
                      <a:pt x="78" y="82"/>
                    </a:lnTo>
                    <a:lnTo>
                      <a:pt x="76" y="58"/>
                    </a:lnTo>
                    <a:lnTo>
                      <a:pt x="64" y="44"/>
                    </a:lnTo>
                    <a:lnTo>
                      <a:pt x="58" y="28"/>
                    </a:lnTo>
                    <a:lnTo>
                      <a:pt x="62" y="14"/>
                    </a:lnTo>
                    <a:lnTo>
                      <a:pt x="82" y="16"/>
                    </a:lnTo>
                    <a:lnTo>
                      <a:pt x="106" y="18"/>
                    </a:lnTo>
                    <a:lnTo>
                      <a:pt x="128" y="10"/>
                    </a:lnTo>
                    <a:lnTo>
                      <a:pt x="1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3" name="Freeform 474"/>
              <p:cNvSpPr>
                <a:spLocks/>
              </p:cNvSpPr>
              <p:nvPr/>
            </p:nvSpPr>
            <p:spPr bwMode="auto">
              <a:xfrm>
                <a:off x="3291" y="2669"/>
                <a:ext cx="154" cy="250"/>
              </a:xfrm>
              <a:custGeom>
                <a:avLst/>
                <a:gdLst>
                  <a:gd name="T0" fmla="*/ 146 w 154"/>
                  <a:gd name="T1" fmla="*/ 0 h 250"/>
                  <a:gd name="T2" fmla="*/ 130 w 154"/>
                  <a:gd name="T3" fmla="*/ 10 h 250"/>
                  <a:gd name="T4" fmla="*/ 86 w 154"/>
                  <a:gd name="T5" fmla="*/ 16 h 250"/>
                  <a:gd name="T6" fmla="*/ 66 w 154"/>
                  <a:gd name="T7" fmla="*/ 14 h 250"/>
                  <a:gd name="T8" fmla="*/ 66 w 154"/>
                  <a:gd name="T9" fmla="*/ 14 h 250"/>
                  <a:gd name="T10" fmla="*/ 62 w 154"/>
                  <a:gd name="T11" fmla="*/ 18 h 250"/>
                  <a:gd name="T12" fmla="*/ 58 w 154"/>
                  <a:gd name="T13" fmla="*/ 32 h 250"/>
                  <a:gd name="T14" fmla="*/ 64 w 154"/>
                  <a:gd name="T15" fmla="*/ 48 h 250"/>
                  <a:gd name="T16" fmla="*/ 64 w 154"/>
                  <a:gd name="T17" fmla="*/ 50 h 250"/>
                  <a:gd name="T18" fmla="*/ 78 w 154"/>
                  <a:gd name="T19" fmla="*/ 86 h 250"/>
                  <a:gd name="T20" fmla="*/ 66 w 154"/>
                  <a:gd name="T21" fmla="*/ 86 h 250"/>
                  <a:gd name="T22" fmla="*/ 68 w 154"/>
                  <a:gd name="T23" fmla="*/ 62 h 250"/>
                  <a:gd name="T24" fmla="*/ 68 w 154"/>
                  <a:gd name="T25" fmla="*/ 58 h 250"/>
                  <a:gd name="T26" fmla="*/ 50 w 154"/>
                  <a:gd name="T27" fmla="*/ 58 h 250"/>
                  <a:gd name="T28" fmla="*/ 50 w 154"/>
                  <a:gd name="T29" fmla="*/ 58 h 250"/>
                  <a:gd name="T30" fmla="*/ 4 w 154"/>
                  <a:gd name="T31" fmla="*/ 64 h 250"/>
                  <a:gd name="T32" fmla="*/ 0 w 154"/>
                  <a:gd name="T33" fmla="*/ 68 h 250"/>
                  <a:gd name="T34" fmla="*/ 0 w 154"/>
                  <a:gd name="T35" fmla="*/ 82 h 250"/>
                  <a:gd name="T36" fmla="*/ 4 w 154"/>
                  <a:gd name="T37" fmla="*/ 86 h 250"/>
                  <a:gd name="T38" fmla="*/ 36 w 154"/>
                  <a:gd name="T39" fmla="*/ 118 h 250"/>
                  <a:gd name="T40" fmla="*/ 28 w 154"/>
                  <a:gd name="T41" fmla="*/ 158 h 250"/>
                  <a:gd name="T42" fmla="*/ 10 w 154"/>
                  <a:gd name="T43" fmla="*/ 172 h 250"/>
                  <a:gd name="T44" fmla="*/ 8 w 154"/>
                  <a:gd name="T45" fmla="*/ 176 h 250"/>
                  <a:gd name="T46" fmla="*/ 16 w 154"/>
                  <a:gd name="T47" fmla="*/ 184 h 250"/>
                  <a:gd name="T48" fmla="*/ 22 w 154"/>
                  <a:gd name="T49" fmla="*/ 234 h 250"/>
                  <a:gd name="T50" fmla="*/ 22 w 154"/>
                  <a:gd name="T51" fmla="*/ 244 h 250"/>
                  <a:gd name="T52" fmla="*/ 26 w 154"/>
                  <a:gd name="T53" fmla="*/ 248 h 250"/>
                  <a:gd name="T54" fmla="*/ 40 w 154"/>
                  <a:gd name="T55" fmla="*/ 250 h 250"/>
                  <a:gd name="T56" fmla="*/ 40 w 154"/>
                  <a:gd name="T57" fmla="*/ 250 h 250"/>
                  <a:gd name="T58" fmla="*/ 44 w 154"/>
                  <a:gd name="T59" fmla="*/ 248 h 250"/>
                  <a:gd name="T60" fmla="*/ 42 w 154"/>
                  <a:gd name="T61" fmla="*/ 238 h 250"/>
                  <a:gd name="T62" fmla="*/ 42 w 154"/>
                  <a:gd name="T63" fmla="*/ 238 h 250"/>
                  <a:gd name="T64" fmla="*/ 42 w 154"/>
                  <a:gd name="T65" fmla="*/ 228 h 250"/>
                  <a:gd name="T66" fmla="*/ 76 w 154"/>
                  <a:gd name="T67" fmla="*/ 212 h 250"/>
                  <a:gd name="T68" fmla="*/ 80 w 154"/>
                  <a:gd name="T69" fmla="*/ 180 h 250"/>
                  <a:gd name="T70" fmla="*/ 80 w 154"/>
                  <a:gd name="T71" fmla="*/ 178 h 250"/>
                  <a:gd name="T72" fmla="*/ 70 w 154"/>
                  <a:gd name="T73" fmla="*/ 144 h 250"/>
                  <a:gd name="T74" fmla="*/ 74 w 154"/>
                  <a:gd name="T75" fmla="*/ 142 h 250"/>
                  <a:gd name="T76" fmla="*/ 108 w 154"/>
                  <a:gd name="T77" fmla="*/ 112 h 250"/>
                  <a:gd name="T78" fmla="*/ 136 w 154"/>
                  <a:gd name="T79" fmla="*/ 96 h 250"/>
                  <a:gd name="T80" fmla="*/ 154 w 154"/>
                  <a:gd name="T81" fmla="*/ 78 h 250"/>
                  <a:gd name="T82" fmla="*/ 154 w 154"/>
                  <a:gd name="T83" fmla="*/ 76 h 250"/>
                  <a:gd name="T84" fmla="*/ 150 w 154"/>
                  <a:gd name="T85" fmla="*/ 4 h 250"/>
                  <a:gd name="T86" fmla="*/ 148 w 154"/>
                  <a:gd name="T87" fmla="*/ 0 h 250"/>
                  <a:gd name="T88" fmla="*/ 146 w 154"/>
                  <a:gd name="T8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 h="250">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4" name="Freeform 475"/>
              <p:cNvSpPr>
                <a:spLocks/>
              </p:cNvSpPr>
              <p:nvPr/>
            </p:nvSpPr>
            <p:spPr bwMode="auto">
              <a:xfrm>
                <a:off x="3327" y="2659"/>
                <a:ext cx="50" cy="112"/>
              </a:xfrm>
              <a:custGeom>
                <a:avLst/>
                <a:gdLst>
                  <a:gd name="T0" fmla="*/ 38 w 50"/>
                  <a:gd name="T1" fmla="*/ 112 h 112"/>
                  <a:gd name="T2" fmla="*/ 38 w 50"/>
                  <a:gd name="T3" fmla="*/ 112 h 112"/>
                  <a:gd name="T4" fmla="*/ 36 w 50"/>
                  <a:gd name="T5" fmla="*/ 110 h 112"/>
                  <a:gd name="T6" fmla="*/ 26 w 50"/>
                  <a:gd name="T7" fmla="*/ 100 h 112"/>
                  <a:gd name="T8" fmla="*/ 26 w 50"/>
                  <a:gd name="T9" fmla="*/ 100 h 112"/>
                  <a:gd name="T10" fmla="*/ 26 w 50"/>
                  <a:gd name="T11" fmla="*/ 98 h 112"/>
                  <a:gd name="T12" fmla="*/ 28 w 50"/>
                  <a:gd name="T13" fmla="*/ 74 h 112"/>
                  <a:gd name="T14" fmla="*/ 12 w 50"/>
                  <a:gd name="T15" fmla="*/ 74 h 112"/>
                  <a:gd name="T16" fmla="*/ 12 w 50"/>
                  <a:gd name="T17" fmla="*/ 74 h 112"/>
                  <a:gd name="T18" fmla="*/ 10 w 50"/>
                  <a:gd name="T19" fmla="*/ 74 h 112"/>
                  <a:gd name="T20" fmla="*/ 0 w 50"/>
                  <a:gd name="T21" fmla="*/ 60 h 112"/>
                  <a:gd name="T22" fmla="*/ 0 w 50"/>
                  <a:gd name="T23" fmla="*/ 60 h 112"/>
                  <a:gd name="T24" fmla="*/ 0 w 50"/>
                  <a:gd name="T25" fmla="*/ 60 h 112"/>
                  <a:gd name="T26" fmla="*/ 4 w 50"/>
                  <a:gd name="T27" fmla="*/ 46 h 112"/>
                  <a:gd name="T28" fmla="*/ 4 w 50"/>
                  <a:gd name="T29" fmla="*/ 46 h 112"/>
                  <a:gd name="T30" fmla="*/ 4 w 50"/>
                  <a:gd name="T31" fmla="*/ 46 h 112"/>
                  <a:gd name="T32" fmla="*/ 10 w 50"/>
                  <a:gd name="T33" fmla="*/ 42 h 112"/>
                  <a:gd name="T34" fmla="*/ 12 w 50"/>
                  <a:gd name="T35" fmla="*/ 18 h 112"/>
                  <a:gd name="T36" fmla="*/ 12 w 50"/>
                  <a:gd name="T37" fmla="*/ 16 h 112"/>
                  <a:gd name="T38" fmla="*/ 8 w 50"/>
                  <a:gd name="T39" fmla="*/ 4 h 112"/>
                  <a:gd name="T40" fmla="*/ 8 w 50"/>
                  <a:gd name="T41" fmla="*/ 4 h 112"/>
                  <a:gd name="T42" fmla="*/ 8 w 50"/>
                  <a:gd name="T43" fmla="*/ 2 h 112"/>
                  <a:gd name="T44" fmla="*/ 8 w 50"/>
                  <a:gd name="T45" fmla="*/ 2 h 112"/>
                  <a:gd name="T46" fmla="*/ 10 w 50"/>
                  <a:gd name="T47" fmla="*/ 0 h 112"/>
                  <a:gd name="T48" fmla="*/ 22 w 50"/>
                  <a:gd name="T49" fmla="*/ 0 h 112"/>
                  <a:gd name="T50" fmla="*/ 22 w 50"/>
                  <a:gd name="T51" fmla="*/ 0 h 112"/>
                  <a:gd name="T52" fmla="*/ 24 w 50"/>
                  <a:gd name="T53" fmla="*/ 2 h 112"/>
                  <a:gd name="T54" fmla="*/ 32 w 50"/>
                  <a:gd name="T55" fmla="*/ 12 h 112"/>
                  <a:gd name="T56" fmla="*/ 32 w 50"/>
                  <a:gd name="T57" fmla="*/ 12 h 112"/>
                  <a:gd name="T58" fmla="*/ 32 w 50"/>
                  <a:gd name="T59" fmla="*/ 14 h 112"/>
                  <a:gd name="T60" fmla="*/ 34 w 50"/>
                  <a:gd name="T61" fmla="*/ 30 h 112"/>
                  <a:gd name="T62" fmla="*/ 30 w 50"/>
                  <a:gd name="T63" fmla="*/ 44 h 112"/>
                  <a:gd name="T64" fmla="*/ 34 w 50"/>
                  <a:gd name="T65" fmla="*/ 58 h 112"/>
                  <a:gd name="T66" fmla="*/ 46 w 50"/>
                  <a:gd name="T67" fmla="*/ 70 h 112"/>
                  <a:gd name="T68" fmla="*/ 46 w 50"/>
                  <a:gd name="T69" fmla="*/ 70 h 112"/>
                  <a:gd name="T70" fmla="*/ 48 w 50"/>
                  <a:gd name="T71" fmla="*/ 72 h 112"/>
                  <a:gd name="T72" fmla="*/ 50 w 50"/>
                  <a:gd name="T73" fmla="*/ 96 h 112"/>
                  <a:gd name="T74" fmla="*/ 50 w 50"/>
                  <a:gd name="T75" fmla="*/ 96 h 112"/>
                  <a:gd name="T76" fmla="*/ 48 w 50"/>
                  <a:gd name="T77" fmla="*/ 98 h 112"/>
                  <a:gd name="T78" fmla="*/ 40 w 50"/>
                  <a:gd name="T79" fmla="*/ 110 h 112"/>
                  <a:gd name="T80" fmla="*/ 40 w 50"/>
                  <a:gd name="T81" fmla="*/ 110 h 112"/>
                  <a:gd name="T82" fmla="*/ 38 w 50"/>
                  <a:gd name="T83" fmla="*/ 112 h 112"/>
                  <a:gd name="T84" fmla="*/ 38 w 50"/>
                  <a:gd name="T85" fmla="*/ 112 h 112"/>
                  <a:gd name="T86" fmla="*/ 38 w 50"/>
                  <a:gd name="T87" fmla="*/ 112 h 112"/>
                  <a:gd name="T88" fmla="*/ 38 w 50"/>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 h="112">
                    <a:moveTo>
                      <a:pt x="38" y="112"/>
                    </a:moveTo>
                    <a:lnTo>
                      <a:pt x="38" y="112"/>
                    </a:lnTo>
                    <a:lnTo>
                      <a:pt x="36" y="110"/>
                    </a:lnTo>
                    <a:lnTo>
                      <a:pt x="26" y="100"/>
                    </a:lnTo>
                    <a:lnTo>
                      <a:pt x="26" y="100"/>
                    </a:lnTo>
                    <a:lnTo>
                      <a:pt x="26" y="98"/>
                    </a:lnTo>
                    <a:lnTo>
                      <a:pt x="28" y="74"/>
                    </a:lnTo>
                    <a:lnTo>
                      <a:pt x="12" y="74"/>
                    </a:lnTo>
                    <a:lnTo>
                      <a:pt x="12" y="74"/>
                    </a:lnTo>
                    <a:lnTo>
                      <a:pt x="10" y="74"/>
                    </a:lnTo>
                    <a:lnTo>
                      <a:pt x="0" y="60"/>
                    </a:lnTo>
                    <a:lnTo>
                      <a:pt x="0" y="60"/>
                    </a:lnTo>
                    <a:lnTo>
                      <a:pt x="0" y="60"/>
                    </a:lnTo>
                    <a:lnTo>
                      <a:pt x="4" y="46"/>
                    </a:lnTo>
                    <a:lnTo>
                      <a:pt x="4" y="46"/>
                    </a:lnTo>
                    <a:lnTo>
                      <a:pt x="4" y="46"/>
                    </a:lnTo>
                    <a:lnTo>
                      <a:pt x="10" y="42"/>
                    </a:lnTo>
                    <a:lnTo>
                      <a:pt x="12" y="18"/>
                    </a:lnTo>
                    <a:lnTo>
                      <a:pt x="12" y="16"/>
                    </a:lnTo>
                    <a:lnTo>
                      <a:pt x="8" y="4"/>
                    </a:lnTo>
                    <a:lnTo>
                      <a:pt x="8" y="4"/>
                    </a:lnTo>
                    <a:lnTo>
                      <a:pt x="8" y="2"/>
                    </a:lnTo>
                    <a:lnTo>
                      <a:pt x="8" y="2"/>
                    </a:lnTo>
                    <a:lnTo>
                      <a:pt x="10" y="0"/>
                    </a:lnTo>
                    <a:lnTo>
                      <a:pt x="22" y="0"/>
                    </a:lnTo>
                    <a:lnTo>
                      <a:pt x="22" y="0"/>
                    </a:lnTo>
                    <a:lnTo>
                      <a:pt x="24" y="2"/>
                    </a:lnTo>
                    <a:lnTo>
                      <a:pt x="32" y="12"/>
                    </a:lnTo>
                    <a:lnTo>
                      <a:pt x="32" y="12"/>
                    </a:lnTo>
                    <a:lnTo>
                      <a:pt x="32" y="14"/>
                    </a:lnTo>
                    <a:lnTo>
                      <a:pt x="34" y="30"/>
                    </a:lnTo>
                    <a:lnTo>
                      <a:pt x="30" y="44"/>
                    </a:lnTo>
                    <a:lnTo>
                      <a:pt x="34" y="58"/>
                    </a:lnTo>
                    <a:lnTo>
                      <a:pt x="46" y="70"/>
                    </a:lnTo>
                    <a:lnTo>
                      <a:pt x="46" y="70"/>
                    </a:lnTo>
                    <a:lnTo>
                      <a:pt x="48" y="72"/>
                    </a:lnTo>
                    <a:lnTo>
                      <a:pt x="50" y="96"/>
                    </a:lnTo>
                    <a:lnTo>
                      <a:pt x="50" y="96"/>
                    </a:lnTo>
                    <a:lnTo>
                      <a:pt x="48" y="98"/>
                    </a:lnTo>
                    <a:lnTo>
                      <a:pt x="40" y="110"/>
                    </a:lnTo>
                    <a:lnTo>
                      <a:pt x="40" y="110"/>
                    </a:lnTo>
                    <a:lnTo>
                      <a:pt x="38" y="112"/>
                    </a:lnTo>
                    <a:lnTo>
                      <a:pt x="38" y="112"/>
                    </a:lnTo>
                    <a:lnTo>
                      <a:pt x="38" y="112"/>
                    </a:lnTo>
                    <a:lnTo>
                      <a:pt x="3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5" name="Freeform 476"/>
              <p:cNvSpPr>
                <a:spLocks noEditPoints="1"/>
              </p:cNvSpPr>
              <p:nvPr/>
            </p:nvSpPr>
            <p:spPr bwMode="auto">
              <a:xfrm>
                <a:off x="3325" y="2657"/>
                <a:ext cx="54" cy="116"/>
              </a:xfrm>
              <a:custGeom>
                <a:avLst/>
                <a:gdLst>
                  <a:gd name="T0" fmla="*/ 32 w 54"/>
                  <a:gd name="T1" fmla="*/ 16 h 116"/>
                  <a:gd name="T2" fmla="*/ 30 w 54"/>
                  <a:gd name="T3" fmla="*/ 46 h 116"/>
                  <a:gd name="T4" fmla="*/ 48 w 54"/>
                  <a:gd name="T5" fmla="*/ 74 h 116"/>
                  <a:gd name="T6" fmla="*/ 40 w 54"/>
                  <a:gd name="T7" fmla="*/ 112 h 116"/>
                  <a:gd name="T8" fmla="*/ 32 w 54"/>
                  <a:gd name="T9" fmla="*/ 74 h 116"/>
                  <a:gd name="T10" fmla="*/ 4 w 54"/>
                  <a:gd name="T11" fmla="*/ 62 h 116"/>
                  <a:gd name="T12" fmla="*/ 14 w 54"/>
                  <a:gd name="T13" fmla="*/ 44 h 116"/>
                  <a:gd name="T14" fmla="*/ 18 w 54"/>
                  <a:gd name="T15" fmla="*/ 18 h 116"/>
                  <a:gd name="T16" fmla="*/ 24 w 54"/>
                  <a:gd name="T17" fmla="*/ 4 h 116"/>
                  <a:gd name="T18" fmla="*/ 12 w 54"/>
                  <a:gd name="T19" fmla="*/ 0 h 116"/>
                  <a:gd name="T20" fmla="*/ 8 w 54"/>
                  <a:gd name="T21" fmla="*/ 2 h 116"/>
                  <a:gd name="T22" fmla="*/ 8 w 54"/>
                  <a:gd name="T23" fmla="*/ 6 h 116"/>
                  <a:gd name="T24" fmla="*/ 12 w 54"/>
                  <a:gd name="T25" fmla="*/ 20 h 116"/>
                  <a:gd name="T26" fmla="*/ 12 w 54"/>
                  <a:gd name="T27" fmla="*/ 20 h 116"/>
                  <a:gd name="T28" fmla="*/ 6 w 54"/>
                  <a:gd name="T29" fmla="*/ 46 h 116"/>
                  <a:gd name="T30" fmla="*/ 4 w 54"/>
                  <a:gd name="T31" fmla="*/ 48 h 116"/>
                  <a:gd name="T32" fmla="*/ 0 w 54"/>
                  <a:gd name="T33" fmla="*/ 60 h 116"/>
                  <a:gd name="T34" fmla="*/ 10 w 54"/>
                  <a:gd name="T35" fmla="*/ 76 h 116"/>
                  <a:gd name="T36" fmla="*/ 14 w 54"/>
                  <a:gd name="T37" fmla="*/ 78 h 116"/>
                  <a:gd name="T38" fmla="*/ 26 w 54"/>
                  <a:gd name="T39" fmla="*/ 100 h 116"/>
                  <a:gd name="T40" fmla="*/ 26 w 54"/>
                  <a:gd name="T41" fmla="*/ 104 h 116"/>
                  <a:gd name="T42" fmla="*/ 38 w 54"/>
                  <a:gd name="T43" fmla="*/ 114 h 116"/>
                  <a:gd name="T44" fmla="*/ 40 w 54"/>
                  <a:gd name="T45" fmla="*/ 116 h 116"/>
                  <a:gd name="T46" fmla="*/ 40 w 54"/>
                  <a:gd name="T47" fmla="*/ 116 h 116"/>
                  <a:gd name="T48" fmla="*/ 52 w 54"/>
                  <a:gd name="T49" fmla="*/ 102 h 116"/>
                  <a:gd name="T50" fmla="*/ 54 w 54"/>
                  <a:gd name="T51" fmla="*/ 98 h 116"/>
                  <a:gd name="T52" fmla="*/ 52 w 54"/>
                  <a:gd name="T53" fmla="*/ 74 h 116"/>
                  <a:gd name="T54" fmla="*/ 38 w 54"/>
                  <a:gd name="T55" fmla="*/ 58 h 116"/>
                  <a:gd name="T56" fmla="*/ 38 w 54"/>
                  <a:gd name="T57" fmla="*/ 32 h 116"/>
                  <a:gd name="T58" fmla="*/ 38 w 54"/>
                  <a:gd name="T59" fmla="*/ 32 h 116"/>
                  <a:gd name="T60" fmla="*/ 36 w 54"/>
                  <a:gd name="T61" fmla="*/ 16 h 116"/>
                  <a:gd name="T62" fmla="*/ 28 w 54"/>
                  <a:gd name="T63" fmla="*/ 2 h 116"/>
                  <a:gd name="T64" fmla="*/ 24 w 54"/>
                  <a:gd name="T6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116">
                    <a:moveTo>
                      <a:pt x="24" y="4"/>
                    </a:moveTo>
                    <a:lnTo>
                      <a:pt x="32" y="16"/>
                    </a:lnTo>
                    <a:lnTo>
                      <a:pt x="34" y="32"/>
                    </a:lnTo>
                    <a:lnTo>
                      <a:pt x="30" y="46"/>
                    </a:lnTo>
                    <a:lnTo>
                      <a:pt x="34" y="60"/>
                    </a:lnTo>
                    <a:lnTo>
                      <a:pt x="48" y="74"/>
                    </a:lnTo>
                    <a:lnTo>
                      <a:pt x="50" y="100"/>
                    </a:lnTo>
                    <a:lnTo>
                      <a:pt x="40" y="112"/>
                    </a:lnTo>
                    <a:lnTo>
                      <a:pt x="30" y="100"/>
                    </a:lnTo>
                    <a:lnTo>
                      <a:pt x="32" y="74"/>
                    </a:lnTo>
                    <a:lnTo>
                      <a:pt x="14" y="74"/>
                    </a:lnTo>
                    <a:lnTo>
                      <a:pt x="4" y="62"/>
                    </a:lnTo>
                    <a:lnTo>
                      <a:pt x="8" y="50"/>
                    </a:lnTo>
                    <a:lnTo>
                      <a:pt x="14" y="44"/>
                    </a:lnTo>
                    <a:lnTo>
                      <a:pt x="16" y="20"/>
                    </a:lnTo>
                    <a:lnTo>
                      <a:pt x="18" y="18"/>
                    </a:lnTo>
                    <a:lnTo>
                      <a:pt x="12" y="4"/>
                    </a:lnTo>
                    <a:lnTo>
                      <a:pt x="24" y="4"/>
                    </a:lnTo>
                    <a:close/>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6" name="Freeform 477"/>
              <p:cNvSpPr>
                <a:spLocks/>
              </p:cNvSpPr>
              <p:nvPr/>
            </p:nvSpPr>
            <p:spPr bwMode="auto">
              <a:xfrm>
                <a:off x="3329" y="2661"/>
                <a:ext cx="46" cy="108"/>
              </a:xfrm>
              <a:custGeom>
                <a:avLst/>
                <a:gdLst>
                  <a:gd name="T0" fmla="*/ 20 w 46"/>
                  <a:gd name="T1" fmla="*/ 0 h 108"/>
                  <a:gd name="T2" fmla="*/ 28 w 46"/>
                  <a:gd name="T3" fmla="*/ 12 h 108"/>
                  <a:gd name="T4" fmla="*/ 30 w 46"/>
                  <a:gd name="T5" fmla="*/ 28 h 108"/>
                  <a:gd name="T6" fmla="*/ 26 w 46"/>
                  <a:gd name="T7" fmla="*/ 42 h 108"/>
                  <a:gd name="T8" fmla="*/ 30 w 46"/>
                  <a:gd name="T9" fmla="*/ 56 h 108"/>
                  <a:gd name="T10" fmla="*/ 44 w 46"/>
                  <a:gd name="T11" fmla="*/ 70 h 108"/>
                  <a:gd name="T12" fmla="*/ 46 w 46"/>
                  <a:gd name="T13" fmla="*/ 96 h 108"/>
                  <a:gd name="T14" fmla="*/ 36 w 46"/>
                  <a:gd name="T15" fmla="*/ 108 h 108"/>
                  <a:gd name="T16" fmla="*/ 26 w 46"/>
                  <a:gd name="T17" fmla="*/ 96 h 108"/>
                  <a:gd name="T18" fmla="*/ 28 w 46"/>
                  <a:gd name="T19" fmla="*/ 70 h 108"/>
                  <a:gd name="T20" fmla="*/ 10 w 46"/>
                  <a:gd name="T21" fmla="*/ 70 h 108"/>
                  <a:gd name="T22" fmla="*/ 0 w 46"/>
                  <a:gd name="T23" fmla="*/ 58 h 108"/>
                  <a:gd name="T24" fmla="*/ 4 w 46"/>
                  <a:gd name="T25" fmla="*/ 46 h 108"/>
                  <a:gd name="T26" fmla="*/ 10 w 46"/>
                  <a:gd name="T27" fmla="*/ 40 h 108"/>
                  <a:gd name="T28" fmla="*/ 12 w 46"/>
                  <a:gd name="T29" fmla="*/ 16 h 108"/>
                  <a:gd name="T30" fmla="*/ 14 w 46"/>
                  <a:gd name="T31" fmla="*/ 14 h 108"/>
                  <a:gd name="T32" fmla="*/ 8 w 46"/>
                  <a:gd name="T33" fmla="*/ 0 h 108"/>
                  <a:gd name="T34" fmla="*/ 20 w 46"/>
                  <a:gd name="T3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108">
                    <a:moveTo>
                      <a:pt x="20" y="0"/>
                    </a:moveTo>
                    <a:lnTo>
                      <a:pt x="28" y="12"/>
                    </a:lnTo>
                    <a:lnTo>
                      <a:pt x="30" y="28"/>
                    </a:lnTo>
                    <a:lnTo>
                      <a:pt x="26" y="42"/>
                    </a:lnTo>
                    <a:lnTo>
                      <a:pt x="30" y="56"/>
                    </a:lnTo>
                    <a:lnTo>
                      <a:pt x="44" y="70"/>
                    </a:lnTo>
                    <a:lnTo>
                      <a:pt x="46" y="96"/>
                    </a:lnTo>
                    <a:lnTo>
                      <a:pt x="36" y="108"/>
                    </a:lnTo>
                    <a:lnTo>
                      <a:pt x="26" y="96"/>
                    </a:lnTo>
                    <a:lnTo>
                      <a:pt x="28" y="70"/>
                    </a:lnTo>
                    <a:lnTo>
                      <a:pt x="10" y="70"/>
                    </a:lnTo>
                    <a:lnTo>
                      <a:pt x="0" y="58"/>
                    </a:lnTo>
                    <a:lnTo>
                      <a:pt x="4" y="46"/>
                    </a:lnTo>
                    <a:lnTo>
                      <a:pt x="10" y="40"/>
                    </a:lnTo>
                    <a:lnTo>
                      <a:pt x="12" y="16"/>
                    </a:lnTo>
                    <a:lnTo>
                      <a:pt x="14" y="14"/>
                    </a:lnTo>
                    <a:lnTo>
                      <a:pt x="8"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7" name="Freeform 478"/>
              <p:cNvSpPr>
                <a:spLocks/>
              </p:cNvSpPr>
              <p:nvPr/>
            </p:nvSpPr>
            <p:spPr bwMode="auto">
              <a:xfrm>
                <a:off x="3325" y="2657"/>
                <a:ext cx="54" cy="116"/>
              </a:xfrm>
              <a:custGeom>
                <a:avLst/>
                <a:gdLst>
                  <a:gd name="T0" fmla="*/ 24 w 54"/>
                  <a:gd name="T1" fmla="*/ 0 h 116"/>
                  <a:gd name="T2" fmla="*/ 12 w 54"/>
                  <a:gd name="T3" fmla="*/ 0 h 116"/>
                  <a:gd name="T4" fmla="*/ 12 w 54"/>
                  <a:gd name="T5" fmla="*/ 0 h 116"/>
                  <a:gd name="T6" fmla="*/ 8 w 54"/>
                  <a:gd name="T7" fmla="*/ 2 h 116"/>
                  <a:gd name="T8" fmla="*/ 8 w 54"/>
                  <a:gd name="T9" fmla="*/ 2 h 116"/>
                  <a:gd name="T10" fmla="*/ 8 w 54"/>
                  <a:gd name="T11" fmla="*/ 6 h 116"/>
                  <a:gd name="T12" fmla="*/ 12 w 54"/>
                  <a:gd name="T13" fmla="*/ 18 h 116"/>
                  <a:gd name="T14" fmla="*/ 12 w 54"/>
                  <a:gd name="T15" fmla="*/ 20 h 116"/>
                  <a:gd name="T16" fmla="*/ 12 w 54"/>
                  <a:gd name="T17" fmla="*/ 20 h 116"/>
                  <a:gd name="T18" fmla="*/ 12 w 54"/>
                  <a:gd name="T19" fmla="*/ 20 h 116"/>
                  <a:gd name="T20" fmla="*/ 10 w 54"/>
                  <a:gd name="T21" fmla="*/ 42 h 116"/>
                  <a:gd name="T22" fmla="*/ 6 w 54"/>
                  <a:gd name="T23" fmla="*/ 46 h 116"/>
                  <a:gd name="T24" fmla="*/ 6 w 54"/>
                  <a:gd name="T25" fmla="*/ 46 h 116"/>
                  <a:gd name="T26" fmla="*/ 4 w 54"/>
                  <a:gd name="T27" fmla="*/ 48 h 116"/>
                  <a:gd name="T28" fmla="*/ 0 w 54"/>
                  <a:gd name="T29" fmla="*/ 60 h 116"/>
                  <a:gd name="T30" fmla="*/ 0 w 54"/>
                  <a:gd name="T31" fmla="*/ 60 h 116"/>
                  <a:gd name="T32" fmla="*/ 2 w 54"/>
                  <a:gd name="T33" fmla="*/ 64 h 116"/>
                  <a:gd name="T34" fmla="*/ 10 w 54"/>
                  <a:gd name="T35" fmla="*/ 76 h 116"/>
                  <a:gd name="T36" fmla="*/ 10 w 54"/>
                  <a:gd name="T37" fmla="*/ 76 h 116"/>
                  <a:gd name="T38" fmla="*/ 14 w 54"/>
                  <a:gd name="T39" fmla="*/ 78 h 116"/>
                  <a:gd name="T40" fmla="*/ 28 w 54"/>
                  <a:gd name="T41" fmla="*/ 78 h 116"/>
                  <a:gd name="T42" fmla="*/ 26 w 54"/>
                  <a:gd name="T43" fmla="*/ 100 h 116"/>
                  <a:gd name="T44" fmla="*/ 26 w 54"/>
                  <a:gd name="T45" fmla="*/ 100 h 116"/>
                  <a:gd name="T46" fmla="*/ 26 w 54"/>
                  <a:gd name="T47" fmla="*/ 104 h 116"/>
                  <a:gd name="T48" fmla="*/ 38 w 54"/>
                  <a:gd name="T49" fmla="*/ 114 h 116"/>
                  <a:gd name="T50" fmla="*/ 38 w 54"/>
                  <a:gd name="T51" fmla="*/ 114 h 116"/>
                  <a:gd name="T52" fmla="*/ 40 w 54"/>
                  <a:gd name="T53" fmla="*/ 116 h 116"/>
                  <a:gd name="T54" fmla="*/ 40 w 54"/>
                  <a:gd name="T55" fmla="*/ 116 h 116"/>
                  <a:gd name="T56" fmla="*/ 40 w 54"/>
                  <a:gd name="T57" fmla="*/ 116 h 116"/>
                  <a:gd name="T58" fmla="*/ 40 w 54"/>
                  <a:gd name="T59" fmla="*/ 116 h 116"/>
                  <a:gd name="T60" fmla="*/ 44 w 54"/>
                  <a:gd name="T61" fmla="*/ 114 h 116"/>
                  <a:gd name="T62" fmla="*/ 52 w 54"/>
                  <a:gd name="T63" fmla="*/ 102 h 116"/>
                  <a:gd name="T64" fmla="*/ 52 w 54"/>
                  <a:gd name="T65" fmla="*/ 102 h 116"/>
                  <a:gd name="T66" fmla="*/ 54 w 54"/>
                  <a:gd name="T67" fmla="*/ 98 h 116"/>
                  <a:gd name="T68" fmla="*/ 52 w 54"/>
                  <a:gd name="T69" fmla="*/ 74 h 116"/>
                  <a:gd name="T70" fmla="*/ 52 w 54"/>
                  <a:gd name="T71" fmla="*/ 74 h 116"/>
                  <a:gd name="T72" fmla="*/ 50 w 54"/>
                  <a:gd name="T73" fmla="*/ 72 h 116"/>
                  <a:gd name="T74" fmla="*/ 38 w 54"/>
                  <a:gd name="T75" fmla="*/ 58 h 116"/>
                  <a:gd name="T76" fmla="*/ 34 w 54"/>
                  <a:gd name="T77" fmla="*/ 46 h 116"/>
                  <a:gd name="T78" fmla="*/ 38 w 54"/>
                  <a:gd name="T79" fmla="*/ 32 h 116"/>
                  <a:gd name="T80" fmla="*/ 38 w 54"/>
                  <a:gd name="T81" fmla="*/ 32 h 116"/>
                  <a:gd name="T82" fmla="*/ 38 w 54"/>
                  <a:gd name="T83" fmla="*/ 32 h 116"/>
                  <a:gd name="T84" fmla="*/ 36 w 54"/>
                  <a:gd name="T85" fmla="*/ 16 h 116"/>
                  <a:gd name="T86" fmla="*/ 36 w 54"/>
                  <a:gd name="T87" fmla="*/ 16 h 116"/>
                  <a:gd name="T88" fmla="*/ 34 w 54"/>
                  <a:gd name="T89" fmla="*/ 14 h 116"/>
                  <a:gd name="T90" fmla="*/ 28 w 54"/>
                  <a:gd name="T91" fmla="*/ 2 h 116"/>
                  <a:gd name="T92" fmla="*/ 28 w 54"/>
                  <a:gd name="T93" fmla="*/ 2 h 116"/>
                  <a:gd name="T94" fmla="*/ 24 w 54"/>
                  <a:gd name="T95" fmla="*/ 0 h 116"/>
                  <a:gd name="T96" fmla="*/ 24 w 54"/>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116">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8" name="Freeform 479"/>
              <p:cNvSpPr>
                <a:spLocks/>
              </p:cNvSpPr>
              <p:nvPr/>
            </p:nvSpPr>
            <p:spPr bwMode="auto">
              <a:xfrm>
                <a:off x="3177" y="2643"/>
                <a:ext cx="166" cy="138"/>
              </a:xfrm>
              <a:custGeom>
                <a:avLst/>
                <a:gdLst>
                  <a:gd name="T0" fmla="*/ 48 w 166"/>
                  <a:gd name="T1" fmla="*/ 138 h 138"/>
                  <a:gd name="T2" fmla="*/ 42 w 166"/>
                  <a:gd name="T3" fmla="*/ 134 h 138"/>
                  <a:gd name="T4" fmla="*/ 18 w 166"/>
                  <a:gd name="T5" fmla="*/ 132 h 138"/>
                  <a:gd name="T6" fmla="*/ 2 w 166"/>
                  <a:gd name="T7" fmla="*/ 114 h 138"/>
                  <a:gd name="T8" fmla="*/ 2 w 166"/>
                  <a:gd name="T9" fmla="*/ 112 h 138"/>
                  <a:gd name="T10" fmla="*/ 0 w 166"/>
                  <a:gd name="T11" fmla="*/ 68 h 138"/>
                  <a:gd name="T12" fmla="*/ 0 w 166"/>
                  <a:gd name="T13" fmla="*/ 66 h 138"/>
                  <a:gd name="T14" fmla="*/ 26 w 166"/>
                  <a:gd name="T15" fmla="*/ 66 h 138"/>
                  <a:gd name="T16" fmla="*/ 26 w 166"/>
                  <a:gd name="T17" fmla="*/ 38 h 138"/>
                  <a:gd name="T18" fmla="*/ 26 w 166"/>
                  <a:gd name="T19" fmla="*/ 36 h 138"/>
                  <a:gd name="T20" fmla="*/ 28 w 166"/>
                  <a:gd name="T21" fmla="*/ 36 h 138"/>
                  <a:gd name="T22" fmla="*/ 44 w 166"/>
                  <a:gd name="T23" fmla="*/ 44 h 138"/>
                  <a:gd name="T24" fmla="*/ 74 w 166"/>
                  <a:gd name="T25" fmla="*/ 46 h 138"/>
                  <a:gd name="T26" fmla="*/ 74 w 166"/>
                  <a:gd name="T27" fmla="*/ 44 h 138"/>
                  <a:gd name="T28" fmla="*/ 76 w 166"/>
                  <a:gd name="T29" fmla="*/ 46 h 138"/>
                  <a:gd name="T30" fmla="*/ 92 w 166"/>
                  <a:gd name="T31" fmla="*/ 60 h 138"/>
                  <a:gd name="T32" fmla="*/ 94 w 166"/>
                  <a:gd name="T33" fmla="*/ 62 h 138"/>
                  <a:gd name="T34" fmla="*/ 108 w 166"/>
                  <a:gd name="T35" fmla="*/ 70 h 138"/>
                  <a:gd name="T36" fmla="*/ 98 w 166"/>
                  <a:gd name="T37" fmla="*/ 54 h 138"/>
                  <a:gd name="T38" fmla="*/ 88 w 166"/>
                  <a:gd name="T39" fmla="*/ 44 h 138"/>
                  <a:gd name="T40" fmla="*/ 92 w 166"/>
                  <a:gd name="T41" fmla="*/ 24 h 138"/>
                  <a:gd name="T42" fmla="*/ 90 w 166"/>
                  <a:gd name="T43" fmla="*/ 10 h 138"/>
                  <a:gd name="T44" fmla="*/ 104 w 166"/>
                  <a:gd name="T45" fmla="*/ 0 h 138"/>
                  <a:gd name="T46" fmla="*/ 106 w 166"/>
                  <a:gd name="T47" fmla="*/ 0 h 138"/>
                  <a:gd name="T48" fmla="*/ 122 w 166"/>
                  <a:gd name="T49" fmla="*/ 0 h 138"/>
                  <a:gd name="T50" fmla="*/ 160 w 166"/>
                  <a:gd name="T51" fmla="*/ 18 h 138"/>
                  <a:gd name="T52" fmla="*/ 160 w 166"/>
                  <a:gd name="T53" fmla="*/ 18 h 138"/>
                  <a:gd name="T54" fmla="*/ 166 w 166"/>
                  <a:gd name="T55" fmla="*/ 30 h 138"/>
                  <a:gd name="T56" fmla="*/ 162 w 166"/>
                  <a:gd name="T57" fmla="*/ 38 h 138"/>
                  <a:gd name="T58" fmla="*/ 162 w 166"/>
                  <a:gd name="T59" fmla="*/ 58 h 138"/>
                  <a:gd name="T60" fmla="*/ 156 w 166"/>
                  <a:gd name="T61" fmla="*/ 64 h 138"/>
                  <a:gd name="T62" fmla="*/ 162 w 166"/>
                  <a:gd name="T63" fmla="*/ 86 h 138"/>
                  <a:gd name="T64" fmla="*/ 162 w 166"/>
                  <a:gd name="T65" fmla="*/ 88 h 138"/>
                  <a:gd name="T66" fmla="*/ 160 w 166"/>
                  <a:gd name="T67" fmla="*/ 88 h 138"/>
                  <a:gd name="T68" fmla="*/ 122 w 166"/>
                  <a:gd name="T69" fmla="*/ 108 h 138"/>
                  <a:gd name="T70" fmla="*/ 120 w 166"/>
                  <a:gd name="T71" fmla="*/ 108 h 138"/>
                  <a:gd name="T72" fmla="*/ 120 w 166"/>
                  <a:gd name="T73" fmla="*/ 110 h 138"/>
                  <a:gd name="T74" fmla="*/ 104 w 166"/>
                  <a:gd name="T75" fmla="*/ 108 h 138"/>
                  <a:gd name="T76" fmla="*/ 96 w 166"/>
                  <a:gd name="T77" fmla="*/ 118 h 138"/>
                  <a:gd name="T78" fmla="*/ 86 w 166"/>
                  <a:gd name="T79" fmla="*/ 122 h 138"/>
                  <a:gd name="T80" fmla="*/ 74 w 166"/>
                  <a:gd name="T81" fmla="*/ 136 h 138"/>
                  <a:gd name="T82" fmla="*/ 72 w 166"/>
                  <a:gd name="T83" fmla="*/ 136 h 138"/>
                  <a:gd name="T84" fmla="*/ 48 w 166"/>
                  <a:gd name="T8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138">
                    <a:moveTo>
                      <a:pt x="48" y="138"/>
                    </a:moveTo>
                    <a:lnTo>
                      <a:pt x="48" y="138"/>
                    </a:lnTo>
                    <a:lnTo>
                      <a:pt x="46" y="138"/>
                    </a:lnTo>
                    <a:lnTo>
                      <a:pt x="42" y="134"/>
                    </a:lnTo>
                    <a:lnTo>
                      <a:pt x="18" y="132"/>
                    </a:lnTo>
                    <a:lnTo>
                      <a:pt x="18" y="132"/>
                    </a:lnTo>
                    <a:lnTo>
                      <a:pt x="18" y="132"/>
                    </a:lnTo>
                    <a:lnTo>
                      <a:pt x="2" y="114"/>
                    </a:lnTo>
                    <a:lnTo>
                      <a:pt x="2" y="114"/>
                    </a:lnTo>
                    <a:lnTo>
                      <a:pt x="2" y="112"/>
                    </a:lnTo>
                    <a:lnTo>
                      <a:pt x="0" y="68"/>
                    </a:lnTo>
                    <a:lnTo>
                      <a:pt x="0" y="68"/>
                    </a:lnTo>
                    <a:lnTo>
                      <a:pt x="0" y="66"/>
                    </a:lnTo>
                    <a:lnTo>
                      <a:pt x="0" y="66"/>
                    </a:lnTo>
                    <a:lnTo>
                      <a:pt x="2" y="66"/>
                    </a:lnTo>
                    <a:lnTo>
                      <a:pt x="26" y="66"/>
                    </a:lnTo>
                    <a:lnTo>
                      <a:pt x="26" y="38"/>
                    </a:lnTo>
                    <a:lnTo>
                      <a:pt x="26" y="38"/>
                    </a:lnTo>
                    <a:lnTo>
                      <a:pt x="26" y="36"/>
                    </a:lnTo>
                    <a:lnTo>
                      <a:pt x="26" y="36"/>
                    </a:lnTo>
                    <a:lnTo>
                      <a:pt x="28" y="36"/>
                    </a:lnTo>
                    <a:lnTo>
                      <a:pt x="28" y="36"/>
                    </a:lnTo>
                    <a:lnTo>
                      <a:pt x="28" y="36"/>
                    </a:lnTo>
                    <a:lnTo>
                      <a:pt x="44" y="44"/>
                    </a:lnTo>
                    <a:lnTo>
                      <a:pt x="62" y="50"/>
                    </a:lnTo>
                    <a:lnTo>
                      <a:pt x="74" y="46"/>
                    </a:lnTo>
                    <a:lnTo>
                      <a:pt x="74" y="46"/>
                    </a:lnTo>
                    <a:lnTo>
                      <a:pt x="74" y="44"/>
                    </a:lnTo>
                    <a:lnTo>
                      <a:pt x="74" y="44"/>
                    </a:lnTo>
                    <a:lnTo>
                      <a:pt x="76" y="46"/>
                    </a:lnTo>
                    <a:lnTo>
                      <a:pt x="82" y="56"/>
                    </a:lnTo>
                    <a:lnTo>
                      <a:pt x="92" y="60"/>
                    </a:lnTo>
                    <a:lnTo>
                      <a:pt x="92" y="60"/>
                    </a:lnTo>
                    <a:lnTo>
                      <a:pt x="94" y="62"/>
                    </a:lnTo>
                    <a:lnTo>
                      <a:pt x="100" y="70"/>
                    </a:lnTo>
                    <a:lnTo>
                      <a:pt x="108" y="70"/>
                    </a:lnTo>
                    <a:lnTo>
                      <a:pt x="108" y="58"/>
                    </a:lnTo>
                    <a:lnTo>
                      <a:pt x="98" y="54"/>
                    </a:lnTo>
                    <a:lnTo>
                      <a:pt x="88" y="44"/>
                    </a:lnTo>
                    <a:lnTo>
                      <a:pt x="88" y="44"/>
                    </a:lnTo>
                    <a:lnTo>
                      <a:pt x="88" y="44"/>
                    </a:lnTo>
                    <a:lnTo>
                      <a:pt x="92" y="24"/>
                    </a:lnTo>
                    <a:lnTo>
                      <a:pt x="90" y="10"/>
                    </a:lnTo>
                    <a:lnTo>
                      <a:pt x="90" y="10"/>
                    </a:lnTo>
                    <a:lnTo>
                      <a:pt x="90" y="8"/>
                    </a:lnTo>
                    <a:lnTo>
                      <a:pt x="104" y="0"/>
                    </a:lnTo>
                    <a:lnTo>
                      <a:pt x="104" y="0"/>
                    </a:lnTo>
                    <a:lnTo>
                      <a:pt x="106" y="0"/>
                    </a:lnTo>
                    <a:lnTo>
                      <a:pt x="122" y="0"/>
                    </a:lnTo>
                    <a:lnTo>
                      <a:pt x="122" y="0"/>
                    </a:lnTo>
                    <a:lnTo>
                      <a:pt x="122" y="0"/>
                    </a:lnTo>
                    <a:lnTo>
                      <a:pt x="160" y="18"/>
                    </a:lnTo>
                    <a:lnTo>
                      <a:pt x="160" y="18"/>
                    </a:lnTo>
                    <a:lnTo>
                      <a:pt x="160" y="18"/>
                    </a:lnTo>
                    <a:lnTo>
                      <a:pt x="166" y="30"/>
                    </a:lnTo>
                    <a:lnTo>
                      <a:pt x="166" y="30"/>
                    </a:lnTo>
                    <a:lnTo>
                      <a:pt x="166" y="32"/>
                    </a:lnTo>
                    <a:lnTo>
                      <a:pt x="162" y="38"/>
                    </a:lnTo>
                    <a:lnTo>
                      <a:pt x="162" y="58"/>
                    </a:lnTo>
                    <a:lnTo>
                      <a:pt x="162" y="58"/>
                    </a:lnTo>
                    <a:lnTo>
                      <a:pt x="162" y="58"/>
                    </a:lnTo>
                    <a:lnTo>
                      <a:pt x="156" y="64"/>
                    </a:lnTo>
                    <a:lnTo>
                      <a:pt x="154" y="74"/>
                    </a:lnTo>
                    <a:lnTo>
                      <a:pt x="162" y="86"/>
                    </a:lnTo>
                    <a:lnTo>
                      <a:pt x="162" y="86"/>
                    </a:lnTo>
                    <a:lnTo>
                      <a:pt x="162" y="88"/>
                    </a:lnTo>
                    <a:lnTo>
                      <a:pt x="162" y="88"/>
                    </a:lnTo>
                    <a:lnTo>
                      <a:pt x="160" y="88"/>
                    </a:lnTo>
                    <a:lnTo>
                      <a:pt x="122" y="96"/>
                    </a:lnTo>
                    <a:lnTo>
                      <a:pt x="122" y="108"/>
                    </a:lnTo>
                    <a:lnTo>
                      <a:pt x="122" y="108"/>
                    </a:lnTo>
                    <a:lnTo>
                      <a:pt x="120" y="108"/>
                    </a:lnTo>
                    <a:lnTo>
                      <a:pt x="120" y="108"/>
                    </a:lnTo>
                    <a:lnTo>
                      <a:pt x="120" y="110"/>
                    </a:lnTo>
                    <a:lnTo>
                      <a:pt x="120" y="110"/>
                    </a:lnTo>
                    <a:lnTo>
                      <a:pt x="104" y="108"/>
                    </a:lnTo>
                    <a:lnTo>
                      <a:pt x="96" y="118"/>
                    </a:lnTo>
                    <a:lnTo>
                      <a:pt x="96" y="118"/>
                    </a:lnTo>
                    <a:lnTo>
                      <a:pt x="96" y="120"/>
                    </a:lnTo>
                    <a:lnTo>
                      <a:pt x="86" y="122"/>
                    </a:lnTo>
                    <a:lnTo>
                      <a:pt x="74" y="136"/>
                    </a:lnTo>
                    <a:lnTo>
                      <a:pt x="74" y="136"/>
                    </a:lnTo>
                    <a:lnTo>
                      <a:pt x="72" y="136"/>
                    </a:lnTo>
                    <a:lnTo>
                      <a:pt x="72" y="136"/>
                    </a:lnTo>
                    <a:lnTo>
                      <a:pt x="48" y="138"/>
                    </a:lnTo>
                    <a:lnTo>
                      <a:pt x="4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9" name="Freeform 480"/>
              <p:cNvSpPr>
                <a:spLocks noEditPoints="1"/>
              </p:cNvSpPr>
              <p:nvPr/>
            </p:nvSpPr>
            <p:spPr bwMode="auto">
              <a:xfrm>
                <a:off x="3175" y="2641"/>
                <a:ext cx="170" cy="142"/>
              </a:xfrm>
              <a:custGeom>
                <a:avLst/>
                <a:gdLst>
                  <a:gd name="T0" fmla="*/ 160 w 170"/>
                  <a:gd name="T1" fmla="*/ 22 h 142"/>
                  <a:gd name="T2" fmla="*/ 162 w 170"/>
                  <a:gd name="T3" fmla="*/ 38 h 142"/>
                  <a:gd name="T4" fmla="*/ 156 w 170"/>
                  <a:gd name="T5" fmla="*/ 64 h 142"/>
                  <a:gd name="T6" fmla="*/ 162 w 170"/>
                  <a:gd name="T7" fmla="*/ 88 h 142"/>
                  <a:gd name="T8" fmla="*/ 122 w 170"/>
                  <a:gd name="T9" fmla="*/ 110 h 142"/>
                  <a:gd name="T10" fmla="*/ 96 w 170"/>
                  <a:gd name="T11" fmla="*/ 120 h 142"/>
                  <a:gd name="T12" fmla="*/ 74 w 170"/>
                  <a:gd name="T13" fmla="*/ 136 h 142"/>
                  <a:gd name="T14" fmla="*/ 44 w 170"/>
                  <a:gd name="T15" fmla="*/ 134 h 142"/>
                  <a:gd name="T16" fmla="*/ 6 w 170"/>
                  <a:gd name="T17" fmla="*/ 114 h 142"/>
                  <a:gd name="T18" fmla="*/ 30 w 170"/>
                  <a:gd name="T19" fmla="*/ 70 h 142"/>
                  <a:gd name="T20" fmla="*/ 46 w 170"/>
                  <a:gd name="T21" fmla="*/ 48 h 142"/>
                  <a:gd name="T22" fmla="*/ 76 w 170"/>
                  <a:gd name="T23" fmla="*/ 48 h 142"/>
                  <a:gd name="T24" fmla="*/ 94 w 170"/>
                  <a:gd name="T25" fmla="*/ 64 h 142"/>
                  <a:gd name="T26" fmla="*/ 112 w 170"/>
                  <a:gd name="T27" fmla="*/ 74 h 142"/>
                  <a:gd name="T28" fmla="*/ 100 w 170"/>
                  <a:gd name="T29" fmla="*/ 54 h 142"/>
                  <a:gd name="T30" fmla="*/ 96 w 170"/>
                  <a:gd name="T31" fmla="*/ 26 h 142"/>
                  <a:gd name="T32" fmla="*/ 108 w 170"/>
                  <a:gd name="T33" fmla="*/ 4 h 142"/>
                  <a:gd name="T34" fmla="*/ 124 w 170"/>
                  <a:gd name="T35" fmla="*/ 0 h 142"/>
                  <a:gd name="T36" fmla="*/ 108 w 170"/>
                  <a:gd name="T37" fmla="*/ 0 h 142"/>
                  <a:gd name="T38" fmla="*/ 92 w 170"/>
                  <a:gd name="T39" fmla="*/ 8 h 142"/>
                  <a:gd name="T40" fmla="*/ 90 w 170"/>
                  <a:gd name="T41" fmla="*/ 10 h 142"/>
                  <a:gd name="T42" fmla="*/ 92 w 170"/>
                  <a:gd name="T43" fmla="*/ 26 h 142"/>
                  <a:gd name="T44" fmla="*/ 88 w 170"/>
                  <a:gd name="T45" fmla="*/ 44 h 142"/>
                  <a:gd name="T46" fmla="*/ 98 w 170"/>
                  <a:gd name="T47" fmla="*/ 56 h 142"/>
                  <a:gd name="T48" fmla="*/ 98 w 170"/>
                  <a:gd name="T49" fmla="*/ 58 h 142"/>
                  <a:gd name="T50" fmla="*/ 108 w 170"/>
                  <a:gd name="T51" fmla="*/ 70 h 142"/>
                  <a:gd name="T52" fmla="*/ 96 w 170"/>
                  <a:gd name="T53" fmla="*/ 62 h 142"/>
                  <a:gd name="T54" fmla="*/ 96 w 170"/>
                  <a:gd name="T55" fmla="*/ 60 h 142"/>
                  <a:gd name="T56" fmla="*/ 80 w 170"/>
                  <a:gd name="T57" fmla="*/ 46 h 142"/>
                  <a:gd name="T58" fmla="*/ 76 w 170"/>
                  <a:gd name="T59" fmla="*/ 44 h 142"/>
                  <a:gd name="T60" fmla="*/ 74 w 170"/>
                  <a:gd name="T61" fmla="*/ 46 h 142"/>
                  <a:gd name="T62" fmla="*/ 48 w 170"/>
                  <a:gd name="T63" fmla="*/ 44 h 142"/>
                  <a:gd name="T64" fmla="*/ 32 w 170"/>
                  <a:gd name="T65" fmla="*/ 36 h 142"/>
                  <a:gd name="T66" fmla="*/ 30 w 170"/>
                  <a:gd name="T67" fmla="*/ 36 h 142"/>
                  <a:gd name="T68" fmla="*/ 28 w 170"/>
                  <a:gd name="T69" fmla="*/ 36 h 142"/>
                  <a:gd name="T70" fmla="*/ 26 w 170"/>
                  <a:gd name="T71" fmla="*/ 66 h 142"/>
                  <a:gd name="T72" fmla="*/ 4 w 170"/>
                  <a:gd name="T73" fmla="*/ 66 h 142"/>
                  <a:gd name="T74" fmla="*/ 0 w 170"/>
                  <a:gd name="T75" fmla="*/ 66 h 142"/>
                  <a:gd name="T76" fmla="*/ 2 w 170"/>
                  <a:gd name="T77" fmla="*/ 114 h 142"/>
                  <a:gd name="T78" fmla="*/ 2 w 170"/>
                  <a:gd name="T79" fmla="*/ 118 h 142"/>
                  <a:gd name="T80" fmla="*/ 18 w 170"/>
                  <a:gd name="T81" fmla="*/ 134 h 142"/>
                  <a:gd name="T82" fmla="*/ 42 w 170"/>
                  <a:gd name="T83" fmla="*/ 138 h 142"/>
                  <a:gd name="T84" fmla="*/ 46 w 170"/>
                  <a:gd name="T85" fmla="*/ 142 h 142"/>
                  <a:gd name="T86" fmla="*/ 50 w 170"/>
                  <a:gd name="T87" fmla="*/ 142 h 142"/>
                  <a:gd name="T88" fmla="*/ 74 w 170"/>
                  <a:gd name="T89" fmla="*/ 140 h 142"/>
                  <a:gd name="T90" fmla="*/ 78 w 170"/>
                  <a:gd name="T91" fmla="*/ 140 h 142"/>
                  <a:gd name="T92" fmla="*/ 98 w 170"/>
                  <a:gd name="T93" fmla="*/ 124 h 142"/>
                  <a:gd name="T94" fmla="*/ 100 w 170"/>
                  <a:gd name="T95" fmla="*/ 122 h 142"/>
                  <a:gd name="T96" fmla="*/ 122 w 170"/>
                  <a:gd name="T97" fmla="*/ 114 h 142"/>
                  <a:gd name="T98" fmla="*/ 122 w 170"/>
                  <a:gd name="T99" fmla="*/ 114 h 142"/>
                  <a:gd name="T100" fmla="*/ 124 w 170"/>
                  <a:gd name="T101" fmla="*/ 112 h 142"/>
                  <a:gd name="T102" fmla="*/ 126 w 170"/>
                  <a:gd name="T103" fmla="*/ 110 h 142"/>
                  <a:gd name="T104" fmla="*/ 162 w 170"/>
                  <a:gd name="T105" fmla="*/ 92 h 142"/>
                  <a:gd name="T106" fmla="*/ 166 w 170"/>
                  <a:gd name="T107" fmla="*/ 90 h 142"/>
                  <a:gd name="T108" fmla="*/ 166 w 170"/>
                  <a:gd name="T109" fmla="*/ 86 h 142"/>
                  <a:gd name="T110" fmla="*/ 160 w 170"/>
                  <a:gd name="T111" fmla="*/ 66 h 142"/>
                  <a:gd name="T112" fmla="*/ 164 w 170"/>
                  <a:gd name="T113" fmla="*/ 62 h 142"/>
                  <a:gd name="T114" fmla="*/ 166 w 170"/>
                  <a:gd name="T115" fmla="*/ 40 h 142"/>
                  <a:gd name="T116" fmla="*/ 170 w 170"/>
                  <a:gd name="T117" fmla="*/ 36 h 142"/>
                  <a:gd name="T118" fmla="*/ 164 w 170"/>
                  <a:gd name="T119" fmla="*/ 20 h 142"/>
                  <a:gd name="T120" fmla="*/ 162 w 170"/>
                  <a:gd name="T121" fmla="*/ 18 h 142"/>
                  <a:gd name="T122" fmla="*/ 126 w 170"/>
                  <a:gd name="T123" fmla="*/ 0 h 142"/>
                  <a:gd name="T124" fmla="*/ 124 w 170"/>
                  <a:gd name="T12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2">
                    <a:moveTo>
                      <a:pt x="124" y="4"/>
                    </a:moveTo>
                    <a:lnTo>
                      <a:pt x="160" y="22"/>
                    </a:lnTo>
                    <a:lnTo>
                      <a:pt x="166" y="34"/>
                    </a:lnTo>
                    <a:lnTo>
                      <a:pt x="162" y="38"/>
                    </a:lnTo>
                    <a:lnTo>
                      <a:pt x="162" y="60"/>
                    </a:lnTo>
                    <a:lnTo>
                      <a:pt x="156" y="64"/>
                    </a:lnTo>
                    <a:lnTo>
                      <a:pt x="154" y="76"/>
                    </a:lnTo>
                    <a:lnTo>
                      <a:pt x="162" y="88"/>
                    </a:lnTo>
                    <a:lnTo>
                      <a:pt x="122" y="96"/>
                    </a:lnTo>
                    <a:lnTo>
                      <a:pt x="122" y="110"/>
                    </a:lnTo>
                    <a:lnTo>
                      <a:pt x="104" y="108"/>
                    </a:lnTo>
                    <a:lnTo>
                      <a:pt x="96" y="120"/>
                    </a:lnTo>
                    <a:lnTo>
                      <a:pt x="86" y="122"/>
                    </a:lnTo>
                    <a:lnTo>
                      <a:pt x="74" y="136"/>
                    </a:lnTo>
                    <a:lnTo>
                      <a:pt x="50" y="138"/>
                    </a:lnTo>
                    <a:lnTo>
                      <a:pt x="44" y="134"/>
                    </a:lnTo>
                    <a:lnTo>
                      <a:pt x="22" y="132"/>
                    </a:lnTo>
                    <a:lnTo>
                      <a:pt x="6" y="114"/>
                    </a:lnTo>
                    <a:lnTo>
                      <a:pt x="4" y="70"/>
                    </a:lnTo>
                    <a:lnTo>
                      <a:pt x="30" y="70"/>
                    </a:lnTo>
                    <a:lnTo>
                      <a:pt x="30" y="40"/>
                    </a:lnTo>
                    <a:lnTo>
                      <a:pt x="46" y="48"/>
                    </a:lnTo>
                    <a:lnTo>
                      <a:pt x="64" y="54"/>
                    </a:lnTo>
                    <a:lnTo>
                      <a:pt x="76" y="48"/>
                    </a:lnTo>
                    <a:lnTo>
                      <a:pt x="82" y="60"/>
                    </a:lnTo>
                    <a:lnTo>
                      <a:pt x="94" y="64"/>
                    </a:lnTo>
                    <a:lnTo>
                      <a:pt x="100" y="74"/>
                    </a:lnTo>
                    <a:lnTo>
                      <a:pt x="112" y="74"/>
                    </a:lnTo>
                    <a:lnTo>
                      <a:pt x="112" y="60"/>
                    </a:lnTo>
                    <a:lnTo>
                      <a:pt x="100" y="54"/>
                    </a:lnTo>
                    <a:lnTo>
                      <a:pt x="92" y="46"/>
                    </a:lnTo>
                    <a:lnTo>
                      <a:pt x="96" y="26"/>
                    </a:lnTo>
                    <a:lnTo>
                      <a:pt x="94" y="10"/>
                    </a:lnTo>
                    <a:lnTo>
                      <a:pt x="108" y="4"/>
                    </a:lnTo>
                    <a:lnTo>
                      <a:pt x="124" y="4"/>
                    </a:lnTo>
                    <a:close/>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0" name="Freeform 481"/>
              <p:cNvSpPr>
                <a:spLocks/>
              </p:cNvSpPr>
              <p:nvPr/>
            </p:nvSpPr>
            <p:spPr bwMode="auto">
              <a:xfrm>
                <a:off x="3179" y="2645"/>
                <a:ext cx="162" cy="134"/>
              </a:xfrm>
              <a:custGeom>
                <a:avLst/>
                <a:gdLst>
                  <a:gd name="T0" fmla="*/ 120 w 162"/>
                  <a:gd name="T1" fmla="*/ 0 h 134"/>
                  <a:gd name="T2" fmla="*/ 156 w 162"/>
                  <a:gd name="T3" fmla="*/ 18 h 134"/>
                  <a:gd name="T4" fmla="*/ 162 w 162"/>
                  <a:gd name="T5" fmla="*/ 30 h 134"/>
                  <a:gd name="T6" fmla="*/ 158 w 162"/>
                  <a:gd name="T7" fmla="*/ 34 h 134"/>
                  <a:gd name="T8" fmla="*/ 158 w 162"/>
                  <a:gd name="T9" fmla="*/ 56 h 134"/>
                  <a:gd name="T10" fmla="*/ 152 w 162"/>
                  <a:gd name="T11" fmla="*/ 60 h 134"/>
                  <a:gd name="T12" fmla="*/ 150 w 162"/>
                  <a:gd name="T13" fmla="*/ 72 h 134"/>
                  <a:gd name="T14" fmla="*/ 158 w 162"/>
                  <a:gd name="T15" fmla="*/ 84 h 134"/>
                  <a:gd name="T16" fmla="*/ 118 w 162"/>
                  <a:gd name="T17" fmla="*/ 92 h 134"/>
                  <a:gd name="T18" fmla="*/ 118 w 162"/>
                  <a:gd name="T19" fmla="*/ 106 h 134"/>
                  <a:gd name="T20" fmla="*/ 100 w 162"/>
                  <a:gd name="T21" fmla="*/ 104 h 134"/>
                  <a:gd name="T22" fmla="*/ 92 w 162"/>
                  <a:gd name="T23" fmla="*/ 116 h 134"/>
                  <a:gd name="T24" fmla="*/ 82 w 162"/>
                  <a:gd name="T25" fmla="*/ 118 h 134"/>
                  <a:gd name="T26" fmla="*/ 70 w 162"/>
                  <a:gd name="T27" fmla="*/ 132 h 134"/>
                  <a:gd name="T28" fmla="*/ 46 w 162"/>
                  <a:gd name="T29" fmla="*/ 134 h 134"/>
                  <a:gd name="T30" fmla="*/ 40 w 162"/>
                  <a:gd name="T31" fmla="*/ 130 h 134"/>
                  <a:gd name="T32" fmla="*/ 18 w 162"/>
                  <a:gd name="T33" fmla="*/ 128 h 134"/>
                  <a:gd name="T34" fmla="*/ 2 w 162"/>
                  <a:gd name="T35" fmla="*/ 110 h 134"/>
                  <a:gd name="T36" fmla="*/ 0 w 162"/>
                  <a:gd name="T37" fmla="*/ 66 h 134"/>
                  <a:gd name="T38" fmla="*/ 26 w 162"/>
                  <a:gd name="T39" fmla="*/ 66 h 134"/>
                  <a:gd name="T40" fmla="*/ 26 w 162"/>
                  <a:gd name="T41" fmla="*/ 36 h 134"/>
                  <a:gd name="T42" fmla="*/ 42 w 162"/>
                  <a:gd name="T43" fmla="*/ 44 h 134"/>
                  <a:gd name="T44" fmla="*/ 60 w 162"/>
                  <a:gd name="T45" fmla="*/ 50 h 134"/>
                  <a:gd name="T46" fmla="*/ 72 w 162"/>
                  <a:gd name="T47" fmla="*/ 44 h 134"/>
                  <a:gd name="T48" fmla="*/ 78 w 162"/>
                  <a:gd name="T49" fmla="*/ 56 h 134"/>
                  <a:gd name="T50" fmla="*/ 90 w 162"/>
                  <a:gd name="T51" fmla="*/ 60 h 134"/>
                  <a:gd name="T52" fmla="*/ 96 w 162"/>
                  <a:gd name="T53" fmla="*/ 70 h 134"/>
                  <a:gd name="T54" fmla="*/ 108 w 162"/>
                  <a:gd name="T55" fmla="*/ 70 h 134"/>
                  <a:gd name="T56" fmla="*/ 108 w 162"/>
                  <a:gd name="T57" fmla="*/ 56 h 134"/>
                  <a:gd name="T58" fmla="*/ 96 w 162"/>
                  <a:gd name="T59" fmla="*/ 50 h 134"/>
                  <a:gd name="T60" fmla="*/ 88 w 162"/>
                  <a:gd name="T61" fmla="*/ 42 h 134"/>
                  <a:gd name="T62" fmla="*/ 92 w 162"/>
                  <a:gd name="T63" fmla="*/ 22 h 134"/>
                  <a:gd name="T64" fmla="*/ 90 w 162"/>
                  <a:gd name="T65" fmla="*/ 6 h 134"/>
                  <a:gd name="T66" fmla="*/ 104 w 162"/>
                  <a:gd name="T67" fmla="*/ 0 h 134"/>
                  <a:gd name="T68" fmla="*/ 120 w 162"/>
                  <a:gd name="T6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134">
                    <a:moveTo>
                      <a:pt x="120" y="0"/>
                    </a:moveTo>
                    <a:lnTo>
                      <a:pt x="156" y="18"/>
                    </a:lnTo>
                    <a:lnTo>
                      <a:pt x="162" y="30"/>
                    </a:lnTo>
                    <a:lnTo>
                      <a:pt x="158" y="34"/>
                    </a:lnTo>
                    <a:lnTo>
                      <a:pt x="158" y="56"/>
                    </a:lnTo>
                    <a:lnTo>
                      <a:pt x="152" y="60"/>
                    </a:lnTo>
                    <a:lnTo>
                      <a:pt x="150" y="72"/>
                    </a:lnTo>
                    <a:lnTo>
                      <a:pt x="158" y="84"/>
                    </a:lnTo>
                    <a:lnTo>
                      <a:pt x="118" y="92"/>
                    </a:lnTo>
                    <a:lnTo>
                      <a:pt x="118" y="106"/>
                    </a:lnTo>
                    <a:lnTo>
                      <a:pt x="100" y="104"/>
                    </a:lnTo>
                    <a:lnTo>
                      <a:pt x="92" y="116"/>
                    </a:lnTo>
                    <a:lnTo>
                      <a:pt x="82" y="118"/>
                    </a:lnTo>
                    <a:lnTo>
                      <a:pt x="70" y="132"/>
                    </a:lnTo>
                    <a:lnTo>
                      <a:pt x="46" y="134"/>
                    </a:lnTo>
                    <a:lnTo>
                      <a:pt x="40" y="130"/>
                    </a:lnTo>
                    <a:lnTo>
                      <a:pt x="18" y="128"/>
                    </a:lnTo>
                    <a:lnTo>
                      <a:pt x="2" y="110"/>
                    </a:lnTo>
                    <a:lnTo>
                      <a:pt x="0" y="66"/>
                    </a:lnTo>
                    <a:lnTo>
                      <a:pt x="26" y="66"/>
                    </a:lnTo>
                    <a:lnTo>
                      <a:pt x="26" y="36"/>
                    </a:lnTo>
                    <a:lnTo>
                      <a:pt x="42" y="44"/>
                    </a:lnTo>
                    <a:lnTo>
                      <a:pt x="60" y="50"/>
                    </a:lnTo>
                    <a:lnTo>
                      <a:pt x="72" y="44"/>
                    </a:lnTo>
                    <a:lnTo>
                      <a:pt x="78" y="56"/>
                    </a:lnTo>
                    <a:lnTo>
                      <a:pt x="90" y="60"/>
                    </a:lnTo>
                    <a:lnTo>
                      <a:pt x="96" y="70"/>
                    </a:lnTo>
                    <a:lnTo>
                      <a:pt x="108" y="70"/>
                    </a:lnTo>
                    <a:lnTo>
                      <a:pt x="108" y="56"/>
                    </a:lnTo>
                    <a:lnTo>
                      <a:pt x="96" y="50"/>
                    </a:lnTo>
                    <a:lnTo>
                      <a:pt x="88" y="42"/>
                    </a:lnTo>
                    <a:lnTo>
                      <a:pt x="92" y="22"/>
                    </a:lnTo>
                    <a:lnTo>
                      <a:pt x="90" y="6"/>
                    </a:lnTo>
                    <a:lnTo>
                      <a:pt x="104"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1" name="Freeform 482"/>
              <p:cNvSpPr>
                <a:spLocks/>
              </p:cNvSpPr>
              <p:nvPr/>
            </p:nvSpPr>
            <p:spPr bwMode="auto">
              <a:xfrm>
                <a:off x="3175" y="2641"/>
                <a:ext cx="170" cy="142"/>
              </a:xfrm>
              <a:custGeom>
                <a:avLst/>
                <a:gdLst>
                  <a:gd name="T0" fmla="*/ 108 w 170"/>
                  <a:gd name="T1" fmla="*/ 0 h 142"/>
                  <a:gd name="T2" fmla="*/ 106 w 170"/>
                  <a:gd name="T3" fmla="*/ 0 h 142"/>
                  <a:gd name="T4" fmla="*/ 92 w 170"/>
                  <a:gd name="T5" fmla="*/ 8 h 142"/>
                  <a:gd name="T6" fmla="*/ 90 w 170"/>
                  <a:gd name="T7" fmla="*/ 12 h 142"/>
                  <a:gd name="T8" fmla="*/ 88 w 170"/>
                  <a:gd name="T9" fmla="*/ 44 h 142"/>
                  <a:gd name="T10" fmla="*/ 88 w 170"/>
                  <a:gd name="T11" fmla="*/ 48 h 142"/>
                  <a:gd name="T12" fmla="*/ 98 w 170"/>
                  <a:gd name="T13" fmla="*/ 56 h 142"/>
                  <a:gd name="T14" fmla="*/ 108 w 170"/>
                  <a:gd name="T15" fmla="*/ 62 h 142"/>
                  <a:gd name="T16" fmla="*/ 102 w 170"/>
                  <a:gd name="T17" fmla="*/ 70 h 142"/>
                  <a:gd name="T18" fmla="*/ 96 w 170"/>
                  <a:gd name="T19" fmla="*/ 62 h 142"/>
                  <a:gd name="T20" fmla="*/ 86 w 170"/>
                  <a:gd name="T21" fmla="*/ 56 h 142"/>
                  <a:gd name="T22" fmla="*/ 80 w 170"/>
                  <a:gd name="T23" fmla="*/ 46 h 142"/>
                  <a:gd name="T24" fmla="*/ 76 w 170"/>
                  <a:gd name="T25" fmla="*/ 44 h 142"/>
                  <a:gd name="T26" fmla="*/ 64 w 170"/>
                  <a:gd name="T27" fmla="*/ 50 h 142"/>
                  <a:gd name="T28" fmla="*/ 32 w 170"/>
                  <a:gd name="T29" fmla="*/ 36 h 142"/>
                  <a:gd name="T30" fmla="*/ 30 w 170"/>
                  <a:gd name="T31" fmla="*/ 36 h 142"/>
                  <a:gd name="T32" fmla="*/ 28 w 170"/>
                  <a:gd name="T33" fmla="*/ 36 h 142"/>
                  <a:gd name="T34" fmla="*/ 26 w 170"/>
                  <a:gd name="T35" fmla="*/ 40 h 142"/>
                  <a:gd name="T36" fmla="*/ 4 w 170"/>
                  <a:gd name="T37" fmla="*/ 66 h 142"/>
                  <a:gd name="T38" fmla="*/ 0 w 170"/>
                  <a:gd name="T39" fmla="*/ 66 h 142"/>
                  <a:gd name="T40" fmla="*/ 0 w 170"/>
                  <a:gd name="T41" fmla="*/ 70 h 142"/>
                  <a:gd name="T42" fmla="*/ 2 w 170"/>
                  <a:gd name="T43" fmla="*/ 114 h 142"/>
                  <a:gd name="T44" fmla="*/ 18 w 170"/>
                  <a:gd name="T45" fmla="*/ 134 h 142"/>
                  <a:gd name="T46" fmla="*/ 20 w 170"/>
                  <a:gd name="T47" fmla="*/ 136 h 142"/>
                  <a:gd name="T48" fmla="*/ 46 w 170"/>
                  <a:gd name="T49" fmla="*/ 142 h 142"/>
                  <a:gd name="T50" fmla="*/ 50 w 170"/>
                  <a:gd name="T51" fmla="*/ 142 h 142"/>
                  <a:gd name="T52" fmla="*/ 50 w 170"/>
                  <a:gd name="T53" fmla="*/ 142 h 142"/>
                  <a:gd name="T54" fmla="*/ 74 w 170"/>
                  <a:gd name="T55" fmla="*/ 140 h 142"/>
                  <a:gd name="T56" fmla="*/ 88 w 170"/>
                  <a:gd name="T57" fmla="*/ 126 h 142"/>
                  <a:gd name="T58" fmla="*/ 98 w 170"/>
                  <a:gd name="T59" fmla="*/ 124 h 142"/>
                  <a:gd name="T60" fmla="*/ 106 w 170"/>
                  <a:gd name="T61" fmla="*/ 112 h 142"/>
                  <a:gd name="T62" fmla="*/ 122 w 170"/>
                  <a:gd name="T63" fmla="*/ 114 h 142"/>
                  <a:gd name="T64" fmla="*/ 122 w 170"/>
                  <a:gd name="T65" fmla="*/ 114 h 142"/>
                  <a:gd name="T66" fmla="*/ 124 w 170"/>
                  <a:gd name="T67" fmla="*/ 112 h 142"/>
                  <a:gd name="T68" fmla="*/ 126 w 170"/>
                  <a:gd name="T69" fmla="*/ 98 h 142"/>
                  <a:gd name="T70" fmla="*/ 162 w 170"/>
                  <a:gd name="T71" fmla="*/ 92 h 142"/>
                  <a:gd name="T72" fmla="*/ 166 w 170"/>
                  <a:gd name="T73" fmla="*/ 90 h 142"/>
                  <a:gd name="T74" fmla="*/ 158 w 170"/>
                  <a:gd name="T75" fmla="*/ 76 h 142"/>
                  <a:gd name="T76" fmla="*/ 164 w 170"/>
                  <a:gd name="T77" fmla="*/ 62 h 142"/>
                  <a:gd name="T78" fmla="*/ 166 w 170"/>
                  <a:gd name="T79" fmla="*/ 60 h 142"/>
                  <a:gd name="T80" fmla="*/ 170 w 170"/>
                  <a:gd name="T81" fmla="*/ 36 h 142"/>
                  <a:gd name="T82" fmla="*/ 170 w 170"/>
                  <a:gd name="T83" fmla="*/ 32 h 142"/>
                  <a:gd name="T84" fmla="*/ 164 w 170"/>
                  <a:gd name="T85" fmla="*/ 20 h 142"/>
                  <a:gd name="T86" fmla="*/ 126 w 170"/>
                  <a:gd name="T87" fmla="*/ 0 h 142"/>
                  <a:gd name="T88" fmla="*/ 124 w 170"/>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42">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2" name="Freeform 483"/>
              <p:cNvSpPr>
                <a:spLocks/>
              </p:cNvSpPr>
              <p:nvPr/>
            </p:nvSpPr>
            <p:spPr bwMode="auto">
              <a:xfrm>
                <a:off x="3277" y="2537"/>
                <a:ext cx="160" cy="154"/>
              </a:xfrm>
              <a:custGeom>
                <a:avLst/>
                <a:gdLst>
                  <a:gd name="T0" fmla="*/ 78 w 160"/>
                  <a:gd name="T1" fmla="*/ 152 h 154"/>
                  <a:gd name="T2" fmla="*/ 78 w 160"/>
                  <a:gd name="T3" fmla="*/ 152 h 154"/>
                  <a:gd name="T4" fmla="*/ 76 w 160"/>
                  <a:gd name="T5" fmla="*/ 150 h 154"/>
                  <a:gd name="T6" fmla="*/ 74 w 160"/>
                  <a:gd name="T7" fmla="*/ 134 h 154"/>
                  <a:gd name="T8" fmla="*/ 68 w 160"/>
                  <a:gd name="T9" fmla="*/ 124 h 154"/>
                  <a:gd name="T10" fmla="*/ 56 w 160"/>
                  <a:gd name="T11" fmla="*/ 124 h 154"/>
                  <a:gd name="T12" fmla="*/ 56 w 160"/>
                  <a:gd name="T13" fmla="*/ 124 h 154"/>
                  <a:gd name="T14" fmla="*/ 56 w 160"/>
                  <a:gd name="T15" fmla="*/ 124 h 154"/>
                  <a:gd name="T16" fmla="*/ 18 w 160"/>
                  <a:gd name="T17" fmla="*/ 106 h 154"/>
                  <a:gd name="T18" fmla="*/ 18 w 160"/>
                  <a:gd name="T19" fmla="*/ 106 h 154"/>
                  <a:gd name="T20" fmla="*/ 16 w 160"/>
                  <a:gd name="T21" fmla="*/ 106 h 154"/>
                  <a:gd name="T22" fmla="*/ 14 w 160"/>
                  <a:gd name="T23" fmla="*/ 92 h 154"/>
                  <a:gd name="T24" fmla="*/ 2 w 160"/>
                  <a:gd name="T25" fmla="*/ 76 h 154"/>
                  <a:gd name="T26" fmla="*/ 2 w 160"/>
                  <a:gd name="T27" fmla="*/ 76 h 154"/>
                  <a:gd name="T28" fmla="*/ 2 w 160"/>
                  <a:gd name="T29" fmla="*/ 74 h 154"/>
                  <a:gd name="T30" fmla="*/ 0 w 160"/>
                  <a:gd name="T31" fmla="*/ 52 h 154"/>
                  <a:gd name="T32" fmla="*/ 0 w 160"/>
                  <a:gd name="T33" fmla="*/ 52 h 154"/>
                  <a:gd name="T34" fmla="*/ 0 w 160"/>
                  <a:gd name="T35" fmla="*/ 50 h 154"/>
                  <a:gd name="T36" fmla="*/ 18 w 160"/>
                  <a:gd name="T37" fmla="*/ 32 h 154"/>
                  <a:gd name="T38" fmla="*/ 14 w 160"/>
                  <a:gd name="T39" fmla="*/ 20 h 154"/>
                  <a:gd name="T40" fmla="*/ 14 w 160"/>
                  <a:gd name="T41" fmla="*/ 20 h 154"/>
                  <a:gd name="T42" fmla="*/ 14 w 160"/>
                  <a:gd name="T43" fmla="*/ 18 h 154"/>
                  <a:gd name="T44" fmla="*/ 20 w 160"/>
                  <a:gd name="T45" fmla="*/ 12 h 154"/>
                  <a:gd name="T46" fmla="*/ 14 w 160"/>
                  <a:gd name="T47" fmla="*/ 2 h 154"/>
                  <a:gd name="T48" fmla="*/ 14 w 160"/>
                  <a:gd name="T49" fmla="*/ 2 h 154"/>
                  <a:gd name="T50" fmla="*/ 14 w 160"/>
                  <a:gd name="T51" fmla="*/ 0 h 154"/>
                  <a:gd name="T52" fmla="*/ 14 w 160"/>
                  <a:gd name="T53" fmla="*/ 0 h 154"/>
                  <a:gd name="T54" fmla="*/ 16 w 160"/>
                  <a:gd name="T55" fmla="*/ 0 h 154"/>
                  <a:gd name="T56" fmla="*/ 36 w 160"/>
                  <a:gd name="T57" fmla="*/ 0 h 154"/>
                  <a:gd name="T58" fmla="*/ 70 w 160"/>
                  <a:gd name="T59" fmla="*/ 2 h 154"/>
                  <a:gd name="T60" fmla="*/ 70 w 160"/>
                  <a:gd name="T61" fmla="*/ 2 h 154"/>
                  <a:gd name="T62" fmla="*/ 72 w 160"/>
                  <a:gd name="T63" fmla="*/ 2 h 154"/>
                  <a:gd name="T64" fmla="*/ 118 w 160"/>
                  <a:gd name="T65" fmla="*/ 26 h 154"/>
                  <a:gd name="T66" fmla="*/ 118 w 160"/>
                  <a:gd name="T67" fmla="*/ 26 h 154"/>
                  <a:gd name="T68" fmla="*/ 120 w 160"/>
                  <a:gd name="T69" fmla="*/ 28 h 154"/>
                  <a:gd name="T70" fmla="*/ 122 w 160"/>
                  <a:gd name="T71" fmla="*/ 36 h 154"/>
                  <a:gd name="T72" fmla="*/ 144 w 160"/>
                  <a:gd name="T73" fmla="*/ 52 h 154"/>
                  <a:gd name="T74" fmla="*/ 144 w 160"/>
                  <a:gd name="T75" fmla="*/ 52 h 154"/>
                  <a:gd name="T76" fmla="*/ 144 w 160"/>
                  <a:gd name="T77" fmla="*/ 54 h 154"/>
                  <a:gd name="T78" fmla="*/ 140 w 160"/>
                  <a:gd name="T79" fmla="*/ 66 h 154"/>
                  <a:gd name="T80" fmla="*/ 138 w 160"/>
                  <a:gd name="T81" fmla="*/ 78 h 154"/>
                  <a:gd name="T82" fmla="*/ 144 w 160"/>
                  <a:gd name="T83" fmla="*/ 88 h 154"/>
                  <a:gd name="T84" fmla="*/ 144 w 160"/>
                  <a:gd name="T85" fmla="*/ 88 h 154"/>
                  <a:gd name="T86" fmla="*/ 144 w 160"/>
                  <a:gd name="T87" fmla="*/ 88 h 154"/>
                  <a:gd name="T88" fmla="*/ 144 w 160"/>
                  <a:gd name="T89" fmla="*/ 114 h 154"/>
                  <a:gd name="T90" fmla="*/ 160 w 160"/>
                  <a:gd name="T91" fmla="*/ 134 h 154"/>
                  <a:gd name="T92" fmla="*/ 160 w 160"/>
                  <a:gd name="T93" fmla="*/ 134 h 154"/>
                  <a:gd name="T94" fmla="*/ 160 w 160"/>
                  <a:gd name="T95" fmla="*/ 136 h 154"/>
                  <a:gd name="T96" fmla="*/ 160 w 160"/>
                  <a:gd name="T97" fmla="*/ 136 h 154"/>
                  <a:gd name="T98" fmla="*/ 160 w 160"/>
                  <a:gd name="T99" fmla="*/ 136 h 154"/>
                  <a:gd name="T100" fmla="*/ 146 w 160"/>
                  <a:gd name="T101" fmla="*/ 146 h 154"/>
                  <a:gd name="T102" fmla="*/ 122 w 160"/>
                  <a:gd name="T103" fmla="*/ 154 h 154"/>
                  <a:gd name="T104" fmla="*/ 122 w 160"/>
                  <a:gd name="T105" fmla="*/ 154 h 154"/>
                  <a:gd name="T106" fmla="*/ 122 w 160"/>
                  <a:gd name="T107" fmla="*/ 154 h 154"/>
                  <a:gd name="T108" fmla="*/ 122 w 160"/>
                  <a:gd name="T109" fmla="*/ 154 h 154"/>
                  <a:gd name="T110" fmla="*/ 78 w 160"/>
                  <a:gd name="T111" fmla="*/ 152 h 154"/>
                  <a:gd name="T112" fmla="*/ 78 w 160"/>
                  <a:gd name="T11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4">
                    <a:moveTo>
                      <a:pt x="78" y="152"/>
                    </a:moveTo>
                    <a:lnTo>
                      <a:pt x="78" y="152"/>
                    </a:lnTo>
                    <a:lnTo>
                      <a:pt x="76" y="150"/>
                    </a:lnTo>
                    <a:lnTo>
                      <a:pt x="74" y="134"/>
                    </a:lnTo>
                    <a:lnTo>
                      <a:pt x="68" y="124"/>
                    </a:lnTo>
                    <a:lnTo>
                      <a:pt x="56" y="124"/>
                    </a:lnTo>
                    <a:lnTo>
                      <a:pt x="56" y="124"/>
                    </a:lnTo>
                    <a:lnTo>
                      <a:pt x="56" y="124"/>
                    </a:lnTo>
                    <a:lnTo>
                      <a:pt x="18" y="106"/>
                    </a:lnTo>
                    <a:lnTo>
                      <a:pt x="18" y="106"/>
                    </a:lnTo>
                    <a:lnTo>
                      <a:pt x="16" y="106"/>
                    </a:lnTo>
                    <a:lnTo>
                      <a:pt x="14" y="92"/>
                    </a:lnTo>
                    <a:lnTo>
                      <a:pt x="2" y="76"/>
                    </a:lnTo>
                    <a:lnTo>
                      <a:pt x="2" y="76"/>
                    </a:lnTo>
                    <a:lnTo>
                      <a:pt x="2" y="74"/>
                    </a:lnTo>
                    <a:lnTo>
                      <a:pt x="0" y="52"/>
                    </a:lnTo>
                    <a:lnTo>
                      <a:pt x="0" y="52"/>
                    </a:lnTo>
                    <a:lnTo>
                      <a:pt x="0" y="50"/>
                    </a:lnTo>
                    <a:lnTo>
                      <a:pt x="18" y="32"/>
                    </a:lnTo>
                    <a:lnTo>
                      <a:pt x="14" y="20"/>
                    </a:lnTo>
                    <a:lnTo>
                      <a:pt x="14" y="20"/>
                    </a:lnTo>
                    <a:lnTo>
                      <a:pt x="14" y="18"/>
                    </a:lnTo>
                    <a:lnTo>
                      <a:pt x="20" y="12"/>
                    </a:lnTo>
                    <a:lnTo>
                      <a:pt x="14" y="2"/>
                    </a:lnTo>
                    <a:lnTo>
                      <a:pt x="14" y="2"/>
                    </a:lnTo>
                    <a:lnTo>
                      <a:pt x="14" y="0"/>
                    </a:lnTo>
                    <a:lnTo>
                      <a:pt x="14" y="0"/>
                    </a:lnTo>
                    <a:lnTo>
                      <a:pt x="16" y="0"/>
                    </a:lnTo>
                    <a:lnTo>
                      <a:pt x="36" y="0"/>
                    </a:lnTo>
                    <a:lnTo>
                      <a:pt x="70" y="2"/>
                    </a:lnTo>
                    <a:lnTo>
                      <a:pt x="70" y="2"/>
                    </a:lnTo>
                    <a:lnTo>
                      <a:pt x="72" y="2"/>
                    </a:lnTo>
                    <a:lnTo>
                      <a:pt x="118" y="26"/>
                    </a:lnTo>
                    <a:lnTo>
                      <a:pt x="118" y="26"/>
                    </a:lnTo>
                    <a:lnTo>
                      <a:pt x="120" y="28"/>
                    </a:lnTo>
                    <a:lnTo>
                      <a:pt x="122" y="36"/>
                    </a:lnTo>
                    <a:lnTo>
                      <a:pt x="144" y="52"/>
                    </a:lnTo>
                    <a:lnTo>
                      <a:pt x="144" y="52"/>
                    </a:lnTo>
                    <a:lnTo>
                      <a:pt x="144" y="54"/>
                    </a:lnTo>
                    <a:lnTo>
                      <a:pt x="140" y="66"/>
                    </a:lnTo>
                    <a:lnTo>
                      <a:pt x="138" y="78"/>
                    </a:lnTo>
                    <a:lnTo>
                      <a:pt x="144" y="88"/>
                    </a:lnTo>
                    <a:lnTo>
                      <a:pt x="144" y="88"/>
                    </a:lnTo>
                    <a:lnTo>
                      <a:pt x="144" y="88"/>
                    </a:lnTo>
                    <a:lnTo>
                      <a:pt x="144" y="114"/>
                    </a:lnTo>
                    <a:lnTo>
                      <a:pt x="160" y="134"/>
                    </a:lnTo>
                    <a:lnTo>
                      <a:pt x="160" y="134"/>
                    </a:lnTo>
                    <a:lnTo>
                      <a:pt x="160" y="136"/>
                    </a:lnTo>
                    <a:lnTo>
                      <a:pt x="160" y="136"/>
                    </a:lnTo>
                    <a:lnTo>
                      <a:pt x="160" y="136"/>
                    </a:lnTo>
                    <a:lnTo>
                      <a:pt x="146" y="146"/>
                    </a:lnTo>
                    <a:lnTo>
                      <a:pt x="122" y="154"/>
                    </a:lnTo>
                    <a:lnTo>
                      <a:pt x="122" y="154"/>
                    </a:lnTo>
                    <a:lnTo>
                      <a:pt x="122" y="154"/>
                    </a:lnTo>
                    <a:lnTo>
                      <a:pt x="122" y="154"/>
                    </a:lnTo>
                    <a:lnTo>
                      <a:pt x="78" y="152"/>
                    </a:lnTo>
                    <a:lnTo>
                      <a:pt x="78" y="1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3" name="Freeform 484"/>
              <p:cNvSpPr>
                <a:spLocks noEditPoints="1"/>
              </p:cNvSpPr>
              <p:nvPr/>
            </p:nvSpPr>
            <p:spPr bwMode="auto">
              <a:xfrm>
                <a:off x="3275" y="2535"/>
                <a:ext cx="164" cy="158"/>
              </a:xfrm>
              <a:custGeom>
                <a:avLst/>
                <a:gdLst>
                  <a:gd name="T0" fmla="*/ 72 w 164"/>
                  <a:gd name="T1" fmla="*/ 6 h 158"/>
                  <a:gd name="T2" fmla="*/ 124 w 164"/>
                  <a:gd name="T3" fmla="*/ 40 h 158"/>
                  <a:gd name="T4" fmla="*/ 140 w 164"/>
                  <a:gd name="T5" fmla="*/ 68 h 158"/>
                  <a:gd name="T6" fmla="*/ 144 w 164"/>
                  <a:gd name="T7" fmla="*/ 90 h 158"/>
                  <a:gd name="T8" fmla="*/ 160 w 164"/>
                  <a:gd name="T9" fmla="*/ 138 h 158"/>
                  <a:gd name="T10" fmla="*/ 124 w 164"/>
                  <a:gd name="T11" fmla="*/ 154 h 158"/>
                  <a:gd name="T12" fmla="*/ 78 w 164"/>
                  <a:gd name="T13" fmla="*/ 136 h 158"/>
                  <a:gd name="T14" fmla="*/ 58 w 164"/>
                  <a:gd name="T15" fmla="*/ 124 h 158"/>
                  <a:gd name="T16" fmla="*/ 18 w 164"/>
                  <a:gd name="T17" fmla="*/ 92 h 158"/>
                  <a:gd name="T18" fmla="*/ 4 w 164"/>
                  <a:gd name="T19" fmla="*/ 54 h 158"/>
                  <a:gd name="T20" fmla="*/ 18 w 164"/>
                  <a:gd name="T21" fmla="*/ 22 h 158"/>
                  <a:gd name="T22" fmla="*/ 18 w 164"/>
                  <a:gd name="T23" fmla="*/ 4 h 158"/>
                  <a:gd name="T24" fmla="*/ 38 w 164"/>
                  <a:gd name="T25" fmla="*/ 0 h 158"/>
                  <a:gd name="T26" fmla="*/ 18 w 164"/>
                  <a:gd name="T27" fmla="*/ 0 h 158"/>
                  <a:gd name="T28" fmla="*/ 16 w 164"/>
                  <a:gd name="T29" fmla="*/ 2 h 158"/>
                  <a:gd name="T30" fmla="*/ 20 w 164"/>
                  <a:gd name="T31" fmla="*/ 14 h 158"/>
                  <a:gd name="T32" fmla="*/ 16 w 164"/>
                  <a:gd name="T33" fmla="*/ 18 h 158"/>
                  <a:gd name="T34" fmla="*/ 18 w 164"/>
                  <a:gd name="T35" fmla="*/ 32 h 158"/>
                  <a:gd name="T36" fmla="*/ 2 w 164"/>
                  <a:gd name="T37" fmla="*/ 50 h 158"/>
                  <a:gd name="T38" fmla="*/ 2 w 164"/>
                  <a:gd name="T39" fmla="*/ 76 h 158"/>
                  <a:gd name="T40" fmla="*/ 2 w 164"/>
                  <a:gd name="T41" fmla="*/ 80 h 158"/>
                  <a:gd name="T42" fmla="*/ 16 w 164"/>
                  <a:gd name="T43" fmla="*/ 108 h 158"/>
                  <a:gd name="T44" fmla="*/ 18 w 164"/>
                  <a:gd name="T45" fmla="*/ 110 h 158"/>
                  <a:gd name="T46" fmla="*/ 56 w 164"/>
                  <a:gd name="T47" fmla="*/ 128 h 158"/>
                  <a:gd name="T48" fmla="*/ 68 w 164"/>
                  <a:gd name="T49" fmla="*/ 128 h 158"/>
                  <a:gd name="T50" fmla="*/ 76 w 164"/>
                  <a:gd name="T51" fmla="*/ 152 h 158"/>
                  <a:gd name="T52" fmla="*/ 78 w 164"/>
                  <a:gd name="T53" fmla="*/ 154 h 158"/>
                  <a:gd name="T54" fmla="*/ 122 w 164"/>
                  <a:gd name="T55" fmla="*/ 158 h 158"/>
                  <a:gd name="T56" fmla="*/ 124 w 164"/>
                  <a:gd name="T57" fmla="*/ 158 h 158"/>
                  <a:gd name="T58" fmla="*/ 124 w 164"/>
                  <a:gd name="T59" fmla="*/ 158 h 158"/>
                  <a:gd name="T60" fmla="*/ 148 w 164"/>
                  <a:gd name="T61" fmla="*/ 150 h 158"/>
                  <a:gd name="T62" fmla="*/ 162 w 164"/>
                  <a:gd name="T63" fmla="*/ 140 h 158"/>
                  <a:gd name="T64" fmla="*/ 164 w 164"/>
                  <a:gd name="T65" fmla="*/ 138 h 158"/>
                  <a:gd name="T66" fmla="*/ 164 w 164"/>
                  <a:gd name="T67" fmla="*/ 134 h 158"/>
                  <a:gd name="T68" fmla="*/ 148 w 164"/>
                  <a:gd name="T69" fmla="*/ 90 h 158"/>
                  <a:gd name="T70" fmla="*/ 148 w 164"/>
                  <a:gd name="T71" fmla="*/ 88 h 158"/>
                  <a:gd name="T72" fmla="*/ 144 w 164"/>
                  <a:gd name="T73" fmla="*/ 68 h 158"/>
                  <a:gd name="T74" fmla="*/ 148 w 164"/>
                  <a:gd name="T75" fmla="*/ 56 h 158"/>
                  <a:gd name="T76" fmla="*/ 146 w 164"/>
                  <a:gd name="T77" fmla="*/ 52 h 158"/>
                  <a:gd name="T78" fmla="*/ 124 w 164"/>
                  <a:gd name="T79" fmla="*/ 28 h 158"/>
                  <a:gd name="T80" fmla="*/ 122 w 164"/>
                  <a:gd name="T81" fmla="*/ 26 h 158"/>
                  <a:gd name="T82" fmla="*/ 74 w 164"/>
                  <a:gd name="T83" fmla="*/ 2 h 158"/>
                  <a:gd name="T84" fmla="*/ 38 w 164"/>
                  <a:gd name="T85" fmla="*/ 0 h 158"/>
                  <a:gd name="T86" fmla="*/ 38 w 164"/>
                  <a:gd name="T87"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58">
                    <a:moveTo>
                      <a:pt x="38" y="4"/>
                    </a:moveTo>
                    <a:lnTo>
                      <a:pt x="72" y="6"/>
                    </a:lnTo>
                    <a:lnTo>
                      <a:pt x="120" y="30"/>
                    </a:lnTo>
                    <a:lnTo>
                      <a:pt x="124" y="40"/>
                    </a:lnTo>
                    <a:lnTo>
                      <a:pt x="144" y="56"/>
                    </a:lnTo>
                    <a:lnTo>
                      <a:pt x="140" y="68"/>
                    </a:lnTo>
                    <a:lnTo>
                      <a:pt x="138" y="80"/>
                    </a:lnTo>
                    <a:lnTo>
                      <a:pt x="144" y="90"/>
                    </a:lnTo>
                    <a:lnTo>
                      <a:pt x="144" y="116"/>
                    </a:lnTo>
                    <a:lnTo>
                      <a:pt x="160" y="138"/>
                    </a:lnTo>
                    <a:lnTo>
                      <a:pt x="146" y="146"/>
                    </a:lnTo>
                    <a:lnTo>
                      <a:pt x="124" y="154"/>
                    </a:lnTo>
                    <a:lnTo>
                      <a:pt x="80" y="152"/>
                    </a:lnTo>
                    <a:lnTo>
                      <a:pt x="78" y="136"/>
                    </a:lnTo>
                    <a:lnTo>
                      <a:pt x="70" y="124"/>
                    </a:lnTo>
                    <a:lnTo>
                      <a:pt x="58" y="124"/>
                    </a:lnTo>
                    <a:lnTo>
                      <a:pt x="20" y="106"/>
                    </a:lnTo>
                    <a:lnTo>
                      <a:pt x="18" y="92"/>
                    </a:lnTo>
                    <a:lnTo>
                      <a:pt x="6" y="76"/>
                    </a:lnTo>
                    <a:lnTo>
                      <a:pt x="4" y="54"/>
                    </a:lnTo>
                    <a:lnTo>
                      <a:pt x="22" y="34"/>
                    </a:lnTo>
                    <a:lnTo>
                      <a:pt x="18" y="22"/>
                    </a:lnTo>
                    <a:lnTo>
                      <a:pt x="24" y="14"/>
                    </a:lnTo>
                    <a:lnTo>
                      <a:pt x="18" y="4"/>
                    </a:lnTo>
                    <a:lnTo>
                      <a:pt x="38" y="4"/>
                    </a:lnTo>
                    <a:close/>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4" name="Freeform 485"/>
              <p:cNvSpPr>
                <a:spLocks/>
              </p:cNvSpPr>
              <p:nvPr/>
            </p:nvSpPr>
            <p:spPr bwMode="auto">
              <a:xfrm>
                <a:off x="3279" y="2539"/>
                <a:ext cx="156" cy="150"/>
              </a:xfrm>
              <a:custGeom>
                <a:avLst/>
                <a:gdLst>
                  <a:gd name="T0" fmla="*/ 34 w 156"/>
                  <a:gd name="T1" fmla="*/ 0 h 150"/>
                  <a:gd name="T2" fmla="*/ 68 w 156"/>
                  <a:gd name="T3" fmla="*/ 2 h 150"/>
                  <a:gd name="T4" fmla="*/ 116 w 156"/>
                  <a:gd name="T5" fmla="*/ 26 h 150"/>
                  <a:gd name="T6" fmla="*/ 120 w 156"/>
                  <a:gd name="T7" fmla="*/ 36 h 150"/>
                  <a:gd name="T8" fmla="*/ 140 w 156"/>
                  <a:gd name="T9" fmla="*/ 52 h 150"/>
                  <a:gd name="T10" fmla="*/ 136 w 156"/>
                  <a:gd name="T11" fmla="*/ 64 h 150"/>
                  <a:gd name="T12" fmla="*/ 134 w 156"/>
                  <a:gd name="T13" fmla="*/ 76 h 150"/>
                  <a:gd name="T14" fmla="*/ 140 w 156"/>
                  <a:gd name="T15" fmla="*/ 86 h 150"/>
                  <a:gd name="T16" fmla="*/ 140 w 156"/>
                  <a:gd name="T17" fmla="*/ 112 h 150"/>
                  <a:gd name="T18" fmla="*/ 156 w 156"/>
                  <a:gd name="T19" fmla="*/ 134 h 150"/>
                  <a:gd name="T20" fmla="*/ 142 w 156"/>
                  <a:gd name="T21" fmla="*/ 142 h 150"/>
                  <a:gd name="T22" fmla="*/ 120 w 156"/>
                  <a:gd name="T23" fmla="*/ 150 h 150"/>
                  <a:gd name="T24" fmla="*/ 76 w 156"/>
                  <a:gd name="T25" fmla="*/ 148 h 150"/>
                  <a:gd name="T26" fmla="*/ 74 w 156"/>
                  <a:gd name="T27" fmla="*/ 132 h 150"/>
                  <a:gd name="T28" fmla="*/ 66 w 156"/>
                  <a:gd name="T29" fmla="*/ 120 h 150"/>
                  <a:gd name="T30" fmla="*/ 54 w 156"/>
                  <a:gd name="T31" fmla="*/ 120 h 150"/>
                  <a:gd name="T32" fmla="*/ 16 w 156"/>
                  <a:gd name="T33" fmla="*/ 102 h 150"/>
                  <a:gd name="T34" fmla="*/ 14 w 156"/>
                  <a:gd name="T35" fmla="*/ 88 h 150"/>
                  <a:gd name="T36" fmla="*/ 2 w 156"/>
                  <a:gd name="T37" fmla="*/ 72 h 150"/>
                  <a:gd name="T38" fmla="*/ 0 w 156"/>
                  <a:gd name="T39" fmla="*/ 50 h 150"/>
                  <a:gd name="T40" fmla="*/ 18 w 156"/>
                  <a:gd name="T41" fmla="*/ 30 h 150"/>
                  <a:gd name="T42" fmla="*/ 14 w 156"/>
                  <a:gd name="T43" fmla="*/ 18 h 150"/>
                  <a:gd name="T44" fmla="*/ 20 w 156"/>
                  <a:gd name="T45" fmla="*/ 10 h 150"/>
                  <a:gd name="T46" fmla="*/ 14 w 156"/>
                  <a:gd name="T47" fmla="*/ 0 h 150"/>
                  <a:gd name="T48" fmla="*/ 34 w 156"/>
                  <a:gd name="T4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50">
                    <a:moveTo>
                      <a:pt x="34" y="0"/>
                    </a:moveTo>
                    <a:lnTo>
                      <a:pt x="68" y="2"/>
                    </a:lnTo>
                    <a:lnTo>
                      <a:pt x="116" y="26"/>
                    </a:lnTo>
                    <a:lnTo>
                      <a:pt x="120" y="36"/>
                    </a:lnTo>
                    <a:lnTo>
                      <a:pt x="140" y="52"/>
                    </a:lnTo>
                    <a:lnTo>
                      <a:pt x="136" y="64"/>
                    </a:lnTo>
                    <a:lnTo>
                      <a:pt x="134" y="76"/>
                    </a:lnTo>
                    <a:lnTo>
                      <a:pt x="140" y="86"/>
                    </a:lnTo>
                    <a:lnTo>
                      <a:pt x="140" y="112"/>
                    </a:lnTo>
                    <a:lnTo>
                      <a:pt x="156" y="134"/>
                    </a:lnTo>
                    <a:lnTo>
                      <a:pt x="142" y="142"/>
                    </a:lnTo>
                    <a:lnTo>
                      <a:pt x="120" y="150"/>
                    </a:lnTo>
                    <a:lnTo>
                      <a:pt x="76" y="148"/>
                    </a:lnTo>
                    <a:lnTo>
                      <a:pt x="74" y="132"/>
                    </a:lnTo>
                    <a:lnTo>
                      <a:pt x="66" y="120"/>
                    </a:lnTo>
                    <a:lnTo>
                      <a:pt x="54" y="120"/>
                    </a:lnTo>
                    <a:lnTo>
                      <a:pt x="16" y="102"/>
                    </a:lnTo>
                    <a:lnTo>
                      <a:pt x="14" y="88"/>
                    </a:lnTo>
                    <a:lnTo>
                      <a:pt x="2" y="72"/>
                    </a:lnTo>
                    <a:lnTo>
                      <a:pt x="0" y="50"/>
                    </a:lnTo>
                    <a:lnTo>
                      <a:pt x="18" y="30"/>
                    </a:lnTo>
                    <a:lnTo>
                      <a:pt x="14" y="18"/>
                    </a:lnTo>
                    <a:lnTo>
                      <a:pt x="20" y="10"/>
                    </a:lnTo>
                    <a:lnTo>
                      <a:pt x="1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5" name="Freeform 486"/>
              <p:cNvSpPr>
                <a:spLocks/>
              </p:cNvSpPr>
              <p:nvPr/>
            </p:nvSpPr>
            <p:spPr bwMode="auto">
              <a:xfrm>
                <a:off x="3275" y="2535"/>
                <a:ext cx="164" cy="158"/>
              </a:xfrm>
              <a:custGeom>
                <a:avLst/>
                <a:gdLst>
                  <a:gd name="T0" fmla="*/ 18 w 164"/>
                  <a:gd name="T1" fmla="*/ 0 h 158"/>
                  <a:gd name="T2" fmla="*/ 16 w 164"/>
                  <a:gd name="T3" fmla="*/ 2 h 158"/>
                  <a:gd name="T4" fmla="*/ 16 w 164"/>
                  <a:gd name="T5" fmla="*/ 6 h 158"/>
                  <a:gd name="T6" fmla="*/ 16 w 164"/>
                  <a:gd name="T7" fmla="*/ 18 h 158"/>
                  <a:gd name="T8" fmla="*/ 14 w 164"/>
                  <a:gd name="T9" fmla="*/ 22 h 158"/>
                  <a:gd name="T10" fmla="*/ 2 w 164"/>
                  <a:gd name="T11" fmla="*/ 50 h 158"/>
                  <a:gd name="T12" fmla="*/ 0 w 164"/>
                  <a:gd name="T13" fmla="*/ 54 h 158"/>
                  <a:gd name="T14" fmla="*/ 2 w 164"/>
                  <a:gd name="T15" fmla="*/ 76 h 158"/>
                  <a:gd name="T16" fmla="*/ 14 w 164"/>
                  <a:gd name="T17" fmla="*/ 94 h 158"/>
                  <a:gd name="T18" fmla="*/ 16 w 164"/>
                  <a:gd name="T19" fmla="*/ 108 h 158"/>
                  <a:gd name="T20" fmla="*/ 56 w 164"/>
                  <a:gd name="T21" fmla="*/ 128 h 158"/>
                  <a:gd name="T22" fmla="*/ 58 w 164"/>
                  <a:gd name="T23" fmla="*/ 128 h 158"/>
                  <a:gd name="T24" fmla="*/ 74 w 164"/>
                  <a:gd name="T25" fmla="*/ 136 h 158"/>
                  <a:gd name="T26" fmla="*/ 76 w 164"/>
                  <a:gd name="T27" fmla="*/ 152 h 158"/>
                  <a:gd name="T28" fmla="*/ 80 w 164"/>
                  <a:gd name="T29" fmla="*/ 156 h 158"/>
                  <a:gd name="T30" fmla="*/ 122 w 164"/>
                  <a:gd name="T31" fmla="*/ 158 h 158"/>
                  <a:gd name="T32" fmla="*/ 124 w 164"/>
                  <a:gd name="T33" fmla="*/ 158 h 158"/>
                  <a:gd name="T34" fmla="*/ 148 w 164"/>
                  <a:gd name="T35" fmla="*/ 150 h 158"/>
                  <a:gd name="T36" fmla="*/ 148 w 164"/>
                  <a:gd name="T37" fmla="*/ 150 h 158"/>
                  <a:gd name="T38" fmla="*/ 162 w 164"/>
                  <a:gd name="T39" fmla="*/ 140 h 158"/>
                  <a:gd name="T40" fmla="*/ 164 w 164"/>
                  <a:gd name="T41" fmla="*/ 138 h 158"/>
                  <a:gd name="T42" fmla="*/ 148 w 164"/>
                  <a:gd name="T43" fmla="*/ 114 h 158"/>
                  <a:gd name="T44" fmla="*/ 148 w 164"/>
                  <a:gd name="T45" fmla="*/ 90 h 158"/>
                  <a:gd name="T46" fmla="*/ 142 w 164"/>
                  <a:gd name="T47" fmla="*/ 80 h 158"/>
                  <a:gd name="T48" fmla="*/ 148 w 164"/>
                  <a:gd name="T49" fmla="*/ 56 h 158"/>
                  <a:gd name="T50" fmla="*/ 148 w 164"/>
                  <a:gd name="T51" fmla="*/ 54 h 158"/>
                  <a:gd name="T52" fmla="*/ 126 w 164"/>
                  <a:gd name="T53" fmla="*/ 36 h 158"/>
                  <a:gd name="T54" fmla="*/ 124 w 164"/>
                  <a:gd name="T55" fmla="*/ 28 h 158"/>
                  <a:gd name="T56" fmla="*/ 74 w 164"/>
                  <a:gd name="T57" fmla="*/ 2 h 158"/>
                  <a:gd name="T58" fmla="*/ 72 w 164"/>
                  <a:gd name="T59" fmla="*/ 2 h 158"/>
                  <a:gd name="T60" fmla="*/ 38 w 164"/>
                  <a:gd name="T61" fmla="*/ 0 h 158"/>
                  <a:gd name="T62" fmla="*/ 38 w 164"/>
                  <a:gd name="T6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58">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6" name="Freeform 487"/>
              <p:cNvSpPr>
                <a:spLocks/>
              </p:cNvSpPr>
              <p:nvPr/>
            </p:nvSpPr>
            <p:spPr bwMode="auto">
              <a:xfrm>
                <a:off x="3277" y="2553"/>
                <a:ext cx="26" cy="38"/>
              </a:xfrm>
              <a:custGeom>
                <a:avLst/>
                <a:gdLst>
                  <a:gd name="T0" fmla="*/ 4 w 26"/>
                  <a:gd name="T1" fmla="*/ 38 h 38"/>
                  <a:gd name="T2" fmla="*/ 4 w 26"/>
                  <a:gd name="T3" fmla="*/ 38 h 38"/>
                  <a:gd name="T4" fmla="*/ 4 w 26"/>
                  <a:gd name="T5" fmla="*/ 38 h 38"/>
                  <a:gd name="T6" fmla="*/ 4 w 26"/>
                  <a:gd name="T7" fmla="*/ 38 h 38"/>
                  <a:gd name="T8" fmla="*/ 2 w 26"/>
                  <a:gd name="T9" fmla="*/ 36 h 38"/>
                  <a:gd name="T10" fmla="*/ 0 w 26"/>
                  <a:gd name="T11" fmla="*/ 14 h 38"/>
                  <a:gd name="T12" fmla="*/ 0 w 26"/>
                  <a:gd name="T13" fmla="*/ 14 h 38"/>
                  <a:gd name="T14" fmla="*/ 0 w 26"/>
                  <a:gd name="T15" fmla="*/ 12 h 38"/>
                  <a:gd name="T16" fmla="*/ 10 w 26"/>
                  <a:gd name="T17" fmla="*/ 2 h 38"/>
                  <a:gd name="T18" fmla="*/ 10 w 26"/>
                  <a:gd name="T19" fmla="*/ 2 h 38"/>
                  <a:gd name="T20" fmla="*/ 12 w 26"/>
                  <a:gd name="T21" fmla="*/ 2 h 38"/>
                  <a:gd name="T22" fmla="*/ 20 w 26"/>
                  <a:gd name="T23" fmla="*/ 0 h 38"/>
                  <a:gd name="T24" fmla="*/ 20 w 26"/>
                  <a:gd name="T25" fmla="*/ 0 h 38"/>
                  <a:gd name="T26" fmla="*/ 20 w 26"/>
                  <a:gd name="T27" fmla="*/ 0 h 38"/>
                  <a:gd name="T28" fmla="*/ 20 w 26"/>
                  <a:gd name="T29" fmla="*/ 0 h 38"/>
                  <a:gd name="T30" fmla="*/ 22 w 26"/>
                  <a:gd name="T31" fmla="*/ 2 h 38"/>
                  <a:gd name="T32" fmla="*/ 26 w 26"/>
                  <a:gd name="T33" fmla="*/ 14 h 38"/>
                  <a:gd name="T34" fmla="*/ 26 w 26"/>
                  <a:gd name="T35" fmla="*/ 14 h 38"/>
                  <a:gd name="T36" fmla="*/ 26 w 26"/>
                  <a:gd name="T37" fmla="*/ 16 h 38"/>
                  <a:gd name="T38" fmla="*/ 6 w 26"/>
                  <a:gd name="T39" fmla="*/ 38 h 38"/>
                  <a:gd name="T40" fmla="*/ 6 w 26"/>
                  <a:gd name="T41" fmla="*/ 38 h 38"/>
                  <a:gd name="T42" fmla="*/ 4 w 26"/>
                  <a:gd name="T43" fmla="*/ 38 h 38"/>
                  <a:gd name="T44" fmla="*/ 4 w 26"/>
                  <a:gd name="T4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8">
                    <a:moveTo>
                      <a:pt x="4" y="38"/>
                    </a:moveTo>
                    <a:lnTo>
                      <a:pt x="4" y="38"/>
                    </a:lnTo>
                    <a:lnTo>
                      <a:pt x="4" y="38"/>
                    </a:lnTo>
                    <a:lnTo>
                      <a:pt x="4" y="38"/>
                    </a:lnTo>
                    <a:lnTo>
                      <a:pt x="2" y="36"/>
                    </a:lnTo>
                    <a:lnTo>
                      <a:pt x="0" y="14"/>
                    </a:lnTo>
                    <a:lnTo>
                      <a:pt x="0" y="14"/>
                    </a:lnTo>
                    <a:lnTo>
                      <a:pt x="0" y="12"/>
                    </a:lnTo>
                    <a:lnTo>
                      <a:pt x="10" y="2"/>
                    </a:lnTo>
                    <a:lnTo>
                      <a:pt x="10" y="2"/>
                    </a:lnTo>
                    <a:lnTo>
                      <a:pt x="12" y="2"/>
                    </a:lnTo>
                    <a:lnTo>
                      <a:pt x="20" y="0"/>
                    </a:lnTo>
                    <a:lnTo>
                      <a:pt x="20" y="0"/>
                    </a:lnTo>
                    <a:lnTo>
                      <a:pt x="20" y="0"/>
                    </a:lnTo>
                    <a:lnTo>
                      <a:pt x="20" y="0"/>
                    </a:lnTo>
                    <a:lnTo>
                      <a:pt x="22" y="2"/>
                    </a:lnTo>
                    <a:lnTo>
                      <a:pt x="26" y="14"/>
                    </a:lnTo>
                    <a:lnTo>
                      <a:pt x="26" y="14"/>
                    </a:lnTo>
                    <a:lnTo>
                      <a:pt x="26" y="16"/>
                    </a:lnTo>
                    <a:lnTo>
                      <a:pt x="6" y="38"/>
                    </a:lnTo>
                    <a:lnTo>
                      <a:pt x="6" y="38"/>
                    </a:lnTo>
                    <a:lnTo>
                      <a:pt x="4" y="38"/>
                    </a:lnTo>
                    <a:lnTo>
                      <a:pt x="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7" name="Freeform 488"/>
              <p:cNvSpPr>
                <a:spLocks noEditPoints="1"/>
              </p:cNvSpPr>
              <p:nvPr/>
            </p:nvSpPr>
            <p:spPr bwMode="auto">
              <a:xfrm>
                <a:off x="3275" y="2551"/>
                <a:ext cx="30" cy="42"/>
              </a:xfrm>
              <a:custGeom>
                <a:avLst/>
                <a:gdLst>
                  <a:gd name="T0" fmla="*/ 22 w 30"/>
                  <a:gd name="T1" fmla="*/ 4 h 42"/>
                  <a:gd name="T2" fmla="*/ 26 w 30"/>
                  <a:gd name="T3" fmla="*/ 18 h 42"/>
                  <a:gd name="T4" fmla="*/ 6 w 30"/>
                  <a:gd name="T5" fmla="*/ 38 h 42"/>
                  <a:gd name="T6" fmla="*/ 4 w 30"/>
                  <a:gd name="T7" fmla="*/ 16 h 42"/>
                  <a:gd name="T8" fmla="*/ 14 w 30"/>
                  <a:gd name="T9" fmla="*/ 6 h 42"/>
                  <a:gd name="T10" fmla="*/ 22 w 30"/>
                  <a:gd name="T11" fmla="*/ 4 h 42"/>
                  <a:gd name="T12" fmla="*/ 22 w 30"/>
                  <a:gd name="T13" fmla="*/ 0 h 42"/>
                  <a:gd name="T14" fmla="*/ 22 w 30"/>
                  <a:gd name="T15" fmla="*/ 0 h 42"/>
                  <a:gd name="T16" fmla="*/ 22 w 30"/>
                  <a:gd name="T17" fmla="*/ 0 h 42"/>
                  <a:gd name="T18" fmla="*/ 14 w 30"/>
                  <a:gd name="T19" fmla="*/ 2 h 42"/>
                  <a:gd name="T20" fmla="*/ 14 w 30"/>
                  <a:gd name="T21" fmla="*/ 2 h 42"/>
                  <a:gd name="T22" fmla="*/ 12 w 30"/>
                  <a:gd name="T23" fmla="*/ 4 h 42"/>
                  <a:gd name="T24" fmla="*/ 2 w 30"/>
                  <a:gd name="T25" fmla="*/ 12 h 42"/>
                  <a:gd name="T26" fmla="*/ 2 w 30"/>
                  <a:gd name="T27" fmla="*/ 12 h 42"/>
                  <a:gd name="T28" fmla="*/ 0 w 30"/>
                  <a:gd name="T29" fmla="*/ 16 h 42"/>
                  <a:gd name="T30" fmla="*/ 2 w 30"/>
                  <a:gd name="T31" fmla="*/ 38 h 42"/>
                  <a:gd name="T32" fmla="*/ 2 w 30"/>
                  <a:gd name="T33" fmla="*/ 38 h 42"/>
                  <a:gd name="T34" fmla="*/ 4 w 30"/>
                  <a:gd name="T35" fmla="*/ 40 h 42"/>
                  <a:gd name="T36" fmla="*/ 4 w 30"/>
                  <a:gd name="T37" fmla="*/ 42 h 42"/>
                  <a:gd name="T38" fmla="*/ 4 w 30"/>
                  <a:gd name="T39" fmla="*/ 42 h 42"/>
                  <a:gd name="T40" fmla="*/ 6 w 30"/>
                  <a:gd name="T41" fmla="*/ 42 h 42"/>
                  <a:gd name="T42" fmla="*/ 6 w 30"/>
                  <a:gd name="T43" fmla="*/ 42 h 42"/>
                  <a:gd name="T44" fmla="*/ 10 w 30"/>
                  <a:gd name="T45" fmla="*/ 40 h 42"/>
                  <a:gd name="T46" fmla="*/ 30 w 30"/>
                  <a:gd name="T47" fmla="*/ 20 h 42"/>
                  <a:gd name="T48" fmla="*/ 30 w 30"/>
                  <a:gd name="T49" fmla="*/ 20 h 42"/>
                  <a:gd name="T50" fmla="*/ 30 w 30"/>
                  <a:gd name="T51" fmla="*/ 16 h 42"/>
                  <a:gd name="T52" fmla="*/ 26 w 30"/>
                  <a:gd name="T53" fmla="*/ 4 h 42"/>
                  <a:gd name="T54" fmla="*/ 26 w 30"/>
                  <a:gd name="T55" fmla="*/ 4 h 42"/>
                  <a:gd name="T56" fmla="*/ 24 w 30"/>
                  <a:gd name="T57" fmla="*/ 2 h 42"/>
                  <a:gd name="T58" fmla="*/ 22 w 30"/>
                  <a:gd name="T59" fmla="*/ 0 h 42"/>
                  <a:gd name="T60" fmla="*/ 22 w 30"/>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2">
                    <a:moveTo>
                      <a:pt x="22" y="4"/>
                    </a:moveTo>
                    <a:lnTo>
                      <a:pt x="26" y="18"/>
                    </a:lnTo>
                    <a:lnTo>
                      <a:pt x="6" y="38"/>
                    </a:lnTo>
                    <a:lnTo>
                      <a:pt x="4" y="16"/>
                    </a:lnTo>
                    <a:lnTo>
                      <a:pt x="14" y="6"/>
                    </a:lnTo>
                    <a:lnTo>
                      <a:pt x="22" y="4"/>
                    </a:lnTo>
                    <a:close/>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8" name="Freeform 489"/>
              <p:cNvSpPr>
                <a:spLocks/>
              </p:cNvSpPr>
              <p:nvPr/>
            </p:nvSpPr>
            <p:spPr bwMode="auto">
              <a:xfrm>
                <a:off x="3279" y="2555"/>
                <a:ext cx="22" cy="34"/>
              </a:xfrm>
              <a:custGeom>
                <a:avLst/>
                <a:gdLst>
                  <a:gd name="T0" fmla="*/ 18 w 22"/>
                  <a:gd name="T1" fmla="*/ 0 h 34"/>
                  <a:gd name="T2" fmla="*/ 22 w 22"/>
                  <a:gd name="T3" fmla="*/ 14 h 34"/>
                  <a:gd name="T4" fmla="*/ 2 w 22"/>
                  <a:gd name="T5" fmla="*/ 34 h 34"/>
                  <a:gd name="T6" fmla="*/ 0 w 22"/>
                  <a:gd name="T7" fmla="*/ 12 h 34"/>
                  <a:gd name="T8" fmla="*/ 10 w 22"/>
                  <a:gd name="T9" fmla="*/ 2 h 34"/>
                  <a:gd name="T10" fmla="*/ 18 w 22"/>
                  <a:gd name="T11" fmla="*/ 0 h 34"/>
                </a:gdLst>
                <a:ahLst/>
                <a:cxnLst>
                  <a:cxn ang="0">
                    <a:pos x="T0" y="T1"/>
                  </a:cxn>
                  <a:cxn ang="0">
                    <a:pos x="T2" y="T3"/>
                  </a:cxn>
                  <a:cxn ang="0">
                    <a:pos x="T4" y="T5"/>
                  </a:cxn>
                  <a:cxn ang="0">
                    <a:pos x="T6" y="T7"/>
                  </a:cxn>
                  <a:cxn ang="0">
                    <a:pos x="T8" y="T9"/>
                  </a:cxn>
                  <a:cxn ang="0">
                    <a:pos x="T10" y="T11"/>
                  </a:cxn>
                </a:cxnLst>
                <a:rect l="0" t="0" r="r" b="b"/>
                <a:pathLst>
                  <a:path w="22" h="34">
                    <a:moveTo>
                      <a:pt x="18" y="0"/>
                    </a:moveTo>
                    <a:lnTo>
                      <a:pt x="22" y="14"/>
                    </a:lnTo>
                    <a:lnTo>
                      <a:pt x="2" y="34"/>
                    </a:lnTo>
                    <a:lnTo>
                      <a:pt x="0" y="12"/>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9" name="Freeform 490"/>
              <p:cNvSpPr>
                <a:spLocks/>
              </p:cNvSpPr>
              <p:nvPr/>
            </p:nvSpPr>
            <p:spPr bwMode="auto">
              <a:xfrm>
                <a:off x="3275" y="2551"/>
                <a:ext cx="30" cy="42"/>
              </a:xfrm>
              <a:custGeom>
                <a:avLst/>
                <a:gdLst>
                  <a:gd name="T0" fmla="*/ 22 w 30"/>
                  <a:gd name="T1" fmla="*/ 0 h 42"/>
                  <a:gd name="T2" fmla="*/ 22 w 30"/>
                  <a:gd name="T3" fmla="*/ 0 h 42"/>
                  <a:gd name="T4" fmla="*/ 22 w 30"/>
                  <a:gd name="T5" fmla="*/ 0 h 42"/>
                  <a:gd name="T6" fmla="*/ 14 w 30"/>
                  <a:gd name="T7" fmla="*/ 2 h 42"/>
                  <a:gd name="T8" fmla="*/ 14 w 30"/>
                  <a:gd name="T9" fmla="*/ 2 h 42"/>
                  <a:gd name="T10" fmla="*/ 12 w 30"/>
                  <a:gd name="T11" fmla="*/ 4 h 42"/>
                  <a:gd name="T12" fmla="*/ 2 w 30"/>
                  <a:gd name="T13" fmla="*/ 12 h 42"/>
                  <a:gd name="T14" fmla="*/ 2 w 30"/>
                  <a:gd name="T15" fmla="*/ 12 h 42"/>
                  <a:gd name="T16" fmla="*/ 0 w 30"/>
                  <a:gd name="T17" fmla="*/ 16 h 42"/>
                  <a:gd name="T18" fmla="*/ 2 w 30"/>
                  <a:gd name="T19" fmla="*/ 38 h 42"/>
                  <a:gd name="T20" fmla="*/ 2 w 30"/>
                  <a:gd name="T21" fmla="*/ 38 h 42"/>
                  <a:gd name="T22" fmla="*/ 4 w 30"/>
                  <a:gd name="T23" fmla="*/ 40 h 42"/>
                  <a:gd name="T24" fmla="*/ 4 w 30"/>
                  <a:gd name="T25" fmla="*/ 42 h 42"/>
                  <a:gd name="T26" fmla="*/ 4 w 30"/>
                  <a:gd name="T27" fmla="*/ 42 h 42"/>
                  <a:gd name="T28" fmla="*/ 6 w 30"/>
                  <a:gd name="T29" fmla="*/ 42 h 42"/>
                  <a:gd name="T30" fmla="*/ 6 w 30"/>
                  <a:gd name="T31" fmla="*/ 42 h 42"/>
                  <a:gd name="T32" fmla="*/ 10 w 30"/>
                  <a:gd name="T33" fmla="*/ 40 h 42"/>
                  <a:gd name="T34" fmla="*/ 30 w 30"/>
                  <a:gd name="T35" fmla="*/ 20 h 42"/>
                  <a:gd name="T36" fmla="*/ 30 w 30"/>
                  <a:gd name="T37" fmla="*/ 20 h 42"/>
                  <a:gd name="T38" fmla="*/ 30 w 30"/>
                  <a:gd name="T39" fmla="*/ 16 h 42"/>
                  <a:gd name="T40" fmla="*/ 26 w 30"/>
                  <a:gd name="T41" fmla="*/ 4 h 42"/>
                  <a:gd name="T42" fmla="*/ 26 w 30"/>
                  <a:gd name="T43" fmla="*/ 4 h 42"/>
                  <a:gd name="T44" fmla="*/ 24 w 30"/>
                  <a:gd name="T45" fmla="*/ 2 h 42"/>
                  <a:gd name="T46" fmla="*/ 22 w 30"/>
                  <a:gd name="T47" fmla="*/ 0 h 42"/>
                  <a:gd name="T48" fmla="*/ 22 w 30"/>
                  <a:gd name="T4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42">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0" name="Freeform 491"/>
              <p:cNvSpPr>
                <a:spLocks/>
              </p:cNvSpPr>
              <p:nvPr/>
            </p:nvSpPr>
            <p:spPr bwMode="auto">
              <a:xfrm>
                <a:off x="3271" y="2537"/>
                <a:ext cx="32" cy="32"/>
              </a:xfrm>
              <a:custGeom>
                <a:avLst/>
                <a:gdLst>
                  <a:gd name="T0" fmla="*/ 8 w 32"/>
                  <a:gd name="T1" fmla="*/ 32 h 32"/>
                  <a:gd name="T2" fmla="*/ 8 w 32"/>
                  <a:gd name="T3" fmla="*/ 32 h 32"/>
                  <a:gd name="T4" fmla="*/ 6 w 32"/>
                  <a:gd name="T5" fmla="*/ 30 h 32"/>
                  <a:gd name="T6" fmla="*/ 0 w 32"/>
                  <a:gd name="T7" fmla="*/ 16 h 32"/>
                  <a:gd name="T8" fmla="*/ 0 w 32"/>
                  <a:gd name="T9" fmla="*/ 16 h 32"/>
                  <a:gd name="T10" fmla="*/ 0 w 32"/>
                  <a:gd name="T11" fmla="*/ 14 h 32"/>
                  <a:gd name="T12" fmla="*/ 10 w 32"/>
                  <a:gd name="T13" fmla="*/ 2 h 32"/>
                  <a:gd name="T14" fmla="*/ 10 w 32"/>
                  <a:gd name="T15" fmla="*/ 2 h 32"/>
                  <a:gd name="T16" fmla="*/ 12 w 32"/>
                  <a:gd name="T17" fmla="*/ 2 h 32"/>
                  <a:gd name="T18" fmla="*/ 12 w 32"/>
                  <a:gd name="T19" fmla="*/ 2 h 32"/>
                  <a:gd name="T20" fmla="*/ 24 w 32"/>
                  <a:gd name="T21" fmla="*/ 0 h 32"/>
                  <a:gd name="T22" fmla="*/ 24 w 32"/>
                  <a:gd name="T23" fmla="*/ 0 h 32"/>
                  <a:gd name="T24" fmla="*/ 26 w 32"/>
                  <a:gd name="T25" fmla="*/ 0 h 32"/>
                  <a:gd name="T26" fmla="*/ 32 w 32"/>
                  <a:gd name="T27" fmla="*/ 12 h 32"/>
                  <a:gd name="T28" fmla="*/ 32 w 32"/>
                  <a:gd name="T29" fmla="*/ 12 h 32"/>
                  <a:gd name="T30" fmla="*/ 32 w 32"/>
                  <a:gd name="T31" fmla="*/ 14 h 32"/>
                  <a:gd name="T32" fmla="*/ 26 w 32"/>
                  <a:gd name="T33" fmla="*/ 20 h 32"/>
                  <a:gd name="T34" fmla="*/ 26 w 32"/>
                  <a:gd name="T35" fmla="*/ 20 h 32"/>
                  <a:gd name="T36" fmla="*/ 26 w 32"/>
                  <a:gd name="T37" fmla="*/ 20 h 32"/>
                  <a:gd name="T38" fmla="*/ 18 w 32"/>
                  <a:gd name="T39" fmla="*/ 22 h 32"/>
                  <a:gd name="T40" fmla="*/ 10 w 32"/>
                  <a:gd name="T41" fmla="*/ 30 h 32"/>
                  <a:gd name="T42" fmla="*/ 10 w 32"/>
                  <a:gd name="T43" fmla="*/ 30 h 32"/>
                  <a:gd name="T44" fmla="*/ 8 w 32"/>
                  <a:gd name="T45" fmla="*/ 32 h 32"/>
                  <a:gd name="T46" fmla="*/ 8 w 32"/>
                  <a:gd name="T47" fmla="*/ 32 h 32"/>
                  <a:gd name="T48" fmla="*/ 8 w 32"/>
                  <a:gd name="T49" fmla="*/ 32 h 32"/>
                  <a:gd name="T50" fmla="*/ 8 w 32"/>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8" y="32"/>
                    </a:moveTo>
                    <a:lnTo>
                      <a:pt x="8" y="32"/>
                    </a:lnTo>
                    <a:lnTo>
                      <a:pt x="6" y="30"/>
                    </a:lnTo>
                    <a:lnTo>
                      <a:pt x="0" y="16"/>
                    </a:lnTo>
                    <a:lnTo>
                      <a:pt x="0" y="16"/>
                    </a:lnTo>
                    <a:lnTo>
                      <a:pt x="0" y="14"/>
                    </a:lnTo>
                    <a:lnTo>
                      <a:pt x="10" y="2"/>
                    </a:lnTo>
                    <a:lnTo>
                      <a:pt x="10" y="2"/>
                    </a:lnTo>
                    <a:lnTo>
                      <a:pt x="12" y="2"/>
                    </a:lnTo>
                    <a:lnTo>
                      <a:pt x="12" y="2"/>
                    </a:lnTo>
                    <a:lnTo>
                      <a:pt x="24" y="0"/>
                    </a:lnTo>
                    <a:lnTo>
                      <a:pt x="24" y="0"/>
                    </a:lnTo>
                    <a:lnTo>
                      <a:pt x="26" y="0"/>
                    </a:lnTo>
                    <a:lnTo>
                      <a:pt x="32" y="12"/>
                    </a:lnTo>
                    <a:lnTo>
                      <a:pt x="32" y="12"/>
                    </a:lnTo>
                    <a:lnTo>
                      <a:pt x="32" y="14"/>
                    </a:lnTo>
                    <a:lnTo>
                      <a:pt x="26" y="20"/>
                    </a:lnTo>
                    <a:lnTo>
                      <a:pt x="26" y="20"/>
                    </a:lnTo>
                    <a:lnTo>
                      <a:pt x="26" y="20"/>
                    </a:lnTo>
                    <a:lnTo>
                      <a:pt x="18" y="22"/>
                    </a:lnTo>
                    <a:lnTo>
                      <a:pt x="10" y="30"/>
                    </a:lnTo>
                    <a:lnTo>
                      <a:pt x="10" y="30"/>
                    </a:lnTo>
                    <a:lnTo>
                      <a:pt x="8" y="32"/>
                    </a:lnTo>
                    <a:lnTo>
                      <a:pt x="8"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1" name="Freeform 492"/>
              <p:cNvSpPr>
                <a:spLocks noEditPoints="1"/>
              </p:cNvSpPr>
              <p:nvPr/>
            </p:nvSpPr>
            <p:spPr bwMode="auto">
              <a:xfrm>
                <a:off x="3269" y="2535"/>
                <a:ext cx="36" cy="36"/>
              </a:xfrm>
              <a:custGeom>
                <a:avLst/>
                <a:gdLst>
                  <a:gd name="T0" fmla="*/ 26 w 36"/>
                  <a:gd name="T1" fmla="*/ 4 h 36"/>
                  <a:gd name="T2" fmla="*/ 32 w 36"/>
                  <a:gd name="T3" fmla="*/ 14 h 36"/>
                  <a:gd name="T4" fmla="*/ 26 w 36"/>
                  <a:gd name="T5" fmla="*/ 22 h 36"/>
                  <a:gd name="T6" fmla="*/ 20 w 36"/>
                  <a:gd name="T7" fmla="*/ 22 h 36"/>
                  <a:gd name="T8" fmla="*/ 10 w 36"/>
                  <a:gd name="T9" fmla="*/ 32 h 36"/>
                  <a:gd name="T10" fmla="*/ 4 w 36"/>
                  <a:gd name="T11" fmla="*/ 18 h 36"/>
                  <a:gd name="T12" fmla="*/ 14 w 36"/>
                  <a:gd name="T13" fmla="*/ 6 h 36"/>
                  <a:gd name="T14" fmla="*/ 26 w 36"/>
                  <a:gd name="T15" fmla="*/ 4 h 36"/>
                  <a:gd name="T16" fmla="*/ 26 w 36"/>
                  <a:gd name="T17" fmla="*/ 0 h 36"/>
                  <a:gd name="T18" fmla="*/ 26 w 36"/>
                  <a:gd name="T19" fmla="*/ 0 h 36"/>
                  <a:gd name="T20" fmla="*/ 26 w 36"/>
                  <a:gd name="T21" fmla="*/ 0 h 36"/>
                  <a:gd name="T22" fmla="*/ 14 w 36"/>
                  <a:gd name="T23" fmla="*/ 2 h 36"/>
                  <a:gd name="T24" fmla="*/ 14 w 36"/>
                  <a:gd name="T25" fmla="*/ 2 h 36"/>
                  <a:gd name="T26" fmla="*/ 10 w 36"/>
                  <a:gd name="T27" fmla="*/ 2 h 36"/>
                  <a:gd name="T28" fmla="*/ 2 w 36"/>
                  <a:gd name="T29" fmla="*/ 16 h 36"/>
                  <a:gd name="T30" fmla="*/ 2 w 36"/>
                  <a:gd name="T31" fmla="*/ 16 h 36"/>
                  <a:gd name="T32" fmla="*/ 0 w 36"/>
                  <a:gd name="T33" fmla="*/ 18 h 36"/>
                  <a:gd name="T34" fmla="*/ 6 w 36"/>
                  <a:gd name="T35" fmla="*/ 34 h 36"/>
                  <a:gd name="T36" fmla="*/ 6 w 36"/>
                  <a:gd name="T37" fmla="*/ 34 h 36"/>
                  <a:gd name="T38" fmla="*/ 10 w 36"/>
                  <a:gd name="T39" fmla="*/ 36 h 36"/>
                  <a:gd name="T40" fmla="*/ 10 w 36"/>
                  <a:gd name="T41" fmla="*/ 36 h 36"/>
                  <a:gd name="T42" fmla="*/ 10 w 36"/>
                  <a:gd name="T43" fmla="*/ 36 h 36"/>
                  <a:gd name="T44" fmla="*/ 10 w 36"/>
                  <a:gd name="T45" fmla="*/ 36 h 36"/>
                  <a:gd name="T46" fmla="*/ 12 w 36"/>
                  <a:gd name="T47" fmla="*/ 34 h 36"/>
                  <a:gd name="T48" fmla="*/ 22 w 36"/>
                  <a:gd name="T49" fmla="*/ 26 h 36"/>
                  <a:gd name="T50" fmla="*/ 28 w 36"/>
                  <a:gd name="T51" fmla="*/ 24 h 36"/>
                  <a:gd name="T52" fmla="*/ 28 w 36"/>
                  <a:gd name="T53" fmla="*/ 24 h 36"/>
                  <a:gd name="T54" fmla="*/ 30 w 36"/>
                  <a:gd name="T55" fmla="*/ 24 h 36"/>
                  <a:gd name="T56" fmla="*/ 36 w 36"/>
                  <a:gd name="T57" fmla="*/ 16 h 36"/>
                  <a:gd name="T58" fmla="*/ 36 w 36"/>
                  <a:gd name="T59" fmla="*/ 16 h 36"/>
                  <a:gd name="T60" fmla="*/ 36 w 36"/>
                  <a:gd name="T61" fmla="*/ 14 h 36"/>
                  <a:gd name="T62" fmla="*/ 36 w 36"/>
                  <a:gd name="T63" fmla="*/ 12 h 36"/>
                  <a:gd name="T64" fmla="*/ 30 w 36"/>
                  <a:gd name="T65" fmla="*/ 2 h 36"/>
                  <a:gd name="T66" fmla="*/ 30 w 36"/>
                  <a:gd name="T67" fmla="*/ 2 h 36"/>
                  <a:gd name="T68" fmla="*/ 26 w 36"/>
                  <a:gd name="T69" fmla="*/ 0 h 36"/>
                  <a:gd name="T70" fmla="*/ 26 w 3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6">
                    <a:moveTo>
                      <a:pt x="26" y="4"/>
                    </a:moveTo>
                    <a:lnTo>
                      <a:pt x="32" y="14"/>
                    </a:lnTo>
                    <a:lnTo>
                      <a:pt x="26" y="22"/>
                    </a:lnTo>
                    <a:lnTo>
                      <a:pt x="20" y="22"/>
                    </a:lnTo>
                    <a:lnTo>
                      <a:pt x="10" y="32"/>
                    </a:lnTo>
                    <a:lnTo>
                      <a:pt x="4" y="18"/>
                    </a:lnTo>
                    <a:lnTo>
                      <a:pt x="14" y="6"/>
                    </a:lnTo>
                    <a:lnTo>
                      <a:pt x="26" y="4"/>
                    </a:lnTo>
                    <a:close/>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2" name="Freeform 493"/>
              <p:cNvSpPr>
                <a:spLocks/>
              </p:cNvSpPr>
              <p:nvPr/>
            </p:nvSpPr>
            <p:spPr bwMode="auto">
              <a:xfrm>
                <a:off x="3273" y="2539"/>
                <a:ext cx="28" cy="28"/>
              </a:xfrm>
              <a:custGeom>
                <a:avLst/>
                <a:gdLst>
                  <a:gd name="T0" fmla="*/ 22 w 28"/>
                  <a:gd name="T1" fmla="*/ 0 h 28"/>
                  <a:gd name="T2" fmla="*/ 28 w 28"/>
                  <a:gd name="T3" fmla="*/ 10 h 28"/>
                  <a:gd name="T4" fmla="*/ 22 w 28"/>
                  <a:gd name="T5" fmla="*/ 18 h 28"/>
                  <a:gd name="T6" fmla="*/ 16 w 28"/>
                  <a:gd name="T7" fmla="*/ 18 h 28"/>
                  <a:gd name="T8" fmla="*/ 6 w 28"/>
                  <a:gd name="T9" fmla="*/ 28 h 28"/>
                  <a:gd name="T10" fmla="*/ 0 w 28"/>
                  <a:gd name="T11" fmla="*/ 14 h 28"/>
                  <a:gd name="T12" fmla="*/ 10 w 28"/>
                  <a:gd name="T13" fmla="*/ 2 h 28"/>
                  <a:gd name="T14" fmla="*/ 22 w 28"/>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2" y="0"/>
                    </a:moveTo>
                    <a:lnTo>
                      <a:pt x="28" y="10"/>
                    </a:lnTo>
                    <a:lnTo>
                      <a:pt x="22" y="18"/>
                    </a:lnTo>
                    <a:lnTo>
                      <a:pt x="16" y="18"/>
                    </a:lnTo>
                    <a:lnTo>
                      <a:pt x="6" y="28"/>
                    </a:lnTo>
                    <a:lnTo>
                      <a:pt x="0" y="1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3" name="Freeform 494"/>
              <p:cNvSpPr>
                <a:spLocks/>
              </p:cNvSpPr>
              <p:nvPr/>
            </p:nvSpPr>
            <p:spPr bwMode="auto">
              <a:xfrm>
                <a:off x="3269" y="2535"/>
                <a:ext cx="36" cy="36"/>
              </a:xfrm>
              <a:custGeom>
                <a:avLst/>
                <a:gdLst>
                  <a:gd name="T0" fmla="*/ 26 w 36"/>
                  <a:gd name="T1" fmla="*/ 0 h 36"/>
                  <a:gd name="T2" fmla="*/ 26 w 36"/>
                  <a:gd name="T3" fmla="*/ 0 h 36"/>
                  <a:gd name="T4" fmla="*/ 26 w 36"/>
                  <a:gd name="T5" fmla="*/ 0 h 36"/>
                  <a:gd name="T6" fmla="*/ 14 w 36"/>
                  <a:gd name="T7" fmla="*/ 2 h 36"/>
                  <a:gd name="T8" fmla="*/ 14 w 36"/>
                  <a:gd name="T9" fmla="*/ 2 h 36"/>
                  <a:gd name="T10" fmla="*/ 10 w 36"/>
                  <a:gd name="T11" fmla="*/ 2 h 36"/>
                  <a:gd name="T12" fmla="*/ 2 w 36"/>
                  <a:gd name="T13" fmla="*/ 16 h 36"/>
                  <a:gd name="T14" fmla="*/ 2 w 36"/>
                  <a:gd name="T15" fmla="*/ 16 h 36"/>
                  <a:gd name="T16" fmla="*/ 0 w 36"/>
                  <a:gd name="T17" fmla="*/ 18 h 36"/>
                  <a:gd name="T18" fmla="*/ 6 w 36"/>
                  <a:gd name="T19" fmla="*/ 34 h 36"/>
                  <a:gd name="T20" fmla="*/ 6 w 36"/>
                  <a:gd name="T21" fmla="*/ 34 h 36"/>
                  <a:gd name="T22" fmla="*/ 10 w 36"/>
                  <a:gd name="T23" fmla="*/ 36 h 36"/>
                  <a:gd name="T24" fmla="*/ 10 w 36"/>
                  <a:gd name="T25" fmla="*/ 36 h 36"/>
                  <a:gd name="T26" fmla="*/ 10 w 36"/>
                  <a:gd name="T27" fmla="*/ 36 h 36"/>
                  <a:gd name="T28" fmla="*/ 10 w 36"/>
                  <a:gd name="T29" fmla="*/ 36 h 36"/>
                  <a:gd name="T30" fmla="*/ 12 w 36"/>
                  <a:gd name="T31" fmla="*/ 34 h 36"/>
                  <a:gd name="T32" fmla="*/ 22 w 36"/>
                  <a:gd name="T33" fmla="*/ 26 h 36"/>
                  <a:gd name="T34" fmla="*/ 28 w 36"/>
                  <a:gd name="T35" fmla="*/ 24 h 36"/>
                  <a:gd name="T36" fmla="*/ 28 w 36"/>
                  <a:gd name="T37" fmla="*/ 24 h 36"/>
                  <a:gd name="T38" fmla="*/ 30 w 36"/>
                  <a:gd name="T39" fmla="*/ 24 h 36"/>
                  <a:gd name="T40" fmla="*/ 36 w 36"/>
                  <a:gd name="T41" fmla="*/ 16 h 36"/>
                  <a:gd name="T42" fmla="*/ 36 w 36"/>
                  <a:gd name="T43" fmla="*/ 16 h 36"/>
                  <a:gd name="T44" fmla="*/ 36 w 36"/>
                  <a:gd name="T45" fmla="*/ 14 h 36"/>
                  <a:gd name="T46" fmla="*/ 36 w 36"/>
                  <a:gd name="T47" fmla="*/ 12 h 36"/>
                  <a:gd name="T48" fmla="*/ 30 w 36"/>
                  <a:gd name="T49" fmla="*/ 2 h 36"/>
                  <a:gd name="T50" fmla="*/ 30 w 36"/>
                  <a:gd name="T51" fmla="*/ 2 h 36"/>
                  <a:gd name="T52" fmla="*/ 26 w 36"/>
                  <a:gd name="T53" fmla="*/ 0 h 36"/>
                  <a:gd name="T54" fmla="*/ 26 w 36"/>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6">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4" name="Freeform 495"/>
              <p:cNvSpPr>
                <a:spLocks/>
              </p:cNvSpPr>
              <p:nvPr/>
            </p:nvSpPr>
            <p:spPr bwMode="auto">
              <a:xfrm>
                <a:off x="3283" y="2463"/>
                <a:ext cx="76" cy="78"/>
              </a:xfrm>
              <a:custGeom>
                <a:avLst/>
                <a:gdLst>
                  <a:gd name="T0" fmla="*/ 32 w 76"/>
                  <a:gd name="T1" fmla="*/ 76 h 78"/>
                  <a:gd name="T2" fmla="*/ 14 w 76"/>
                  <a:gd name="T3" fmla="*/ 76 h 78"/>
                  <a:gd name="T4" fmla="*/ 14 w 76"/>
                  <a:gd name="T5" fmla="*/ 76 h 78"/>
                  <a:gd name="T6" fmla="*/ 2 w 76"/>
                  <a:gd name="T7" fmla="*/ 78 h 78"/>
                  <a:gd name="T8" fmla="*/ 2 w 76"/>
                  <a:gd name="T9" fmla="*/ 78 h 78"/>
                  <a:gd name="T10" fmla="*/ 0 w 76"/>
                  <a:gd name="T11" fmla="*/ 76 h 78"/>
                  <a:gd name="T12" fmla="*/ 0 w 76"/>
                  <a:gd name="T13" fmla="*/ 76 h 78"/>
                  <a:gd name="T14" fmla="*/ 0 w 76"/>
                  <a:gd name="T15" fmla="*/ 76 h 78"/>
                  <a:gd name="T16" fmla="*/ 2 w 76"/>
                  <a:gd name="T17" fmla="*/ 58 h 78"/>
                  <a:gd name="T18" fmla="*/ 4 w 76"/>
                  <a:gd name="T19" fmla="*/ 48 h 78"/>
                  <a:gd name="T20" fmla="*/ 4 w 76"/>
                  <a:gd name="T21" fmla="*/ 48 h 78"/>
                  <a:gd name="T22" fmla="*/ 6 w 76"/>
                  <a:gd name="T23" fmla="*/ 46 h 78"/>
                  <a:gd name="T24" fmla="*/ 22 w 76"/>
                  <a:gd name="T25" fmla="*/ 32 h 78"/>
                  <a:gd name="T26" fmla="*/ 22 w 76"/>
                  <a:gd name="T27" fmla="*/ 30 h 78"/>
                  <a:gd name="T28" fmla="*/ 18 w 76"/>
                  <a:gd name="T29" fmla="*/ 28 h 78"/>
                  <a:gd name="T30" fmla="*/ 18 w 76"/>
                  <a:gd name="T31" fmla="*/ 28 h 78"/>
                  <a:gd name="T32" fmla="*/ 16 w 76"/>
                  <a:gd name="T33" fmla="*/ 28 h 78"/>
                  <a:gd name="T34" fmla="*/ 14 w 76"/>
                  <a:gd name="T35" fmla="*/ 6 h 78"/>
                  <a:gd name="T36" fmla="*/ 14 w 76"/>
                  <a:gd name="T37" fmla="*/ 6 h 78"/>
                  <a:gd name="T38" fmla="*/ 14 w 76"/>
                  <a:gd name="T39" fmla="*/ 4 h 78"/>
                  <a:gd name="T40" fmla="*/ 14 w 76"/>
                  <a:gd name="T41" fmla="*/ 4 h 78"/>
                  <a:gd name="T42" fmla="*/ 16 w 76"/>
                  <a:gd name="T43" fmla="*/ 4 h 78"/>
                  <a:gd name="T44" fmla="*/ 16 w 76"/>
                  <a:gd name="T45" fmla="*/ 4 h 78"/>
                  <a:gd name="T46" fmla="*/ 60 w 76"/>
                  <a:gd name="T47" fmla="*/ 0 h 78"/>
                  <a:gd name="T48" fmla="*/ 60 w 76"/>
                  <a:gd name="T49" fmla="*/ 0 h 78"/>
                  <a:gd name="T50" fmla="*/ 62 w 76"/>
                  <a:gd name="T51" fmla="*/ 2 h 78"/>
                  <a:gd name="T52" fmla="*/ 72 w 76"/>
                  <a:gd name="T53" fmla="*/ 18 h 78"/>
                  <a:gd name="T54" fmla="*/ 76 w 76"/>
                  <a:gd name="T55" fmla="*/ 38 h 78"/>
                  <a:gd name="T56" fmla="*/ 76 w 76"/>
                  <a:gd name="T57" fmla="*/ 38 h 78"/>
                  <a:gd name="T58" fmla="*/ 76 w 76"/>
                  <a:gd name="T59" fmla="*/ 40 h 78"/>
                  <a:gd name="T60" fmla="*/ 64 w 76"/>
                  <a:gd name="T61" fmla="*/ 54 h 78"/>
                  <a:gd name="T62" fmla="*/ 68 w 76"/>
                  <a:gd name="T63" fmla="*/ 64 h 78"/>
                  <a:gd name="T64" fmla="*/ 68 w 76"/>
                  <a:gd name="T65" fmla="*/ 64 h 78"/>
                  <a:gd name="T66" fmla="*/ 68 w 76"/>
                  <a:gd name="T67" fmla="*/ 66 h 78"/>
                  <a:gd name="T68" fmla="*/ 62 w 76"/>
                  <a:gd name="T69" fmla="*/ 76 h 78"/>
                  <a:gd name="T70" fmla="*/ 62 w 76"/>
                  <a:gd name="T71" fmla="*/ 76 h 78"/>
                  <a:gd name="T72" fmla="*/ 60 w 76"/>
                  <a:gd name="T73" fmla="*/ 78 h 78"/>
                  <a:gd name="T74" fmla="*/ 60 w 76"/>
                  <a:gd name="T75" fmla="*/ 78 h 78"/>
                  <a:gd name="T76" fmla="*/ 32 w 76"/>
                  <a:gd name="T77" fmla="*/ 76 h 78"/>
                  <a:gd name="T78" fmla="*/ 32 w 76"/>
                  <a:gd name="T79"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6" h="78">
                    <a:moveTo>
                      <a:pt x="32" y="76"/>
                    </a:moveTo>
                    <a:lnTo>
                      <a:pt x="14" y="76"/>
                    </a:lnTo>
                    <a:lnTo>
                      <a:pt x="14" y="76"/>
                    </a:lnTo>
                    <a:lnTo>
                      <a:pt x="2" y="78"/>
                    </a:lnTo>
                    <a:lnTo>
                      <a:pt x="2" y="78"/>
                    </a:lnTo>
                    <a:lnTo>
                      <a:pt x="0" y="76"/>
                    </a:lnTo>
                    <a:lnTo>
                      <a:pt x="0" y="76"/>
                    </a:lnTo>
                    <a:lnTo>
                      <a:pt x="0" y="76"/>
                    </a:lnTo>
                    <a:lnTo>
                      <a:pt x="2" y="58"/>
                    </a:lnTo>
                    <a:lnTo>
                      <a:pt x="4" y="48"/>
                    </a:lnTo>
                    <a:lnTo>
                      <a:pt x="4" y="48"/>
                    </a:lnTo>
                    <a:lnTo>
                      <a:pt x="6" y="46"/>
                    </a:lnTo>
                    <a:lnTo>
                      <a:pt x="22" y="32"/>
                    </a:lnTo>
                    <a:lnTo>
                      <a:pt x="22" y="30"/>
                    </a:lnTo>
                    <a:lnTo>
                      <a:pt x="18" y="28"/>
                    </a:lnTo>
                    <a:lnTo>
                      <a:pt x="18" y="28"/>
                    </a:lnTo>
                    <a:lnTo>
                      <a:pt x="16" y="28"/>
                    </a:lnTo>
                    <a:lnTo>
                      <a:pt x="14" y="6"/>
                    </a:lnTo>
                    <a:lnTo>
                      <a:pt x="14" y="6"/>
                    </a:lnTo>
                    <a:lnTo>
                      <a:pt x="14" y="4"/>
                    </a:lnTo>
                    <a:lnTo>
                      <a:pt x="14" y="4"/>
                    </a:lnTo>
                    <a:lnTo>
                      <a:pt x="16" y="4"/>
                    </a:lnTo>
                    <a:lnTo>
                      <a:pt x="16" y="4"/>
                    </a:lnTo>
                    <a:lnTo>
                      <a:pt x="60" y="0"/>
                    </a:lnTo>
                    <a:lnTo>
                      <a:pt x="60" y="0"/>
                    </a:lnTo>
                    <a:lnTo>
                      <a:pt x="62" y="2"/>
                    </a:lnTo>
                    <a:lnTo>
                      <a:pt x="72" y="18"/>
                    </a:lnTo>
                    <a:lnTo>
                      <a:pt x="76" y="38"/>
                    </a:lnTo>
                    <a:lnTo>
                      <a:pt x="76" y="38"/>
                    </a:lnTo>
                    <a:lnTo>
                      <a:pt x="76" y="40"/>
                    </a:lnTo>
                    <a:lnTo>
                      <a:pt x="64" y="54"/>
                    </a:lnTo>
                    <a:lnTo>
                      <a:pt x="68" y="64"/>
                    </a:lnTo>
                    <a:lnTo>
                      <a:pt x="68" y="64"/>
                    </a:lnTo>
                    <a:lnTo>
                      <a:pt x="68" y="66"/>
                    </a:lnTo>
                    <a:lnTo>
                      <a:pt x="62" y="76"/>
                    </a:lnTo>
                    <a:lnTo>
                      <a:pt x="62" y="76"/>
                    </a:lnTo>
                    <a:lnTo>
                      <a:pt x="60" y="78"/>
                    </a:lnTo>
                    <a:lnTo>
                      <a:pt x="60" y="78"/>
                    </a:lnTo>
                    <a:lnTo>
                      <a:pt x="32" y="76"/>
                    </a:lnTo>
                    <a:lnTo>
                      <a:pt x="32"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5" name="Freeform 496"/>
              <p:cNvSpPr>
                <a:spLocks noEditPoints="1"/>
              </p:cNvSpPr>
              <p:nvPr/>
            </p:nvSpPr>
            <p:spPr bwMode="auto">
              <a:xfrm>
                <a:off x="3281" y="2461"/>
                <a:ext cx="80" cy="82"/>
              </a:xfrm>
              <a:custGeom>
                <a:avLst/>
                <a:gdLst>
                  <a:gd name="T0" fmla="*/ 62 w 80"/>
                  <a:gd name="T1" fmla="*/ 4 h 82"/>
                  <a:gd name="T2" fmla="*/ 72 w 80"/>
                  <a:gd name="T3" fmla="*/ 22 h 82"/>
                  <a:gd name="T4" fmla="*/ 76 w 80"/>
                  <a:gd name="T5" fmla="*/ 42 h 82"/>
                  <a:gd name="T6" fmla="*/ 64 w 80"/>
                  <a:gd name="T7" fmla="*/ 54 h 82"/>
                  <a:gd name="T8" fmla="*/ 68 w 80"/>
                  <a:gd name="T9" fmla="*/ 68 h 82"/>
                  <a:gd name="T10" fmla="*/ 62 w 80"/>
                  <a:gd name="T11" fmla="*/ 78 h 82"/>
                  <a:gd name="T12" fmla="*/ 34 w 80"/>
                  <a:gd name="T13" fmla="*/ 76 h 82"/>
                  <a:gd name="T14" fmla="*/ 16 w 80"/>
                  <a:gd name="T15" fmla="*/ 76 h 82"/>
                  <a:gd name="T16" fmla="*/ 4 w 80"/>
                  <a:gd name="T17" fmla="*/ 78 h 82"/>
                  <a:gd name="T18" fmla="*/ 6 w 80"/>
                  <a:gd name="T19" fmla="*/ 60 h 82"/>
                  <a:gd name="T20" fmla="*/ 8 w 80"/>
                  <a:gd name="T21" fmla="*/ 50 h 82"/>
                  <a:gd name="T22" fmla="*/ 26 w 80"/>
                  <a:gd name="T23" fmla="*/ 34 h 82"/>
                  <a:gd name="T24" fmla="*/ 26 w 80"/>
                  <a:gd name="T25" fmla="*/ 30 h 82"/>
                  <a:gd name="T26" fmla="*/ 20 w 80"/>
                  <a:gd name="T27" fmla="*/ 28 h 82"/>
                  <a:gd name="T28" fmla="*/ 18 w 80"/>
                  <a:gd name="T29" fmla="*/ 8 h 82"/>
                  <a:gd name="T30" fmla="*/ 62 w 80"/>
                  <a:gd name="T31" fmla="*/ 4 h 82"/>
                  <a:gd name="T32" fmla="*/ 62 w 80"/>
                  <a:gd name="T33" fmla="*/ 0 h 82"/>
                  <a:gd name="T34" fmla="*/ 62 w 80"/>
                  <a:gd name="T35" fmla="*/ 0 h 82"/>
                  <a:gd name="T36" fmla="*/ 60 w 80"/>
                  <a:gd name="T37" fmla="*/ 0 h 82"/>
                  <a:gd name="T38" fmla="*/ 16 w 80"/>
                  <a:gd name="T39" fmla="*/ 4 h 82"/>
                  <a:gd name="T40" fmla="*/ 16 w 80"/>
                  <a:gd name="T41" fmla="*/ 4 h 82"/>
                  <a:gd name="T42" fmla="*/ 14 w 80"/>
                  <a:gd name="T43" fmla="*/ 6 h 82"/>
                  <a:gd name="T44" fmla="*/ 14 w 80"/>
                  <a:gd name="T45" fmla="*/ 6 h 82"/>
                  <a:gd name="T46" fmla="*/ 14 w 80"/>
                  <a:gd name="T47" fmla="*/ 8 h 82"/>
                  <a:gd name="T48" fmla="*/ 16 w 80"/>
                  <a:gd name="T49" fmla="*/ 30 h 82"/>
                  <a:gd name="T50" fmla="*/ 16 w 80"/>
                  <a:gd name="T51" fmla="*/ 30 h 82"/>
                  <a:gd name="T52" fmla="*/ 20 w 80"/>
                  <a:gd name="T53" fmla="*/ 32 h 82"/>
                  <a:gd name="T54" fmla="*/ 20 w 80"/>
                  <a:gd name="T55" fmla="*/ 34 h 82"/>
                  <a:gd name="T56" fmla="*/ 6 w 80"/>
                  <a:gd name="T57" fmla="*/ 46 h 82"/>
                  <a:gd name="T58" fmla="*/ 6 w 80"/>
                  <a:gd name="T59" fmla="*/ 46 h 82"/>
                  <a:gd name="T60" fmla="*/ 6 w 80"/>
                  <a:gd name="T61" fmla="*/ 48 h 82"/>
                  <a:gd name="T62" fmla="*/ 2 w 80"/>
                  <a:gd name="T63" fmla="*/ 58 h 82"/>
                  <a:gd name="T64" fmla="*/ 2 w 80"/>
                  <a:gd name="T65" fmla="*/ 58 h 82"/>
                  <a:gd name="T66" fmla="*/ 2 w 80"/>
                  <a:gd name="T67" fmla="*/ 60 h 82"/>
                  <a:gd name="T68" fmla="*/ 0 w 80"/>
                  <a:gd name="T69" fmla="*/ 78 h 82"/>
                  <a:gd name="T70" fmla="*/ 0 w 80"/>
                  <a:gd name="T71" fmla="*/ 78 h 82"/>
                  <a:gd name="T72" fmla="*/ 2 w 80"/>
                  <a:gd name="T73" fmla="*/ 80 h 82"/>
                  <a:gd name="T74" fmla="*/ 2 w 80"/>
                  <a:gd name="T75" fmla="*/ 80 h 82"/>
                  <a:gd name="T76" fmla="*/ 4 w 80"/>
                  <a:gd name="T77" fmla="*/ 82 h 82"/>
                  <a:gd name="T78" fmla="*/ 4 w 80"/>
                  <a:gd name="T79" fmla="*/ 82 h 82"/>
                  <a:gd name="T80" fmla="*/ 4 w 80"/>
                  <a:gd name="T81" fmla="*/ 82 h 82"/>
                  <a:gd name="T82" fmla="*/ 16 w 80"/>
                  <a:gd name="T83" fmla="*/ 80 h 82"/>
                  <a:gd name="T84" fmla="*/ 34 w 80"/>
                  <a:gd name="T85" fmla="*/ 80 h 82"/>
                  <a:gd name="T86" fmla="*/ 62 w 80"/>
                  <a:gd name="T87" fmla="*/ 82 h 82"/>
                  <a:gd name="T88" fmla="*/ 62 w 80"/>
                  <a:gd name="T89" fmla="*/ 82 h 82"/>
                  <a:gd name="T90" fmla="*/ 62 w 80"/>
                  <a:gd name="T91" fmla="*/ 82 h 82"/>
                  <a:gd name="T92" fmla="*/ 62 w 80"/>
                  <a:gd name="T93" fmla="*/ 82 h 82"/>
                  <a:gd name="T94" fmla="*/ 66 w 80"/>
                  <a:gd name="T95" fmla="*/ 80 h 82"/>
                  <a:gd name="T96" fmla="*/ 66 w 80"/>
                  <a:gd name="T97" fmla="*/ 80 h 82"/>
                  <a:gd name="T98" fmla="*/ 72 w 80"/>
                  <a:gd name="T99" fmla="*/ 68 h 82"/>
                  <a:gd name="T100" fmla="*/ 72 w 80"/>
                  <a:gd name="T101" fmla="*/ 68 h 82"/>
                  <a:gd name="T102" fmla="*/ 72 w 80"/>
                  <a:gd name="T103" fmla="*/ 66 h 82"/>
                  <a:gd name="T104" fmla="*/ 70 w 80"/>
                  <a:gd name="T105" fmla="*/ 56 h 82"/>
                  <a:gd name="T106" fmla="*/ 80 w 80"/>
                  <a:gd name="T107" fmla="*/ 44 h 82"/>
                  <a:gd name="T108" fmla="*/ 80 w 80"/>
                  <a:gd name="T109" fmla="*/ 44 h 82"/>
                  <a:gd name="T110" fmla="*/ 80 w 80"/>
                  <a:gd name="T111" fmla="*/ 40 h 82"/>
                  <a:gd name="T112" fmla="*/ 76 w 80"/>
                  <a:gd name="T113" fmla="*/ 20 h 82"/>
                  <a:gd name="T114" fmla="*/ 76 w 80"/>
                  <a:gd name="T115" fmla="*/ 20 h 82"/>
                  <a:gd name="T116" fmla="*/ 74 w 80"/>
                  <a:gd name="T117" fmla="*/ 20 h 82"/>
                  <a:gd name="T118" fmla="*/ 64 w 80"/>
                  <a:gd name="T119" fmla="*/ 2 h 82"/>
                  <a:gd name="T120" fmla="*/ 64 w 80"/>
                  <a:gd name="T121" fmla="*/ 2 h 82"/>
                  <a:gd name="T122" fmla="*/ 62 w 80"/>
                  <a:gd name="T123" fmla="*/ 0 h 82"/>
                  <a:gd name="T124" fmla="*/ 62 w 80"/>
                  <a:gd name="T1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2">
                    <a:moveTo>
                      <a:pt x="62" y="4"/>
                    </a:moveTo>
                    <a:lnTo>
                      <a:pt x="72" y="22"/>
                    </a:lnTo>
                    <a:lnTo>
                      <a:pt x="76" y="42"/>
                    </a:lnTo>
                    <a:lnTo>
                      <a:pt x="64" y="54"/>
                    </a:lnTo>
                    <a:lnTo>
                      <a:pt x="68" y="68"/>
                    </a:lnTo>
                    <a:lnTo>
                      <a:pt x="62" y="78"/>
                    </a:lnTo>
                    <a:lnTo>
                      <a:pt x="34" y="76"/>
                    </a:lnTo>
                    <a:lnTo>
                      <a:pt x="16" y="76"/>
                    </a:lnTo>
                    <a:lnTo>
                      <a:pt x="4" y="78"/>
                    </a:lnTo>
                    <a:lnTo>
                      <a:pt x="6" y="60"/>
                    </a:lnTo>
                    <a:lnTo>
                      <a:pt x="8" y="50"/>
                    </a:lnTo>
                    <a:lnTo>
                      <a:pt x="26" y="34"/>
                    </a:lnTo>
                    <a:lnTo>
                      <a:pt x="26" y="30"/>
                    </a:lnTo>
                    <a:lnTo>
                      <a:pt x="20" y="28"/>
                    </a:lnTo>
                    <a:lnTo>
                      <a:pt x="18" y="8"/>
                    </a:lnTo>
                    <a:lnTo>
                      <a:pt x="62" y="4"/>
                    </a:lnTo>
                    <a:close/>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6" name="Freeform 497"/>
              <p:cNvSpPr>
                <a:spLocks/>
              </p:cNvSpPr>
              <p:nvPr/>
            </p:nvSpPr>
            <p:spPr bwMode="auto">
              <a:xfrm>
                <a:off x="3285" y="2465"/>
                <a:ext cx="72" cy="74"/>
              </a:xfrm>
              <a:custGeom>
                <a:avLst/>
                <a:gdLst>
                  <a:gd name="T0" fmla="*/ 58 w 72"/>
                  <a:gd name="T1" fmla="*/ 0 h 74"/>
                  <a:gd name="T2" fmla="*/ 68 w 72"/>
                  <a:gd name="T3" fmla="*/ 18 h 74"/>
                  <a:gd name="T4" fmla="*/ 72 w 72"/>
                  <a:gd name="T5" fmla="*/ 38 h 74"/>
                  <a:gd name="T6" fmla="*/ 60 w 72"/>
                  <a:gd name="T7" fmla="*/ 50 h 74"/>
                  <a:gd name="T8" fmla="*/ 64 w 72"/>
                  <a:gd name="T9" fmla="*/ 64 h 74"/>
                  <a:gd name="T10" fmla="*/ 58 w 72"/>
                  <a:gd name="T11" fmla="*/ 74 h 74"/>
                  <a:gd name="T12" fmla="*/ 30 w 72"/>
                  <a:gd name="T13" fmla="*/ 72 h 74"/>
                  <a:gd name="T14" fmla="*/ 12 w 72"/>
                  <a:gd name="T15" fmla="*/ 72 h 74"/>
                  <a:gd name="T16" fmla="*/ 0 w 72"/>
                  <a:gd name="T17" fmla="*/ 74 h 74"/>
                  <a:gd name="T18" fmla="*/ 2 w 72"/>
                  <a:gd name="T19" fmla="*/ 56 h 74"/>
                  <a:gd name="T20" fmla="*/ 4 w 72"/>
                  <a:gd name="T21" fmla="*/ 46 h 74"/>
                  <a:gd name="T22" fmla="*/ 22 w 72"/>
                  <a:gd name="T23" fmla="*/ 30 h 74"/>
                  <a:gd name="T24" fmla="*/ 22 w 72"/>
                  <a:gd name="T25" fmla="*/ 26 h 74"/>
                  <a:gd name="T26" fmla="*/ 16 w 72"/>
                  <a:gd name="T27" fmla="*/ 24 h 74"/>
                  <a:gd name="T28" fmla="*/ 14 w 72"/>
                  <a:gd name="T29" fmla="*/ 4 h 74"/>
                  <a:gd name="T30" fmla="*/ 58 w 72"/>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74">
                    <a:moveTo>
                      <a:pt x="58" y="0"/>
                    </a:moveTo>
                    <a:lnTo>
                      <a:pt x="68" y="18"/>
                    </a:lnTo>
                    <a:lnTo>
                      <a:pt x="72" y="38"/>
                    </a:lnTo>
                    <a:lnTo>
                      <a:pt x="60" y="50"/>
                    </a:lnTo>
                    <a:lnTo>
                      <a:pt x="64" y="64"/>
                    </a:lnTo>
                    <a:lnTo>
                      <a:pt x="58" y="74"/>
                    </a:lnTo>
                    <a:lnTo>
                      <a:pt x="30" y="72"/>
                    </a:lnTo>
                    <a:lnTo>
                      <a:pt x="12" y="72"/>
                    </a:lnTo>
                    <a:lnTo>
                      <a:pt x="0" y="74"/>
                    </a:lnTo>
                    <a:lnTo>
                      <a:pt x="2" y="56"/>
                    </a:lnTo>
                    <a:lnTo>
                      <a:pt x="4" y="46"/>
                    </a:lnTo>
                    <a:lnTo>
                      <a:pt x="22" y="30"/>
                    </a:lnTo>
                    <a:lnTo>
                      <a:pt x="22" y="26"/>
                    </a:lnTo>
                    <a:lnTo>
                      <a:pt x="16" y="24"/>
                    </a:lnTo>
                    <a:lnTo>
                      <a:pt x="14" y="4"/>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7" name="Freeform 498"/>
              <p:cNvSpPr>
                <a:spLocks/>
              </p:cNvSpPr>
              <p:nvPr/>
            </p:nvSpPr>
            <p:spPr bwMode="auto">
              <a:xfrm>
                <a:off x="3281" y="2461"/>
                <a:ext cx="80" cy="82"/>
              </a:xfrm>
              <a:custGeom>
                <a:avLst/>
                <a:gdLst>
                  <a:gd name="T0" fmla="*/ 62 w 80"/>
                  <a:gd name="T1" fmla="*/ 0 h 82"/>
                  <a:gd name="T2" fmla="*/ 62 w 80"/>
                  <a:gd name="T3" fmla="*/ 0 h 82"/>
                  <a:gd name="T4" fmla="*/ 60 w 80"/>
                  <a:gd name="T5" fmla="*/ 0 h 82"/>
                  <a:gd name="T6" fmla="*/ 16 w 80"/>
                  <a:gd name="T7" fmla="*/ 4 h 82"/>
                  <a:gd name="T8" fmla="*/ 16 w 80"/>
                  <a:gd name="T9" fmla="*/ 4 h 82"/>
                  <a:gd name="T10" fmla="*/ 14 w 80"/>
                  <a:gd name="T11" fmla="*/ 6 h 82"/>
                  <a:gd name="T12" fmla="*/ 14 w 80"/>
                  <a:gd name="T13" fmla="*/ 6 h 82"/>
                  <a:gd name="T14" fmla="*/ 14 w 80"/>
                  <a:gd name="T15" fmla="*/ 8 h 82"/>
                  <a:gd name="T16" fmla="*/ 16 w 80"/>
                  <a:gd name="T17" fmla="*/ 30 h 82"/>
                  <a:gd name="T18" fmla="*/ 16 w 80"/>
                  <a:gd name="T19" fmla="*/ 30 h 82"/>
                  <a:gd name="T20" fmla="*/ 20 w 80"/>
                  <a:gd name="T21" fmla="*/ 32 h 82"/>
                  <a:gd name="T22" fmla="*/ 20 w 80"/>
                  <a:gd name="T23" fmla="*/ 34 h 82"/>
                  <a:gd name="T24" fmla="*/ 6 w 80"/>
                  <a:gd name="T25" fmla="*/ 46 h 82"/>
                  <a:gd name="T26" fmla="*/ 6 w 80"/>
                  <a:gd name="T27" fmla="*/ 46 h 82"/>
                  <a:gd name="T28" fmla="*/ 6 w 80"/>
                  <a:gd name="T29" fmla="*/ 48 h 82"/>
                  <a:gd name="T30" fmla="*/ 2 w 80"/>
                  <a:gd name="T31" fmla="*/ 58 h 82"/>
                  <a:gd name="T32" fmla="*/ 2 w 80"/>
                  <a:gd name="T33" fmla="*/ 58 h 82"/>
                  <a:gd name="T34" fmla="*/ 2 w 80"/>
                  <a:gd name="T35" fmla="*/ 60 h 82"/>
                  <a:gd name="T36" fmla="*/ 0 w 80"/>
                  <a:gd name="T37" fmla="*/ 78 h 82"/>
                  <a:gd name="T38" fmla="*/ 0 w 80"/>
                  <a:gd name="T39" fmla="*/ 78 h 82"/>
                  <a:gd name="T40" fmla="*/ 2 w 80"/>
                  <a:gd name="T41" fmla="*/ 80 h 82"/>
                  <a:gd name="T42" fmla="*/ 2 w 80"/>
                  <a:gd name="T43" fmla="*/ 80 h 82"/>
                  <a:gd name="T44" fmla="*/ 4 w 80"/>
                  <a:gd name="T45" fmla="*/ 82 h 82"/>
                  <a:gd name="T46" fmla="*/ 4 w 80"/>
                  <a:gd name="T47" fmla="*/ 82 h 82"/>
                  <a:gd name="T48" fmla="*/ 4 w 80"/>
                  <a:gd name="T49" fmla="*/ 82 h 82"/>
                  <a:gd name="T50" fmla="*/ 16 w 80"/>
                  <a:gd name="T51" fmla="*/ 80 h 82"/>
                  <a:gd name="T52" fmla="*/ 34 w 80"/>
                  <a:gd name="T53" fmla="*/ 80 h 82"/>
                  <a:gd name="T54" fmla="*/ 62 w 80"/>
                  <a:gd name="T55" fmla="*/ 82 h 82"/>
                  <a:gd name="T56" fmla="*/ 62 w 80"/>
                  <a:gd name="T57" fmla="*/ 82 h 82"/>
                  <a:gd name="T58" fmla="*/ 62 w 80"/>
                  <a:gd name="T59" fmla="*/ 82 h 82"/>
                  <a:gd name="T60" fmla="*/ 62 w 80"/>
                  <a:gd name="T61" fmla="*/ 82 h 82"/>
                  <a:gd name="T62" fmla="*/ 66 w 80"/>
                  <a:gd name="T63" fmla="*/ 80 h 82"/>
                  <a:gd name="T64" fmla="*/ 66 w 80"/>
                  <a:gd name="T65" fmla="*/ 80 h 82"/>
                  <a:gd name="T66" fmla="*/ 72 w 80"/>
                  <a:gd name="T67" fmla="*/ 68 h 82"/>
                  <a:gd name="T68" fmla="*/ 72 w 80"/>
                  <a:gd name="T69" fmla="*/ 68 h 82"/>
                  <a:gd name="T70" fmla="*/ 72 w 80"/>
                  <a:gd name="T71" fmla="*/ 66 h 82"/>
                  <a:gd name="T72" fmla="*/ 70 w 80"/>
                  <a:gd name="T73" fmla="*/ 56 h 82"/>
                  <a:gd name="T74" fmla="*/ 80 w 80"/>
                  <a:gd name="T75" fmla="*/ 44 h 82"/>
                  <a:gd name="T76" fmla="*/ 80 w 80"/>
                  <a:gd name="T77" fmla="*/ 44 h 82"/>
                  <a:gd name="T78" fmla="*/ 80 w 80"/>
                  <a:gd name="T79" fmla="*/ 40 h 82"/>
                  <a:gd name="T80" fmla="*/ 76 w 80"/>
                  <a:gd name="T81" fmla="*/ 20 h 82"/>
                  <a:gd name="T82" fmla="*/ 76 w 80"/>
                  <a:gd name="T83" fmla="*/ 20 h 82"/>
                  <a:gd name="T84" fmla="*/ 74 w 80"/>
                  <a:gd name="T85" fmla="*/ 20 h 82"/>
                  <a:gd name="T86" fmla="*/ 64 w 80"/>
                  <a:gd name="T87" fmla="*/ 2 h 82"/>
                  <a:gd name="T88" fmla="*/ 64 w 80"/>
                  <a:gd name="T89" fmla="*/ 2 h 82"/>
                  <a:gd name="T90" fmla="*/ 62 w 80"/>
                  <a:gd name="T91" fmla="*/ 0 h 82"/>
                  <a:gd name="T92" fmla="*/ 62 w 8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82">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8" name="Freeform 499"/>
              <p:cNvSpPr>
                <a:spLocks/>
              </p:cNvSpPr>
              <p:nvPr/>
            </p:nvSpPr>
            <p:spPr bwMode="auto">
              <a:xfrm>
                <a:off x="3031" y="2603"/>
                <a:ext cx="194" cy="190"/>
              </a:xfrm>
              <a:custGeom>
                <a:avLst/>
                <a:gdLst>
                  <a:gd name="T0" fmla="*/ 166 w 194"/>
                  <a:gd name="T1" fmla="*/ 190 h 190"/>
                  <a:gd name="T2" fmla="*/ 160 w 194"/>
                  <a:gd name="T3" fmla="*/ 182 h 190"/>
                  <a:gd name="T4" fmla="*/ 130 w 194"/>
                  <a:gd name="T5" fmla="*/ 186 h 190"/>
                  <a:gd name="T6" fmla="*/ 130 w 194"/>
                  <a:gd name="T7" fmla="*/ 186 h 190"/>
                  <a:gd name="T8" fmla="*/ 98 w 194"/>
                  <a:gd name="T9" fmla="*/ 180 h 190"/>
                  <a:gd name="T10" fmla="*/ 96 w 194"/>
                  <a:gd name="T11" fmla="*/ 178 h 190"/>
                  <a:gd name="T12" fmla="*/ 2 w 194"/>
                  <a:gd name="T13" fmla="*/ 174 h 190"/>
                  <a:gd name="T14" fmla="*/ 0 w 194"/>
                  <a:gd name="T15" fmla="*/ 172 h 190"/>
                  <a:gd name="T16" fmla="*/ 8 w 194"/>
                  <a:gd name="T17" fmla="*/ 116 h 190"/>
                  <a:gd name="T18" fmla="*/ 26 w 194"/>
                  <a:gd name="T19" fmla="*/ 74 h 190"/>
                  <a:gd name="T20" fmla="*/ 14 w 194"/>
                  <a:gd name="T21" fmla="*/ 50 h 190"/>
                  <a:gd name="T22" fmla="*/ 18 w 194"/>
                  <a:gd name="T23" fmla="*/ 38 h 190"/>
                  <a:gd name="T24" fmla="*/ 0 w 194"/>
                  <a:gd name="T25" fmla="*/ 6 h 190"/>
                  <a:gd name="T26" fmla="*/ 0 w 194"/>
                  <a:gd name="T27" fmla="*/ 4 h 190"/>
                  <a:gd name="T28" fmla="*/ 10 w 194"/>
                  <a:gd name="T29" fmla="*/ 0 h 190"/>
                  <a:gd name="T30" fmla="*/ 68 w 194"/>
                  <a:gd name="T31" fmla="*/ 0 h 190"/>
                  <a:gd name="T32" fmla="*/ 72 w 194"/>
                  <a:gd name="T33" fmla="*/ 14 h 190"/>
                  <a:gd name="T34" fmla="*/ 106 w 194"/>
                  <a:gd name="T35" fmla="*/ 32 h 190"/>
                  <a:gd name="T36" fmla="*/ 114 w 194"/>
                  <a:gd name="T37" fmla="*/ 18 h 190"/>
                  <a:gd name="T38" fmla="*/ 116 w 194"/>
                  <a:gd name="T39" fmla="*/ 18 h 190"/>
                  <a:gd name="T40" fmla="*/ 140 w 194"/>
                  <a:gd name="T41" fmla="*/ 22 h 190"/>
                  <a:gd name="T42" fmla="*/ 142 w 194"/>
                  <a:gd name="T43" fmla="*/ 24 h 190"/>
                  <a:gd name="T44" fmla="*/ 152 w 194"/>
                  <a:gd name="T45" fmla="*/ 64 h 190"/>
                  <a:gd name="T46" fmla="*/ 152 w 194"/>
                  <a:gd name="T47" fmla="*/ 66 h 190"/>
                  <a:gd name="T48" fmla="*/ 172 w 194"/>
                  <a:gd name="T49" fmla="*/ 76 h 190"/>
                  <a:gd name="T50" fmla="*/ 174 w 194"/>
                  <a:gd name="T51" fmla="*/ 78 h 190"/>
                  <a:gd name="T52" fmla="*/ 174 w 194"/>
                  <a:gd name="T53" fmla="*/ 108 h 190"/>
                  <a:gd name="T54" fmla="*/ 148 w 194"/>
                  <a:gd name="T55" fmla="*/ 110 h 190"/>
                  <a:gd name="T56" fmla="*/ 164 w 194"/>
                  <a:gd name="T57" fmla="*/ 172 h 190"/>
                  <a:gd name="T58" fmla="*/ 186 w 194"/>
                  <a:gd name="T59" fmla="*/ 174 h 190"/>
                  <a:gd name="T60" fmla="*/ 194 w 194"/>
                  <a:gd name="T61" fmla="*/ 180 h 190"/>
                  <a:gd name="T62" fmla="*/ 194 w 194"/>
                  <a:gd name="T63" fmla="*/ 182 h 190"/>
                  <a:gd name="T64" fmla="*/ 192 w 194"/>
                  <a:gd name="T65" fmla="*/ 182 h 190"/>
                  <a:gd name="T66" fmla="*/ 168 w 194"/>
                  <a:gd name="T67" fmla="*/ 190 h 190"/>
                  <a:gd name="T68" fmla="*/ 166 w 194"/>
                  <a:gd name="T6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190">
                    <a:moveTo>
                      <a:pt x="166" y="190"/>
                    </a:moveTo>
                    <a:lnTo>
                      <a:pt x="166" y="190"/>
                    </a:lnTo>
                    <a:lnTo>
                      <a:pt x="166" y="190"/>
                    </a:lnTo>
                    <a:lnTo>
                      <a:pt x="160" y="182"/>
                    </a:lnTo>
                    <a:lnTo>
                      <a:pt x="160" y="182"/>
                    </a:lnTo>
                    <a:lnTo>
                      <a:pt x="130" y="186"/>
                    </a:lnTo>
                    <a:lnTo>
                      <a:pt x="130" y="186"/>
                    </a:lnTo>
                    <a:lnTo>
                      <a:pt x="130" y="186"/>
                    </a:lnTo>
                    <a:lnTo>
                      <a:pt x="122" y="180"/>
                    </a:lnTo>
                    <a:lnTo>
                      <a:pt x="98" y="180"/>
                    </a:lnTo>
                    <a:lnTo>
                      <a:pt x="98" y="180"/>
                    </a:lnTo>
                    <a:lnTo>
                      <a:pt x="96" y="178"/>
                    </a:lnTo>
                    <a:lnTo>
                      <a:pt x="90" y="174"/>
                    </a:lnTo>
                    <a:lnTo>
                      <a:pt x="2" y="174"/>
                    </a:lnTo>
                    <a:lnTo>
                      <a:pt x="2" y="174"/>
                    </a:lnTo>
                    <a:lnTo>
                      <a:pt x="0" y="172"/>
                    </a:lnTo>
                    <a:lnTo>
                      <a:pt x="0" y="150"/>
                    </a:lnTo>
                    <a:lnTo>
                      <a:pt x="8" y="116"/>
                    </a:lnTo>
                    <a:lnTo>
                      <a:pt x="26" y="88"/>
                    </a:lnTo>
                    <a:lnTo>
                      <a:pt x="26" y="74"/>
                    </a:lnTo>
                    <a:lnTo>
                      <a:pt x="14" y="50"/>
                    </a:lnTo>
                    <a:lnTo>
                      <a:pt x="14" y="50"/>
                    </a:lnTo>
                    <a:lnTo>
                      <a:pt x="14" y="50"/>
                    </a:lnTo>
                    <a:lnTo>
                      <a:pt x="18" y="38"/>
                    </a:lnTo>
                    <a:lnTo>
                      <a:pt x="0" y="6"/>
                    </a:lnTo>
                    <a:lnTo>
                      <a:pt x="0" y="6"/>
                    </a:lnTo>
                    <a:lnTo>
                      <a:pt x="0" y="4"/>
                    </a:lnTo>
                    <a:lnTo>
                      <a:pt x="0" y="4"/>
                    </a:lnTo>
                    <a:lnTo>
                      <a:pt x="2" y="2"/>
                    </a:lnTo>
                    <a:lnTo>
                      <a:pt x="10" y="0"/>
                    </a:lnTo>
                    <a:lnTo>
                      <a:pt x="68" y="0"/>
                    </a:lnTo>
                    <a:lnTo>
                      <a:pt x="68" y="0"/>
                    </a:lnTo>
                    <a:lnTo>
                      <a:pt x="70" y="2"/>
                    </a:lnTo>
                    <a:lnTo>
                      <a:pt x="72" y="14"/>
                    </a:lnTo>
                    <a:lnTo>
                      <a:pt x="82" y="30"/>
                    </a:lnTo>
                    <a:lnTo>
                      <a:pt x="106" y="32"/>
                    </a:lnTo>
                    <a:lnTo>
                      <a:pt x="114" y="18"/>
                    </a:lnTo>
                    <a:lnTo>
                      <a:pt x="114" y="18"/>
                    </a:lnTo>
                    <a:lnTo>
                      <a:pt x="116" y="18"/>
                    </a:lnTo>
                    <a:lnTo>
                      <a:pt x="116" y="18"/>
                    </a:lnTo>
                    <a:lnTo>
                      <a:pt x="116" y="18"/>
                    </a:lnTo>
                    <a:lnTo>
                      <a:pt x="140" y="22"/>
                    </a:lnTo>
                    <a:lnTo>
                      <a:pt x="140" y="22"/>
                    </a:lnTo>
                    <a:lnTo>
                      <a:pt x="142" y="24"/>
                    </a:lnTo>
                    <a:lnTo>
                      <a:pt x="144" y="60"/>
                    </a:lnTo>
                    <a:lnTo>
                      <a:pt x="152" y="64"/>
                    </a:lnTo>
                    <a:lnTo>
                      <a:pt x="152" y="64"/>
                    </a:lnTo>
                    <a:lnTo>
                      <a:pt x="152" y="66"/>
                    </a:lnTo>
                    <a:lnTo>
                      <a:pt x="152" y="76"/>
                    </a:lnTo>
                    <a:lnTo>
                      <a:pt x="172" y="76"/>
                    </a:lnTo>
                    <a:lnTo>
                      <a:pt x="172" y="76"/>
                    </a:lnTo>
                    <a:lnTo>
                      <a:pt x="174" y="78"/>
                    </a:lnTo>
                    <a:lnTo>
                      <a:pt x="174" y="108"/>
                    </a:lnTo>
                    <a:lnTo>
                      <a:pt x="174" y="108"/>
                    </a:lnTo>
                    <a:lnTo>
                      <a:pt x="172" y="110"/>
                    </a:lnTo>
                    <a:lnTo>
                      <a:pt x="148" y="110"/>
                    </a:lnTo>
                    <a:lnTo>
                      <a:pt x="148" y="154"/>
                    </a:lnTo>
                    <a:lnTo>
                      <a:pt x="164" y="172"/>
                    </a:lnTo>
                    <a:lnTo>
                      <a:pt x="186" y="174"/>
                    </a:lnTo>
                    <a:lnTo>
                      <a:pt x="186" y="174"/>
                    </a:lnTo>
                    <a:lnTo>
                      <a:pt x="188" y="174"/>
                    </a:lnTo>
                    <a:lnTo>
                      <a:pt x="194" y="180"/>
                    </a:lnTo>
                    <a:lnTo>
                      <a:pt x="194" y="180"/>
                    </a:lnTo>
                    <a:lnTo>
                      <a:pt x="194" y="182"/>
                    </a:lnTo>
                    <a:lnTo>
                      <a:pt x="194" y="182"/>
                    </a:lnTo>
                    <a:lnTo>
                      <a:pt x="192" y="182"/>
                    </a:lnTo>
                    <a:lnTo>
                      <a:pt x="186" y="182"/>
                    </a:lnTo>
                    <a:lnTo>
                      <a:pt x="168" y="190"/>
                    </a:lnTo>
                    <a:lnTo>
                      <a:pt x="168" y="190"/>
                    </a:lnTo>
                    <a:lnTo>
                      <a:pt x="166" y="190"/>
                    </a:lnTo>
                    <a:lnTo>
                      <a:pt x="16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9" name="Freeform 500"/>
              <p:cNvSpPr>
                <a:spLocks noEditPoints="1"/>
              </p:cNvSpPr>
              <p:nvPr/>
            </p:nvSpPr>
            <p:spPr bwMode="auto">
              <a:xfrm>
                <a:off x="3029" y="2601"/>
                <a:ext cx="198" cy="194"/>
              </a:xfrm>
              <a:custGeom>
                <a:avLst/>
                <a:gdLst>
                  <a:gd name="T0" fmla="*/ 72 w 198"/>
                  <a:gd name="T1" fmla="*/ 18 h 194"/>
                  <a:gd name="T2" fmla="*/ 110 w 198"/>
                  <a:gd name="T3" fmla="*/ 36 h 194"/>
                  <a:gd name="T4" fmla="*/ 142 w 198"/>
                  <a:gd name="T5" fmla="*/ 26 h 194"/>
                  <a:gd name="T6" fmla="*/ 152 w 198"/>
                  <a:gd name="T7" fmla="*/ 68 h 194"/>
                  <a:gd name="T8" fmla="*/ 174 w 198"/>
                  <a:gd name="T9" fmla="*/ 80 h 194"/>
                  <a:gd name="T10" fmla="*/ 148 w 198"/>
                  <a:gd name="T11" fmla="*/ 110 h 194"/>
                  <a:gd name="T12" fmla="*/ 166 w 198"/>
                  <a:gd name="T13" fmla="*/ 176 h 194"/>
                  <a:gd name="T14" fmla="*/ 194 w 198"/>
                  <a:gd name="T15" fmla="*/ 182 h 194"/>
                  <a:gd name="T16" fmla="*/ 168 w 198"/>
                  <a:gd name="T17" fmla="*/ 190 h 194"/>
                  <a:gd name="T18" fmla="*/ 132 w 198"/>
                  <a:gd name="T19" fmla="*/ 186 h 194"/>
                  <a:gd name="T20" fmla="*/ 100 w 198"/>
                  <a:gd name="T21" fmla="*/ 180 h 194"/>
                  <a:gd name="T22" fmla="*/ 4 w 198"/>
                  <a:gd name="T23" fmla="*/ 174 h 194"/>
                  <a:gd name="T24" fmla="*/ 12 w 198"/>
                  <a:gd name="T25" fmla="*/ 120 h 194"/>
                  <a:gd name="T26" fmla="*/ 30 w 198"/>
                  <a:gd name="T27" fmla="*/ 76 h 194"/>
                  <a:gd name="T28" fmla="*/ 22 w 198"/>
                  <a:gd name="T29" fmla="*/ 40 h 194"/>
                  <a:gd name="T30" fmla="*/ 14 w 198"/>
                  <a:gd name="T31" fmla="*/ 4 h 194"/>
                  <a:gd name="T32" fmla="*/ 70 w 198"/>
                  <a:gd name="T33" fmla="*/ 0 h 194"/>
                  <a:gd name="T34" fmla="*/ 14 w 198"/>
                  <a:gd name="T35" fmla="*/ 0 h 194"/>
                  <a:gd name="T36" fmla="*/ 4 w 198"/>
                  <a:gd name="T37" fmla="*/ 2 h 194"/>
                  <a:gd name="T38" fmla="*/ 0 w 198"/>
                  <a:gd name="T39" fmla="*/ 4 h 194"/>
                  <a:gd name="T40" fmla="*/ 0 w 198"/>
                  <a:gd name="T41" fmla="*/ 8 h 194"/>
                  <a:gd name="T42" fmla="*/ 14 w 198"/>
                  <a:gd name="T43" fmla="*/ 50 h 194"/>
                  <a:gd name="T44" fmla="*/ 14 w 198"/>
                  <a:gd name="T45" fmla="*/ 54 h 194"/>
                  <a:gd name="T46" fmla="*/ 26 w 198"/>
                  <a:gd name="T47" fmla="*/ 88 h 194"/>
                  <a:gd name="T48" fmla="*/ 8 w 198"/>
                  <a:gd name="T49" fmla="*/ 118 h 194"/>
                  <a:gd name="T50" fmla="*/ 0 w 198"/>
                  <a:gd name="T51" fmla="*/ 150 h 194"/>
                  <a:gd name="T52" fmla="*/ 0 w 198"/>
                  <a:gd name="T53" fmla="*/ 152 h 194"/>
                  <a:gd name="T54" fmla="*/ 0 w 198"/>
                  <a:gd name="T55" fmla="*/ 174 h 194"/>
                  <a:gd name="T56" fmla="*/ 4 w 198"/>
                  <a:gd name="T57" fmla="*/ 178 h 194"/>
                  <a:gd name="T58" fmla="*/ 98 w 198"/>
                  <a:gd name="T59" fmla="*/ 182 h 194"/>
                  <a:gd name="T60" fmla="*/ 100 w 198"/>
                  <a:gd name="T61" fmla="*/ 184 h 194"/>
                  <a:gd name="T62" fmla="*/ 130 w 198"/>
                  <a:gd name="T63" fmla="*/ 190 h 194"/>
                  <a:gd name="T64" fmla="*/ 132 w 198"/>
                  <a:gd name="T65" fmla="*/ 190 h 194"/>
                  <a:gd name="T66" fmla="*/ 134 w 198"/>
                  <a:gd name="T67" fmla="*/ 190 h 194"/>
                  <a:gd name="T68" fmla="*/ 166 w 198"/>
                  <a:gd name="T69" fmla="*/ 192 h 194"/>
                  <a:gd name="T70" fmla="*/ 168 w 198"/>
                  <a:gd name="T71" fmla="*/ 194 h 194"/>
                  <a:gd name="T72" fmla="*/ 170 w 198"/>
                  <a:gd name="T73" fmla="*/ 194 h 194"/>
                  <a:gd name="T74" fmla="*/ 194 w 198"/>
                  <a:gd name="T75" fmla="*/ 186 h 194"/>
                  <a:gd name="T76" fmla="*/ 196 w 198"/>
                  <a:gd name="T77" fmla="*/ 186 h 194"/>
                  <a:gd name="T78" fmla="*/ 198 w 198"/>
                  <a:gd name="T79" fmla="*/ 184 h 194"/>
                  <a:gd name="T80" fmla="*/ 198 w 198"/>
                  <a:gd name="T81" fmla="*/ 180 h 194"/>
                  <a:gd name="T82" fmla="*/ 192 w 198"/>
                  <a:gd name="T83" fmla="*/ 174 h 194"/>
                  <a:gd name="T84" fmla="*/ 168 w 198"/>
                  <a:gd name="T85" fmla="*/ 172 h 194"/>
                  <a:gd name="T86" fmla="*/ 152 w 198"/>
                  <a:gd name="T87" fmla="*/ 114 h 194"/>
                  <a:gd name="T88" fmla="*/ 174 w 198"/>
                  <a:gd name="T89" fmla="*/ 114 h 194"/>
                  <a:gd name="T90" fmla="*/ 178 w 198"/>
                  <a:gd name="T91" fmla="*/ 110 h 194"/>
                  <a:gd name="T92" fmla="*/ 178 w 198"/>
                  <a:gd name="T93" fmla="*/ 80 h 194"/>
                  <a:gd name="T94" fmla="*/ 174 w 198"/>
                  <a:gd name="T95" fmla="*/ 76 h 194"/>
                  <a:gd name="T96" fmla="*/ 156 w 198"/>
                  <a:gd name="T97" fmla="*/ 68 h 194"/>
                  <a:gd name="T98" fmla="*/ 156 w 198"/>
                  <a:gd name="T99" fmla="*/ 66 h 194"/>
                  <a:gd name="T100" fmla="*/ 148 w 198"/>
                  <a:gd name="T101" fmla="*/ 60 h 194"/>
                  <a:gd name="T102" fmla="*/ 146 w 198"/>
                  <a:gd name="T103" fmla="*/ 26 h 194"/>
                  <a:gd name="T104" fmla="*/ 142 w 198"/>
                  <a:gd name="T105" fmla="*/ 22 h 194"/>
                  <a:gd name="T106" fmla="*/ 120 w 198"/>
                  <a:gd name="T107" fmla="*/ 18 h 194"/>
                  <a:gd name="T108" fmla="*/ 118 w 198"/>
                  <a:gd name="T109" fmla="*/ 18 h 194"/>
                  <a:gd name="T110" fmla="*/ 106 w 198"/>
                  <a:gd name="T111" fmla="*/ 32 h 194"/>
                  <a:gd name="T112" fmla="*/ 76 w 198"/>
                  <a:gd name="T113" fmla="*/ 16 h 194"/>
                  <a:gd name="T114" fmla="*/ 74 w 198"/>
                  <a:gd name="T115" fmla="*/ 4 h 194"/>
                  <a:gd name="T116" fmla="*/ 70 w 198"/>
                  <a:gd name="T1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94">
                    <a:moveTo>
                      <a:pt x="70" y="4"/>
                    </a:moveTo>
                    <a:lnTo>
                      <a:pt x="72" y="18"/>
                    </a:lnTo>
                    <a:lnTo>
                      <a:pt x="82" y="34"/>
                    </a:lnTo>
                    <a:lnTo>
                      <a:pt x="110" y="36"/>
                    </a:lnTo>
                    <a:lnTo>
                      <a:pt x="118" y="22"/>
                    </a:lnTo>
                    <a:lnTo>
                      <a:pt x="142" y="26"/>
                    </a:lnTo>
                    <a:lnTo>
                      <a:pt x="144" y="62"/>
                    </a:lnTo>
                    <a:lnTo>
                      <a:pt x="152" y="68"/>
                    </a:lnTo>
                    <a:lnTo>
                      <a:pt x="150" y="80"/>
                    </a:lnTo>
                    <a:lnTo>
                      <a:pt x="174" y="80"/>
                    </a:lnTo>
                    <a:lnTo>
                      <a:pt x="174" y="110"/>
                    </a:lnTo>
                    <a:lnTo>
                      <a:pt x="148" y="110"/>
                    </a:lnTo>
                    <a:lnTo>
                      <a:pt x="148" y="158"/>
                    </a:lnTo>
                    <a:lnTo>
                      <a:pt x="166" y="176"/>
                    </a:lnTo>
                    <a:lnTo>
                      <a:pt x="188" y="178"/>
                    </a:lnTo>
                    <a:lnTo>
                      <a:pt x="194" y="182"/>
                    </a:lnTo>
                    <a:lnTo>
                      <a:pt x="188" y="182"/>
                    </a:lnTo>
                    <a:lnTo>
                      <a:pt x="168" y="190"/>
                    </a:lnTo>
                    <a:lnTo>
                      <a:pt x="164" y="182"/>
                    </a:lnTo>
                    <a:lnTo>
                      <a:pt x="132" y="186"/>
                    </a:lnTo>
                    <a:lnTo>
                      <a:pt x="126" y="180"/>
                    </a:lnTo>
                    <a:lnTo>
                      <a:pt x="100" y="180"/>
                    </a:lnTo>
                    <a:lnTo>
                      <a:pt x="92" y="174"/>
                    </a:lnTo>
                    <a:lnTo>
                      <a:pt x="4" y="174"/>
                    </a:lnTo>
                    <a:lnTo>
                      <a:pt x="4" y="152"/>
                    </a:lnTo>
                    <a:lnTo>
                      <a:pt x="12" y="120"/>
                    </a:lnTo>
                    <a:lnTo>
                      <a:pt x="30" y="90"/>
                    </a:lnTo>
                    <a:lnTo>
                      <a:pt x="30" y="76"/>
                    </a:lnTo>
                    <a:lnTo>
                      <a:pt x="18" y="52"/>
                    </a:lnTo>
                    <a:lnTo>
                      <a:pt x="22" y="40"/>
                    </a:lnTo>
                    <a:lnTo>
                      <a:pt x="4" y="6"/>
                    </a:lnTo>
                    <a:lnTo>
                      <a:pt x="14" y="4"/>
                    </a:lnTo>
                    <a:lnTo>
                      <a:pt x="70" y="4"/>
                    </a:lnTo>
                    <a:close/>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0" name="Freeform 501"/>
              <p:cNvSpPr>
                <a:spLocks/>
              </p:cNvSpPr>
              <p:nvPr/>
            </p:nvSpPr>
            <p:spPr bwMode="auto">
              <a:xfrm>
                <a:off x="3033" y="2605"/>
                <a:ext cx="190" cy="186"/>
              </a:xfrm>
              <a:custGeom>
                <a:avLst/>
                <a:gdLst>
                  <a:gd name="T0" fmla="*/ 66 w 190"/>
                  <a:gd name="T1" fmla="*/ 0 h 186"/>
                  <a:gd name="T2" fmla="*/ 68 w 190"/>
                  <a:gd name="T3" fmla="*/ 14 h 186"/>
                  <a:gd name="T4" fmla="*/ 78 w 190"/>
                  <a:gd name="T5" fmla="*/ 30 h 186"/>
                  <a:gd name="T6" fmla="*/ 106 w 190"/>
                  <a:gd name="T7" fmla="*/ 32 h 186"/>
                  <a:gd name="T8" fmla="*/ 114 w 190"/>
                  <a:gd name="T9" fmla="*/ 18 h 186"/>
                  <a:gd name="T10" fmla="*/ 138 w 190"/>
                  <a:gd name="T11" fmla="*/ 22 h 186"/>
                  <a:gd name="T12" fmla="*/ 140 w 190"/>
                  <a:gd name="T13" fmla="*/ 58 h 186"/>
                  <a:gd name="T14" fmla="*/ 148 w 190"/>
                  <a:gd name="T15" fmla="*/ 64 h 186"/>
                  <a:gd name="T16" fmla="*/ 146 w 190"/>
                  <a:gd name="T17" fmla="*/ 76 h 186"/>
                  <a:gd name="T18" fmla="*/ 170 w 190"/>
                  <a:gd name="T19" fmla="*/ 76 h 186"/>
                  <a:gd name="T20" fmla="*/ 170 w 190"/>
                  <a:gd name="T21" fmla="*/ 106 h 186"/>
                  <a:gd name="T22" fmla="*/ 144 w 190"/>
                  <a:gd name="T23" fmla="*/ 106 h 186"/>
                  <a:gd name="T24" fmla="*/ 144 w 190"/>
                  <a:gd name="T25" fmla="*/ 154 h 186"/>
                  <a:gd name="T26" fmla="*/ 162 w 190"/>
                  <a:gd name="T27" fmla="*/ 172 h 186"/>
                  <a:gd name="T28" fmla="*/ 184 w 190"/>
                  <a:gd name="T29" fmla="*/ 174 h 186"/>
                  <a:gd name="T30" fmla="*/ 190 w 190"/>
                  <a:gd name="T31" fmla="*/ 178 h 186"/>
                  <a:gd name="T32" fmla="*/ 184 w 190"/>
                  <a:gd name="T33" fmla="*/ 178 h 186"/>
                  <a:gd name="T34" fmla="*/ 164 w 190"/>
                  <a:gd name="T35" fmla="*/ 186 h 186"/>
                  <a:gd name="T36" fmla="*/ 160 w 190"/>
                  <a:gd name="T37" fmla="*/ 178 h 186"/>
                  <a:gd name="T38" fmla="*/ 128 w 190"/>
                  <a:gd name="T39" fmla="*/ 182 h 186"/>
                  <a:gd name="T40" fmla="*/ 122 w 190"/>
                  <a:gd name="T41" fmla="*/ 176 h 186"/>
                  <a:gd name="T42" fmla="*/ 96 w 190"/>
                  <a:gd name="T43" fmla="*/ 176 h 186"/>
                  <a:gd name="T44" fmla="*/ 88 w 190"/>
                  <a:gd name="T45" fmla="*/ 170 h 186"/>
                  <a:gd name="T46" fmla="*/ 0 w 190"/>
                  <a:gd name="T47" fmla="*/ 170 h 186"/>
                  <a:gd name="T48" fmla="*/ 0 w 190"/>
                  <a:gd name="T49" fmla="*/ 148 h 186"/>
                  <a:gd name="T50" fmla="*/ 8 w 190"/>
                  <a:gd name="T51" fmla="*/ 116 h 186"/>
                  <a:gd name="T52" fmla="*/ 26 w 190"/>
                  <a:gd name="T53" fmla="*/ 86 h 186"/>
                  <a:gd name="T54" fmla="*/ 26 w 190"/>
                  <a:gd name="T55" fmla="*/ 72 h 186"/>
                  <a:gd name="T56" fmla="*/ 14 w 190"/>
                  <a:gd name="T57" fmla="*/ 48 h 186"/>
                  <a:gd name="T58" fmla="*/ 18 w 190"/>
                  <a:gd name="T59" fmla="*/ 36 h 186"/>
                  <a:gd name="T60" fmla="*/ 0 w 190"/>
                  <a:gd name="T61" fmla="*/ 2 h 186"/>
                  <a:gd name="T62" fmla="*/ 10 w 190"/>
                  <a:gd name="T63" fmla="*/ 0 h 186"/>
                  <a:gd name="T64" fmla="*/ 66 w 190"/>
                  <a:gd name="T6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0" h="186">
                    <a:moveTo>
                      <a:pt x="66" y="0"/>
                    </a:moveTo>
                    <a:lnTo>
                      <a:pt x="68" y="14"/>
                    </a:lnTo>
                    <a:lnTo>
                      <a:pt x="78" y="30"/>
                    </a:lnTo>
                    <a:lnTo>
                      <a:pt x="106" y="32"/>
                    </a:lnTo>
                    <a:lnTo>
                      <a:pt x="114" y="18"/>
                    </a:lnTo>
                    <a:lnTo>
                      <a:pt x="138" y="22"/>
                    </a:lnTo>
                    <a:lnTo>
                      <a:pt x="140" y="58"/>
                    </a:lnTo>
                    <a:lnTo>
                      <a:pt x="148" y="64"/>
                    </a:lnTo>
                    <a:lnTo>
                      <a:pt x="146" y="76"/>
                    </a:lnTo>
                    <a:lnTo>
                      <a:pt x="170" y="76"/>
                    </a:lnTo>
                    <a:lnTo>
                      <a:pt x="170" y="106"/>
                    </a:lnTo>
                    <a:lnTo>
                      <a:pt x="144" y="106"/>
                    </a:lnTo>
                    <a:lnTo>
                      <a:pt x="144" y="154"/>
                    </a:lnTo>
                    <a:lnTo>
                      <a:pt x="162" y="172"/>
                    </a:lnTo>
                    <a:lnTo>
                      <a:pt x="184" y="174"/>
                    </a:lnTo>
                    <a:lnTo>
                      <a:pt x="190" y="178"/>
                    </a:lnTo>
                    <a:lnTo>
                      <a:pt x="184" y="178"/>
                    </a:lnTo>
                    <a:lnTo>
                      <a:pt x="164" y="186"/>
                    </a:lnTo>
                    <a:lnTo>
                      <a:pt x="160" y="178"/>
                    </a:lnTo>
                    <a:lnTo>
                      <a:pt x="128" y="182"/>
                    </a:lnTo>
                    <a:lnTo>
                      <a:pt x="122" y="176"/>
                    </a:lnTo>
                    <a:lnTo>
                      <a:pt x="96" y="176"/>
                    </a:lnTo>
                    <a:lnTo>
                      <a:pt x="88" y="170"/>
                    </a:lnTo>
                    <a:lnTo>
                      <a:pt x="0" y="170"/>
                    </a:lnTo>
                    <a:lnTo>
                      <a:pt x="0" y="148"/>
                    </a:lnTo>
                    <a:lnTo>
                      <a:pt x="8" y="116"/>
                    </a:lnTo>
                    <a:lnTo>
                      <a:pt x="26" y="86"/>
                    </a:lnTo>
                    <a:lnTo>
                      <a:pt x="26" y="72"/>
                    </a:lnTo>
                    <a:lnTo>
                      <a:pt x="14" y="48"/>
                    </a:lnTo>
                    <a:lnTo>
                      <a:pt x="18" y="36"/>
                    </a:lnTo>
                    <a:lnTo>
                      <a:pt x="0" y="2"/>
                    </a:lnTo>
                    <a:lnTo>
                      <a:pt x="10"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1" name="Freeform 502"/>
              <p:cNvSpPr>
                <a:spLocks/>
              </p:cNvSpPr>
              <p:nvPr/>
            </p:nvSpPr>
            <p:spPr bwMode="auto">
              <a:xfrm>
                <a:off x="3029" y="2601"/>
                <a:ext cx="198" cy="194"/>
              </a:xfrm>
              <a:custGeom>
                <a:avLst/>
                <a:gdLst>
                  <a:gd name="T0" fmla="*/ 14 w 198"/>
                  <a:gd name="T1" fmla="*/ 0 h 194"/>
                  <a:gd name="T2" fmla="*/ 12 w 198"/>
                  <a:gd name="T3" fmla="*/ 0 h 194"/>
                  <a:gd name="T4" fmla="*/ 4 w 198"/>
                  <a:gd name="T5" fmla="*/ 2 h 194"/>
                  <a:gd name="T6" fmla="*/ 0 w 198"/>
                  <a:gd name="T7" fmla="*/ 4 h 194"/>
                  <a:gd name="T8" fmla="*/ 18 w 198"/>
                  <a:gd name="T9" fmla="*/ 40 h 194"/>
                  <a:gd name="T10" fmla="*/ 14 w 198"/>
                  <a:gd name="T11" fmla="*/ 50 h 194"/>
                  <a:gd name="T12" fmla="*/ 26 w 198"/>
                  <a:gd name="T13" fmla="*/ 76 h 194"/>
                  <a:gd name="T14" fmla="*/ 8 w 198"/>
                  <a:gd name="T15" fmla="*/ 118 h 194"/>
                  <a:gd name="T16" fmla="*/ 8 w 198"/>
                  <a:gd name="T17" fmla="*/ 118 h 194"/>
                  <a:gd name="T18" fmla="*/ 0 w 198"/>
                  <a:gd name="T19" fmla="*/ 150 h 194"/>
                  <a:gd name="T20" fmla="*/ 0 w 198"/>
                  <a:gd name="T21" fmla="*/ 174 h 194"/>
                  <a:gd name="T22" fmla="*/ 2 w 198"/>
                  <a:gd name="T23" fmla="*/ 176 h 194"/>
                  <a:gd name="T24" fmla="*/ 92 w 198"/>
                  <a:gd name="T25" fmla="*/ 178 h 194"/>
                  <a:gd name="T26" fmla="*/ 98 w 198"/>
                  <a:gd name="T27" fmla="*/ 182 h 194"/>
                  <a:gd name="T28" fmla="*/ 124 w 198"/>
                  <a:gd name="T29" fmla="*/ 184 h 194"/>
                  <a:gd name="T30" fmla="*/ 130 w 198"/>
                  <a:gd name="T31" fmla="*/ 190 h 194"/>
                  <a:gd name="T32" fmla="*/ 132 w 198"/>
                  <a:gd name="T33" fmla="*/ 190 h 194"/>
                  <a:gd name="T34" fmla="*/ 162 w 198"/>
                  <a:gd name="T35" fmla="*/ 186 h 194"/>
                  <a:gd name="T36" fmla="*/ 166 w 198"/>
                  <a:gd name="T37" fmla="*/ 192 h 194"/>
                  <a:gd name="T38" fmla="*/ 168 w 198"/>
                  <a:gd name="T39" fmla="*/ 194 h 194"/>
                  <a:gd name="T40" fmla="*/ 190 w 198"/>
                  <a:gd name="T41" fmla="*/ 186 h 194"/>
                  <a:gd name="T42" fmla="*/ 194 w 198"/>
                  <a:gd name="T43" fmla="*/ 186 h 194"/>
                  <a:gd name="T44" fmla="*/ 198 w 198"/>
                  <a:gd name="T45" fmla="*/ 184 h 194"/>
                  <a:gd name="T46" fmla="*/ 198 w 198"/>
                  <a:gd name="T47" fmla="*/ 182 h 194"/>
                  <a:gd name="T48" fmla="*/ 192 w 198"/>
                  <a:gd name="T49" fmla="*/ 174 h 194"/>
                  <a:gd name="T50" fmla="*/ 190 w 198"/>
                  <a:gd name="T51" fmla="*/ 174 h 194"/>
                  <a:gd name="T52" fmla="*/ 152 w 198"/>
                  <a:gd name="T53" fmla="*/ 156 h 194"/>
                  <a:gd name="T54" fmla="*/ 174 w 198"/>
                  <a:gd name="T55" fmla="*/ 114 h 194"/>
                  <a:gd name="T56" fmla="*/ 178 w 198"/>
                  <a:gd name="T57" fmla="*/ 112 h 194"/>
                  <a:gd name="T58" fmla="*/ 178 w 198"/>
                  <a:gd name="T59" fmla="*/ 80 h 194"/>
                  <a:gd name="T60" fmla="*/ 178 w 198"/>
                  <a:gd name="T61" fmla="*/ 76 h 194"/>
                  <a:gd name="T62" fmla="*/ 156 w 198"/>
                  <a:gd name="T63" fmla="*/ 76 h 194"/>
                  <a:gd name="T64" fmla="*/ 156 w 198"/>
                  <a:gd name="T65" fmla="*/ 68 h 194"/>
                  <a:gd name="T66" fmla="*/ 154 w 198"/>
                  <a:gd name="T67" fmla="*/ 64 h 194"/>
                  <a:gd name="T68" fmla="*/ 146 w 198"/>
                  <a:gd name="T69" fmla="*/ 26 h 194"/>
                  <a:gd name="T70" fmla="*/ 144 w 198"/>
                  <a:gd name="T71" fmla="*/ 24 h 194"/>
                  <a:gd name="T72" fmla="*/ 120 w 198"/>
                  <a:gd name="T73" fmla="*/ 18 h 194"/>
                  <a:gd name="T74" fmla="*/ 118 w 198"/>
                  <a:gd name="T75" fmla="*/ 18 h 194"/>
                  <a:gd name="T76" fmla="*/ 114 w 198"/>
                  <a:gd name="T77" fmla="*/ 20 h 194"/>
                  <a:gd name="T78" fmla="*/ 84 w 198"/>
                  <a:gd name="T79" fmla="*/ 30 h 194"/>
                  <a:gd name="T80" fmla="*/ 74 w 198"/>
                  <a:gd name="T81" fmla="*/ 4 h 194"/>
                  <a:gd name="T82" fmla="*/ 72 w 198"/>
                  <a:gd name="T83" fmla="*/ 2 h 194"/>
                  <a:gd name="T84" fmla="*/ 70 w 198"/>
                  <a:gd name="T8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8" h="194">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2" name="Freeform 503"/>
              <p:cNvSpPr>
                <a:spLocks/>
              </p:cNvSpPr>
              <p:nvPr/>
            </p:nvSpPr>
            <p:spPr bwMode="auto">
              <a:xfrm>
                <a:off x="3037" y="2447"/>
                <a:ext cx="272" cy="274"/>
              </a:xfrm>
              <a:custGeom>
                <a:avLst/>
                <a:gdLst>
                  <a:gd name="T0" fmla="*/ 238 w 272"/>
                  <a:gd name="T1" fmla="*/ 274 h 274"/>
                  <a:gd name="T2" fmla="*/ 230 w 272"/>
                  <a:gd name="T3" fmla="*/ 262 h 274"/>
                  <a:gd name="T4" fmla="*/ 218 w 272"/>
                  <a:gd name="T5" fmla="*/ 256 h 274"/>
                  <a:gd name="T6" fmla="*/ 212 w 272"/>
                  <a:gd name="T7" fmla="*/ 246 h 274"/>
                  <a:gd name="T8" fmla="*/ 200 w 272"/>
                  <a:gd name="T9" fmla="*/ 252 h 274"/>
                  <a:gd name="T10" fmla="*/ 200 w 272"/>
                  <a:gd name="T11" fmla="*/ 252 h 274"/>
                  <a:gd name="T12" fmla="*/ 164 w 272"/>
                  <a:gd name="T13" fmla="*/ 236 h 274"/>
                  <a:gd name="T14" fmla="*/ 142 w 272"/>
                  <a:gd name="T15" fmla="*/ 238 h 274"/>
                  <a:gd name="T16" fmla="*/ 140 w 272"/>
                  <a:gd name="T17" fmla="*/ 236 h 274"/>
                  <a:gd name="T18" fmla="*/ 142 w 272"/>
                  <a:gd name="T19" fmla="*/ 226 h 274"/>
                  <a:gd name="T20" fmla="*/ 134 w 272"/>
                  <a:gd name="T21" fmla="*/ 220 h 274"/>
                  <a:gd name="T22" fmla="*/ 132 w 272"/>
                  <a:gd name="T23" fmla="*/ 184 h 274"/>
                  <a:gd name="T24" fmla="*/ 102 w 272"/>
                  <a:gd name="T25" fmla="*/ 194 h 274"/>
                  <a:gd name="T26" fmla="*/ 100 w 272"/>
                  <a:gd name="T27" fmla="*/ 194 h 274"/>
                  <a:gd name="T28" fmla="*/ 74 w 272"/>
                  <a:gd name="T29" fmla="*/ 192 h 274"/>
                  <a:gd name="T30" fmla="*/ 72 w 272"/>
                  <a:gd name="T31" fmla="*/ 192 h 274"/>
                  <a:gd name="T32" fmla="*/ 60 w 272"/>
                  <a:gd name="T33" fmla="*/ 164 h 274"/>
                  <a:gd name="T34" fmla="*/ 0 w 272"/>
                  <a:gd name="T35" fmla="*/ 162 h 274"/>
                  <a:gd name="T36" fmla="*/ 0 w 272"/>
                  <a:gd name="T37" fmla="*/ 160 h 274"/>
                  <a:gd name="T38" fmla="*/ 0 w 272"/>
                  <a:gd name="T39" fmla="*/ 158 h 274"/>
                  <a:gd name="T40" fmla="*/ 6 w 272"/>
                  <a:gd name="T41" fmla="*/ 146 h 274"/>
                  <a:gd name="T42" fmla="*/ 14 w 272"/>
                  <a:gd name="T43" fmla="*/ 144 h 274"/>
                  <a:gd name="T44" fmla="*/ 54 w 272"/>
                  <a:gd name="T45" fmla="*/ 130 h 274"/>
                  <a:gd name="T46" fmla="*/ 58 w 272"/>
                  <a:gd name="T47" fmla="*/ 102 h 274"/>
                  <a:gd name="T48" fmla="*/ 80 w 272"/>
                  <a:gd name="T49" fmla="*/ 68 h 274"/>
                  <a:gd name="T50" fmla="*/ 86 w 272"/>
                  <a:gd name="T51" fmla="*/ 28 h 274"/>
                  <a:gd name="T52" fmla="*/ 88 w 272"/>
                  <a:gd name="T53" fmla="*/ 16 h 274"/>
                  <a:gd name="T54" fmla="*/ 102 w 272"/>
                  <a:gd name="T55" fmla="*/ 0 h 274"/>
                  <a:gd name="T56" fmla="*/ 102 w 272"/>
                  <a:gd name="T57" fmla="*/ 0 h 274"/>
                  <a:gd name="T58" fmla="*/ 102 w 272"/>
                  <a:gd name="T59" fmla="*/ 0 h 274"/>
                  <a:gd name="T60" fmla="*/ 104 w 272"/>
                  <a:gd name="T61" fmla="*/ 0 h 274"/>
                  <a:gd name="T62" fmla="*/ 126 w 272"/>
                  <a:gd name="T63" fmla="*/ 16 h 274"/>
                  <a:gd name="T64" fmla="*/ 156 w 272"/>
                  <a:gd name="T65" fmla="*/ 10 h 274"/>
                  <a:gd name="T66" fmla="*/ 214 w 272"/>
                  <a:gd name="T67" fmla="*/ 4 h 274"/>
                  <a:gd name="T68" fmla="*/ 216 w 272"/>
                  <a:gd name="T69" fmla="*/ 4 h 274"/>
                  <a:gd name="T70" fmla="*/ 222 w 272"/>
                  <a:gd name="T71" fmla="*/ 12 h 274"/>
                  <a:gd name="T72" fmla="*/ 246 w 272"/>
                  <a:gd name="T73" fmla="*/ 10 h 274"/>
                  <a:gd name="T74" fmla="*/ 262 w 272"/>
                  <a:gd name="T75" fmla="*/ 22 h 274"/>
                  <a:gd name="T76" fmla="*/ 264 w 272"/>
                  <a:gd name="T77" fmla="*/ 22 h 274"/>
                  <a:gd name="T78" fmla="*/ 270 w 272"/>
                  <a:gd name="T79" fmla="*/ 44 h 274"/>
                  <a:gd name="T80" fmla="*/ 272 w 272"/>
                  <a:gd name="T81" fmla="*/ 46 h 274"/>
                  <a:gd name="T82" fmla="*/ 272 w 272"/>
                  <a:gd name="T83" fmla="*/ 50 h 274"/>
                  <a:gd name="T84" fmla="*/ 254 w 272"/>
                  <a:gd name="T85" fmla="*/ 68 h 274"/>
                  <a:gd name="T86" fmla="*/ 248 w 272"/>
                  <a:gd name="T87" fmla="*/ 96 h 274"/>
                  <a:gd name="T88" fmla="*/ 248 w 272"/>
                  <a:gd name="T89" fmla="*/ 96 h 274"/>
                  <a:gd name="T90" fmla="*/ 244 w 272"/>
                  <a:gd name="T91" fmla="*/ 122 h 274"/>
                  <a:gd name="T92" fmla="*/ 246 w 272"/>
                  <a:gd name="T93" fmla="*/ 156 h 274"/>
                  <a:gd name="T94" fmla="*/ 260 w 272"/>
                  <a:gd name="T95" fmla="*/ 182 h 274"/>
                  <a:gd name="T96" fmla="*/ 262 w 272"/>
                  <a:gd name="T97" fmla="*/ 182 h 274"/>
                  <a:gd name="T98" fmla="*/ 264 w 272"/>
                  <a:gd name="T99" fmla="*/ 198 h 274"/>
                  <a:gd name="T100" fmla="*/ 262 w 272"/>
                  <a:gd name="T101" fmla="*/ 198 h 274"/>
                  <a:gd name="T102" fmla="*/ 246 w 272"/>
                  <a:gd name="T103" fmla="*/ 200 h 274"/>
                  <a:gd name="T104" fmla="*/ 234 w 272"/>
                  <a:gd name="T105" fmla="*/ 220 h 274"/>
                  <a:gd name="T106" fmla="*/ 240 w 272"/>
                  <a:gd name="T107" fmla="*/ 248 h 274"/>
                  <a:gd name="T108" fmla="*/ 252 w 272"/>
                  <a:gd name="T109" fmla="*/ 254 h 274"/>
                  <a:gd name="T110" fmla="*/ 252 w 272"/>
                  <a:gd name="T111" fmla="*/ 272 h 274"/>
                  <a:gd name="T112" fmla="*/ 250 w 272"/>
                  <a:gd name="T113"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2" h="274">
                    <a:moveTo>
                      <a:pt x="238" y="274"/>
                    </a:moveTo>
                    <a:lnTo>
                      <a:pt x="238" y="274"/>
                    </a:lnTo>
                    <a:lnTo>
                      <a:pt x="236" y="272"/>
                    </a:lnTo>
                    <a:lnTo>
                      <a:pt x="230" y="262"/>
                    </a:lnTo>
                    <a:lnTo>
                      <a:pt x="218" y="256"/>
                    </a:lnTo>
                    <a:lnTo>
                      <a:pt x="218" y="256"/>
                    </a:lnTo>
                    <a:lnTo>
                      <a:pt x="218" y="256"/>
                    </a:lnTo>
                    <a:lnTo>
                      <a:pt x="212" y="246"/>
                    </a:lnTo>
                    <a:lnTo>
                      <a:pt x="200" y="252"/>
                    </a:lnTo>
                    <a:lnTo>
                      <a:pt x="200" y="252"/>
                    </a:lnTo>
                    <a:lnTo>
                      <a:pt x="200" y="252"/>
                    </a:lnTo>
                    <a:lnTo>
                      <a:pt x="200" y="252"/>
                    </a:lnTo>
                    <a:lnTo>
                      <a:pt x="200" y="252"/>
                    </a:lnTo>
                    <a:lnTo>
                      <a:pt x="164" y="236"/>
                    </a:lnTo>
                    <a:lnTo>
                      <a:pt x="142" y="238"/>
                    </a:lnTo>
                    <a:lnTo>
                      <a:pt x="142" y="238"/>
                    </a:lnTo>
                    <a:lnTo>
                      <a:pt x="140" y="236"/>
                    </a:lnTo>
                    <a:lnTo>
                      <a:pt x="140" y="236"/>
                    </a:lnTo>
                    <a:lnTo>
                      <a:pt x="140" y="234"/>
                    </a:lnTo>
                    <a:lnTo>
                      <a:pt x="142" y="226"/>
                    </a:lnTo>
                    <a:lnTo>
                      <a:pt x="134" y="220"/>
                    </a:lnTo>
                    <a:lnTo>
                      <a:pt x="134" y="220"/>
                    </a:lnTo>
                    <a:lnTo>
                      <a:pt x="132" y="220"/>
                    </a:lnTo>
                    <a:lnTo>
                      <a:pt x="132" y="184"/>
                    </a:lnTo>
                    <a:lnTo>
                      <a:pt x="110" y="180"/>
                    </a:lnTo>
                    <a:lnTo>
                      <a:pt x="102" y="194"/>
                    </a:lnTo>
                    <a:lnTo>
                      <a:pt x="102" y="194"/>
                    </a:lnTo>
                    <a:lnTo>
                      <a:pt x="100" y="194"/>
                    </a:lnTo>
                    <a:lnTo>
                      <a:pt x="100" y="194"/>
                    </a:lnTo>
                    <a:lnTo>
                      <a:pt x="74" y="192"/>
                    </a:lnTo>
                    <a:lnTo>
                      <a:pt x="74" y="192"/>
                    </a:lnTo>
                    <a:lnTo>
                      <a:pt x="72" y="192"/>
                    </a:lnTo>
                    <a:lnTo>
                      <a:pt x="62" y="176"/>
                    </a:lnTo>
                    <a:lnTo>
                      <a:pt x="60" y="164"/>
                    </a:lnTo>
                    <a:lnTo>
                      <a:pt x="8" y="164"/>
                    </a:lnTo>
                    <a:lnTo>
                      <a:pt x="0" y="162"/>
                    </a:lnTo>
                    <a:lnTo>
                      <a:pt x="0" y="162"/>
                    </a:lnTo>
                    <a:lnTo>
                      <a:pt x="0" y="160"/>
                    </a:lnTo>
                    <a:lnTo>
                      <a:pt x="0" y="160"/>
                    </a:lnTo>
                    <a:lnTo>
                      <a:pt x="0" y="158"/>
                    </a:lnTo>
                    <a:lnTo>
                      <a:pt x="6" y="146"/>
                    </a:lnTo>
                    <a:lnTo>
                      <a:pt x="6" y="146"/>
                    </a:lnTo>
                    <a:lnTo>
                      <a:pt x="6" y="146"/>
                    </a:lnTo>
                    <a:lnTo>
                      <a:pt x="14" y="144"/>
                    </a:lnTo>
                    <a:lnTo>
                      <a:pt x="32" y="140"/>
                    </a:lnTo>
                    <a:lnTo>
                      <a:pt x="54" y="130"/>
                    </a:lnTo>
                    <a:lnTo>
                      <a:pt x="58" y="102"/>
                    </a:lnTo>
                    <a:lnTo>
                      <a:pt x="58" y="102"/>
                    </a:lnTo>
                    <a:lnTo>
                      <a:pt x="58" y="102"/>
                    </a:lnTo>
                    <a:lnTo>
                      <a:pt x="80" y="68"/>
                    </a:lnTo>
                    <a:lnTo>
                      <a:pt x="84" y="40"/>
                    </a:lnTo>
                    <a:lnTo>
                      <a:pt x="86" y="28"/>
                    </a:lnTo>
                    <a:lnTo>
                      <a:pt x="88" y="16"/>
                    </a:lnTo>
                    <a:lnTo>
                      <a:pt x="88" y="16"/>
                    </a:lnTo>
                    <a:lnTo>
                      <a:pt x="88" y="14"/>
                    </a:lnTo>
                    <a:lnTo>
                      <a:pt x="102" y="0"/>
                    </a:lnTo>
                    <a:lnTo>
                      <a:pt x="102" y="0"/>
                    </a:lnTo>
                    <a:lnTo>
                      <a:pt x="102" y="0"/>
                    </a:lnTo>
                    <a:lnTo>
                      <a:pt x="102" y="0"/>
                    </a:lnTo>
                    <a:lnTo>
                      <a:pt x="102" y="0"/>
                    </a:lnTo>
                    <a:lnTo>
                      <a:pt x="102" y="0"/>
                    </a:lnTo>
                    <a:lnTo>
                      <a:pt x="104" y="0"/>
                    </a:lnTo>
                    <a:lnTo>
                      <a:pt x="116" y="12"/>
                    </a:lnTo>
                    <a:lnTo>
                      <a:pt x="126" y="16"/>
                    </a:lnTo>
                    <a:lnTo>
                      <a:pt x="146" y="18"/>
                    </a:lnTo>
                    <a:lnTo>
                      <a:pt x="156" y="10"/>
                    </a:lnTo>
                    <a:lnTo>
                      <a:pt x="186" y="2"/>
                    </a:lnTo>
                    <a:lnTo>
                      <a:pt x="214" y="4"/>
                    </a:lnTo>
                    <a:lnTo>
                      <a:pt x="214" y="4"/>
                    </a:lnTo>
                    <a:lnTo>
                      <a:pt x="216" y="4"/>
                    </a:lnTo>
                    <a:lnTo>
                      <a:pt x="222" y="12"/>
                    </a:lnTo>
                    <a:lnTo>
                      <a:pt x="222" y="12"/>
                    </a:lnTo>
                    <a:lnTo>
                      <a:pt x="246" y="10"/>
                    </a:lnTo>
                    <a:lnTo>
                      <a:pt x="246" y="10"/>
                    </a:lnTo>
                    <a:lnTo>
                      <a:pt x="248" y="10"/>
                    </a:lnTo>
                    <a:lnTo>
                      <a:pt x="262" y="22"/>
                    </a:lnTo>
                    <a:lnTo>
                      <a:pt x="262" y="22"/>
                    </a:lnTo>
                    <a:lnTo>
                      <a:pt x="264" y="22"/>
                    </a:lnTo>
                    <a:lnTo>
                      <a:pt x="266" y="44"/>
                    </a:lnTo>
                    <a:lnTo>
                      <a:pt x="270" y="44"/>
                    </a:lnTo>
                    <a:lnTo>
                      <a:pt x="270" y="44"/>
                    </a:lnTo>
                    <a:lnTo>
                      <a:pt x="272" y="46"/>
                    </a:lnTo>
                    <a:lnTo>
                      <a:pt x="272" y="50"/>
                    </a:lnTo>
                    <a:lnTo>
                      <a:pt x="272" y="50"/>
                    </a:lnTo>
                    <a:lnTo>
                      <a:pt x="272" y="52"/>
                    </a:lnTo>
                    <a:lnTo>
                      <a:pt x="254" y="68"/>
                    </a:lnTo>
                    <a:lnTo>
                      <a:pt x="250" y="78"/>
                    </a:lnTo>
                    <a:lnTo>
                      <a:pt x="248" y="96"/>
                    </a:lnTo>
                    <a:lnTo>
                      <a:pt x="248" y="96"/>
                    </a:lnTo>
                    <a:lnTo>
                      <a:pt x="248" y="96"/>
                    </a:lnTo>
                    <a:lnTo>
                      <a:pt x="240" y="108"/>
                    </a:lnTo>
                    <a:lnTo>
                      <a:pt x="244" y="122"/>
                    </a:lnTo>
                    <a:lnTo>
                      <a:pt x="246" y="144"/>
                    </a:lnTo>
                    <a:lnTo>
                      <a:pt x="246" y="156"/>
                    </a:lnTo>
                    <a:lnTo>
                      <a:pt x="248" y="166"/>
                    </a:lnTo>
                    <a:lnTo>
                      <a:pt x="260" y="182"/>
                    </a:lnTo>
                    <a:lnTo>
                      <a:pt x="260" y="182"/>
                    </a:lnTo>
                    <a:lnTo>
                      <a:pt x="262" y="182"/>
                    </a:lnTo>
                    <a:lnTo>
                      <a:pt x="264" y="198"/>
                    </a:lnTo>
                    <a:lnTo>
                      <a:pt x="264" y="198"/>
                    </a:lnTo>
                    <a:lnTo>
                      <a:pt x="262" y="198"/>
                    </a:lnTo>
                    <a:lnTo>
                      <a:pt x="262" y="198"/>
                    </a:lnTo>
                    <a:lnTo>
                      <a:pt x="262" y="200"/>
                    </a:lnTo>
                    <a:lnTo>
                      <a:pt x="246" y="200"/>
                    </a:lnTo>
                    <a:lnTo>
                      <a:pt x="232" y="206"/>
                    </a:lnTo>
                    <a:lnTo>
                      <a:pt x="234" y="220"/>
                    </a:lnTo>
                    <a:lnTo>
                      <a:pt x="230" y="240"/>
                    </a:lnTo>
                    <a:lnTo>
                      <a:pt x="240" y="248"/>
                    </a:lnTo>
                    <a:lnTo>
                      <a:pt x="252" y="254"/>
                    </a:lnTo>
                    <a:lnTo>
                      <a:pt x="252" y="254"/>
                    </a:lnTo>
                    <a:lnTo>
                      <a:pt x="252" y="254"/>
                    </a:lnTo>
                    <a:lnTo>
                      <a:pt x="252" y="272"/>
                    </a:lnTo>
                    <a:lnTo>
                      <a:pt x="252" y="272"/>
                    </a:lnTo>
                    <a:lnTo>
                      <a:pt x="250" y="274"/>
                    </a:lnTo>
                    <a:lnTo>
                      <a:pt x="238" y="2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3" name="Freeform 504"/>
              <p:cNvSpPr>
                <a:spLocks noEditPoints="1"/>
              </p:cNvSpPr>
              <p:nvPr/>
            </p:nvSpPr>
            <p:spPr bwMode="auto">
              <a:xfrm>
                <a:off x="3035" y="2445"/>
                <a:ext cx="276" cy="278"/>
              </a:xfrm>
              <a:custGeom>
                <a:avLst/>
                <a:gdLst>
                  <a:gd name="T0" fmla="*/ 148 w 276"/>
                  <a:gd name="T1" fmla="*/ 22 h 278"/>
                  <a:gd name="T2" fmla="*/ 224 w 276"/>
                  <a:gd name="T3" fmla="*/ 16 h 278"/>
                  <a:gd name="T4" fmla="*/ 272 w 276"/>
                  <a:gd name="T5" fmla="*/ 48 h 278"/>
                  <a:gd name="T6" fmla="*/ 248 w 276"/>
                  <a:gd name="T7" fmla="*/ 98 h 278"/>
                  <a:gd name="T8" fmla="*/ 246 w 276"/>
                  <a:gd name="T9" fmla="*/ 158 h 278"/>
                  <a:gd name="T10" fmla="*/ 246 w 276"/>
                  <a:gd name="T11" fmla="*/ 200 h 278"/>
                  <a:gd name="T12" fmla="*/ 240 w 276"/>
                  <a:gd name="T13" fmla="*/ 252 h 278"/>
                  <a:gd name="T14" fmla="*/ 232 w 276"/>
                  <a:gd name="T15" fmla="*/ 262 h 278"/>
                  <a:gd name="T16" fmla="*/ 168 w 276"/>
                  <a:gd name="T17" fmla="*/ 238 h 278"/>
                  <a:gd name="T18" fmla="*/ 136 w 276"/>
                  <a:gd name="T19" fmla="*/ 186 h 278"/>
                  <a:gd name="T20" fmla="*/ 66 w 276"/>
                  <a:gd name="T21" fmla="*/ 176 h 278"/>
                  <a:gd name="T22" fmla="*/ 10 w 276"/>
                  <a:gd name="T23" fmla="*/ 150 h 278"/>
                  <a:gd name="T24" fmla="*/ 62 w 276"/>
                  <a:gd name="T25" fmla="*/ 104 h 278"/>
                  <a:gd name="T26" fmla="*/ 92 w 276"/>
                  <a:gd name="T27" fmla="*/ 18 h 278"/>
                  <a:gd name="T28" fmla="*/ 104 w 276"/>
                  <a:gd name="T29" fmla="*/ 0 h 278"/>
                  <a:gd name="T30" fmla="*/ 88 w 276"/>
                  <a:gd name="T31" fmla="*/ 16 h 278"/>
                  <a:gd name="T32" fmla="*/ 80 w 276"/>
                  <a:gd name="T33" fmla="*/ 68 h 278"/>
                  <a:gd name="T34" fmla="*/ 54 w 276"/>
                  <a:gd name="T35" fmla="*/ 130 h 278"/>
                  <a:gd name="T36" fmla="*/ 8 w 276"/>
                  <a:gd name="T37" fmla="*/ 146 h 278"/>
                  <a:gd name="T38" fmla="*/ 0 w 276"/>
                  <a:gd name="T39" fmla="*/ 164 h 278"/>
                  <a:gd name="T40" fmla="*/ 8 w 276"/>
                  <a:gd name="T41" fmla="*/ 168 h 278"/>
                  <a:gd name="T42" fmla="*/ 62 w 276"/>
                  <a:gd name="T43" fmla="*/ 178 h 278"/>
                  <a:gd name="T44" fmla="*/ 76 w 276"/>
                  <a:gd name="T45" fmla="*/ 196 h 278"/>
                  <a:gd name="T46" fmla="*/ 102 w 276"/>
                  <a:gd name="T47" fmla="*/ 198 h 278"/>
                  <a:gd name="T48" fmla="*/ 132 w 276"/>
                  <a:gd name="T49" fmla="*/ 222 h 278"/>
                  <a:gd name="T50" fmla="*/ 140 w 276"/>
                  <a:gd name="T51" fmla="*/ 236 h 278"/>
                  <a:gd name="T52" fmla="*/ 144 w 276"/>
                  <a:gd name="T53" fmla="*/ 242 h 278"/>
                  <a:gd name="T54" fmla="*/ 202 w 276"/>
                  <a:gd name="T55" fmla="*/ 256 h 278"/>
                  <a:gd name="T56" fmla="*/ 218 w 276"/>
                  <a:gd name="T57" fmla="*/ 260 h 278"/>
                  <a:gd name="T58" fmla="*/ 236 w 276"/>
                  <a:gd name="T59" fmla="*/ 276 h 278"/>
                  <a:gd name="T60" fmla="*/ 252 w 276"/>
                  <a:gd name="T61" fmla="*/ 278 h 278"/>
                  <a:gd name="T62" fmla="*/ 256 w 276"/>
                  <a:gd name="T63" fmla="*/ 256 h 278"/>
                  <a:gd name="T64" fmla="*/ 236 w 276"/>
                  <a:gd name="T65" fmla="*/ 242 h 278"/>
                  <a:gd name="T66" fmla="*/ 236 w 276"/>
                  <a:gd name="T67" fmla="*/ 208 h 278"/>
                  <a:gd name="T68" fmla="*/ 266 w 276"/>
                  <a:gd name="T69" fmla="*/ 202 h 278"/>
                  <a:gd name="T70" fmla="*/ 266 w 276"/>
                  <a:gd name="T71" fmla="*/ 184 h 278"/>
                  <a:gd name="T72" fmla="*/ 250 w 276"/>
                  <a:gd name="T73" fmla="*/ 146 h 278"/>
                  <a:gd name="T74" fmla="*/ 244 w 276"/>
                  <a:gd name="T75" fmla="*/ 110 h 278"/>
                  <a:gd name="T76" fmla="*/ 254 w 276"/>
                  <a:gd name="T77" fmla="*/ 80 h 278"/>
                  <a:gd name="T78" fmla="*/ 276 w 276"/>
                  <a:gd name="T79" fmla="*/ 52 h 278"/>
                  <a:gd name="T80" fmla="*/ 274 w 276"/>
                  <a:gd name="T81" fmla="*/ 44 h 278"/>
                  <a:gd name="T82" fmla="*/ 266 w 276"/>
                  <a:gd name="T83" fmla="*/ 22 h 278"/>
                  <a:gd name="T84" fmla="*/ 248 w 276"/>
                  <a:gd name="T85" fmla="*/ 10 h 278"/>
                  <a:gd name="T86" fmla="*/ 220 w 276"/>
                  <a:gd name="T87" fmla="*/ 4 h 278"/>
                  <a:gd name="T88" fmla="*/ 190 w 276"/>
                  <a:gd name="T89" fmla="*/ 2 h 278"/>
                  <a:gd name="T90" fmla="*/ 158 w 276"/>
                  <a:gd name="T91" fmla="*/ 10 h 278"/>
                  <a:gd name="T92" fmla="*/ 120 w 276"/>
                  <a:gd name="T93" fmla="*/ 12 h 278"/>
                  <a:gd name="T94" fmla="*/ 104 w 276"/>
                  <a:gd name="T9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6" h="278">
                    <a:moveTo>
                      <a:pt x="104" y="4"/>
                    </a:moveTo>
                    <a:lnTo>
                      <a:pt x="118" y="16"/>
                    </a:lnTo>
                    <a:lnTo>
                      <a:pt x="128" y="20"/>
                    </a:lnTo>
                    <a:lnTo>
                      <a:pt x="148" y="22"/>
                    </a:lnTo>
                    <a:lnTo>
                      <a:pt x="158" y="14"/>
                    </a:lnTo>
                    <a:lnTo>
                      <a:pt x="190" y="6"/>
                    </a:lnTo>
                    <a:lnTo>
                      <a:pt x="216" y="8"/>
                    </a:lnTo>
                    <a:lnTo>
                      <a:pt x="224" y="16"/>
                    </a:lnTo>
                    <a:lnTo>
                      <a:pt x="248" y="14"/>
                    </a:lnTo>
                    <a:lnTo>
                      <a:pt x="264" y="26"/>
                    </a:lnTo>
                    <a:lnTo>
                      <a:pt x="266" y="46"/>
                    </a:lnTo>
                    <a:lnTo>
                      <a:pt x="272" y="48"/>
                    </a:lnTo>
                    <a:lnTo>
                      <a:pt x="272" y="52"/>
                    </a:lnTo>
                    <a:lnTo>
                      <a:pt x="254" y="68"/>
                    </a:lnTo>
                    <a:lnTo>
                      <a:pt x="250" y="80"/>
                    </a:lnTo>
                    <a:lnTo>
                      <a:pt x="248" y="98"/>
                    </a:lnTo>
                    <a:lnTo>
                      <a:pt x="240" y="110"/>
                    </a:lnTo>
                    <a:lnTo>
                      <a:pt x="246" y="124"/>
                    </a:lnTo>
                    <a:lnTo>
                      <a:pt x="246" y="146"/>
                    </a:lnTo>
                    <a:lnTo>
                      <a:pt x="246" y="158"/>
                    </a:lnTo>
                    <a:lnTo>
                      <a:pt x="248" y="168"/>
                    </a:lnTo>
                    <a:lnTo>
                      <a:pt x="262" y="186"/>
                    </a:lnTo>
                    <a:lnTo>
                      <a:pt x="264" y="200"/>
                    </a:lnTo>
                    <a:lnTo>
                      <a:pt x="246" y="200"/>
                    </a:lnTo>
                    <a:lnTo>
                      <a:pt x="232" y="206"/>
                    </a:lnTo>
                    <a:lnTo>
                      <a:pt x="234" y="222"/>
                    </a:lnTo>
                    <a:lnTo>
                      <a:pt x="230" y="242"/>
                    </a:lnTo>
                    <a:lnTo>
                      <a:pt x="240" y="252"/>
                    </a:lnTo>
                    <a:lnTo>
                      <a:pt x="252" y="256"/>
                    </a:lnTo>
                    <a:lnTo>
                      <a:pt x="252" y="274"/>
                    </a:lnTo>
                    <a:lnTo>
                      <a:pt x="240" y="274"/>
                    </a:lnTo>
                    <a:lnTo>
                      <a:pt x="232" y="262"/>
                    </a:lnTo>
                    <a:lnTo>
                      <a:pt x="222" y="256"/>
                    </a:lnTo>
                    <a:lnTo>
                      <a:pt x="214" y="246"/>
                    </a:lnTo>
                    <a:lnTo>
                      <a:pt x="202" y="252"/>
                    </a:lnTo>
                    <a:lnTo>
                      <a:pt x="168" y="238"/>
                    </a:lnTo>
                    <a:lnTo>
                      <a:pt x="144" y="238"/>
                    </a:lnTo>
                    <a:lnTo>
                      <a:pt x="146" y="226"/>
                    </a:lnTo>
                    <a:lnTo>
                      <a:pt x="136" y="220"/>
                    </a:lnTo>
                    <a:lnTo>
                      <a:pt x="136" y="186"/>
                    </a:lnTo>
                    <a:lnTo>
                      <a:pt x="112" y="180"/>
                    </a:lnTo>
                    <a:lnTo>
                      <a:pt x="102" y="194"/>
                    </a:lnTo>
                    <a:lnTo>
                      <a:pt x="76" y="192"/>
                    </a:lnTo>
                    <a:lnTo>
                      <a:pt x="66" y="176"/>
                    </a:lnTo>
                    <a:lnTo>
                      <a:pt x="64" y="164"/>
                    </a:lnTo>
                    <a:lnTo>
                      <a:pt x="10" y="164"/>
                    </a:lnTo>
                    <a:lnTo>
                      <a:pt x="4" y="162"/>
                    </a:lnTo>
                    <a:lnTo>
                      <a:pt x="10" y="150"/>
                    </a:lnTo>
                    <a:lnTo>
                      <a:pt x="16" y="148"/>
                    </a:lnTo>
                    <a:lnTo>
                      <a:pt x="34" y="144"/>
                    </a:lnTo>
                    <a:lnTo>
                      <a:pt x="58" y="132"/>
                    </a:lnTo>
                    <a:lnTo>
                      <a:pt x="62" y="104"/>
                    </a:lnTo>
                    <a:lnTo>
                      <a:pt x="82" y="70"/>
                    </a:lnTo>
                    <a:lnTo>
                      <a:pt x="88" y="42"/>
                    </a:lnTo>
                    <a:lnTo>
                      <a:pt x="90" y="30"/>
                    </a:lnTo>
                    <a:lnTo>
                      <a:pt x="92" y="18"/>
                    </a:lnTo>
                    <a:lnTo>
                      <a:pt x="104" y="4"/>
                    </a:lnTo>
                    <a:close/>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4" name="Freeform 505"/>
              <p:cNvSpPr>
                <a:spLocks/>
              </p:cNvSpPr>
              <p:nvPr/>
            </p:nvSpPr>
            <p:spPr bwMode="auto">
              <a:xfrm>
                <a:off x="3039" y="2449"/>
                <a:ext cx="268" cy="270"/>
              </a:xfrm>
              <a:custGeom>
                <a:avLst/>
                <a:gdLst>
                  <a:gd name="T0" fmla="*/ 100 w 268"/>
                  <a:gd name="T1" fmla="*/ 0 h 270"/>
                  <a:gd name="T2" fmla="*/ 114 w 268"/>
                  <a:gd name="T3" fmla="*/ 12 h 270"/>
                  <a:gd name="T4" fmla="*/ 124 w 268"/>
                  <a:gd name="T5" fmla="*/ 16 h 270"/>
                  <a:gd name="T6" fmla="*/ 144 w 268"/>
                  <a:gd name="T7" fmla="*/ 18 h 270"/>
                  <a:gd name="T8" fmla="*/ 154 w 268"/>
                  <a:gd name="T9" fmla="*/ 10 h 270"/>
                  <a:gd name="T10" fmla="*/ 186 w 268"/>
                  <a:gd name="T11" fmla="*/ 2 h 270"/>
                  <a:gd name="T12" fmla="*/ 212 w 268"/>
                  <a:gd name="T13" fmla="*/ 4 h 270"/>
                  <a:gd name="T14" fmla="*/ 220 w 268"/>
                  <a:gd name="T15" fmla="*/ 12 h 270"/>
                  <a:gd name="T16" fmla="*/ 244 w 268"/>
                  <a:gd name="T17" fmla="*/ 10 h 270"/>
                  <a:gd name="T18" fmla="*/ 260 w 268"/>
                  <a:gd name="T19" fmla="*/ 22 h 270"/>
                  <a:gd name="T20" fmla="*/ 262 w 268"/>
                  <a:gd name="T21" fmla="*/ 42 h 270"/>
                  <a:gd name="T22" fmla="*/ 268 w 268"/>
                  <a:gd name="T23" fmla="*/ 44 h 270"/>
                  <a:gd name="T24" fmla="*/ 268 w 268"/>
                  <a:gd name="T25" fmla="*/ 48 h 270"/>
                  <a:gd name="T26" fmla="*/ 250 w 268"/>
                  <a:gd name="T27" fmla="*/ 64 h 270"/>
                  <a:gd name="T28" fmla="*/ 246 w 268"/>
                  <a:gd name="T29" fmla="*/ 76 h 270"/>
                  <a:gd name="T30" fmla="*/ 244 w 268"/>
                  <a:gd name="T31" fmla="*/ 94 h 270"/>
                  <a:gd name="T32" fmla="*/ 236 w 268"/>
                  <a:gd name="T33" fmla="*/ 106 h 270"/>
                  <a:gd name="T34" fmla="*/ 242 w 268"/>
                  <a:gd name="T35" fmla="*/ 120 h 270"/>
                  <a:gd name="T36" fmla="*/ 242 w 268"/>
                  <a:gd name="T37" fmla="*/ 142 h 270"/>
                  <a:gd name="T38" fmla="*/ 242 w 268"/>
                  <a:gd name="T39" fmla="*/ 154 h 270"/>
                  <a:gd name="T40" fmla="*/ 244 w 268"/>
                  <a:gd name="T41" fmla="*/ 164 h 270"/>
                  <a:gd name="T42" fmla="*/ 258 w 268"/>
                  <a:gd name="T43" fmla="*/ 182 h 270"/>
                  <a:gd name="T44" fmla="*/ 260 w 268"/>
                  <a:gd name="T45" fmla="*/ 196 h 270"/>
                  <a:gd name="T46" fmla="*/ 242 w 268"/>
                  <a:gd name="T47" fmla="*/ 196 h 270"/>
                  <a:gd name="T48" fmla="*/ 228 w 268"/>
                  <a:gd name="T49" fmla="*/ 202 h 270"/>
                  <a:gd name="T50" fmla="*/ 230 w 268"/>
                  <a:gd name="T51" fmla="*/ 218 h 270"/>
                  <a:gd name="T52" fmla="*/ 226 w 268"/>
                  <a:gd name="T53" fmla="*/ 238 h 270"/>
                  <a:gd name="T54" fmla="*/ 236 w 268"/>
                  <a:gd name="T55" fmla="*/ 248 h 270"/>
                  <a:gd name="T56" fmla="*/ 248 w 268"/>
                  <a:gd name="T57" fmla="*/ 252 h 270"/>
                  <a:gd name="T58" fmla="*/ 248 w 268"/>
                  <a:gd name="T59" fmla="*/ 270 h 270"/>
                  <a:gd name="T60" fmla="*/ 236 w 268"/>
                  <a:gd name="T61" fmla="*/ 270 h 270"/>
                  <a:gd name="T62" fmla="*/ 228 w 268"/>
                  <a:gd name="T63" fmla="*/ 258 h 270"/>
                  <a:gd name="T64" fmla="*/ 218 w 268"/>
                  <a:gd name="T65" fmla="*/ 252 h 270"/>
                  <a:gd name="T66" fmla="*/ 210 w 268"/>
                  <a:gd name="T67" fmla="*/ 242 h 270"/>
                  <a:gd name="T68" fmla="*/ 198 w 268"/>
                  <a:gd name="T69" fmla="*/ 248 h 270"/>
                  <a:gd name="T70" fmla="*/ 164 w 268"/>
                  <a:gd name="T71" fmla="*/ 234 h 270"/>
                  <a:gd name="T72" fmla="*/ 140 w 268"/>
                  <a:gd name="T73" fmla="*/ 234 h 270"/>
                  <a:gd name="T74" fmla="*/ 142 w 268"/>
                  <a:gd name="T75" fmla="*/ 222 h 270"/>
                  <a:gd name="T76" fmla="*/ 132 w 268"/>
                  <a:gd name="T77" fmla="*/ 216 h 270"/>
                  <a:gd name="T78" fmla="*/ 132 w 268"/>
                  <a:gd name="T79" fmla="*/ 182 h 270"/>
                  <a:gd name="T80" fmla="*/ 108 w 268"/>
                  <a:gd name="T81" fmla="*/ 176 h 270"/>
                  <a:gd name="T82" fmla="*/ 98 w 268"/>
                  <a:gd name="T83" fmla="*/ 190 h 270"/>
                  <a:gd name="T84" fmla="*/ 72 w 268"/>
                  <a:gd name="T85" fmla="*/ 188 h 270"/>
                  <a:gd name="T86" fmla="*/ 62 w 268"/>
                  <a:gd name="T87" fmla="*/ 172 h 270"/>
                  <a:gd name="T88" fmla="*/ 60 w 268"/>
                  <a:gd name="T89" fmla="*/ 160 h 270"/>
                  <a:gd name="T90" fmla="*/ 6 w 268"/>
                  <a:gd name="T91" fmla="*/ 160 h 270"/>
                  <a:gd name="T92" fmla="*/ 0 w 268"/>
                  <a:gd name="T93" fmla="*/ 158 h 270"/>
                  <a:gd name="T94" fmla="*/ 6 w 268"/>
                  <a:gd name="T95" fmla="*/ 146 h 270"/>
                  <a:gd name="T96" fmla="*/ 12 w 268"/>
                  <a:gd name="T97" fmla="*/ 144 h 270"/>
                  <a:gd name="T98" fmla="*/ 30 w 268"/>
                  <a:gd name="T99" fmla="*/ 140 h 270"/>
                  <a:gd name="T100" fmla="*/ 54 w 268"/>
                  <a:gd name="T101" fmla="*/ 128 h 270"/>
                  <a:gd name="T102" fmla="*/ 58 w 268"/>
                  <a:gd name="T103" fmla="*/ 100 h 270"/>
                  <a:gd name="T104" fmla="*/ 78 w 268"/>
                  <a:gd name="T105" fmla="*/ 66 h 270"/>
                  <a:gd name="T106" fmla="*/ 84 w 268"/>
                  <a:gd name="T107" fmla="*/ 38 h 270"/>
                  <a:gd name="T108" fmla="*/ 86 w 268"/>
                  <a:gd name="T109" fmla="*/ 26 h 270"/>
                  <a:gd name="T110" fmla="*/ 88 w 268"/>
                  <a:gd name="T111" fmla="*/ 14 h 270"/>
                  <a:gd name="T112" fmla="*/ 100 w 268"/>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70">
                    <a:moveTo>
                      <a:pt x="100" y="0"/>
                    </a:moveTo>
                    <a:lnTo>
                      <a:pt x="114" y="12"/>
                    </a:lnTo>
                    <a:lnTo>
                      <a:pt x="124" y="16"/>
                    </a:lnTo>
                    <a:lnTo>
                      <a:pt x="144" y="18"/>
                    </a:lnTo>
                    <a:lnTo>
                      <a:pt x="154" y="10"/>
                    </a:lnTo>
                    <a:lnTo>
                      <a:pt x="186" y="2"/>
                    </a:lnTo>
                    <a:lnTo>
                      <a:pt x="212" y="4"/>
                    </a:lnTo>
                    <a:lnTo>
                      <a:pt x="220" y="12"/>
                    </a:lnTo>
                    <a:lnTo>
                      <a:pt x="244" y="10"/>
                    </a:lnTo>
                    <a:lnTo>
                      <a:pt x="260" y="22"/>
                    </a:lnTo>
                    <a:lnTo>
                      <a:pt x="262" y="42"/>
                    </a:lnTo>
                    <a:lnTo>
                      <a:pt x="268" y="44"/>
                    </a:lnTo>
                    <a:lnTo>
                      <a:pt x="268" y="48"/>
                    </a:lnTo>
                    <a:lnTo>
                      <a:pt x="250" y="64"/>
                    </a:lnTo>
                    <a:lnTo>
                      <a:pt x="246" y="76"/>
                    </a:lnTo>
                    <a:lnTo>
                      <a:pt x="244" y="94"/>
                    </a:lnTo>
                    <a:lnTo>
                      <a:pt x="236" y="106"/>
                    </a:lnTo>
                    <a:lnTo>
                      <a:pt x="242" y="120"/>
                    </a:lnTo>
                    <a:lnTo>
                      <a:pt x="242" y="142"/>
                    </a:lnTo>
                    <a:lnTo>
                      <a:pt x="242" y="154"/>
                    </a:lnTo>
                    <a:lnTo>
                      <a:pt x="244" y="164"/>
                    </a:lnTo>
                    <a:lnTo>
                      <a:pt x="258" y="182"/>
                    </a:lnTo>
                    <a:lnTo>
                      <a:pt x="260" y="196"/>
                    </a:lnTo>
                    <a:lnTo>
                      <a:pt x="242" y="196"/>
                    </a:lnTo>
                    <a:lnTo>
                      <a:pt x="228" y="202"/>
                    </a:lnTo>
                    <a:lnTo>
                      <a:pt x="230" y="218"/>
                    </a:lnTo>
                    <a:lnTo>
                      <a:pt x="226" y="238"/>
                    </a:lnTo>
                    <a:lnTo>
                      <a:pt x="236" y="248"/>
                    </a:lnTo>
                    <a:lnTo>
                      <a:pt x="248" y="252"/>
                    </a:lnTo>
                    <a:lnTo>
                      <a:pt x="248" y="270"/>
                    </a:lnTo>
                    <a:lnTo>
                      <a:pt x="236" y="270"/>
                    </a:lnTo>
                    <a:lnTo>
                      <a:pt x="228" y="258"/>
                    </a:lnTo>
                    <a:lnTo>
                      <a:pt x="218" y="252"/>
                    </a:lnTo>
                    <a:lnTo>
                      <a:pt x="210" y="242"/>
                    </a:lnTo>
                    <a:lnTo>
                      <a:pt x="198" y="248"/>
                    </a:lnTo>
                    <a:lnTo>
                      <a:pt x="164" y="234"/>
                    </a:lnTo>
                    <a:lnTo>
                      <a:pt x="140" y="234"/>
                    </a:lnTo>
                    <a:lnTo>
                      <a:pt x="142" y="222"/>
                    </a:lnTo>
                    <a:lnTo>
                      <a:pt x="132" y="216"/>
                    </a:lnTo>
                    <a:lnTo>
                      <a:pt x="132" y="182"/>
                    </a:lnTo>
                    <a:lnTo>
                      <a:pt x="108" y="176"/>
                    </a:lnTo>
                    <a:lnTo>
                      <a:pt x="98" y="190"/>
                    </a:lnTo>
                    <a:lnTo>
                      <a:pt x="72" y="188"/>
                    </a:lnTo>
                    <a:lnTo>
                      <a:pt x="62" y="172"/>
                    </a:lnTo>
                    <a:lnTo>
                      <a:pt x="60" y="160"/>
                    </a:lnTo>
                    <a:lnTo>
                      <a:pt x="6" y="160"/>
                    </a:lnTo>
                    <a:lnTo>
                      <a:pt x="0" y="158"/>
                    </a:lnTo>
                    <a:lnTo>
                      <a:pt x="6" y="146"/>
                    </a:lnTo>
                    <a:lnTo>
                      <a:pt x="12" y="144"/>
                    </a:lnTo>
                    <a:lnTo>
                      <a:pt x="30" y="140"/>
                    </a:lnTo>
                    <a:lnTo>
                      <a:pt x="54" y="128"/>
                    </a:lnTo>
                    <a:lnTo>
                      <a:pt x="58" y="100"/>
                    </a:lnTo>
                    <a:lnTo>
                      <a:pt x="78" y="66"/>
                    </a:lnTo>
                    <a:lnTo>
                      <a:pt x="84" y="38"/>
                    </a:lnTo>
                    <a:lnTo>
                      <a:pt x="86" y="26"/>
                    </a:lnTo>
                    <a:lnTo>
                      <a:pt x="88" y="1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5" name="Freeform 506"/>
              <p:cNvSpPr>
                <a:spLocks/>
              </p:cNvSpPr>
              <p:nvPr/>
            </p:nvSpPr>
            <p:spPr bwMode="auto">
              <a:xfrm>
                <a:off x="3035" y="2445"/>
                <a:ext cx="276" cy="278"/>
              </a:xfrm>
              <a:custGeom>
                <a:avLst/>
                <a:gdLst>
                  <a:gd name="T0" fmla="*/ 104 w 276"/>
                  <a:gd name="T1" fmla="*/ 0 h 278"/>
                  <a:gd name="T2" fmla="*/ 88 w 276"/>
                  <a:gd name="T3" fmla="*/ 16 h 278"/>
                  <a:gd name="T4" fmla="*/ 86 w 276"/>
                  <a:gd name="T5" fmla="*/ 30 h 278"/>
                  <a:gd name="T6" fmla="*/ 58 w 276"/>
                  <a:gd name="T7" fmla="*/ 102 h 278"/>
                  <a:gd name="T8" fmla="*/ 54 w 276"/>
                  <a:gd name="T9" fmla="*/ 130 h 278"/>
                  <a:gd name="T10" fmla="*/ 8 w 276"/>
                  <a:gd name="T11" fmla="*/ 146 h 278"/>
                  <a:gd name="T12" fmla="*/ 0 w 276"/>
                  <a:gd name="T13" fmla="*/ 160 h 278"/>
                  <a:gd name="T14" fmla="*/ 0 w 276"/>
                  <a:gd name="T15" fmla="*/ 164 h 278"/>
                  <a:gd name="T16" fmla="*/ 8 w 276"/>
                  <a:gd name="T17" fmla="*/ 168 h 278"/>
                  <a:gd name="T18" fmla="*/ 62 w 276"/>
                  <a:gd name="T19" fmla="*/ 178 h 278"/>
                  <a:gd name="T20" fmla="*/ 72 w 276"/>
                  <a:gd name="T21" fmla="*/ 194 h 278"/>
                  <a:gd name="T22" fmla="*/ 102 w 276"/>
                  <a:gd name="T23" fmla="*/ 198 h 278"/>
                  <a:gd name="T24" fmla="*/ 102 w 276"/>
                  <a:gd name="T25" fmla="*/ 198 h 278"/>
                  <a:gd name="T26" fmla="*/ 132 w 276"/>
                  <a:gd name="T27" fmla="*/ 188 h 278"/>
                  <a:gd name="T28" fmla="*/ 134 w 276"/>
                  <a:gd name="T29" fmla="*/ 224 h 278"/>
                  <a:gd name="T30" fmla="*/ 140 w 276"/>
                  <a:gd name="T31" fmla="*/ 236 h 278"/>
                  <a:gd name="T32" fmla="*/ 144 w 276"/>
                  <a:gd name="T33" fmla="*/ 242 h 278"/>
                  <a:gd name="T34" fmla="*/ 200 w 276"/>
                  <a:gd name="T35" fmla="*/ 256 h 278"/>
                  <a:gd name="T36" fmla="*/ 204 w 276"/>
                  <a:gd name="T37" fmla="*/ 256 h 278"/>
                  <a:gd name="T38" fmla="*/ 218 w 276"/>
                  <a:gd name="T39" fmla="*/ 260 h 278"/>
                  <a:gd name="T40" fmla="*/ 236 w 276"/>
                  <a:gd name="T41" fmla="*/ 276 h 278"/>
                  <a:gd name="T42" fmla="*/ 252 w 276"/>
                  <a:gd name="T43" fmla="*/ 278 h 278"/>
                  <a:gd name="T44" fmla="*/ 256 w 276"/>
                  <a:gd name="T45" fmla="*/ 274 h 278"/>
                  <a:gd name="T46" fmla="*/ 256 w 276"/>
                  <a:gd name="T47" fmla="*/ 254 h 278"/>
                  <a:gd name="T48" fmla="*/ 236 w 276"/>
                  <a:gd name="T49" fmla="*/ 242 h 278"/>
                  <a:gd name="T50" fmla="*/ 238 w 276"/>
                  <a:gd name="T51" fmla="*/ 222 h 278"/>
                  <a:gd name="T52" fmla="*/ 264 w 276"/>
                  <a:gd name="T53" fmla="*/ 204 h 278"/>
                  <a:gd name="T54" fmla="*/ 266 w 276"/>
                  <a:gd name="T55" fmla="*/ 202 h 278"/>
                  <a:gd name="T56" fmla="*/ 266 w 276"/>
                  <a:gd name="T57" fmla="*/ 184 h 278"/>
                  <a:gd name="T58" fmla="*/ 250 w 276"/>
                  <a:gd name="T59" fmla="*/ 158 h 278"/>
                  <a:gd name="T60" fmla="*/ 250 w 276"/>
                  <a:gd name="T61" fmla="*/ 124 h 278"/>
                  <a:gd name="T62" fmla="*/ 252 w 276"/>
                  <a:gd name="T63" fmla="*/ 100 h 278"/>
                  <a:gd name="T64" fmla="*/ 254 w 276"/>
                  <a:gd name="T65" fmla="*/ 80 h 278"/>
                  <a:gd name="T66" fmla="*/ 274 w 276"/>
                  <a:gd name="T67" fmla="*/ 56 h 278"/>
                  <a:gd name="T68" fmla="*/ 276 w 276"/>
                  <a:gd name="T69" fmla="*/ 48 h 278"/>
                  <a:gd name="T70" fmla="*/ 270 w 276"/>
                  <a:gd name="T71" fmla="*/ 44 h 278"/>
                  <a:gd name="T72" fmla="*/ 266 w 276"/>
                  <a:gd name="T73" fmla="*/ 22 h 278"/>
                  <a:gd name="T74" fmla="*/ 248 w 276"/>
                  <a:gd name="T75" fmla="*/ 10 h 278"/>
                  <a:gd name="T76" fmla="*/ 226 w 276"/>
                  <a:gd name="T77" fmla="*/ 12 h 278"/>
                  <a:gd name="T78" fmla="*/ 216 w 276"/>
                  <a:gd name="T79" fmla="*/ 4 h 278"/>
                  <a:gd name="T80" fmla="*/ 190 w 276"/>
                  <a:gd name="T81" fmla="*/ 2 h 278"/>
                  <a:gd name="T82" fmla="*/ 158 w 276"/>
                  <a:gd name="T83" fmla="*/ 10 h 278"/>
                  <a:gd name="T84" fmla="*/ 146 w 276"/>
                  <a:gd name="T85" fmla="*/ 18 h 278"/>
                  <a:gd name="T86" fmla="*/ 108 w 276"/>
                  <a:gd name="T87" fmla="*/ 0 h 278"/>
                  <a:gd name="T88" fmla="*/ 104 w 276"/>
                  <a:gd name="T8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6" h="278">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6" name="Freeform 507"/>
              <p:cNvSpPr>
                <a:spLocks/>
              </p:cNvSpPr>
              <p:nvPr/>
            </p:nvSpPr>
            <p:spPr bwMode="auto">
              <a:xfrm>
                <a:off x="3031" y="2587"/>
                <a:ext cx="16" cy="20"/>
              </a:xfrm>
              <a:custGeom>
                <a:avLst/>
                <a:gdLst>
                  <a:gd name="T0" fmla="*/ 2 w 16"/>
                  <a:gd name="T1" fmla="*/ 20 h 20"/>
                  <a:gd name="T2" fmla="*/ 2 w 16"/>
                  <a:gd name="T3" fmla="*/ 20 h 20"/>
                  <a:gd name="T4" fmla="*/ 2 w 16"/>
                  <a:gd name="T5" fmla="*/ 20 h 20"/>
                  <a:gd name="T6" fmla="*/ 2 w 16"/>
                  <a:gd name="T7" fmla="*/ 20 h 20"/>
                  <a:gd name="T8" fmla="*/ 0 w 16"/>
                  <a:gd name="T9" fmla="*/ 18 h 20"/>
                  <a:gd name="T10" fmla="*/ 0 w 16"/>
                  <a:gd name="T11" fmla="*/ 6 h 20"/>
                  <a:gd name="T12" fmla="*/ 0 w 16"/>
                  <a:gd name="T13" fmla="*/ 6 h 20"/>
                  <a:gd name="T14" fmla="*/ 2 w 16"/>
                  <a:gd name="T15" fmla="*/ 4 h 20"/>
                  <a:gd name="T16" fmla="*/ 10 w 16"/>
                  <a:gd name="T17" fmla="*/ 0 h 20"/>
                  <a:gd name="T18" fmla="*/ 10 w 16"/>
                  <a:gd name="T19" fmla="*/ 0 h 20"/>
                  <a:gd name="T20" fmla="*/ 12 w 16"/>
                  <a:gd name="T21" fmla="*/ 0 h 20"/>
                  <a:gd name="T22" fmla="*/ 12 w 16"/>
                  <a:gd name="T23" fmla="*/ 0 h 20"/>
                  <a:gd name="T24" fmla="*/ 14 w 16"/>
                  <a:gd name="T25" fmla="*/ 0 h 20"/>
                  <a:gd name="T26" fmla="*/ 14 w 16"/>
                  <a:gd name="T27" fmla="*/ 4 h 20"/>
                  <a:gd name="T28" fmla="*/ 14 w 16"/>
                  <a:gd name="T29" fmla="*/ 4 h 20"/>
                  <a:gd name="T30" fmla="*/ 16 w 16"/>
                  <a:gd name="T31" fmla="*/ 6 h 20"/>
                  <a:gd name="T32" fmla="*/ 14 w 16"/>
                  <a:gd name="T33" fmla="*/ 12 h 20"/>
                  <a:gd name="T34" fmla="*/ 14 w 16"/>
                  <a:gd name="T35" fmla="*/ 12 h 20"/>
                  <a:gd name="T36" fmla="*/ 12 w 16"/>
                  <a:gd name="T37" fmla="*/ 14 h 20"/>
                  <a:gd name="T38" fmla="*/ 4 w 16"/>
                  <a:gd name="T39" fmla="*/ 20 h 20"/>
                  <a:gd name="T40" fmla="*/ 4 w 16"/>
                  <a:gd name="T41" fmla="*/ 20 h 20"/>
                  <a:gd name="T42" fmla="*/ 2 w 16"/>
                  <a:gd name="T43" fmla="*/ 20 h 20"/>
                  <a:gd name="T44" fmla="*/ 2 w 16"/>
                  <a:gd name="T4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2" y="20"/>
                    </a:moveTo>
                    <a:lnTo>
                      <a:pt x="2" y="20"/>
                    </a:lnTo>
                    <a:lnTo>
                      <a:pt x="2" y="20"/>
                    </a:lnTo>
                    <a:lnTo>
                      <a:pt x="2" y="20"/>
                    </a:lnTo>
                    <a:lnTo>
                      <a:pt x="0" y="18"/>
                    </a:lnTo>
                    <a:lnTo>
                      <a:pt x="0" y="6"/>
                    </a:lnTo>
                    <a:lnTo>
                      <a:pt x="0" y="6"/>
                    </a:lnTo>
                    <a:lnTo>
                      <a:pt x="2" y="4"/>
                    </a:lnTo>
                    <a:lnTo>
                      <a:pt x="10" y="0"/>
                    </a:lnTo>
                    <a:lnTo>
                      <a:pt x="10" y="0"/>
                    </a:lnTo>
                    <a:lnTo>
                      <a:pt x="12" y="0"/>
                    </a:lnTo>
                    <a:lnTo>
                      <a:pt x="12" y="0"/>
                    </a:lnTo>
                    <a:lnTo>
                      <a:pt x="14" y="0"/>
                    </a:lnTo>
                    <a:lnTo>
                      <a:pt x="14" y="4"/>
                    </a:lnTo>
                    <a:lnTo>
                      <a:pt x="14" y="4"/>
                    </a:lnTo>
                    <a:lnTo>
                      <a:pt x="16" y="6"/>
                    </a:lnTo>
                    <a:lnTo>
                      <a:pt x="14" y="12"/>
                    </a:lnTo>
                    <a:lnTo>
                      <a:pt x="14" y="12"/>
                    </a:lnTo>
                    <a:lnTo>
                      <a:pt x="12" y="14"/>
                    </a:lnTo>
                    <a:lnTo>
                      <a:pt x="4" y="20"/>
                    </a:lnTo>
                    <a:lnTo>
                      <a:pt x="4"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7" name="Freeform 508"/>
              <p:cNvSpPr>
                <a:spLocks noEditPoints="1"/>
              </p:cNvSpPr>
              <p:nvPr/>
            </p:nvSpPr>
            <p:spPr bwMode="auto">
              <a:xfrm>
                <a:off x="3029" y="2585"/>
                <a:ext cx="20" cy="24"/>
              </a:xfrm>
              <a:custGeom>
                <a:avLst/>
                <a:gdLst>
                  <a:gd name="T0" fmla="*/ 14 w 20"/>
                  <a:gd name="T1" fmla="*/ 4 h 24"/>
                  <a:gd name="T2" fmla="*/ 16 w 20"/>
                  <a:gd name="T3" fmla="*/ 8 h 24"/>
                  <a:gd name="T4" fmla="*/ 14 w 20"/>
                  <a:gd name="T5" fmla="*/ 14 h 24"/>
                  <a:gd name="T6" fmla="*/ 4 w 20"/>
                  <a:gd name="T7" fmla="*/ 20 h 24"/>
                  <a:gd name="T8" fmla="*/ 4 w 20"/>
                  <a:gd name="T9" fmla="*/ 8 h 24"/>
                  <a:gd name="T10" fmla="*/ 14 w 20"/>
                  <a:gd name="T11" fmla="*/ 4 h 24"/>
                  <a:gd name="T12" fmla="*/ 14 w 20"/>
                  <a:gd name="T13" fmla="*/ 0 h 24"/>
                  <a:gd name="T14" fmla="*/ 14 w 20"/>
                  <a:gd name="T15" fmla="*/ 0 h 24"/>
                  <a:gd name="T16" fmla="*/ 12 w 20"/>
                  <a:gd name="T17" fmla="*/ 0 h 24"/>
                  <a:gd name="T18" fmla="*/ 2 w 20"/>
                  <a:gd name="T19" fmla="*/ 4 h 24"/>
                  <a:gd name="T20" fmla="*/ 2 w 20"/>
                  <a:gd name="T21" fmla="*/ 4 h 24"/>
                  <a:gd name="T22" fmla="*/ 0 w 20"/>
                  <a:gd name="T23" fmla="*/ 6 h 24"/>
                  <a:gd name="T24" fmla="*/ 0 w 20"/>
                  <a:gd name="T25" fmla="*/ 8 h 24"/>
                  <a:gd name="T26" fmla="*/ 0 w 20"/>
                  <a:gd name="T27" fmla="*/ 20 h 24"/>
                  <a:gd name="T28" fmla="*/ 0 w 20"/>
                  <a:gd name="T29" fmla="*/ 20 h 24"/>
                  <a:gd name="T30" fmla="*/ 2 w 20"/>
                  <a:gd name="T31" fmla="*/ 24 h 24"/>
                  <a:gd name="T32" fmla="*/ 2 w 20"/>
                  <a:gd name="T33" fmla="*/ 24 h 24"/>
                  <a:gd name="T34" fmla="*/ 4 w 20"/>
                  <a:gd name="T35" fmla="*/ 24 h 24"/>
                  <a:gd name="T36" fmla="*/ 4 w 20"/>
                  <a:gd name="T37" fmla="*/ 24 h 24"/>
                  <a:gd name="T38" fmla="*/ 6 w 20"/>
                  <a:gd name="T39" fmla="*/ 24 h 24"/>
                  <a:gd name="T40" fmla="*/ 16 w 20"/>
                  <a:gd name="T41" fmla="*/ 18 h 24"/>
                  <a:gd name="T42" fmla="*/ 16 w 20"/>
                  <a:gd name="T43" fmla="*/ 18 h 24"/>
                  <a:gd name="T44" fmla="*/ 18 w 20"/>
                  <a:gd name="T45" fmla="*/ 16 h 24"/>
                  <a:gd name="T46" fmla="*/ 20 w 20"/>
                  <a:gd name="T47" fmla="*/ 8 h 24"/>
                  <a:gd name="T48" fmla="*/ 20 w 20"/>
                  <a:gd name="T49" fmla="*/ 8 h 24"/>
                  <a:gd name="T50" fmla="*/ 18 w 20"/>
                  <a:gd name="T51" fmla="*/ 6 h 24"/>
                  <a:gd name="T52" fmla="*/ 16 w 20"/>
                  <a:gd name="T53" fmla="*/ 2 h 24"/>
                  <a:gd name="T54" fmla="*/ 16 w 20"/>
                  <a:gd name="T55" fmla="*/ 2 h 24"/>
                  <a:gd name="T56" fmla="*/ 14 w 20"/>
                  <a:gd name="T57" fmla="*/ 0 h 24"/>
                  <a:gd name="T58" fmla="*/ 14 w 20"/>
                  <a:gd name="T5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4">
                    <a:moveTo>
                      <a:pt x="14" y="4"/>
                    </a:moveTo>
                    <a:lnTo>
                      <a:pt x="16" y="8"/>
                    </a:lnTo>
                    <a:lnTo>
                      <a:pt x="14" y="14"/>
                    </a:lnTo>
                    <a:lnTo>
                      <a:pt x="4" y="20"/>
                    </a:lnTo>
                    <a:lnTo>
                      <a:pt x="4" y="8"/>
                    </a:lnTo>
                    <a:lnTo>
                      <a:pt x="14" y="4"/>
                    </a:lnTo>
                    <a:close/>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8" name="Freeform 509"/>
              <p:cNvSpPr>
                <a:spLocks/>
              </p:cNvSpPr>
              <p:nvPr/>
            </p:nvSpPr>
            <p:spPr bwMode="auto">
              <a:xfrm>
                <a:off x="3033" y="2589"/>
                <a:ext cx="12" cy="16"/>
              </a:xfrm>
              <a:custGeom>
                <a:avLst/>
                <a:gdLst>
                  <a:gd name="T0" fmla="*/ 10 w 12"/>
                  <a:gd name="T1" fmla="*/ 0 h 16"/>
                  <a:gd name="T2" fmla="*/ 12 w 12"/>
                  <a:gd name="T3" fmla="*/ 4 h 16"/>
                  <a:gd name="T4" fmla="*/ 10 w 12"/>
                  <a:gd name="T5" fmla="*/ 10 h 16"/>
                  <a:gd name="T6" fmla="*/ 0 w 12"/>
                  <a:gd name="T7" fmla="*/ 16 h 16"/>
                  <a:gd name="T8" fmla="*/ 0 w 12"/>
                  <a:gd name="T9" fmla="*/ 4 h 16"/>
                  <a:gd name="T10" fmla="*/ 10 w 12"/>
                  <a:gd name="T11" fmla="*/ 0 h 16"/>
                </a:gdLst>
                <a:ahLst/>
                <a:cxnLst>
                  <a:cxn ang="0">
                    <a:pos x="T0" y="T1"/>
                  </a:cxn>
                  <a:cxn ang="0">
                    <a:pos x="T2" y="T3"/>
                  </a:cxn>
                  <a:cxn ang="0">
                    <a:pos x="T4" y="T5"/>
                  </a:cxn>
                  <a:cxn ang="0">
                    <a:pos x="T6" y="T7"/>
                  </a:cxn>
                  <a:cxn ang="0">
                    <a:pos x="T8" y="T9"/>
                  </a:cxn>
                  <a:cxn ang="0">
                    <a:pos x="T10" y="T11"/>
                  </a:cxn>
                </a:cxnLst>
                <a:rect l="0" t="0" r="r" b="b"/>
                <a:pathLst>
                  <a:path w="12" h="16">
                    <a:moveTo>
                      <a:pt x="10" y="0"/>
                    </a:moveTo>
                    <a:lnTo>
                      <a:pt x="12" y="4"/>
                    </a:lnTo>
                    <a:lnTo>
                      <a:pt x="10" y="10"/>
                    </a:lnTo>
                    <a:lnTo>
                      <a:pt x="0" y="16"/>
                    </a:lnTo>
                    <a:lnTo>
                      <a:pt x="0"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9" name="Freeform 510"/>
              <p:cNvSpPr>
                <a:spLocks/>
              </p:cNvSpPr>
              <p:nvPr/>
            </p:nvSpPr>
            <p:spPr bwMode="auto">
              <a:xfrm>
                <a:off x="3029" y="2585"/>
                <a:ext cx="20" cy="24"/>
              </a:xfrm>
              <a:custGeom>
                <a:avLst/>
                <a:gdLst>
                  <a:gd name="T0" fmla="*/ 14 w 20"/>
                  <a:gd name="T1" fmla="*/ 0 h 24"/>
                  <a:gd name="T2" fmla="*/ 14 w 20"/>
                  <a:gd name="T3" fmla="*/ 0 h 24"/>
                  <a:gd name="T4" fmla="*/ 12 w 20"/>
                  <a:gd name="T5" fmla="*/ 0 h 24"/>
                  <a:gd name="T6" fmla="*/ 2 w 20"/>
                  <a:gd name="T7" fmla="*/ 4 h 24"/>
                  <a:gd name="T8" fmla="*/ 2 w 20"/>
                  <a:gd name="T9" fmla="*/ 4 h 24"/>
                  <a:gd name="T10" fmla="*/ 0 w 20"/>
                  <a:gd name="T11" fmla="*/ 6 h 24"/>
                  <a:gd name="T12" fmla="*/ 0 w 20"/>
                  <a:gd name="T13" fmla="*/ 8 h 24"/>
                  <a:gd name="T14" fmla="*/ 0 w 20"/>
                  <a:gd name="T15" fmla="*/ 20 h 24"/>
                  <a:gd name="T16" fmla="*/ 0 w 20"/>
                  <a:gd name="T17" fmla="*/ 20 h 24"/>
                  <a:gd name="T18" fmla="*/ 2 w 20"/>
                  <a:gd name="T19" fmla="*/ 24 h 24"/>
                  <a:gd name="T20" fmla="*/ 2 w 20"/>
                  <a:gd name="T21" fmla="*/ 24 h 24"/>
                  <a:gd name="T22" fmla="*/ 4 w 20"/>
                  <a:gd name="T23" fmla="*/ 24 h 24"/>
                  <a:gd name="T24" fmla="*/ 4 w 20"/>
                  <a:gd name="T25" fmla="*/ 24 h 24"/>
                  <a:gd name="T26" fmla="*/ 6 w 20"/>
                  <a:gd name="T27" fmla="*/ 24 h 24"/>
                  <a:gd name="T28" fmla="*/ 16 w 20"/>
                  <a:gd name="T29" fmla="*/ 18 h 24"/>
                  <a:gd name="T30" fmla="*/ 16 w 20"/>
                  <a:gd name="T31" fmla="*/ 18 h 24"/>
                  <a:gd name="T32" fmla="*/ 18 w 20"/>
                  <a:gd name="T33" fmla="*/ 16 h 24"/>
                  <a:gd name="T34" fmla="*/ 20 w 20"/>
                  <a:gd name="T35" fmla="*/ 8 h 24"/>
                  <a:gd name="T36" fmla="*/ 20 w 20"/>
                  <a:gd name="T37" fmla="*/ 8 h 24"/>
                  <a:gd name="T38" fmla="*/ 18 w 20"/>
                  <a:gd name="T39" fmla="*/ 6 h 24"/>
                  <a:gd name="T40" fmla="*/ 16 w 20"/>
                  <a:gd name="T41" fmla="*/ 2 h 24"/>
                  <a:gd name="T42" fmla="*/ 16 w 20"/>
                  <a:gd name="T43" fmla="*/ 2 h 24"/>
                  <a:gd name="T44" fmla="*/ 14 w 20"/>
                  <a:gd name="T45" fmla="*/ 0 h 24"/>
                  <a:gd name="T46" fmla="*/ 14 w 20"/>
                  <a:gd name="T4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4">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0" name="Freeform 511"/>
              <p:cNvSpPr>
                <a:spLocks/>
              </p:cNvSpPr>
              <p:nvPr/>
            </p:nvSpPr>
            <p:spPr bwMode="auto">
              <a:xfrm>
                <a:off x="3019" y="2469"/>
                <a:ext cx="112" cy="122"/>
              </a:xfrm>
              <a:custGeom>
                <a:avLst/>
                <a:gdLst>
                  <a:gd name="T0" fmla="*/ 16 w 112"/>
                  <a:gd name="T1" fmla="*/ 122 h 122"/>
                  <a:gd name="T2" fmla="*/ 2 w 112"/>
                  <a:gd name="T3" fmla="*/ 108 h 122"/>
                  <a:gd name="T4" fmla="*/ 0 w 112"/>
                  <a:gd name="T5" fmla="*/ 104 h 122"/>
                  <a:gd name="T6" fmla="*/ 2 w 112"/>
                  <a:gd name="T7" fmla="*/ 104 h 122"/>
                  <a:gd name="T8" fmla="*/ 14 w 112"/>
                  <a:gd name="T9" fmla="*/ 98 h 122"/>
                  <a:gd name="T10" fmla="*/ 10 w 112"/>
                  <a:gd name="T11" fmla="*/ 98 h 122"/>
                  <a:gd name="T12" fmla="*/ 8 w 112"/>
                  <a:gd name="T13" fmla="*/ 86 h 122"/>
                  <a:gd name="T14" fmla="*/ 10 w 112"/>
                  <a:gd name="T15" fmla="*/ 84 h 122"/>
                  <a:gd name="T16" fmla="*/ 24 w 112"/>
                  <a:gd name="T17" fmla="*/ 78 h 122"/>
                  <a:gd name="T18" fmla="*/ 26 w 112"/>
                  <a:gd name="T19" fmla="*/ 76 h 122"/>
                  <a:gd name="T20" fmla="*/ 26 w 112"/>
                  <a:gd name="T21" fmla="*/ 76 h 122"/>
                  <a:gd name="T22" fmla="*/ 28 w 112"/>
                  <a:gd name="T23" fmla="*/ 78 h 122"/>
                  <a:gd name="T24" fmla="*/ 46 w 112"/>
                  <a:gd name="T25" fmla="*/ 86 h 122"/>
                  <a:gd name="T26" fmla="*/ 48 w 112"/>
                  <a:gd name="T27" fmla="*/ 64 h 122"/>
                  <a:gd name="T28" fmla="*/ 42 w 112"/>
                  <a:gd name="T29" fmla="*/ 60 h 122"/>
                  <a:gd name="T30" fmla="*/ 42 w 112"/>
                  <a:gd name="T31" fmla="*/ 46 h 122"/>
                  <a:gd name="T32" fmla="*/ 42 w 112"/>
                  <a:gd name="T33" fmla="*/ 46 h 122"/>
                  <a:gd name="T34" fmla="*/ 46 w 112"/>
                  <a:gd name="T35" fmla="*/ 34 h 122"/>
                  <a:gd name="T36" fmla="*/ 34 w 112"/>
                  <a:gd name="T37" fmla="*/ 36 h 122"/>
                  <a:gd name="T38" fmla="*/ 32 w 112"/>
                  <a:gd name="T39" fmla="*/ 34 h 122"/>
                  <a:gd name="T40" fmla="*/ 30 w 112"/>
                  <a:gd name="T41" fmla="*/ 20 h 122"/>
                  <a:gd name="T42" fmla="*/ 30 w 112"/>
                  <a:gd name="T43" fmla="*/ 18 h 122"/>
                  <a:gd name="T44" fmla="*/ 56 w 112"/>
                  <a:gd name="T45" fmla="*/ 18 h 122"/>
                  <a:gd name="T46" fmla="*/ 58 w 112"/>
                  <a:gd name="T47" fmla="*/ 20 h 122"/>
                  <a:gd name="T48" fmla="*/ 72 w 112"/>
                  <a:gd name="T49" fmla="*/ 24 h 122"/>
                  <a:gd name="T50" fmla="*/ 72 w 112"/>
                  <a:gd name="T51" fmla="*/ 12 h 122"/>
                  <a:gd name="T52" fmla="*/ 80 w 112"/>
                  <a:gd name="T53" fmla="*/ 2 h 122"/>
                  <a:gd name="T54" fmla="*/ 82 w 112"/>
                  <a:gd name="T55" fmla="*/ 0 h 122"/>
                  <a:gd name="T56" fmla="*/ 110 w 112"/>
                  <a:gd name="T57" fmla="*/ 2 h 122"/>
                  <a:gd name="T58" fmla="*/ 110 w 112"/>
                  <a:gd name="T59" fmla="*/ 2 h 122"/>
                  <a:gd name="T60" fmla="*/ 112 w 112"/>
                  <a:gd name="T61" fmla="*/ 4 h 122"/>
                  <a:gd name="T62" fmla="*/ 82 w 112"/>
                  <a:gd name="T63" fmla="*/ 78 h 122"/>
                  <a:gd name="T64" fmla="*/ 78 w 112"/>
                  <a:gd name="T65" fmla="*/ 106 h 122"/>
                  <a:gd name="T66" fmla="*/ 54 w 112"/>
                  <a:gd name="T67" fmla="*/ 118 h 122"/>
                  <a:gd name="T68" fmla="*/ 28 w 112"/>
                  <a:gd name="T69" fmla="*/ 122 h 122"/>
                  <a:gd name="T70" fmla="*/ 26 w 112"/>
                  <a:gd name="T71" fmla="*/ 120 h 122"/>
                  <a:gd name="T72" fmla="*/ 18 w 112"/>
                  <a:gd name="T73" fmla="*/ 122 h 122"/>
                  <a:gd name="T74" fmla="*/ 16 w 112"/>
                  <a:gd name="T7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22">
                    <a:moveTo>
                      <a:pt x="16" y="122"/>
                    </a:moveTo>
                    <a:lnTo>
                      <a:pt x="16" y="122"/>
                    </a:lnTo>
                    <a:lnTo>
                      <a:pt x="16" y="122"/>
                    </a:lnTo>
                    <a:lnTo>
                      <a:pt x="2" y="108"/>
                    </a:lnTo>
                    <a:lnTo>
                      <a:pt x="2" y="108"/>
                    </a:lnTo>
                    <a:lnTo>
                      <a:pt x="0" y="104"/>
                    </a:lnTo>
                    <a:lnTo>
                      <a:pt x="0" y="104"/>
                    </a:lnTo>
                    <a:lnTo>
                      <a:pt x="2" y="104"/>
                    </a:lnTo>
                    <a:lnTo>
                      <a:pt x="14" y="104"/>
                    </a:lnTo>
                    <a:lnTo>
                      <a:pt x="14" y="98"/>
                    </a:lnTo>
                    <a:lnTo>
                      <a:pt x="10" y="98"/>
                    </a:lnTo>
                    <a:lnTo>
                      <a:pt x="10" y="98"/>
                    </a:lnTo>
                    <a:lnTo>
                      <a:pt x="8" y="96"/>
                    </a:lnTo>
                    <a:lnTo>
                      <a:pt x="8" y="86"/>
                    </a:lnTo>
                    <a:lnTo>
                      <a:pt x="8" y="86"/>
                    </a:lnTo>
                    <a:lnTo>
                      <a:pt x="10" y="84"/>
                    </a:lnTo>
                    <a:lnTo>
                      <a:pt x="16" y="84"/>
                    </a:lnTo>
                    <a:lnTo>
                      <a:pt x="24" y="78"/>
                    </a:lnTo>
                    <a:lnTo>
                      <a:pt x="24" y="78"/>
                    </a:lnTo>
                    <a:lnTo>
                      <a:pt x="26" y="76"/>
                    </a:lnTo>
                    <a:lnTo>
                      <a:pt x="26" y="76"/>
                    </a:lnTo>
                    <a:lnTo>
                      <a:pt x="26" y="76"/>
                    </a:lnTo>
                    <a:lnTo>
                      <a:pt x="26" y="76"/>
                    </a:lnTo>
                    <a:lnTo>
                      <a:pt x="28" y="78"/>
                    </a:lnTo>
                    <a:lnTo>
                      <a:pt x="32" y="84"/>
                    </a:lnTo>
                    <a:lnTo>
                      <a:pt x="46" y="86"/>
                    </a:lnTo>
                    <a:lnTo>
                      <a:pt x="48" y="80"/>
                    </a:lnTo>
                    <a:lnTo>
                      <a:pt x="48" y="64"/>
                    </a:lnTo>
                    <a:lnTo>
                      <a:pt x="42" y="60"/>
                    </a:lnTo>
                    <a:lnTo>
                      <a:pt x="42" y="60"/>
                    </a:lnTo>
                    <a:lnTo>
                      <a:pt x="42" y="58"/>
                    </a:lnTo>
                    <a:lnTo>
                      <a:pt x="42" y="46"/>
                    </a:lnTo>
                    <a:lnTo>
                      <a:pt x="42" y="46"/>
                    </a:lnTo>
                    <a:lnTo>
                      <a:pt x="42" y="46"/>
                    </a:lnTo>
                    <a:lnTo>
                      <a:pt x="48" y="40"/>
                    </a:lnTo>
                    <a:lnTo>
                      <a:pt x="46" y="34"/>
                    </a:lnTo>
                    <a:lnTo>
                      <a:pt x="46" y="34"/>
                    </a:lnTo>
                    <a:lnTo>
                      <a:pt x="34" y="36"/>
                    </a:lnTo>
                    <a:lnTo>
                      <a:pt x="34" y="36"/>
                    </a:lnTo>
                    <a:lnTo>
                      <a:pt x="32" y="34"/>
                    </a:lnTo>
                    <a:lnTo>
                      <a:pt x="30" y="20"/>
                    </a:lnTo>
                    <a:lnTo>
                      <a:pt x="30" y="20"/>
                    </a:lnTo>
                    <a:lnTo>
                      <a:pt x="30" y="18"/>
                    </a:lnTo>
                    <a:lnTo>
                      <a:pt x="30" y="18"/>
                    </a:lnTo>
                    <a:lnTo>
                      <a:pt x="30" y="18"/>
                    </a:lnTo>
                    <a:lnTo>
                      <a:pt x="56" y="18"/>
                    </a:lnTo>
                    <a:lnTo>
                      <a:pt x="56" y="18"/>
                    </a:lnTo>
                    <a:lnTo>
                      <a:pt x="58" y="20"/>
                    </a:lnTo>
                    <a:lnTo>
                      <a:pt x="58" y="24"/>
                    </a:lnTo>
                    <a:lnTo>
                      <a:pt x="72" y="24"/>
                    </a:lnTo>
                    <a:lnTo>
                      <a:pt x="72" y="12"/>
                    </a:lnTo>
                    <a:lnTo>
                      <a:pt x="72" y="12"/>
                    </a:lnTo>
                    <a:lnTo>
                      <a:pt x="72" y="12"/>
                    </a:lnTo>
                    <a:lnTo>
                      <a:pt x="80" y="2"/>
                    </a:lnTo>
                    <a:lnTo>
                      <a:pt x="80" y="2"/>
                    </a:lnTo>
                    <a:lnTo>
                      <a:pt x="82" y="0"/>
                    </a:lnTo>
                    <a:lnTo>
                      <a:pt x="82" y="0"/>
                    </a:lnTo>
                    <a:lnTo>
                      <a:pt x="110" y="2"/>
                    </a:lnTo>
                    <a:lnTo>
                      <a:pt x="110" y="2"/>
                    </a:lnTo>
                    <a:lnTo>
                      <a:pt x="110" y="2"/>
                    </a:lnTo>
                    <a:lnTo>
                      <a:pt x="110" y="2"/>
                    </a:lnTo>
                    <a:lnTo>
                      <a:pt x="112" y="4"/>
                    </a:lnTo>
                    <a:lnTo>
                      <a:pt x="104" y="44"/>
                    </a:lnTo>
                    <a:lnTo>
                      <a:pt x="82" y="78"/>
                    </a:lnTo>
                    <a:lnTo>
                      <a:pt x="78" y="106"/>
                    </a:lnTo>
                    <a:lnTo>
                      <a:pt x="78" y="106"/>
                    </a:lnTo>
                    <a:lnTo>
                      <a:pt x="78" y="108"/>
                    </a:lnTo>
                    <a:lnTo>
                      <a:pt x="54" y="118"/>
                    </a:lnTo>
                    <a:lnTo>
                      <a:pt x="54" y="118"/>
                    </a:lnTo>
                    <a:lnTo>
                      <a:pt x="28" y="122"/>
                    </a:lnTo>
                    <a:lnTo>
                      <a:pt x="28" y="122"/>
                    </a:lnTo>
                    <a:lnTo>
                      <a:pt x="26" y="120"/>
                    </a:lnTo>
                    <a:lnTo>
                      <a:pt x="24" y="118"/>
                    </a:lnTo>
                    <a:lnTo>
                      <a:pt x="18" y="122"/>
                    </a:lnTo>
                    <a:lnTo>
                      <a:pt x="18" y="122"/>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1" name="Freeform 512"/>
              <p:cNvSpPr>
                <a:spLocks noEditPoints="1"/>
              </p:cNvSpPr>
              <p:nvPr/>
            </p:nvSpPr>
            <p:spPr bwMode="auto">
              <a:xfrm>
                <a:off x="3017" y="2467"/>
                <a:ext cx="116" cy="126"/>
              </a:xfrm>
              <a:custGeom>
                <a:avLst/>
                <a:gdLst>
                  <a:gd name="T0" fmla="*/ 112 w 116"/>
                  <a:gd name="T1" fmla="*/ 6 h 126"/>
                  <a:gd name="T2" fmla="*/ 82 w 116"/>
                  <a:gd name="T3" fmla="*/ 80 h 126"/>
                  <a:gd name="T4" fmla="*/ 54 w 116"/>
                  <a:gd name="T5" fmla="*/ 118 h 126"/>
                  <a:gd name="T6" fmla="*/ 28 w 116"/>
                  <a:gd name="T7" fmla="*/ 118 h 126"/>
                  <a:gd name="T8" fmla="*/ 4 w 116"/>
                  <a:gd name="T9" fmla="*/ 108 h 126"/>
                  <a:gd name="T10" fmla="*/ 18 w 116"/>
                  <a:gd name="T11" fmla="*/ 98 h 126"/>
                  <a:gd name="T12" fmla="*/ 12 w 116"/>
                  <a:gd name="T13" fmla="*/ 88 h 126"/>
                  <a:gd name="T14" fmla="*/ 28 w 116"/>
                  <a:gd name="T15" fmla="*/ 80 h 126"/>
                  <a:gd name="T16" fmla="*/ 50 w 116"/>
                  <a:gd name="T17" fmla="*/ 90 h 126"/>
                  <a:gd name="T18" fmla="*/ 52 w 116"/>
                  <a:gd name="T19" fmla="*/ 64 h 126"/>
                  <a:gd name="T20" fmla="*/ 46 w 116"/>
                  <a:gd name="T21" fmla="*/ 48 h 126"/>
                  <a:gd name="T22" fmla="*/ 50 w 116"/>
                  <a:gd name="T23" fmla="*/ 34 h 126"/>
                  <a:gd name="T24" fmla="*/ 32 w 116"/>
                  <a:gd name="T25" fmla="*/ 22 h 126"/>
                  <a:gd name="T26" fmla="*/ 58 w 116"/>
                  <a:gd name="T27" fmla="*/ 30 h 126"/>
                  <a:gd name="T28" fmla="*/ 76 w 116"/>
                  <a:gd name="T29" fmla="*/ 14 h 126"/>
                  <a:gd name="T30" fmla="*/ 84 w 116"/>
                  <a:gd name="T31" fmla="*/ 0 h 126"/>
                  <a:gd name="T32" fmla="*/ 80 w 116"/>
                  <a:gd name="T33" fmla="*/ 2 h 126"/>
                  <a:gd name="T34" fmla="*/ 74 w 116"/>
                  <a:gd name="T35" fmla="*/ 12 h 126"/>
                  <a:gd name="T36" fmla="*/ 72 w 116"/>
                  <a:gd name="T37" fmla="*/ 24 h 126"/>
                  <a:gd name="T38" fmla="*/ 62 w 116"/>
                  <a:gd name="T39" fmla="*/ 22 h 126"/>
                  <a:gd name="T40" fmla="*/ 62 w 116"/>
                  <a:gd name="T41" fmla="*/ 20 h 126"/>
                  <a:gd name="T42" fmla="*/ 32 w 116"/>
                  <a:gd name="T43" fmla="*/ 18 h 126"/>
                  <a:gd name="T44" fmla="*/ 30 w 116"/>
                  <a:gd name="T45" fmla="*/ 20 h 126"/>
                  <a:gd name="T46" fmla="*/ 30 w 116"/>
                  <a:gd name="T47" fmla="*/ 22 h 126"/>
                  <a:gd name="T48" fmla="*/ 32 w 116"/>
                  <a:gd name="T49" fmla="*/ 38 h 126"/>
                  <a:gd name="T50" fmla="*/ 36 w 116"/>
                  <a:gd name="T51" fmla="*/ 40 h 126"/>
                  <a:gd name="T52" fmla="*/ 38 w 116"/>
                  <a:gd name="T53" fmla="*/ 40 h 126"/>
                  <a:gd name="T54" fmla="*/ 48 w 116"/>
                  <a:gd name="T55" fmla="*/ 42 h 126"/>
                  <a:gd name="T56" fmla="*/ 44 w 116"/>
                  <a:gd name="T57" fmla="*/ 46 h 126"/>
                  <a:gd name="T58" fmla="*/ 42 w 116"/>
                  <a:gd name="T59" fmla="*/ 60 h 126"/>
                  <a:gd name="T60" fmla="*/ 44 w 116"/>
                  <a:gd name="T61" fmla="*/ 62 h 126"/>
                  <a:gd name="T62" fmla="*/ 48 w 116"/>
                  <a:gd name="T63" fmla="*/ 82 h 126"/>
                  <a:gd name="T64" fmla="*/ 36 w 116"/>
                  <a:gd name="T65" fmla="*/ 84 h 126"/>
                  <a:gd name="T66" fmla="*/ 30 w 116"/>
                  <a:gd name="T67" fmla="*/ 78 h 126"/>
                  <a:gd name="T68" fmla="*/ 28 w 116"/>
                  <a:gd name="T69" fmla="*/ 76 h 126"/>
                  <a:gd name="T70" fmla="*/ 28 w 116"/>
                  <a:gd name="T71" fmla="*/ 76 h 126"/>
                  <a:gd name="T72" fmla="*/ 18 w 116"/>
                  <a:gd name="T73" fmla="*/ 84 h 126"/>
                  <a:gd name="T74" fmla="*/ 12 w 116"/>
                  <a:gd name="T75" fmla="*/ 84 h 126"/>
                  <a:gd name="T76" fmla="*/ 8 w 116"/>
                  <a:gd name="T77" fmla="*/ 88 h 126"/>
                  <a:gd name="T78" fmla="*/ 8 w 116"/>
                  <a:gd name="T79" fmla="*/ 98 h 126"/>
                  <a:gd name="T80" fmla="*/ 12 w 116"/>
                  <a:gd name="T81" fmla="*/ 102 h 126"/>
                  <a:gd name="T82" fmla="*/ 14 w 116"/>
                  <a:gd name="T83" fmla="*/ 104 h 126"/>
                  <a:gd name="T84" fmla="*/ 4 w 116"/>
                  <a:gd name="T85" fmla="*/ 104 h 126"/>
                  <a:gd name="T86" fmla="*/ 2 w 116"/>
                  <a:gd name="T87" fmla="*/ 106 h 126"/>
                  <a:gd name="T88" fmla="*/ 0 w 116"/>
                  <a:gd name="T89" fmla="*/ 108 h 126"/>
                  <a:gd name="T90" fmla="*/ 16 w 116"/>
                  <a:gd name="T91" fmla="*/ 124 h 126"/>
                  <a:gd name="T92" fmla="*/ 18 w 116"/>
                  <a:gd name="T93" fmla="*/ 126 h 126"/>
                  <a:gd name="T94" fmla="*/ 20 w 116"/>
                  <a:gd name="T95" fmla="*/ 126 h 126"/>
                  <a:gd name="T96" fmla="*/ 26 w 116"/>
                  <a:gd name="T97" fmla="*/ 124 h 126"/>
                  <a:gd name="T98" fmla="*/ 30 w 116"/>
                  <a:gd name="T99" fmla="*/ 126 h 126"/>
                  <a:gd name="T100" fmla="*/ 30 w 116"/>
                  <a:gd name="T101" fmla="*/ 126 h 126"/>
                  <a:gd name="T102" fmla="*/ 56 w 116"/>
                  <a:gd name="T103" fmla="*/ 122 h 126"/>
                  <a:gd name="T104" fmla="*/ 80 w 116"/>
                  <a:gd name="T105" fmla="*/ 112 h 126"/>
                  <a:gd name="T106" fmla="*/ 82 w 116"/>
                  <a:gd name="T107" fmla="*/ 108 h 126"/>
                  <a:gd name="T108" fmla="*/ 108 w 116"/>
                  <a:gd name="T109" fmla="*/ 48 h 126"/>
                  <a:gd name="T110" fmla="*/ 108 w 116"/>
                  <a:gd name="T111" fmla="*/ 46 h 126"/>
                  <a:gd name="T112" fmla="*/ 116 w 116"/>
                  <a:gd name="T113" fmla="*/ 6 h 126"/>
                  <a:gd name="T114" fmla="*/ 114 w 116"/>
                  <a:gd name="T115" fmla="*/ 4 h 126"/>
                  <a:gd name="T116" fmla="*/ 84 w 116"/>
                  <a:gd name="T117" fmla="*/ 0 h 126"/>
                  <a:gd name="T118" fmla="*/ 84 w 116"/>
                  <a:gd name="T1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26">
                    <a:moveTo>
                      <a:pt x="84" y="4"/>
                    </a:moveTo>
                    <a:lnTo>
                      <a:pt x="112" y="6"/>
                    </a:lnTo>
                    <a:lnTo>
                      <a:pt x="104" y="46"/>
                    </a:lnTo>
                    <a:lnTo>
                      <a:pt x="82" y="80"/>
                    </a:lnTo>
                    <a:lnTo>
                      <a:pt x="78" y="108"/>
                    </a:lnTo>
                    <a:lnTo>
                      <a:pt x="54" y="118"/>
                    </a:lnTo>
                    <a:lnTo>
                      <a:pt x="30" y="122"/>
                    </a:lnTo>
                    <a:lnTo>
                      <a:pt x="28" y="118"/>
                    </a:lnTo>
                    <a:lnTo>
                      <a:pt x="18" y="122"/>
                    </a:lnTo>
                    <a:lnTo>
                      <a:pt x="4" y="108"/>
                    </a:lnTo>
                    <a:lnTo>
                      <a:pt x="18" y="108"/>
                    </a:lnTo>
                    <a:lnTo>
                      <a:pt x="18" y="98"/>
                    </a:lnTo>
                    <a:lnTo>
                      <a:pt x="12" y="98"/>
                    </a:lnTo>
                    <a:lnTo>
                      <a:pt x="12" y="88"/>
                    </a:lnTo>
                    <a:lnTo>
                      <a:pt x="18" y="88"/>
                    </a:lnTo>
                    <a:lnTo>
                      <a:pt x="28" y="80"/>
                    </a:lnTo>
                    <a:lnTo>
                      <a:pt x="32" y="88"/>
                    </a:lnTo>
                    <a:lnTo>
                      <a:pt x="50" y="90"/>
                    </a:lnTo>
                    <a:lnTo>
                      <a:pt x="52" y="82"/>
                    </a:lnTo>
                    <a:lnTo>
                      <a:pt x="52" y="64"/>
                    </a:lnTo>
                    <a:lnTo>
                      <a:pt x="46" y="60"/>
                    </a:lnTo>
                    <a:lnTo>
                      <a:pt x="46" y="48"/>
                    </a:lnTo>
                    <a:lnTo>
                      <a:pt x="52" y="44"/>
                    </a:lnTo>
                    <a:lnTo>
                      <a:pt x="50" y="34"/>
                    </a:lnTo>
                    <a:lnTo>
                      <a:pt x="36" y="36"/>
                    </a:lnTo>
                    <a:lnTo>
                      <a:pt x="32" y="22"/>
                    </a:lnTo>
                    <a:lnTo>
                      <a:pt x="58" y="22"/>
                    </a:lnTo>
                    <a:lnTo>
                      <a:pt x="58" y="30"/>
                    </a:lnTo>
                    <a:lnTo>
                      <a:pt x="74" y="28"/>
                    </a:lnTo>
                    <a:lnTo>
                      <a:pt x="76" y="14"/>
                    </a:lnTo>
                    <a:lnTo>
                      <a:pt x="84" y="4"/>
                    </a:lnTo>
                    <a:close/>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2" name="Freeform 513"/>
              <p:cNvSpPr>
                <a:spLocks/>
              </p:cNvSpPr>
              <p:nvPr/>
            </p:nvSpPr>
            <p:spPr bwMode="auto">
              <a:xfrm>
                <a:off x="3021" y="2471"/>
                <a:ext cx="108" cy="118"/>
              </a:xfrm>
              <a:custGeom>
                <a:avLst/>
                <a:gdLst>
                  <a:gd name="T0" fmla="*/ 80 w 108"/>
                  <a:gd name="T1" fmla="*/ 0 h 118"/>
                  <a:gd name="T2" fmla="*/ 108 w 108"/>
                  <a:gd name="T3" fmla="*/ 2 h 118"/>
                  <a:gd name="T4" fmla="*/ 100 w 108"/>
                  <a:gd name="T5" fmla="*/ 42 h 118"/>
                  <a:gd name="T6" fmla="*/ 78 w 108"/>
                  <a:gd name="T7" fmla="*/ 76 h 118"/>
                  <a:gd name="T8" fmla="*/ 74 w 108"/>
                  <a:gd name="T9" fmla="*/ 104 h 118"/>
                  <a:gd name="T10" fmla="*/ 50 w 108"/>
                  <a:gd name="T11" fmla="*/ 114 h 118"/>
                  <a:gd name="T12" fmla="*/ 26 w 108"/>
                  <a:gd name="T13" fmla="*/ 118 h 118"/>
                  <a:gd name="T14" fmla="*/ 24 w 108"/>
                  <a:gd name="T15" fmla="*/ 114 h 118"/>
                  <a:gd name="T16" fmla="*/ 14 w 108"/>
                  <a:gd name="T17" fmla="*/ 118 h 118"/>
                  <a:gd name="T18" fmla="*/ 0 w 108"/>
                  <a:gd name="T19" fmla="*/ 104 h 118"/>
                  <a:gd name="T20" fmla="*/ 14 w 108"/>
                  <a:gd name="T21" fmla="*/ 104 h 118"/>
                  <a:gd name="T22" fmla="*/ 14 w 108"/>
                  <a:gd name="T23" fmla="*/ 94 h 118"/>
                  <a:gd name="T24" fmla="*/ 8 w 108"/>
                  <a:gd name="T25" fmla="*/ 94 h 118"/>
                  <a:gd name="T26" fmla="*/ 8 w 108"/>
                  <a:gd name="T27" fmla="*/ 84 h 118"/>
                  <a:gd name="T28" fmla="*/ 14 w 108"/>
                  <a:gd name="T29" fmla="*/ 84 h 118"/>
                  <a:gd name="T30" fmla="*/ 24 w 108"/>
                  <a:gd name="T31" fmla="*/ 76 h 118"/>
                  <a:gd name="T32" fmla="*/ 28 w 108"/>
                  <a:gd name="T33" fmla="*/ 84 h 118"/>
                  <a:gd name="T34" fmla="*/ 46 w 108"/>
                  <a:gd name="T35" fmla="*/ 86 h 118"/>
                  <a:gd name="T36" fmla="*/ 48 w 108"/>
                  <a:gd name="T37" fmla="*/ 78 h 118"/>
                  <a:gd name="T38" fmla="*/ 48 w 108"/>
                  <a:gd name="T39" fmla="*/ 60 h 118"/>
                  <a:gd name="T40" fmla="*/ 42 w 108"/>
                  <a:gd name="T41" fmla="*/ 56 h 118"/>
                  <a:gd name="T42" fmla="*/ 42 w 108"/>
                  <a:gd name="T43" fmla="*/ 44 h 118"/>
                  <a:gd name="T44" fmla="*/ 48 w 108"/>
                  <a:gd name="T45" fmla="*/ 40 h 118"/>
                  <a:gd name="T46" fmla="*/ 46 w 108"/>
                  <a:gd name="T47" fmla="*/ 30 h 118"/>
                  <a:gd name="T48" fmla="*/ 32 w 108"/>
                  <a:gd name="T49" fmla="*/ 32 h 118"/>
                  <a:gd name="T50" fmla="*/ 28 w 108"/>
                  <a:gd name="T51" fmla="*/ 18 h 118"/>
                  <a:gd name="T52" fmla="*/ 54 w 108"/>
                  <a:gd name="T53" fmla="*/ 18 h 118"/>
                  <a:gd name="T54" fmla="*/ 54 w 108"/>
                  <a:gd name="T55" fmla="*/ 26 h 118"/>
                  <a:gd name="T56" fmla="*/ 70 w 108"/>
                  <a:gd name="T57" fmla="*/ 24 h 118"/>
                  <a:gd name="T58" fmla="*/ 72 w 108"/>
                  <a:gd name="T59" fmla="*/ 10 h 118"/>
                  <a:gd name="T60" fmla="*/ 80 w 108"/>
                  <a:gd name="T6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118">
                    <a:moveTo>
                      <a:pt x="80" y="0"/>
                    </a:moveTo>
                    <a:lnTo>
                      <a:pt x="108" y="2"/>
                    </a:lnTo>
                    <a:lnTo>
                      <a:pt x="100" y="42"/>
                    </a:lnTo>
                    <a:lnTo>
                      <a:pt x="78" y="76"/>
                    </a:lnTo>
                    <a:lnTo>
                      <a:pt x="74" y="104"/>
                    </a:lnTo>
                    <a:lnTo>
                      <a:pt x="50" y="114"/>
                    </a:lnTo>
                    <a:lnTo>
                      <a:pt x="26" y="118"/>
                    </a:lnTo>
                    <a:lnTo>
                      <a:pt x="24" y="114"/>
                    </a:lnTo>
                    <a:lnTo>
                      <a:pt x="14" y="118"/>
                    </a:lnTo>
                    <a:lnTo>
                      <a:pt x="0" y="104"/>
                    </a:lnTo>
                    <a:lnTo>
                      <a:pt x="14" y="104"/>
                    </a:lnTo>
                    <a:lnTo>
                      <a:pt x="14" y="94"/>
                    </a:lnTo>
                    <a:lnTo>
                      <a:pt x="8" y="94"/>
                    </a:lnTo>
                    <a:lnTo>
                      <a:pt x="8" y="84"/>
                    </a:lnTo>
                    <a:lnTo>
                      <a:pt x="14" y="84"/>
                    </a:lnTo>
                    <a:lnTo>
                      <a:pt x="24" y="76"/>
                    </a:lnTo>
                    <a:lnTo>
                      <a:pt x="28" y="84"/>
                    </a:lnTo>
                    <a:lnTo>
                      <a:pt x="46" y="86"/>
                    </a:lnTo>
                    <a:lnTo>
                      <a:pt x="48" y="78"/>
                    </a:lnTo>
                    <a:lnTo>
                      <a:pt x="48" y="60"/>
                    </a:lnTo>
                    <a:lnTo>
                      <a:pt x="42" y="56"/>
                    </a:lnTo>
                    <a:lnTo>
                      <a:pt x="42" y="44"/>
                    </a:lnTo>
                    <a:lnTo>
                      <a:pt x="48" y="40"/>
                    </a:lnTo>
                    <a:lnTo>
                      <a:pt x="46" y="30"/>
                    </a:lnTo>
                    <a:lnTo>
                      <a:pt x="32" y="32"/>
                    </a:lnTo>
                    <a:lnTo>
                      <a:pt x="28" y="18"/>
                    </a:lnTo>
                    <a:lnTo>
                      <a:pt x="54" y="18"/>
                    </a:lnTo>
                    <a:lnTo>
                      <a:pt x="54" y="26"/>
                    </a:lnTo>
                    <a:lnTo>
                      <a:pt x="70" y="24"/>
                    </a:lnTo>
                    <a:lnTo>
                      <a:pt x="72"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3" name="Freeform 514"/>
              <p:cNvSpPr>
                <a:spLocks/>
              </p:cNvSpPr>
              <p:nvPr/>
            </p:nvSpPr>
            <p:spPr bwMode="auto">
              <a:xfrm>
                <a:off x="3017" y="2467"/>
                <a:ext cx="116" cy="126"/>
              </a:xfrm>
              <a:custGeom>
                <a:avLst/>
                <a:gdLst>
                  <a:gd name="T0" fmla="*/ 84 w 116"/>
                  <a:gd name="T1" fmla="*/ 0 h 126"/>
                  <a:gd name="T2" fmla="*/ 74 w 116"/>
                  <a:gd name="T3" fmla="*/ 12 h 126"/>
                  <a:gd name="T4" fmla="*/ 72 w 116"/>
                  <a:gd name="T5" fmla="*/ 14 h 126"/>
                  <a:gd name="T6" fmla="*/ 62 w 116"/>
                  <a:gd name="T7" fmla="*/ 24 h 126"/>
                  <a:gd name="T8" fmla="*/ 62 w 116"/>
                  <a:gd name="T9" fmla="*/ 22 h 126"/>
                  <a:gd name="T10" fmla="*/ 58 w 116"/>
                  <a:gd name="T11" fmla="*/ 18 h 126"/>
                  <a:gd name="T12" fmla="*/ 32 w 116"/>
                  <a:gd name="T13" fmla="*/ 18 h 126"/>
                  <a:gd name="T14" fmla="*/ 30 w 116"/>
                  <a:gd name="T15" fmla="*/ 20 h 126"/>
                  <a:gd name="T16" fmla="*/ 32 w 116"/>
                  <a:gd name="T17" fmla="*/ 38 h 126"/>
                  <a:gd name="T18" fmla="*/ 34 w 116"/>
                  <a:gd name="T19" fmla="*/ 40 h 126"/>
                  <a:gd name="T20" fmla="*/ 36 w 116"/>
                  <a:gd name="T21" fmla="*/ 40 h 126"/>
                  <a:gd name="T22" fmla="*/ 46 w 116"/>
                  <a:gd name="T23" fmla="*/ 38 h 126"/>
                  <a:gd name="T24" fmla="*/ 44 w 116"/>
                  <a:gd name="T25" fmla="*/ 46 h 126"/>
                  <a:gd name="T26" fmla="*/ 42 w 116"/>
                  <a:gd name="T27" fmla="*/ 48 h 126"/>
                  <a:gd name="T28" fmla="*/ 42 w 116"/>
                  <a:gd name="T29" fmla="*/ 60 h 126"/>
                  <a:gd name="T30" fmla="*/ 48 w 116"/>
                  <a:gd name="T31" fmla="*/ 66 h 126"/>
                  <a:gd name="T32" fmla="*/ 48 w 116"/>
                  <a:gd name="T33" fmla="*/ 86 h 126"/>
                  <a:gd name="T34" fmla="*/ 30 w 116"/>
                  <a:gd name="T35" fmla="*/ 78 h 126"/>
                  <a:gd name="T36" fmla="*/ 28 w 116"/>
                  <a:gd name="T37" fmla="*/ 76 h 126"/>
                  <a:gd name="T38" fmla="*/ 28 w 116"/>
                  <a:gd name="T39" fmla="*/ 76 h 126"/>
                  <a:gd name="T40" fmla="*/ 26 w 116"/>
                  <a:gd name="T41" fmla="*/ 78 h 126"/>
                  <a:gd name="T42" fmla="*/ 12 w 116"/>
                  <a:gd name="T43" fmla="*/ 84 h 126"/>
                  <a:gd name="T44" fmla="*/ 8 w 116"/>
                  <a:gd name="T45" fmla="*/ 86 h 126"/>
                  <a:gd name="T46" fmla="*/ 8 w 116"/>
                  <a:gd name="T47" fmla="*/ 98 h 126"/>
                  <a:gd name="T48" fmla="*/ 8 w 116"/>
                  <a:gd name="T49" fmla="*/ 102 h 126"/>
                  <a:gd name="T50" fmla="*/ 14 w 116"/>
                  <a:gd name="T51" fmla="*/ 102 h 126"/>
                  <a:gd name="T52" fmla="*/ 4 w 116"/>
                  <a:gd name="T53" fmla="*/ 104 h 126"/>
                  <a:gd name="T54" fmla="*/ 2 w 116"/>
                  <a:gd name="T55" fmla="*/ 104 h 126"/>
                  <a:gd name="T56" fmla="*/ 2 w 116"/>
                  <a:gd name="T57" fmla="*/ 106 h 126"/>
                  <a:gd name="T58" fmla="*/ 2 w 116"/>
                  <a:gd name="T59" fmla="*/ 110 h 126"/>
                  <a:gd name="T60" fmla="*/ 16 w 116"/>
                  <a:gd name="T61" fmla="*/ 124 h 126"/>
                  <a:gd name="T62" fmla="*/ 18 w 116"/>
                  <a:gd name="T63" fmla="*/ 126 h 126"/>
                  <a:gd name="T64" fmla="*/ 26 w 116"/>
                  <a:gd name="T65" fmla="*/ 124 h 126"/>
                  <a:gd name="T66" fmla="*/ 26 w 116"/>
                  <a:gd name="T67" fmla="*/ 124 h 126"/>
                  <a:gd name="T68" fmla="*/ 30 w 116"/>
                  <a:gd name="T69" fmla="*/ 126 h 126"/>
                  <a:gd name="T70" fmla="*/ 56 w 116"/>
                  <a:gd name="T71" fmla="*/ 122 h 126"/>
                  <a:gd name="T72" fmla="*/ 56 w 116"/>
                  <a:gd name="T73" fmla="*/ 122 h 126"/>
                  <a:gd name="T74" fmla="*/ 80 w 116"/>
                  <a:gd name="T75" fmla="*/ 112 h 126"/>
                  <a:gd name="T76" fmla="*/ 86 w 116"/>
                  <a:gd name="T77" fmla="*/ 80 h 126"/>
                  <a:gd name="T78" fmla="*/ 108 w 116"/>
                  <a:gd name="T79" fmla="*/ 48 h 126"/>
                  <a:gd name="T80" fmla="*/ 116 w 116"/>
                  <a:gd name="T81" fmla="*/ 6 h 126"/>
                  <a:gd name="T82" fmla="*/ 114 w 116"/>
                  <a:gd name="T83" fmla="*/ 4 h 126"/>
                  <a:gd name="T84" fmla="*/ 112 w 116"/>
                  <a:gd name="T85" fmla="*/ 2 h 126"/>
                  <a:gd name="T86" fmla="*/ 84 w 116"/>
                  <a:gd name="T87" fmla="*/ 0 h 126"/>
                  <a:gd name="T88" fmla="*/ 84 w 116"/>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6">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4" name="Freeform 515"/>
              <p:cNvSpPr>
                <a:spLocks/>
              </p:cNvSpPr>
              <p:nvPr/>
            </p:nvSpPr>
            <p:spPr bwMode="auto">
              <a:xfrm>
                <a:off x="3345" y="2457"/>
                <a:ext cx="116" cy="134"/>
              </a:xfrm>
              <a:custGeom>
                <a:avLst/>
                <a:gdLst>
                  <a:gd name="T0" fmla="*/ 78 w 116"/>
                  <a:gd name="T1" fmla="*/ 134 h 134"/>
                  <a:gd name="T2" fmla="*/ 78 w 116"/>
                  <a:gd name="T3" fmla="*/ 134 h 134"/>
                  <a:gd name="T4" fmla="*/ 76 w 116"/>
                  <a:gd name="T5" fmla="*/ 134 h 134"/>
                  <a:gd name="T6" fmla="*/ 56 w 116"/>
                  <a:gd name="T7" fmla="*/ 118 h 134"/>
                  <a:gd name="T8" fmla="*/ 56 w 116"/>
                  <a:gd name="T9" fmla="*/ 118 h 134"/>
                  <a:gd name="T10" fmla="*/ 54 w 116"/>
                  <a:gd name="T11" fmla="*/ 118 h 134"/>
                  <a:gd name="T12" fmla="*/ 52 w 116"/>
                  <a:gd name="T13" fmla="*/ 108 h 134"/>
                  <a:gd name="T14" fmla="*/ 6 w 116"/>
                  <a:gd name="T15" fmla="*/ 86 h 134"/>
                  <a:gd name="T16" fmla="*/ 4 w 116"/>
                  <a:gd name="T17" fmla="*/ 86 h 134"/>
                  <a:gd name="T18" fmla="*/ 4 w 116"/>
                  <a:gd name="T19" fmla="*/ 86 h 134"/>
                  <a:gd name="T20" fmla="*/ 2 w 116"/>
                  <a:gd name="T21" fmla="*/ 84 h 134"/>
                  <a:gd name="T22" fmla="*/ 2 w 116"/>
                  <a:gd name="T23" fmla="*/ 84 h 134"/>
                  <a:gd name="T24" fmla="*/ 2 w 116"/>
                  <a:gd name="T25" fmla="*/ 82 h 134"/>
                  <a:gd name="T26" fmla="*/ 4 w 116"/>
                  <a:gd name="T27" fmla="*/ 70 h 134"/>
                  <a:gd name="T28" fmla="*/ 2 w 116"/>
                  <a:gd name="T29" fmla="*/ 60 h 134"/>
                  <a:gd name="T30" fmla="*/ 2 w 116"/>
                  <a:gd name="T31" fmla="*/ 60 h 134"/>
                  <a:gd name="T32" fmla="*/ 4 w 116"/>
                  <a:gd name="T33" fmla="*/ 60 h 134"/>
                  <a:gd name="T34" fmla="*/ 16 w 116"/>
                  <a:gd name="T35" fmla="*/ 46 h 134"/>
                  <a:gd name="T36" fmla="*/ 10 w 116"/>
                  <a:gd name="T37" fmla="*/ 28 h 134"/>
                  <a:gd name="T38" fmla="*/ 0 w 116"/>
                  <a:gd name="T39" fmla="*/ 10 h 134"/>
                  <a:gd name="T40" fmla="*/ 0 w 116"/>
                  <a:gd name="T41" fmla="*/ 10 h 134"/>
                  <a:gd name="T42" fmla="*/ 0 w 116"/>
                  <a:gd name="T43" fmla="*/ 8 h 134"/>
                  <a:gd name="T44" fmla="*/ 8 w 116"/>
                  <a:gd name="T45" fmla="*/ 2 h 134"/>
                  <a:gd name="T46" fmla="*/ 8 w 116"/>
                  <a:gd name="T47" fmla="*/ 2 h 134"/>
                  <a:gd name="T48" fmla="*/ 8 w 116"/>
                  <a:gd name="T49" fmla="*/ 0 h 134"/>
                  <a:gd name="T50" fmla="*/ 26 w 116"/>
                  <a:gd name="T51" fmla="*/ 0 h 134"/>
                  <a:gd name="T52" fmla="*/ 26 w 116"/>
                  <a:gd name="T53" fmla="*/ 0 h 134"/>
                  <a:gd name="T54" fmla="*/ 26 w 116"/>
                  <a:gd name="T55" fmla="*/ 2 h 134"/>
                  <a:gd name="T56" fmla="*/ 58 w 116"/>
                  <a:gd name="T57" fmla="*/ 16 h 134"/>
                  <a:gd name="T58" fmla="*/ 78 w 116"/>
                  <a:gd name="T59" fmla="*/ 16 h 134"/>
                  <a:gd name="T60" fmla="*/ 96 w 116"/>
                  <a:gd name="T61" fmla="*/ 6 h 134"/>
                  <a:gd name="T62" fmla="*/ 96 w 116"/>
                  <a:gd name="T63" fmla="*/ 6 h 134"/>
                  <a:gd name="T64" fmla="*/ 98 w 116"/>
                  <a:gd name="T65" fmla="*/ 6 h 134"/>
                  <a:gd name="T66" fmla="*/ 98 w 116"/>
                  <a:gd name="T67" fmla="*/ 6 h 134"/>
                  <a:gd name="T68" fmla="*/ 98 w 116"/>
                  <a:gd name="T69" fmla="*/ 6 h 134"/>
                  <a:gd name="T70" fmla="*/ 104 w 116"/>
                  <a:gd name="T71" fmla="*/ 12 h 134"/>
                  <a:gd name="T72" fmla="*/ 112 w 116"/>
                  <a:gd name="T73" fmla="*/ 10 h 134"/>
                  <a:gd name="T74" fmla="*/ 112 w 116"/>
                  <a:gd name="T75" fmla="*/ 10 h 134"/>
                  <a:gd name="T76" fmla="*/ 114 w 116"/>
                  <a:gd name="T77" fmla="*/ 10 h 134"/>
                  <a:gd name="T78" fmla="*/ 114 w 116"/>
                  <a:gd name="T79" fmla="*/ 10 h 134"/>
                  <a:gd name="T80" fmla="*/ 114 w 116"/>
                  <a:gd name="T81" fmla="*/ 10 h 134"/>
                  <a:gd name="T82" fmla="*/ 114 w 116"/>
                  <a:gd name="T83" fmla="*/ 10 h 134"/>
                  <a:gd name="T84" fmla="*/ 116 w 116"/>
                  <a:gd name="T85" fmla="*/ 12 h 134"/>
                  <a:gd name="T86" fmla="*/ 116 w 116"/>
                  <a:gd name="T87" fmla="*/ 20 h 134"/>
                  <a:gd name="T88" fmla="*/ 116 w 116"/>
                  <a:gd name="T89" fmla="*/ 20 h 134"/>
                  <a:gd name="T90" fmla="*/ 114 w 116"/>
                  <a:gd name="T91" fmla="*/ 22 h 134"/>
                  <a:gd name="T92" fmla="*/ 102 w 116"/>
                  <a:gd name="T93" fmla="*/ 30 h 134"/>
                  <a:gd name="T94" fmla="*/ 102 w 116"/>
                  <a:gd name="T95" fmla="*/ 78 h 134"/>
                  <a:gd name="T96" fmla="*/ 112 w 116"/>
                  <a:gd name="T97" fmla="*/ 88 h 134"/>
                  <a:gd name="T98" fmla="*/ 112 w 116"/>
                  <a:gd name="T99" fmla="*/ 88 h 134"/>
                  <a:gd name="T100" fmla="*/ 112 w 116"/>
                  <a:gd name="T101" fmla="*/ 88 h 134"/>
                  <a:gd name="T102" fmla="*/ 112 w 116"/>
                  <a:gd name="T103" fmla="*/ 88 h 134"/>
                  <a:gd name="T104" fmla="*/ 110 w 116"/>
                  <a:gd name="T105" fmla="*/ 90 h 134"/>
                  <a:gd name="T106" fmla="*/ 102 w 116"/>
                  <a:gd name="T107" fmla="*/ 96 h 134"/>
                  <a:gd name="T108" fmla="*/ 92 w 116"/>
                  <a:gd name="T109" fmla="*/ 108 h 134"/>
                  <a:gd name="T110" fmla="*/ 84 w 116"/>
                  <a:gd name="T111" fmla="*/ 122 h 134"/>
                  <a:gd name="T112" fmla="*/ 80 w 116"/>
                  <a:gd name="T113" fmla="*/ 132 h 134"/>
                  <a:gd name="T114" fmla="*/ 80 w 116"/>
                  <a:gd name="T115" fmla="*/ 132 h 134"/>
                  <a:gd name="T116" fmla="*/ 78 w 116"/>
                  <a:gd name="T117" fmla="*/ 134 h 134"/>
                  <a:gd name="T118" fmla="*/ 78 w 116"/>
                  <a:gd name="T119" fmla="*/ 134 h 134"/>
                  <a:gd name="T120" fmla="*/ 78 w 116"/>
                  <a:gd name="T121" fmla="*/ 134 h 134"/>
                  <a:gd name="T122" fmla="*/ 78 w 116"/>
                  <a:gd name="T1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134">
                    <a:moveTo>
                      <a:pt x="78" y="134"/>
                    </a:moveTo>
                    <a:lnTo>
                      <a:pt x="78" y="134"/>
                    </a:lnTo>
                    <a:lnTo>
                      <a:pt x="76" y="134"/>
                    </a:lnTo>
                    <a:lnTo>
                      <a:pt x="56" y="118"/>
                    </a:lnTo>
                    <a:lnTo>
                      <a:pt x="56" y="118"/>
                    </a:lnTo>
                    <a:lnTo>
                      <a:pt x="54" y="118"/>
                    </a:lnTo>
                    <a:lnTo>
                      <a:pt x="52" y="108"/>
                    </a:lnTo>
                    <a:lnTo>
                      <a:pt x="6" y="86"/>
                    </a:lnTo>
                    <a:lnTo>
                      <a:pt x="4" y="86"/>
                    </a:lnTo>
                    <a:lnTo>
                      <a:pt x="4" y="86"/>
                    </a:lnTo>
                    <a:lnTo>
                      <a:pt x="2" y="84"/>
                    </a:lnTo>
                    <a:lnTo>
                      <a:pt x="2" y="84"/>
                    </a:lnTo>
                    <a:lnTo>
                      <a:pt x="2" y="82"/>
                    </a:lnTo>
                    <a:lnTo>
                      <a:pt x="4" y="70"/>
                    </a:lnTo>
                    <a:lnTo>
                      <a:pt x="2" y="60"/>
                    </a:lnTo>
                    <a:lnTo>
                      <a:pt x="2" y="60"/>
                    </a:lnTo>
                    <a:lnTo>
                      <a:pt x="4" y="60"/>
                    </a:lnTo>
                    <a:lnTo>
                      <a:pt x="16" y="46"/>
                    </a:lnTo>
                    <a:lnTo>
                      <a:pt x="10" y="28"/>
                    </a:lnTo>
                    <a:lnTo>
                      <a:pt x="0" y="10"/>
                    </a:lnTo>
                    <a:lnTo>
                      <a:pt x="0" y="10"/>
                    </a:lnTo>
                    <a:lnTo>
                      <a:pt x="0" y="8"/>
                    </a:lnTo>
                    <a:lnTo>
                      <a:pt x="8" y="2"/>
                    </a:lnTo>
                    <a:lnTo>
                      <a:pt x="8" y="2"/>
                    </a:lnTo>
                    <a:lnTo>
                      <a:pt x="8" y="0"/>
                    </a:lnTo>
                    <a:lnTo>
                      <a:pt x="26" y="0"/>
                    </a:lnTo>
                    <a:lnTo>
                      <a:pt x="26" y="0"/>
                    </a:lnTo>
                    <a:lnTo>
                      <a:pt x="26" y="2"/>
                    </a:lnTo>
                    <a:lnTo>
                      <a:pt x="58" y="16"/>
                    </a:lnTo>
                    <a:lnTo>
                      <a:pt x="78" y="16"/>
                    </a:lnTo>
                    <a:lnTo>
                      <a:pt x="96" y="6"/>
                    </a:lnTo>
                    <a:lnTo>
                      <a:pt x="96" y="6"/>
                    </a:lnTo>
                    <a:lnTo>
                      <a:pt x="98" y="6"/>
                    </a:lnTo>
                    <a:lnTo>
                      <a:pt x="98" y="6"/>
                    </a:lnTo>
                    <a:lnTo>
                      <a:pt x="98" y="6"/>
                    </a:lnTo>
                    <a:lnTo>
                      <a:pt x="104" y="12"/>
                    </a:lnTo>
                    <a:lnTo>
                      <a:pt x="112" y="10"/>
                    </a:lnTo>
                    <a:lnTo>
                      <a:pt x="112" y="10"/>
                    </a:lnTo>
                    <a:lnTo>
                      <a:pt x="114" y="10"/>
                    </a:lnTo>
                    <a:lnTo>
                      <a:pt x="114" y="10"/>
                    </a:lnTo>
                    <a:lnTo>
                      <a:pt x="114" y="10"/>
                    </a:lnTo>
                    <a:lnTo>
                      <a:pt x="114" y="10"/>
                    </a:lnTo>
                    <a:lnTo>
                      <a:pt x="116" y="12"/>
                    </a:lnTo>
                    <a:lnTo>
                      <a:pt x="116" y="20"/>
                    </a:lnTo>
                    <a:lnTo>
                      <a:pt x="116" y="20"/>
                    </a:lnTo>
                    <a:lnTo>
                      <a:pt x="114" y="22"/>
                    </a:lnTo>
                    <a:lnTo>
                      <a:pt x="102" y="30"/>
                    </a:lnTo>
                    <a:lnTo>
                      <a:pt x="102" y="78"/>
                    </a:lnTo>
                    <a:lnTo>
                      <a:pt x="112" y="88"/>
                    </a:lnTo>
                    <a:lnTo>
                      <a:pt x="112" y="88"/>
                    </a:lnTo>
                    <a:lnTo>
                      <a:pt x="112" y="88"/>
                    </a:lnTo>
                    <a:lnTo>
                      <a:pt x="112" y="88"/>
                    </a:lnTo>
                    <a:lnTo>
                      <a:pt x="110" y="90"/>
                    </a:lnTo>
                    <a:lnTo>
                      <a:pt x="102" y="96"/>
                    </a:lnTo>
                    <a:lnTo>
                      <a:pt x="92" y="108"/>
                    </a:lnTo>
                    <a:lnTo>
                      <a:pt x="84" y="122"/>
                    </a:lnTo>
                    <a:lnTo>
                      <a:pt x="80" y="132"/>
                    </a:lnTo>
                    <a:lnTo>
                      <a:pt x="80" y="132"/>
                    </a:lnTo>
                    <a:lnTo>
                      <a:pt x="78" y="134"/>
                    </a:lnTo>
                    <a:lnTo>
                      <a:pt x="78" y="134"/>
                    </a:lnTo>
                    <a:lnTo>
                      <a:pt x="78" y="134"/>
                    </a:lnTo>
                    <a:lnTo>
                      <a:pt x="7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5" name="Freeform 516"/>
              <p:cNvSpPr>
                <a:spLocks noEditPoints="1"/>
              </p:cNvSpPr>
              <p:nvPr/>
            </p:nvSpPr>
            <p:spPr bwMode="auto">
              <a:xfrm>
                <a:off x="3343" y="2455"/>
                <a:ext cx="120" cy="138"/>
              </a:xfrm>
              <a:custGeom>
                <a:avLst/>
                <a:gdLst>
                  <a:gd name="T0" fmla="*/ 60 w 120"/>
                  <a:gd name="T1" fmla="*/ 18 h 138"/>
                  <a:gd name="T2" fmla="*/ 100 w 120"/>
                  <a:gd name="T3" fmla="*/ 10 h 138"/>
                  <a:gd name="T4" fmla="*/ 116 w 120"/>
                  <a:gd name="T5" fmla="*/ 14 h 138"/>
                  <a:gd name="T6" fmla="*/ 100 w 120"/>
                  <a:gd name="T7" fmla="*/ 32 h 138"/>
                  <a:gd name="T8" fmla="*/ 112 w 120"/>
                  <a:gd name="T9" fmla="*/ 90 h 138"/>
                  <a:gd name="T10" fmla="*/ 92 w 120"/>
                  <a:gd name="T11" fmla="*/ 108 h 138"/>
                  <a:gd name="T12" fmla="*/ 80 w 120"/>
                  <a:gd name="T13" fmla="*/ 134 h 138"/>
                  <a:gd name="T14" fmla="*/ 54 w 120"/>
                  <a:gd name="T15" fmla="*/ 110 h 138"/>
                  <a:gd name="T16" fmla="*/ 6 w 120"/>
                  <a:gd name="T17" fmla="*/ 86 h 138"/>
                  <a:gd name="T18" fmla="*/ 6 w 120"/>
                  <a:gd name="T19" fmla="*/ 62 h 138"/>
                  <a:gd name="T20" fmla="*/ 14 w 120"/>
                  <a:gd name="T21" fmla="*/ 30 h 138"/>
                  <a:gd name="T22" fmla="*/ 10 w 120"/>
                  <a:gd name="T23" fmla="*/ 4 h 138"/>
                  <a:gd name="T24" fmla="*/ 28 w 120"/>
                  <a:gd name="T25" fmla="*/ 0 h 138"/>
                  <a:gd name="T26" fmla="*/ 10 w 120"/>
                  <a:gd name="T27" fmla="*/ 0 h 138"/>
                  <a:gd name="T28" fmla="*/ 0 w 120"/>
                  <a:gd name="T29" fmla="*/ 10 h 138"/>
                  <a:gd name="T30" fmla="*/ 0 w 120"/>
                  <a:gd name="T31" fmla="*/ 12 h 138"/>
                  <a:gd name="T32" fmla="*/ 10 w 120"/>
                  <a:gd name="T33" fmla="*/ 30 h 138"/>
                  <a:gd name="T34" fmla="*/ 4 w 120"/>
                  <a:gd name="T35" fmla="*/ 60 h 138"/>
                  <a:gd name="T36" fmla="*/ 2 w 120"/>
                  <a:gd name="T37" fmla="*/ 64 h 138"/>
                  <a:gd name="T38" fmla="*/ 2 w 120"/>
                  <a:gd name="T39" fmla="*/ 84 h 138"/>
                  <a:gd name="T40" fmla="*/ 2 w 120"/>
                  <a:gd name="T41" fmla="*/ 88 h 138"/>
                  <a:gd name="T42" fmla="*/ 6 w 120"/>
                  <a:gd name="T43" fmla="*/ 90 h 138"/>
                  <a:gd name="T44" fmla="*/ 52 w 120"/>
                  <a:gd name="T45" fmla="*/ 112 h 138"/>
                  <a:gd name="T46" fmla="*/ 54 w 120"/>
                  <a:gd name="T47" fmla="*/ 120 h 138"/>
                  <a:gd name="T48" fmla="*/ 78 w 120"/>
                  <a:gd name="T49" fmla="*/ 138 h 138"/>
                  <a:gd name="T50" fmla="*/ 80 w 120"/>
                  <a:gd name="T51" fmla="*/ 138 h 138"/>
                  <a:gd name="T52" fmla="*/ 80 w 120"/>
                  <a:gd name="T53" fmla="*/ 138 h 138"/>
                  <a:gd name="T54" fmla="*/ 84 w 120"/>
                  <a:gd name="T55" fmla="*/ 136 h 138"/>
                  <a:gd name="T56" fmla="*/ 96 w 120"/>
                  <a:gd name="T57" fmla="*/ 110 h 138"/>
                  <a:gd name="T58" fmla="*/ 114 w 120"/>
                  <a:gd name="T59" fmla="*/ 94 h 138"/>
                  <a:gd name="T60" fmla="*/ 116 w 120"/>
                  <a:gd name="T61" fmla="*/ 90 h 138"/>
                  <a:gd name="T62" fmla="*/ 114 w 120"/>
                  <a:gd name="T63" fmla="*/ 88 h 138"/>
                  <a:gd name="T64" fmla="*/ 106 w 120"/>
                  <a:gd name="T65" fmla="*/ 34 h 138"/>
                  <a:gd name="T66" fmla="*/ 118 w 120"/>
                  <a:gd name="T67" fmla="*/ 26 h 138"/>
                  <a:gd name="T68" fmla="*/ 120 w 120"/>
                  <a:gd name="T69" fmla="*/ 14 h 138"/>
                  <a:gd name="T70" fmla="*/ 118 w 120"/>
                  <a:gd name="T71" fmla="*/ 10 h 138"/>
                  <a:gd name="T72" fmla="*/ 116 w 120"/>
                  <a:gd name="T73" fmla="*/ 10 h 138"/>
                  <a:gd name="T74" fmla="*/ 114 w 120"/>
                  <a:gd name="T75" fmla="*/ 10 h 138"/>
                  <a:gd name="T76" fmla="*/ 102 w 120"/>
                  <a:gd name="T77" fmla="*/ 8 h 138"/>
                  <a:gd name="T78" fmla="*/ 100 w 120"/>
                  <a:gd name="T79" fmla="*/ 6 h 138"/>
                  <a:gd name="T80" fmla="*/ 98 w 120"/>
                  <a:gd name="T81" fmla="*/ 6 h 138"/>
                  <a:gd name="T82" fmla="*/ 62 w 120"/>
                  <a:gd name="T83" fmla="*/ 14 h 138"/>
                  <a:gd name="T84" fmla="*/ 30 w 120"/>
                  <a:gd name="T85" fmla="*/ 2 h 138"/>
                  <a:gd name="T86" fmla="*/ 28 w 120"/>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138">
                    <a:moveTo>
                      <a:pt x="28" y="4"/>
                    </a:moveTo>
                    <a:lnTo>
                      <a:pt x="60" y="18"/>
                    </a:lnTo>
                    <a:lnTo>
                      <a:pt x="82" y="20"/>
                    </a:lnTo>
                    <a:lnTo>
                      <a:pt x="100" y="10"/>
                    </a:lnTo>
                    <a:lnTo>
                      <a:pt x="104" y="18"/>
                    </a:lnTo>
                    <a:lnTo>
                      <a:pt x="116" y="14"/>
                    </a:lnTo>
                    <a:lnTo>
                      <a:pt x="116" y="22"/>
                    </a:lnTo>
                    <a:lnTo>
                      <a:pt x="100" y="32"/>
                    </a:lnTo>
                    <a:lnTo>
                      <a:pt x="102" y="80"/>
                    </a:lnTo>
                    <a:lnTo>
                      <a:pt x="112" y="90"/>
                    </a:lnTo>
                    <a:lnTo>
                      <a:pt x="102" y="98"/>
                    </a:lnTo>
                    <a:lnTo>
                      <a:pt x="92" y="108"/>
                    </a:lnTo>
                    <a:lnTo>
                      <a:pt x="86" y="124"/>
                    </a:lnTo>
                    <a:lnTo>
                      <a:pt x="80" y="134"/>
                    </a:lnTo>
                    <a:lnTo>
                      <a:pt x="58" y="118"/>
                    </a:lnTo>
                    <a:lnTo>
                      <a:pt x="54" y="110"/>
                    </a:lnTo>
                    <a:lnTo>
                      <a:pt x="8" y="86"/>
                    </a:lnTo>
                    <a:lnTo>
                      <a:pt x="6" y="86"/>
                    </a:lnTo>
                    <a:lnTo>
                      <a:pt x="8" y="72"/>
                    </a:lnTo>
                    <a:lnTo>
                      <a:pt x="6" y="62"/>
                    </a:lnTo>
                    <a:lnTo>
                      <a:pt x="20" y="48"/>
                    </a:lnTo>
                    <a:lnTo>
                      <a:pt x="14" y="30"/>
                    </a:lnTo>
                    <a:lnTo>
                      <a:pt x="4" y="12"/>
                    </a:lnTo>
                    <a:lnTo>
                      <a:pt x="10" y="4"/>
                    </a:lnTo>
                    <a:lnTo>
                      <a:pt x="28" y="4"/>
                    </a:lnTo>
                    <a:close/>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6" name="Freeform 517"/>
              <p:cNvSpPr>
                <a:spLocks/>
              </p:cNvSpPr>
              <p:nvPr/>
            </p:nvSpPr>
            <p:spPr bwMode="auto">
              <a:xfrm>
                <a:off x="3347" y="2459"/>
                <a:ext cx="112" cy="130"/>
              </a:xfrm>
              <a:custGeom>
                <a:avLst/>
                <a:gdLst>
                  <a:gd name="T0" fmla="*/ 24 w 112"/>
                  <a:gd name="T1" fmla="*/ 0 h 130"/>
                  <a:gd name="T2" fmla="*/ 56 w 112"/>
                  <a:gd name="T3" fmla="*/ 14 h 130"/>
                  <a:gd name="T4" fmla="*/ 78 w 112"/>
                  <a:gd name="T5" fmla="*/ 16 h 130"/>
                  <a:gd name="T6" fmla="*/ 96 w 112"/>
                  <a:gd name="T7" fmla="*/ 6 h 130"/>
                  <a:gd name="T8" fmla="*/ 100 w 112"/>
                  <a:gd name="T9" fmla="*/ 14 h 130"/>
                  <a:gd name="T10" fmla="*/ 112 w 112"/>
                  <a:gd name="T11" fmla="*/ 10 h 130"/>
                  <a:gd name="T12" fmla="*/ 112 w 112"/>
                  <a:gd name="T13" fmla="*/ 18 h 130"/>
                  <a:gd name="T14" fmla="*/ 96 w 112"/>
                  <a:gd name="T15" fmla="*/ 28 h 130"/>
                  <a:gd name="T16" fmla="*/ 98 w 112"/>
                  <a:gd name="T17" fmla="*/ 76 h 130"/>
                  <a:gd name="T18" fmla="*/ 108 w 112"/>
                  <a:gd name="T19" fmla="*/ 86 h 130"/>
                  <a:gd name="T20" fmla="*/ 98 w 112"/>
                  <a:gd name="T21" fmla="*/ 94 h 130"/>
                  <a:gd name="T22" fmla="*/ 88 w 112"/>
                  <a:gd name="T23" fmla="*/ 104 h 130"/>
                  <a:gd name="T24" fmla="*/ 82 w 112"/>
                  <a:gd name="T25" fmla="*/ 120 h 130"/>
                  <a:gd name="T26" fmla="*/ 76 w 112"/>
                  <a:gd name="T27" fmla="*/ 130 h 130"/>
                  <a:gd name="T28" fmla="*/ 54 w 112"/>
                  <a:gd name="T29" fmla="*/ 114 h 130"/>
                  <a:gd name="T30" fmla="*/ 50 w 112"/>
                  <a:gd name="T31" fmla="*/ 106 h 130"/>
                  <a:gd name="T32" fmla="*/ 4 w 112"/>
                  <a:gd name="T33" fmla="*/ 82 h 130"/>
                  <a:gd name="T34" fmla="*/ 2 w 112"/>
                  <a:gd name="T35" fmla="*/ 82 h 130"/>
                  <a:gd name="T36" fmla="*/ 4 w 112"/>
                  <a:gd name="T37" fmla="*/ 68 h 130"/>
                  <a:gd name="T38" fmla="*/ 2 w 112"/>
                  <a:gd name="T39" fmla="*/ 58 h 130"/>
                  <a:gd name="T40" fmla="*/ 16 w 112"/>
                  <a:gd name="T41" fmla="*/ 44 h 130"/>
                  <a:gd name="T42" fmla="*/ 10 w 112"/>
                  <a:gd name="T43" fmla="*/ 26 h 130"/>
                  <a:gd name="T44" fmla="*/ 0 w 112"/>
                  <a:gd name="T45" fmla="*/ 8 h 130"/>
                  <a:gd name="T46" fmla="*/ 6 w 112"/>
                  <a:gd name="T47" fmla="*/ 0 h 130"/>
                  <a:gd name="T48" fmla="*/ 24 w 112"/>
                  <a:gd name="T4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30">
                    <a:moveTo>
                      <a:pt x="24" y="0"/>
                    </a:moveTo>
                    <a:lnTo>
                      <a:pt x="56" y="14"/>
                    </a:lnTo>
                    <a:lnTo>
                      <a:pt x="78" y="16"/>
                    </a:lnTo>
                    <a:lnTo>
                      <a:pt x="96" y="6"/>
                    </a:lnTo>
                    <a:lnTo>
                      <a:pt x="100" y="14"/>
                    </a:lnTo>
                    <a:lnTo>
                      <a:pt x="112" y="10"/>
                    </a:lnTo>
                    <a:lnTo>
                      <a:pt x="112" y="18"/>
                    </a:lnTo>
                    <a:lnTo>
                      <a:pt x="96" y="28"/>
                    </a:lnTo>
                    <a:lnTo>
                      <a:pt x="98" y="76"/>
                    </a:lnTo>
                    <a:lnTo>
                      <a:pt x="108" y="86"/>
                    </a:lnTo>
                    <a:lnTo>
                      <a:pt x="98" y="94"/>
                    </a:lnTo>
                    <a:lnTo>
                      <a:pt x="88" y="104"/>
                    </a:lnTo>
                    <a:lnTo>
                      <a:pt x="82" y="120"/>
                    </a:lnTo>
                    <a:lnTo>
                      <a:pt x="76" y="130"/>
                    </a:lnTo>
                    <a:lnTo>
                      <a:pt x="54" y="114"/>
                    </a:lnTo>
                    <a:lnTo>
                      <a:pt x="50" y="106"/>
                    </a:lnTo>
                    <a:lnTo>
                      <a:pt x="4" y="82"/>
                    </a:lnTo>
                    <a:lnTo>
                      <a:pt x="2" y="82"/>
                    </a:lnTo>
                    <a:lnTo>
                      <a:pt x="4" y="68"/>
                    </a:lnTo>
                    <a:lnTo>
                      <a:pt x="2" y="58"/>
                    </a:lnTo>
                    <a:lnTo>
                      <a:pt x="16" y="44"/>
                    </a:lnTo>
                    <a:lnTo>
                      <a:pt x="10" y="26"/>
                    </a:lnTo>
                    <a:lnTo>
                      <a:pt x="0" y="8"/>
                    </a:lnTo>
                    <a:lnTo>
                      <a:pt x="6"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7" name="Freeform 518"/>
              <p:cNvSpPr>
                <a:spLocks/>
              </p:cNvSpPr>
              <p:nvPr/>
            </p:nvSpPr>
            <p:spPr bwMode="auto">
              <a:xfrm>
                <a:off x="3343" y="2455"/>
                <a:ext cx="120" cy="138"/>
              </a:xfrm>
              <a:custGeom>
                <a:avLst/>
                <a:gdLst>
                  <a:gd name="T0" fmla="*/ 28 w 120"/>
                  <a:gd name="T1" fmla="*/ 0 h 138"/>
                  <a:gd name="T2" fmla="*/ 10 w 120"/>
                  <a:gd name="T3" fmla="*/ 0 h 138"/>
                  <a:gd name="T4" fmla="*/ 10 w 120"/>
                  <a:gd name="T5" fmla="*/ 0 h 138"/>
                  <a:gd name="T6" fmla="*/ 8 w 120"/>
                  <a:gd name="T7" fmla="*/ 2 h 138"/>
                  <a:gd name="T8" fmla="*/ 0 w 120"/>
                  <a:gd name="T9" fmla="*/ 10 h 138"/>
                  <a:gd name="T10" fmla="*/ 0 w 120"/>
                  <a:gd name="T11" fmla="*/ 10 h 138"/>
                  <a:gd name="T12" fmla="*/ 0 w 120"/>
                  <a:gd name="T13" fmla="*/ 12 h 138"/>
                  <a:gd name="T14" fmla="*/ 0 w 120"/>
                  <a:gd name="T15" fmla="*/ 14 h 138"/>
                  <a:gd name="T16" fmla="*/ 10 w 120"/>
                  <a:gd name="T17" fmla="*/ 30 h 138"/>
                  <a:gd name="T18" fmla="*/ 14 w 120"/>
                  <a:gd name="T19" fmla="*/ 48 h 138"/>
                  <a:gd name="T20" fmla="*/ 4 w 120"/>
                  <a:gd name="T21" fmla="*/ 60 h 138"/>
                  <a:gd name="T22" fmla="*/ 4 w 120"/>
                  <a:gd name="T23" fmla="*/ 60 h 138"/>
                  <a:gd name="T24" fmla="*/ 2 w 120"/>
                  <a:gd name="T25" fmla="*/ 64 h 138"/>
                  <a:gd name="T26" fmla="*/ 4 w 120"/>
                  <a:gd name="T27" fmla="*/ 72 h 138"/>
                  <a:gd name="T28" fmla="*/ 2 w 120"/>
                  <a:gd name="T29" fmla="*/ 84 h 138"/>
                  <a:gd name="T30" fmla="*/ 2 w 120"/>
                  <a:gd name="T31" fmla="*/ 84 h 138"/>
                  <a:gd name="T32" fmla="*/ 2 w 120"/>
                  <a:gd name="T33" fmla="*/ 88 h 138"/>
                  <a:gd name="T34" fmla="*/ 2 w 120"/>
                  <a:gd name="T35" fmla="*/ 88 h 138"/>
                  <a:gd name="T36" fmla="*/ 6 w 120"/>
                  <a:gd name="T37" fmla="*/ 90 h 138"/>
                  <a:gd name="T38" fmla="*/ 8 w 120"/>
                  <a:gd name="T39" fmla="*/ 90 h 138"/>
                  <a:gd name="T40" fmla="*/ 52 w 120"/>
                  <a:gd name="T41" fmla="*/ 112 h 138"/>
                  <a:gd name="T42" fmla="*/ 54 w 120"/>
                  <a:gd name="T43" fmla="*/ 120 h 138"/>
                  <a:gd name="T44" fmla="*/ 54 w 120"/>
                  <a:gd name="T45" fmla="*/ 120 h 138"/>
                  <a:gd name="T46" fmla="*/ 56 w 120"/>
                  <a:gd name="T47" fmla="*/ 122 h 138"/>
                  <a:gd name="T48" fmla="*/ 78 w 120"/>
                  <a:gd name="T49" fmla="*/ 138 h 138"/>
                  <a:gd name="T50" fmla="*/ 78 w 120"/>
                  <a:gd name="T51" fmla="*/ 138 h 138"/>
                  <a:gd name="T52" fmla="*/ 80 w 120"/>
                  <a:gd name="T53" fmla="*/ 138 h 138"/>
                  <a:gd name="T54" fmla="*/ 80 w 120"/>
                  <a:gd name="T55" fmla="*/ 138 h 138"/>
                  <a:gd name="T56" fmla="*/ 80 w 120"/>
                  <a:gd name="T57" fmla="*/ 138 h 138"/>
                  <a:gd name="T58" fmla="*/ 80 w 120"/>
                  <a:gd name="T59" fmla="*/ 138 h 138"/>
                  <a:gd name="T60" fmla="*/ 84 w 120"/>
                  <a:gd name="T61" fmla="*/ 136 h 138"/>
                  <a:gd name="T62" fmla="*/ 88 w 120"/>
                  <a:gd name="T63" fmla="*/ 126 h 138"/>
                  <a:gd name="T64" fmla="*/ 96 w 120"/>
                  <a:gd name="T65" fmla="*/ 110 h 138"/>
                  <a:gd name="T66" fmla="*/ 106 w 120"/>
                  <a:gd name="T67" fmla="*/ 100 h 138"/>
                  <a:gd name="T68" fmla="*/ 114 w 120"/>
                  <a:gd name="T69" fmla="*/ 94 h 138"/>
                  <a:gd name="T70" fmla="*/ 114 w 120"/>
                  <a:gd name="T71" fmla="*/ 94 h 138"/>
                  <a:gd name="T72" fmla="*/ 116 w 120"/>
                  <a:gd name="T73" fmla="*/ 90 h 138"/>
                  <a:gd name="T74" fmla="*/ 116 w 120"/>
                  <a:gd name="T75" fmla="*/ 90 h 138"/>
                  <a:gd name="T76" fmla="*/ 114 w 120"/>
                  <a:gd name="T77" fmla="*/ 88 h 138"/>
                  <a:gd name="T78" fmla="*/ 106 w 120"/>
                  <a:gd name="T79" fmla="*/ 78 h 138"/>
                  <a:gd name="T80" fmla="*/ 106 w 120"/>
                  <a:gd name="T81" fmla="*/ 34 h 138"/>
                  <a:gd name="T82" fmla="*/ 118 w 120"/>
                  <a:gd name="T83" fmla="*/ 26 h 138"/>
                  <a:gd name="T84" fmla="*/ 118 w 120"/>
                  <a:gd name="T85" fmla="*/ 26 h 138"/>
                  <a:gd name="T86" fmla="*/ 120 w 120"/>
                  <a:gd name="T87" fmla="*/ 22 h 138"/>
                  <a:gd name="T88" fmla="*/ 120 w 120"/>
                  <a:gd name="T89" fmla="*/ 14 h 138"/>
                  <a:gd name="T90" fmla="*/ 120 w 120"/>
                  <a:gd name="T91" fmla="*/ 14 h 138"/>
                  <a:gd name="T92" fmla="*/ 118 w 120"/>
                  <a:gd name="T93" fmla="*/ 10 h 138"/>
                  <a:gd name="T94" fmla="*/ 118 w 120"/>
                  <a:gd name="T95" fmla="*/ 10 h 138"/>
                  <a:gd name="T96" fmla="*/ 116 w 120"/>
                  <a:gd name="T97" fmla="*/ 10 h 138"/>
                  <a:gd name="T98" fmla="*/ 116 w 120"/>
                  <a:gd name="T99" fmla="*/ 10 h 138"/>
                  <a:gd name="T100" fmla="*/ 114 w 120"/>
                  <a:gd name="T101" fmla="*/ 10 h 138"/>
                  <a:gd name="T102" fmla="*/ 106 w 120"/>
                  <a:gd name="T103" fmla="*/ 12 h 138"/>
                  <a:gd name="T104" fmla="*/ 102 w 120"/>
                  <a:gd name="T105" fmla="*/ 8 h 138"/>
                  <a:gd name="T106" fmla="*/ 102 w 120"/>
                  <a:gd name="T107" fmla="*/ 8 h 138"/>
                  <a:gd name="T108" fmla="*/ 100 w 120"/>
                  <a:gd name="T109" fmla="*/ 6 h 138"/>
                  <a:gd name="T110" fmla="*/ 100 w 120"/>
                  <a:gd name="T111" fmla="*/ 6 h 138"/>
                  <a:gd name="T112" fmla="*/ 98 w 120"/>
                  <a:gd name="T113" fmla="*/ 6 h 138"/>
                  <a:gd name="T114" fmla="*/ 80 w 120"/>
                  <a:gd name="T115" fmla="*/ 16 h 138"/>
                  <a:gd name="T116" fmla="*/ 62 w 120"/>
                  <a:gd name="T117" fmla="*/ 14 h 138"/>
                  <a:gd name="T118" fmla="*/ 30 w 120"/>
                  <a:gd name="T119" fmla="*/ 2 h 138"/>
                  <a:gd name="T120" fmla="*/ 30 w 120"/>
                  <a:gd name="T121" fmla="*/ 2 h 138"/>
                  <a:gd name="T122" fmla="*/ 28 w 120"/>
                  <a:gd name="T123" fmla="*/ 0 h 138"/>
                  <a:gd name="T124" fmla="*/ 28 w 120"/>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 h="138">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8" name="Freeform 519"/>
              <p:cNvSpPr>
                <a:spLocks/>
              </p:cNvSpPr>
              <p:nvPr/>
            </p:nvSpPr>
            <p:spPr bwMode="auto">
              <a:xfrm>
                <a:off x="2987" y="2485"/>
                <a:ext cx="82" cy="94"/>
              </a:xfrm>
              <a:custGeom>
                <a:avLst/>
                <a:gdLst>
                  <a:gd name="T0" fmla="*/ 32 w 82"/>
                  <a:gd name="T1" fmla="*/ 94 h 94"/>
                  <a:gd name="T2" fmla="*/ 32 w 82"/>
                  <a:gd name="T3" fmla="*/ 94 h 94"/>
                  <a:gd name="T4" fmla="*/ 32 w 82"/>
                  <a:gd name="T5" fmla="*/ 94 h 94"/>
                  <a:gd name="T6" fmla="*/ 16 w 82"/>
                  <a:gd name="T7" fmla="*/ 82 h 94"/>
                  <a:gd name="T8" fmla="*/ 8 w 82"/>
                  <a:gd name="T9" fmla="*/ 68 h 94"/>
                  <a:gd name="T10" fmla="*/ 0 w 82"/>
                  <a:gd name="T11" fmla="*/ 48 h 94"/>
                  <a:gd name="T12" fmla="*/ 0 w 82"/>
                  <a:gd name="T13" fmla="*/ 48 h 94"/>
                  <a:gd name="T14" fmla="*/ 0 w 82"/>
                  <a:gd name="T15" fmla="*/ 46 h 94"/>
                  <a:gd name="T16" fmla="*/ 8 w 82"/>
                  <a:gd name="T17" fmla="*/ 32 h 94"/>
                  <a:gd name="T18" fmla="*/ 10 w 82"/>
                  <a:gd name="T19" fmla="*/ 24 h 94"/>
                  <a:gd name="T20" fmla="*/ 10 w 82"/>
                  <a:gd name="T21" fmla="*/ 24 h 94"/>
                  <a:gd name="T22" fmla="*/ 12 w 82"/>
                  <a:gd name="T23" fmla="*/ 24 h 94"/>
                  <a:gd name="T24" fmla="*/ 32 w 82"/>
                  <a:gd name="T25" fmla="*/ 22 h 94"/>
                  <a:gd name="T26" fmla="*/ 34 w 82"/>
                  <a:gd name="T27" fmla="*/ 2 h 94"/>
                  <a:gd name="T28" fmla="*/ 34 w 82"/>
                  <a:gd name="T29" fmla="*/ 2 h 94"/>
                  <a:gd name="T30" fmla="*/ 36 w 82"/>
                  <a:gd name="T31" fmla="*/ 0 h 94"/>
                  <a:gd name="T32" fmla="*/ 60 w 82"/>
                  <a:gd name="T33" fmla="*/ 0 h 94"/>
                  <a:gd name="T34" fmla="*/ 60 w 82"/>
                  <a:gd name="T35" fmla="*/ 0 h 94"/>
                  <a:gd name="T36" fmla="*/ 62 w 82"/>
                  <a:gd name="T37" fmla="*/ 2 h 94"/>
                  <a:gd name="T38" fmla="*/ 66 w 82"/>
                  <a:gd name="T39" fmla="*/ 16 h 94"/>
                  <a:gd name="T40" fmla="*/ 66 w 82"/>
                  <a:gd name="T41" fmla="*/ 16 h 94"/>
                  <a:gd name="T42" fmla="*/ 76 w 82"/>
                  <a:gd name="T43" fmla="*/ 14 h 94"/>
                  <a:gd name="T44" fmla="*/ 76 w 82"/>
                  <a:gd name="T45" fmla="*/ 14 h 94"/>
                  <a:gd name="T46" fmla="*/ 78 w 82"/>
                  <a:gd name="T47" fmla="*/ 16 h 94"/>
                  <a:gd name="T48" fmla="*/ 82 w 82"/>
                  <a:gd name="T49" fmla="*/ 24 h 94"/>
                  <a:gd name="T50" fmla="*/ 82 w 82"/>
                  <a:gd name="T51" fmla="*/ 24 h 94"/>
                  <a:gd name="T52" fmla="*/ 80 w 82"/>
                  <a:gd name="T53" fmla="*/ 26 h 94"/>
                  <a:gd name="T54" fmla="*/ 74 w 82"/>
                  <a:gd name="T55" fmla="*/ 32 h 94"/>
                  <a:gd name="T56" fmla="*/ 74 w 82"/>
                  <a:gd name="T57" fmla="*/ 42 h 94"/>
                  <a:gd name="T58" fmla="*/ 80 w 82"/>
                  <a:gd name="T59" fmla="*/ 46 h 94"/>
                  <a:gd name="T60" fmla="*/ 80 w 82"/>
                  <a:gd name="T61" fmla="*/ 46 h 94"/>
                  <a:gd name="T62" fmla="*/ 82 w 82"/>
                  <a:gd name="T63" fmla="*/ 48 h 94"/>
                  <a:gd name="T64" fmla="*/ 82 w 82"/>
                  <a:gd name="T65" fmla="*/ 66 h 94"/>
                  <a:gd name="T66" fmla="*/ 82 w 82"/>
                  <a:gd name="T67" fmla="*/ 66 h 94"/>
                  <a:gd name="T68" fmla="*/ 82 w 82"/>
                  <a:gd name="T69" fmla="*/ 68 h 94"/>
                  <a:gd name="T70" fmla="*/ 78 w 82"/>
                  <a:gd name="T71" fmla="*/ 74 h 94"/>
                  <a:gd name="T72" fmla="*/ 78 w 82"/>
                  <a:gd name="T73" fmla="*/ 74 h 94"/>
                  <a:gd name="T74" fmla="*/ 76 w 82"/>
                  <a:gd name="T75" fmla="*/ 76 h 94"/>
                  <a:gd name="T76" fmla="*/ 76 w 82"/>
                  <a:gd name="T77" fmla="*/ 76 h 94"/>
                  <a:gd name="T78" fmla="*/ 60 w 82"/>
                  <a:gd name="T79" fmla="*/ 74 h 94"/>
                  <a:gd name="T80" fmla="*/ 60 w 82"/>
                  <a:gd name="T81" fmla="*/ 74 h 94"/>
                  <a:gd name="T82" fmla="*/ 58 w 82"/>
                  <a:gd name="T83" fmla="*/ 74 h 94"/>
                  <a:gd name="T84" fmla="*/ 54 w 82"/>
                  <a:gd name="T85" fmla="*/ 68 h 94"/>
                  <a:gd name="T86" fmla="*/ 48 w 82"/>
                  <a:gd name="T87" fmla="*/ 74 h 94"/>
                  <a:gd name="T88" fmla="*/ 48 w 82"/>
                  <a:gd name="T89" fmla="*/ 74 h 94"/>
                  <a:gd name="T90" fmla="*/ 46 w 82"/>
                  <a:gd name="T91" fmla="*/ 74 h 94"/>
                  <a:gd name="T92" fmla="*/ 42 w 82"/>
                  <a:gd name="T93" fmla="*/ 74 h 94"/>
                  <a:gd name="T94" fmla="*/ 42 w 82"/>
                  <a:gd name="T95" fmla="*/ 82 h 94"/>
                  <a:gd name="T96" fmla="*/ 46 w 82"/>
                  <a:gd name="T97" fmla="*/ 82 h 94"/>
                  <a:gd name="T98" fmla="*/ 46 w 82"/>
                  <a:gd name="T99" fmla="*/ 82 h 94"/>
                  <a:gd name="T100" fmla="*/ 48 w 82"/>
                  <a:gd name="T101" fmla="*/ 84 h 94"/>
                  <a:gd name="T102" fmla="*/ 48 w 82"/>
                  <a:gd name="T103" fmla="*/ 92 h 94"/>
                  <a:gd name="T104" fmla="*/ 48 w 82"/>
                  <a:gd name="T105" fmla="*/ 92 h 94"/>
                  <a:gd name="T106" fmla="*/ 46 w 82"/>
                  <a:gd name="T107" fmla="*/ 94 h 94"/>
                  <a:gd name="T108" fmla="*/ 32 w 82"/>
                  <a:gd name="T10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94">
                    <a:moveTo>
                      <a:pt x="32" y="94"/>
                    </a:moveTo>
                    <a:lnTo>
                      <a:pt x="32" y="94"/>
                    </a:lnTo>
                    <a:lnTo>
                      <a:pt x="32" y="94"/>
                    </a:lnTo>
                    <a:lnTo>
                      <a:pt x="16" y="82"/>
                    </a:lnTo>
                    <a:lnTo>
                      <a:pt x="8" y="68"/>
                    </a:lnTo>
                    <a:lnTo>
                      <a:pt x="0" y="48"/>
                    </a:lnTo>
                    <a:lnTo>
                      <a:pt x="0" y="48"/>
                    </a:lnTo>
                    <a:lnTo>
                      <a:pt x="0" y="46"/>
                    </a:lnTo>
                    <a:lnTo>
                      <a:pt x="8" y="32"/>
                    </a:lnTo>
                    <a:lnTo>
                      <a:pt x="10" y="24"/>
                    </a:lnTo>
                    <a:lnTo>
                      <a:pt x="10" y="24"/>
                    </a:lnTo>
                    <a:lnTo>
                      <a:pt x="12" y="24"/>
                    </a:lnTo>
                    <a:lnTo>
                      <a:pt x="32" y="22"/>
                    </a:lnTo>
                    <a:lnTo>
                      <a:pt x="34" y="2"/>
                    </a:lnTo>
                    <a:lnTo>
                      <a:pt x="34" y="2"/>
                    </a:lnTo>
                    <a:lnTo>
                      <a:pt x="36" y="0"/>
                    </a:lnTo>
                    <a:lnTo>
                      <a:pt x="60" y="0"/>
                    </a:lnTo>
                    <a:lnTo>
                      <a:pt x="60" y="0"/>
                    </a:lnTo>
                    <a:lnTo>
                      <a:pt x="62" y="2"/>
                    </a:lnTo>
                    <a:lnTo>
                      <a:pt x="66" y="16"/>
                    </a:lnTo>
                    <a:lnTo>
                      <a:pt x="66" y="16"/>
                    </a:lnTo>
                    <a:lnTo>
                      <a:pt x="76" y="14"/>
                    </a:lnTo>
                    <a:lnTo>
                      <a:pt x="76" y="14"/>
                    </a:lnTo>
                    <a:lnTo>
                      <a:pt x="78" y="16"/>
                    </a:lnTo>
                    <a:lnTo>
                      <a:pt x="82" y="24"/>
                    </a:lnTo>
                    <a:lnTo>
                      <a:pt x="82" y="24"/>
                    </a:lnTo>
                    <a:lnTo>
                      <a:pt x="80" y="26"/>
                    </a:lnTo>
                    <a:lnTo>
                      <a:pt x="74" y="32"/>
                    </a:lnTo>
                    <a:lnTo>
                      <a:pt x="74" y="42"/>
                    </a:lnTo>
                    <a:lnTo>
                      <a:pt x="80" y="46"/>
                    </a:lnTo>
                    <a:lnTo>
                      <a:pt x="80" y="46"/>
                    </a:lnTo>
                    <a:lnTo>
                      <a:pt x="82" y="48"/>
                    </a:lnTo>
                    <a:lnTo>
                      <a:pt x="82" y="66"/>
                    </a:lnTo>
                    <a:lnTo>
                      <a:pt x="82" y="66"/>
                    </a:lnTo>
                    <a:lnTo>
                      <a:pt x="82" y="68"/>
                    </a:lnTo>
                    <a:lnTo>
                      <a:pt x="78" y="74"/>
                    </a:lnTo>
                    <a:lnTo>
                      <a:pt x="78" y="74"/>
                    </a:lnTo>
                    <a:lnTo>
                      <a:pt x="76" y="76"/>
                    </a:lnTo>
                    <a:lnTo>
                      <a:pt x="76" y="76"/>
                    </a:lnTo>
                    <a:lnTo>
                      <a:pt x="60" y="74"/>
                    </a:lnTo>
                    <a:lnTo>
                      <a:pt x="60" y="74"/>
                    </a:lnTo>
                    <a:lnTo>
                      <a:pt x="58" y="74"/>
                    </a:lnTo>
                    <a:lnTo>
                      <a:pt x="54" y="68"/>
                    </a:lnTo>
                    <a:lnTo>
                      <a:pt x="48" y="74"/>
                    </a:lnTo>
                    <a:lnTo>
                      <a:pt x="48" y="74"/>
                    </a:lnTo>
                    <a:lnTo>
                      <a:pt x="46" y="74"/>
                    </a:lnTo>
                    <a:lnTo>
                      <a:pt x="42" y="74"/>
                    </a:lnTo>
                    <a:lnTo>
                      <a:pt x="42" y="82"/>
                    </a:lnTo>
                    <a:lnTo>
                      <a:pt x="46" y="82"/>
                    </a:lnTo>
                    <a:lnTo>
                      <a:pt x="46" y="82"/>
                    </a:lnTo>
                    <a:lnTo>
                      <a:pt x="48" y="84"/>
                    </a:lnTo>
                    <a:lnTo>
                      <a:pt x="48" y="92"/>
                    </a:lnTo>
                    <a:lnTo>
                      <a:pt x="48" y="92"/>
                    </a:lnTo>
                    <a:lnTo>
                      <a:pt x="46" y="94"/>
                    </a:lnTo>
                    <a:lnTo>
                      <a:pt x="32"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9" name="Freeform 520"/>
              <p:cNvSpPr>
                <a:spLocks noEditPoints="1"/>
              </p:cNvSpPr>
              <p:nvPr/>
            </p:nvSpPr>
            <p:spPr bwMode="auto">
              <a:xfrm>
                <a:off x="2985" y="2483"/>
                <a:ext cx="86" cy="98"/>
              </a:xfrm>
              <a:custGeom>
                <a:avLst/>
                <a:gdLst>
                  <a:gd name="T0" fmla="*/ 66 w 86"/>
                  <a:gd name="T1" fmla="*/ 20 h 98"/>
                  <a:gd name="T2" fmla="*/ 82 w 86"/>
                  <a:gd name="T3" fmla="*/ 28 h 98"/>
                  <a:gd name="T4" fmla="*/ 74 w 86"/>
                  <a:gd name="T5" fmla="*/ 44 h 98"/>
                  <a:gd name="T6" fmla="*/ 82 w 86"/>
                  <a:gd name="T7" fmla="*/ 68 h 98"/>
                  <a:gd name="T8" fmla="*/ 62 w 86"/>
                  <a:gd name="T9" fmla="*/ 74 h 98"/>
                  <a:gd name="T10" fmla="*/ 48 w 86"/>
                  <a:gd name="T11" fmla="*/ 74 h 98"/>
                  <a:gd name="T12" fmla="*/ 42 w 86"/>
                  <a:gd name="T13" fmla="*/ 86 h 98"/>
                  <a:gd name="T14" fmla="*/ 48 w 86"/>
                  <a:gd name="T15" fmla="*/ 94 h 98"/>
                  <a:gd name="T16" fmla="*/ 20 w 86"/>
                  <a:gd name="T17" fmla="*/ 82 h 98"/>
                  <a:gd name="T18" fmla="*/ 4 w 86"/>
                  <a:gd name="T19" fmla="*/ 50 h 98"/>
                  <a:gd name="T20" fmla="*/ 14 w 86"/>
                  <a:gd name="T21" fmla="*/ 28 h 98"/>
                  <a:gd name="T22" fmla="*/ 38 w 86"/>
                  <a:gd name="T23" fmla="*/ 4 h 98"/>
                  <a:gd name="T24" fmla="*/ 62 w 86"/>
                  <a:gd name="T25" fmla="*/ 0 h 98"/>
                  <a:gd name="T26" fmla="*/ 38 w 86"/>
                  <a:gd name="T27" fmla="*/ 0 h 98"/>
                  <a:gd name="T28" fmla="*/ 34 w 86"/>
                  <a:gd name="T29" fmla="*/ 4 h 98"/>
                  <a:gd name="T30" fmla="*/ 14 w 86"/>
                  <a:gd name="T31" fmla="*/ 24 h 98"/>
                  <a:gd name="T32" fmla="*/ 12 w 86"/>
                  <a:gd name="T33" fmla="*/ 24 h 98"/>
                  <a:gd name="T34" fmla="*/ 8 w 86"/>
                  <a:gd name="T35" fmla="*/ 34 h 98"/>
                  <a:gd name="T36" fmla="*/ 0 w 86"/>
                  <a:gd name="T37" fmla="*/ 48 h 98"/>
                  <a:gd name="T38" fmla="*/ 8 w 86"/>
                  <a:gd name="T39" fmla="*/ 70 h 98"/>
                  <a:gd name="T40" fmla="*/ 16 w 86"/>
                  <a:gd name="T41" fmla="*/ 84 h 98"/>
                  <a:gd name="T42" fmla="*/ 32 w 86"/>
                  <a:gd name="T43" fmla="*/ 98 h 98"/>
                  <a:gd name="T44" fmla="*/ 34 w 86"/>
                  <a:gd name="T45" fmla="*/ 98 h 98"/>
                  <a:gd name="T46" fmla="*/ 48 w 86"/>
                  <a:gd name="T47" fmla="*/ 98 h 98"/>
                  <a:gd name="T48" fmla="*/ 52 w 86"/>
                  <a:gd name="T49" fmla="*/ 94 h 98"/>
                  <a:gd name="T50" fmla="*/ 52 w 86"/>
                  <a:gd name="T51" fmla="*/ 86 h 98"/>
                  <a:gd name="T52" fmla="*/ 48 w 86"/>
                  <a:gd name="T53" fmla="*/ 82 h 98"/>
                  <a:gd name="T54" fmla="*/ 46 w 86"/>
                  <a:gd name="T55" fmla="*/ 78 h 98"/>
                  <a:gd name="T56" fmla="*/ 48 w 86"/>
                  <a:gd name="T57" fmla="*/ 78 h 98"/>
                  <a:gd name="T58" fmla="*/ 56 w 86"/>
                  <a:gd name="T59" fmla="*/ 72 h 98"/>
                  <a:gd name="T60" fmla="*/ 58 w 86"/>
                  <a:gd name="T61" fmla="*/ 76 h 98"/>
                  <a:gd name="T62" fmla="*/ 78 w 86"/>
                  <a:gd name="T63" fmla="*/ 80 h 98"/>
                  <a:gd name="T64" fmla="*/ 78 w 86"/>
                  <a:gd name="T65" fmla="*/ 80 h 98"/>
                  <a:gd name="T66" fmla="*/ 80 w 86"/>
                  <a:gd name="T67" fmla="*/ 80 h 98"/>
                  <a:gd name="T68" fmla="*/ 86 w 86"/>
                  <a:gd name="T69" fmla="*/ 70 h 98"/>
                  <a:gd name="T70" fmla="*/ 86 w 86"/>
                  <a:gd name="T71" fmla="*/ 68 h 98"/>
                  <a:gd name="T72" fmla="*/ 86 w 86"/>
                  <a:gd name="T73" fmla="*/ 50 h 98"/>
                  <a:gd name="T74" fmla="*/ 78 w 86"/>
                  <a:gd name="T75" fmla="*/ 42 h 98"/>
                  <a:gd name="T76" fmla="*/ 84 w 86"/>
                  <a:gd name="T77" fmla="*/ 30 h 98"/>
                  <a:gd name="T78" fmla="*/ 86 w 86"/>
                  <a:gd name="T79" fmla="*/ 28 h 98"/>
                  <a:gd name="T80" fmla="*/ 82 w 86"/>
                  <a:gd name="T81" fmla="*/ 16 h 98"/>
                  <a:gd name="T82" fmla="*/ 80 w 86"/>
                  <a:gd name="T83" fmla="*/ 14 h 98"/>
                  <a:gd name="T84" fmla="*/ 78 w 86"/>
                  <a:gd name="T85" fmla="*/ 14 h 98"/>
                  <a:gd name="T86" fmla="*/ 68 w 86"/>
                  <a:gd name="T87" fmla="*/ 16 h 98"/>
                  <a:gd name="T88" fmla="*/ 66 w 86"/>
                  <a:gd name="T89" fmla="*/ 4 h 98"/>
                  <a:gd name="T90" fmla="*/ 62 w 86"/>
                  <a:gd name="T9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98">
                    <a:moveTo>
                      <a:pt x="62" y="4"/>
                    </a:moveTo>
                    <a:lnTo>
                      <a:pt x="66" y="20"/>
                    </a:lnTo>
                    <a:lnTo>
                      <a:pt x="78" y="18"/>
                    </a:lnTo>
                    <a:lnTo>
                      <a:pt x="82" y="28"/>
                    </a:lnTo>
                    <a:lnTo>
                      <a:pt x="74" y="34"/>
                    </a:lnTo>
                    <a:lnTo>
                      <a:pt x="74" y="44"/>
                    </a:lnTo>
                    <a:lnTo>
                      <a:pt x="82" y="50"/>
                    </a:lnTo>
                    <a:lnTo>
                      <a:pt x="82" y="68"/>
                    </a:lnTo>
                    <a:lnTo>
                      <a:pt x="78" y="76"/>
                    </a:lnTo>
                    <a:lnTo>
                      <a:pt x="62" y="74"/>
                    </a:lnTo>
                    <a:lnTo>
                      <a:pt x="56" y="66"/>
                    </a:lnTo>
                    <a:lnTo>
                      <a:pt x="48" y="74"/>
                    </a:lnTo>
                    <a:lnTo>
                      <a:pt x="42" y="74"/>
                    </a:lnTo>
                    <a:lnTo>
                      <a:pt x="42" y="86"/>
                    </a:lnTo>
                    <a:lnTo>
                      <a:pt x="48" y="86"/>
                    </a:lnTo>
                    <a:lnTo>
                      <a:pt x="48" y="94"/>
                    </a:lnTo>
                    <a:lnTo>
                      <a:pt x="34" y="94"/>
                    </a:lnTo>
                    <a:lnTo>
                      <a:pt x="20" y="82"/>
                    </a:lnTo>
                    <a:lnTo>
                      <a:pt x="12" y="68"/>
                    </a:lnTo>
                    <a:lnTo>
                      <a:pt x="4" y="50"/>
                    </a:lnTo>
                    <a:lnTo>
                      <a:pt x="12" y="34"/>
                    </a:lnTo>
                    <a:lnTo>
                      <a:pt x="14" y="28"/>
                    </a:lnTo>
                    <a:lnTo>
                      <a:pt x="34" y="26"/>
                    </a:lnTo>
                    <a:lnTo>
                      <a:pt x="38" y="4"/>
                    </a:lnTo>
                    <a:lnTo>
                      <a:pt x="62" y="4"/>
                    </a:lnTo>
                    <a:close/>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0" name="Freeform 521"/>
              <p:cNvSpPr>
                <a:spLocks/>
              </p:cNvSpPr>
              <p:nvPr/>
            </p:nvSpPr>
            <p:spPr bwMode="auto">
              <a:xfrm>
                <a:off x="2989" y="2487"/>
                <a:ext cx="78" cy="90"/>
              </a:xfrm>
              <a:custGeom>
                <a:avLst/>
                <a:gdLst>
                  <a:gd name="T0" fmla="*/ 58 w 78"/>
                  <a:gd name="T1" fmla="*/ 0 h 90"/>
                  <a:gd name="T2" fmla="*/ 62 w 78"/>
                  <a:gd name="T3" fmla="*/ 16 h 90"/>
                  <a:gd name="T4" fmla="*/ 74 w 78"/>
                  <a:gd name="T5" fmla="*/ 14 h 90"/>
                  <a:gd name="T6" fmla="*/ 78 w 78"/>
                  <a:gd name="T7" fmla="*/ 24 h 90"/>
                  <a:gd name="T8" fmla="*/ 70 w 78"/>
                  <a:gd name="T9" fmla="*/ 30 h 90"/>
                  <a:gd name="T10" fmla="*/ 70 w 78"/>
                  <a:gd name="T11" fmla="*/ 40 h 90"/>
                  <a:gd name="T12" fmla="*/ 78 w 78"/>
                  <a:gd name="T13" fmla="*/ 46 h 90"/>
                  <a:gd name="T14" fmla="*/ 78 w 78"/>
                  <a:gd name="T15" fmla="*/ 64 h 90"/>
                  <a:gd name="T16" fmla="*/ 74 w 78"/>
                  <a:gd name="T17" fmla="*/ 72 h 90"/>
                  <a:gd name="T18" fmla="*/ 58 w 78"/>
                  <a:gd name="T19" fmla="*/ 70 h 90"/>
                  <a:gd name="T20" fmla="*/ 52 w 78"/>
                  <a:gd name="T21" fmla="*/ 62 h 90"/>
                  <a:gd name="T22" fmla="*/ 44 w 78"/>
                  <a:gd name="T23" fmla="*/ 70 h 90"/>
                  <a:gd name="T24" fmla="*/ 38 w 78"/>
                  <a:gd name="T25" fmla="*/ 70 h 90"/>
                  <a:gd name="T26" fmla="*/ 38 w 78"/>
                  <a:gd name="T27" fmla="*/ 82 h 90"/>
                  <a:gd name="T28" fmla="*/ 44 w 78"/>
                  <a:gd name="T29" fmla="*/ 82 h 90"/>
                  <a:gd name="T30" fmla="*/ 44 w 78"/>
                  <a:gd name="T31" fmla="*/ 90 h 90"/>
                  <a:gd name="T32" fmla="*/ 30 w 78"/>
                  <a:gd name="T33" fmla="*/ 90 h 90"/>
                  <a:gd name="T34" fmla="*/ 16 w 78"/>
                  <a:gd name="T35" fmla="*/ 78 h 90"/>
                  <a:gd name="T36" fmla="*/ 8 w 78"/>
                  <a:gd name="T37" fmla="*/ 64 h 90"/>
                  <a:gd name="T38" fmla="*/ 0 w 78"/>
                  <a:gd name="T39" fmla="*/ 46 h 90"/>
                  <a:gd name="T40" fmla="*/ 8 w 78"/>
                  <a:gd name="T41" fmla="*/ 30 h 90"/>
                  <a:gd name="T42" fmla="*/ 10 w 78"/>
                  <a:gd name="T43" fmla="*/ 24 h 90"/>
                  <a:gd name="T44" fmla="*/ 30 w 78"/>
                  <a:gd name="T45" fmla="*/ 22 h 90"/>
                  <a:gd name="T46" fmla="*/ 34 w 78"/>
                  <a:gd name="T47" fmla="*/ 0 h 90"/>
                  <a:gd name="T48" fmla="*/ 58 w 78"/>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90">
                    <a:moveTo>
                      <a:pt x="58" y="0"/>
                    </a:moveTo>
                    <a:lnTo>
                      <a:pt x="62" y="16"/>
                    </a:lnTo>
                    <a:lnTo>
                      <a:pt x="74" y="14"/>
                    </a:lnTo>
                    <a:lnTo>
                      <a:pt x="78" y="24"/>
                    </a:lnTo>
                    <a:lnTo>
                      <a:pt x="70" y="30"/>
                    </a:lnTo>
                    <a:lnTo>
                      <a:pt x="70" y="40"/>
                    </a:lnTo>
                    <a:lnTo>
                      <a:pt x="78" y="46"/>
                    </a:lnTo>
                    <a:lnTo>
                      <a:pt x="78" y="64"/>
                    </a:lnTo>
                    <a:lnTo>
                      <a:pt x="74" y="72"/>
                    </a:lnTo>
                    <a:lnTo>
                      <a:pt x="58" y="70"/>
                    </a:lnTo>
                    <a:lnTo>
                      <a:pt x="52" y="62"/>
                    </a:lnTo>
                    <a:lnTo>
                      <a:pt x="44" y="70"/>
                    </a:lnTo>
                    <a:lnTo>
                      <a:pt x="38" y="70"/>
                    </a:lnTo>
                    <a:lnTo>
                      <a:pt x="38" y="82"/>
                    </a:lnTo>
                    <a:lnTo>
                      <a:pt x="44" y="82"/>
                    </a:lnTo>
                    <a:lnTo>
                      <a:pt x="44" y="90"/>
                    </a:lnTo>
                    <a:lnTo>
                      <a:pt x="30" y="90"/>
                    </a:lnTo>
                    <a:lnTo>
                      <a:pt x="16" y="78"/>
                    </a:lnTo>
                    <a:lnTo>
                      <a:pt x="8" y="64"/>
                    </a:lnTo>
                    <a:lnTo>
                      <a:pt x="0" y="46"/>
                    </a:lnTo>
                    <a:lnTo>
                      <a:pt x="8" y="30"/>
                    </a:lnTo>
                    <a:lnTo>
                      <a:pt x="10" y="24"/>
                    </a:lnTo>
                    <a:lnTo>
                      <a:pt x="30" y="22"/>
                    </a:lnTo>
                    <a:lnTo>
                      <a:pt x="34"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1" name="Freeform 522"/>
              <p:cNvSpPr>
                <a:spLocks/>
              </p:cNvSpPr>
              <p:nvPr/>
            </p:nvSpPr>
            <p:spPr bwMode="auto">
              <a:xfrm>
                <a:off x="2985" y="2483"/>
                <a:ext cx="86" cy="98"/>
              </a:xfrm>
              <a:custGeom>
                <a:avLst/>
                <a:gdLst>
                  <a:gd name="T0" fmla="*/ 38 w 86"/>
                  <a:gd name="T1" fmla="*/ 0 h 98"/>
                  <a:gd name="T2" fmla="*/ 34 w 86"/>
                  <a:gd name="T3" fmla="*/ 2 h 98"/>
                  <a:gd name="T4" fmla="*/ 32 w 86"/>
                  <a:gd name="T5" fmla="*/ 22 h 98"/>
                  <a:gd name="T6" fmla="*/ 14 w 86"/>
                  <a:gd name="T7" fmla="*/ 24 h 98"/>
                  <a:gd name="T8" fmla="*/ 10 w 86"/>
                  <a:gd name="T9" fmla="*/ 26 h 98"/>
                  <a:gd name="T10" fmla="*/ 0 w 86"/>
                  <a:gd name="T11" fmla="*/ 48 h 98"/>
                  <a:gd name="T12" fmla="*/ 0 w 86"/>
                  <a:gd name="T13" fmla="*/ 52 h 98"/>
                  <a:gd name="T14" fmla="*/ 16 w 86"/>
                  <a:gd name="T15" fmla="*/ 84 h 98"/>
                  <a:gd name="T16" fmla="*/ 16 w 86"/>
                  <a:gd name="T17" fmla="*/ 84 h 98"/>
                  <a:gd name="T18" fmla="*/ 32 w 86"/>
                  <a:gd name="T19" fmla="*/ 98 h 98"/>
                  <a:gd name="T20" fmla="*/ 48 w 86"/>
                  <a:gd name="T21" fmla="*/ 98 h 98"/>
                  <a:gd name="T22" fmla="*/ 50 w 86"/>
                  <a:gd name="T23" fmla="*/ 98 h 98"/>
                  <a:gd name="T24" fmla="*/ 52 w 86"/>
                  <a:gd name="T25" fmla="*/ 86 h 98"/>
                  <a:gd name="T26" fmla="*/ 50 w 86"/>
                  <a:gd name="T27" fmla="*/ 82 h 98"/>
                  <a:gd name="T28" fmla="*/ 46 w 86"/>
                  <a:gd name="T29" fmla="*/ 82 h 98"/>
                  <a:gd name="T30" fmla="*/ 48 w 86"/>
                  <a:gd name="T31" fmla="*/ 78 h 98"/>
                  <a:gd name="T32" fmla="*/ 50 w 86"/>
                  <a:gd name="T33" fmla="*/ 78 h 98"/>
                  <a:gd name="T34" fmla="*/ 58 w 86"/>
                  <a:gd name="T35" fmla="*/ 76 h 98"/>
                  <a:gd name="T36" fmla="*/ 62 w 86"/>
                  <a:gd name="T37" fmla="*/ 78 h 98"/>
                  <a:gd name="T38" fmla="*/ 78 w 86"/>
                  <a:gd name="T39" fmla="*/ 80 h 98"/>
                  <a:gd name="T40" fmla="*/ 78 w 86"/>
                  <a:gd name="T41" fmla="*/ 80 h 98"/>
                  <a:gd name="T42" fmla="*/ 82 w 86"/>
                  <a:gd name="T43" fmla="*/ 78 h 98"/>
                  <a:gd name="T44" fmla="*/ 86 w 86"/>
                  <a:gd name="T45" fmla="*/ 70 h 98"/>
                  <a:gd name="T46" fmla="*/ 86 w 86"/>
                  <a:gd name="T47" fmla="*/ 50 h 98"/>
                  <a:gd name="T48" fmla="*/ 84 w 86"/>
                  <a:gd name="T49" fmla="*/ 46 h 98"/>
                  <a:gd name="T50" fmla="*/ 78 w 86"/>
                  <a:gd name="T51" fmla="*/ 34 h 98"/>
                  <a:gd name="T52" fmla="*/ 84 w 86"/>
                  <a:gd name="T53" fmla="*/ 30 h 98"/>
                  <a:gd name="T54" fmla="*/ 86 w 86"/>
                  <a:gd name="T55" fmla="*/ 26 h 98"/>
                  <a:gd name="T56" fmla="*/ 82 w 86"/>
                  <a:gd name="T57" fmla="*/ 16 h 98"/>
                  <a:gd name="T58" fmla="*/ 78 w 86"/>
                  <a:gd name="T59" fmla="*/ 14 h 98"/>
                  <a:gd name="T60" fmla="*/ 78 w 86"/>
                  <a:gd name="T61" fmla="*/ 14 h 98"/>
                  <a:gd name="T62" fmla="*/ 66 w 86"/>
                  <a:gd name="T63" fmla="*/ 4 h 98"/>
                  <a:gd name="T64" fmla="*/ 64 w 86"/>
                  <a:gd name="T65" fmla="*/ 2 h 98"/>
                  <a:gd name="T66" fmla="*/ 62 w 86"/>
                  <a:gd name="T6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98">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2" name="Freeform 523"/>
              <p:cNvSpPr>
                <a:spLocks/>
              </p:cNvSpPr>
              <p:nvPr/>
            </p:nvSpPr>
            <p:spPr bwMode="auto">
              <a:xfrm>
                <a:off x="2623" y="2323"/>
                <a:ext cx="48" cy="16"/>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3" name="Freeform 524"/>
              <p:cNvSpPr>
                <a:spLocks noEditPoints="1"/>
              </p:cNvSpPr>
              <p:nvPr/>
            </p:nvSpPr>
            <p:spPr bwMode="auto">
              <a:xfrm>
                <a:off x="2621" y="2321"/>
                <a:ext cx="52" cy="20"/>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4" name="Freeform 525"/>
              <p:cNvSpPr>
                <a:spLocks/>
              </p:cNvSpPr>
              <p:nvPr/>
            </p:nvSpPr>
            <p:spPr bwMode="auto">
              <a:xfrm>
                <a:off x="2625" y="2325"/>
                <a:ext cx="44" cy="12"/>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5" name="Freeform 526"/>
              <p:cNvSpPr>
                <a:spLocks/>
              </p:cNvSpPr>
              <p:nvPr/>
            </p:nvSpPr>
            <p:spPr bwMode="auto">
              <a:xfrm>
                <a:off x="2621" y="2321"/>
                <a:ext cx="52" cy="20"/>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6" name="Freeform 527"/>
              <p:cNvSpPr>
                <a:spLocks/>
              </p:cNvSpPr>
              <p:nvPr/>
            </p:nvSpPr>
            <p:spPr bwMode="auto">
              <a:xfrm>
                <a:off x="2623" y="2323"/>
                <a:ext cx="48" cy="16"/>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7" name="Freeform 528"/>
              <p:cNvSpPr>
                <a:spLocks noEditPoints="1"/>
              </p:cNvSpPr>
              <p:nvPr/>
            </p:nvSpPr>
            <p:spPr bwMode="auto">
              <a:xfrm>
                <a:off x="2621" y="2321"/>
                <a:ext cx="52" cy="20"/>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8" name="Freeform 529"/>
              <p:cNvSpPr>
                <a:spLocks/>
              </p:cNvSpPr>
              <p:nvPr/>
            </p:nvSpPr>
            <p:spPr bwMode="auto">
              <a:xfrm>
                <a:off x="2625" y="2325"/>
                <a:ext cx="44" cy="12"/>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9" name="Freeform 530"/>
              <p:cNvSpPr>
                <a:spLocks/>
              </p:cNvSpPr>
              <p:nvPr/>
            </p:nvSpPr>
            <p:spPr bwMode="auto">
              <a:xfrm>
                <a:off x="2621" y="2321"/>
                <a:ext cx="52" cy="20"/>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0" name="Freeform 531"/>
              <p:cNvSpPr>
                <a:spLocks/>
              </p:cNvSpPr>
              <p:nvPr/>
            </p:nvSpPr>
            <p:spPr bwMode="auto">
              <a:xfrm>
                <a:off x="2617" y="2285"/>
                <a:ext cx="88" cy="64"/>
              </a:xfrm>
              <a:custGeom>
                <a:avLst/>
                <a:gdLst>
                  <a:gd name="T0" fmla="*/ 12 w 88"/>
                  <a:gd name="T1" fmla="*/ 64 h 64"/>
                  <a:gd name="T2" fmla="*/ 12 w 88"/>
                  <a:gd name="T3" fmla="*/ 64 h 64"/>
                  <a:gd name="T4" fmla="*/ 10 w 88"/>
                  <a:gd name="T5" fmla="*/ 64 h 64"/>
                  <a:gd name="T6" fmla="*/ 10 w 88"/>
                  <a:gd name="T7" fmla="*/ 64 h 64"/>
                  <a:gd name="T8" fmla="*/ 10 w 88"/>
                  <a:gd name="T9" fmla="*/ 62 h 64"/>
                  <a:gd name="T10" fmla="*/ 10 w 88"/>
                  <a:gd name="T11" fmla="*/ 54 h 64"/>
                  <a:gd name="T12" fmla="*/ 10 w 88"/>
                  <a:gd name="T13" fmla="*/ 54 h 64"/>
                  <a:gd name="T14" fmla="*/ 10 w 88"/>
                  <a:gd name="T15" fmla="*/ 52 h 64"/>
                  <a:gd name="T16" fmla="*/ 20 w 88"/>
                  <a:gd name="T17" fmla="*/ 48 h 64"/>
                  <a:gd name="T18" fmla="*/ 30 w 88"/>
                  <a:gd name="T19" fmla="*/ 48 h 64"/>
                  <a:gd name="T20" fmla="*/ 42 w 88"/>
                  <a:gd name="T21" fmla="*/ 48 h 64"/>
                  <a:gd name="T22" fmla="*/ 38 w 88"/>
                  <a:gd name="T23" fmla="*/ 48 h 64"/>
                  <a:gd name="T24" fmla="*/ 34 w 88"/>
                  <a:gd name="T25" fmla="*/ 48 h 64"/>
                  <a:gd name="T26" fmla="*/ 22 w 88"/>
                  <a:gd name="T27" fmla="*/ 46 h 64"/>
                  <a:gd name="T28" fmla="*/ 10 w 88"/>
                  <a:gd name="T29" fmla="*/ 46 h 64"/>
                  <a:gd name="T30" fmla="*/ 10 w 88"/>
                  <a:gd name="T31" fmla="*/ 46 h 64"/>
                  <a:gd name="T32" fmla="*/ 8 w 88"/>
                  <a:gd name="T33" fmla="*/ 44 h 64"/>
                  <a:gd name="T34" fmla="*/ 4 w 88"/>
                  <a:gd name="T35" fmla="*/ 38 h 64"/>
                  <a:gd name="T36" fmla="*/ 0 w 88"/>
                  <a:gd name="T37" fmla="*/ 26 h 64"/>
                  <a:gd name="T38" fmla="*/ 0 w 88"/>
                  <a:gd name="T39" fmla="*/ 26 h 64"/>
                  <a:gd name="T40" fmla="*/ 0 w 88"/>
                  <a:gd name="T41" fmla="*/ 24 h 64"/>
                  <a:gd name="T42" fmla="*/ 12 w 88"/>
                  <a:gd name="T43" fmla="*/ 10 h 64"/>
                  <a:gd name="T44" fmla="*/ 12 w 88"/>
                  <a:gd name="T45" fmla="*/ 2 h 64"/>
                  <a:gd name="T46" fmla="*/ 12 w 88"/>
                  <a:gd name="T47" fmla="*/ 2 h 64"/>
                  <a:gd name="T48" fmla="*/ 14 w 88"/>
                  <a:gd name="T49" fmla="*/ 0 h 64"/>
                  <a:gd name="T50" fmla="*/ 28 w 88"/>
                  <a:gd name="T51" fmla="*/ 0 h 64"/>
                  <a:gd name="T52" fmla="*/ 40 w 88"/>
                  <a:gd name="T53" fmla="*/ 0 h 64"/>
                  <a:gd name="T54" fmla="*/ 40 w 88"/>
                  <a:gd name="T55" fmla="*/ 0 h 64"/>
                  <a:gd name="T56" fmla="*/ 42 w 88"/>
                  <a:gd name="T57" fmla="*/ 0 h 64"/>
                  <a:gd name="T58" fmla="*/ 52 w 88"/>
                  <a:gd name="T59" fmla="*/ 4 h 64"/>
                  <a:gd name="T60" fmla="*/ 60 w 88"/>
                  <a:gd name="T61" fmla="*/ 10 h 64"/>
                  <a:gd name="T62" fmla="*/ 68 w 88"/>
                  <a:gd name="T63" fmla="*/ 22 h 64"/>
                  <a:gd name="T64" fmla="*/ 76 w 88"/>
                  <a:gd name="T65" fmla="*/ 28 h 64"/>
                  <a:gd name="T66" fmla="*/ 76 w 88"/>
                  <a:gd name="T67" fmla="*/ 28 h 64"/>
                  <a:gd name="T68" fmla="*/ 76 w 88"/>
                  <a:gd name="T69" fmla="*/ 28 h 64"/>
                  <a:gd name="T70" fmla="*/ 78 w 88"/>
                  <a:gd name="T71" fmla="*/ 34 h 64"/>
                  <a:gd name="T72" fmla="*/ 80 w 88"/>
                  <a:gd name="T73" fmla="*/ 44 h 64"/>
                  <a:gd name="T74" fmla="*/ 86 w 88"/>
                  <a:gd name="T75" fmla="*/ 50 h 64"/>
                  <a:gd name="T76" fmla="*/ 86 w 88"/>
                  <a:gd name="T77" fmla="*/ 50 h 64"/>
                  <a:gd name="T78" fmla="*/ 86 w 88"/>
                  <a:gd name="T79" fmla="*/ 52 h 64"/>
                  <a:gd name="T80" fmla="*/ 88 w 88"/>
                  <a:gd name="T81" fmla="*/ 58 h 64"/>
                  <a:gd name="T82" fmla="*/ 88 w 88"/>
                  <a:gd name="T83" fmla="*/ 62 h 64"/>
                  <a:gd name="T84" fmla="*/ 88 w 88"/>
                  <a:gd name="T85" fmla="*/ 62 h 64"/>
                  <a:gd name="T86" fmla="*/ 88 w 88"/>
                  <a:gd name="T87" fmla="*/ 64 h 64"/>
                  <a:gd name="T88" fmla="*/ 88 w 88"/>
                  <a:gd name="T89" fmla="*/ 64 h 64"/>
                  <a:gd name="T90" fmla="*/ 86 w 88"/>
                  <a:gd name="T91" fmla="*/ 64 h 64"/>
                  <a:gd name="T92" fmla="*/ 86 w 88"/>
                  <a:gd name="T93" fmla="*/ 64 h 64"/>
                  <a:gd name="T94" fmla="*/ 66 w 88"/>
                  <a:gd name="T95" fmla="*/ 62 h 64"/>
                  <a:gd name="T96" fmla="*/ 66 w 88"/>
                  <a:gd name="T97" fmla="*/ 62 h 64"/>
                  <a:gd name="T98" fmla="*/ 64 w 88"/>
                  <a:gd name="T99" fmla="*/ 62 h 64"/>
                  <a:gd name="T100" fmla="*/ 60 w 88"/>
                  <a:gd name="T101" fmla="*/ 60 h 64"/>
                  <a:gd name="T102" fmla="*/ 32 w 88"/>
                  <a:gd name="T103" fmla="*/ 60 h 64"/>
                  <a:gd name="T104" fmla="*/ 28 w 88"/>
                  <a:gd name="T105" fmla="*/ 62 h 64"/>
                  <a:gd name="T106" fmla="*/ 28 w 88"/>
                  <a:gd name="T107" fmla="*/ 62 h 64"/>
                  <a:gd name="T108" fmla="*/ 28 w 88"/>
                  <a:gd name="T109" fmla="*/ 62 h 64"/>
                  <a:gd name="T110" fmla="*/ 28 w 88"/>
                  <a:gd name="T111" fmla="*/ 62 h 64"/>
                  <a:gd name="T112" fmla="*/ 12 w 88"/>
                  <a:gd name="T113" fmla="*/ 64 h 64"/>
                  <a:gd name="T114" fmla="*/ 12 w 88"/>
                  <a:gd name="T11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64">
                    <a:moveTo>
                      <a:pt x="12" y="64"/>
                    </a:moveTo>
                    <a:lnTo>
                      <a:pt x="12" y="64"/>
                    </a:lnTo>
                    <a:lnTo>
                      <a:pt x="10" y="64"/>
                    </a:lnTo>
                    <a:lnTo>
                      <a:pt x="10" y="64"/>
                    </a:lnTo>
                    <a:lnTo>
                      <a:pt x="10" y="62"/>
                    </a:lnTo>
                    <a:lnTo>
                      <a:pt x="10" y="54"/>
                    </a:lnTo>
                    <a:lnTo>
                      <a:pt x="10" y="54"/>
                    </a:lnTo>
                    <a:lnTo>
                      <a:pt x="10" y="52"/>
                    </a:lnTo>
                    <a:lnTo>
                      <a:pt x="20" y="48"/>
                    </a:lnTo>
                    <a:lnTo>
                      <a:pt x="30" y="48"/>
                    </a:lnTo>
                    <a:lnTo>
                      <a:pt x="42" y="48"/>
                    </a:lnTo>
                    <a:lnTo>
                      <a:pt x="38" y="48"/>
                    </a:lnTo>
                    <a:lnTo>
                      <a:pt x="34" y="48"/>
                    </a:lnTo>
                    <a:lnTo>
                      <a:pt x="22" y="46"/>
                    </a:lnTo>
                    <a:lnTo>
                      <a:pt x="10" y="46"/>
                    </a:lnTo>
                    <a:lnTo>
                      <a:pt x="10" y="46"/>
                    </a:lnTo>
                    <a:lnTo>
                      <a:pt x="8" y="44"/>
                    </a:lnTo>
                    <a:lnTo>
                      <a:pt x="4" y="38"/>
                    </a:lnTo>
                    <a:lnTo>
                      <a:pt x="0" y="26"/>
                    </a:lnTo>
                    <a:lnTo>
                      <a:pt x="0" y="26"/>
                    </a:lnTo>
                    <a:lnTo>
                      <a:pt x="0" y="24"/>
                    </a:lnTo>
                    <a:lnTo>
                      <a:pt x="12" y="10"/>
                    </a:lnTo>
                    <a:lnTo>
                      <a:pt x="12" y="2"/>
                    </a:lnTo>
                    <a:lnTo>
                      <a:pt x="12" y="2"/>
                    </a:lnTo>
                    <a:lnTo>
                      <a:pt x="14" y="0"/>
                    </a:lnTo>
                    <a:lnTo>
                      <a:pt x="28" y="0"/>
                    </a:lnTo>
                    <a:lnTo>
                      <a:pt x="40" y="0"/>
                    </a:lnTo>
                    <a:lnTo>
                      <a:pt x="40" y="0"/>
                    </a:lnTo>
                    <a:lnTo>
                      <a:pt x="42" y="0"/>
                    </a:lnTo>
                    <a:lnTo>
                      <a:pt x="52" y="4"/>
                    </a:lnTo>
                    <a:lnTo>
                      <a:pt x="60" y="10"/>
                    </a:lnTo>
                    <a:lnTo>
                      <a:pt x="68" y="22"/>
                    </a:lnTo>
                    <a:lnTo>
                      <a:pt x="76" y="28"/>
                    </a:lnTo>
                    <a:lnTo>
                      <a:pt x="76" y="28"/>
                    </a:lnTo>
                    <a:lnTo>
                      <a:pt x="76" y="28"/>
                    </a:lnTo>
                    <a:lnTo>
                      <a:pt x="78" y="34"/>
                    </a:lnTo>
                    <a:lnTo>
                      <a:pt x="80" y="44"/>
                    </a:lnTo>
                    <a:lnTo>
                      <a:pt x="86" y="50"/>
                    </a:lnTo>
                    <a:lnTo>
                      <a:pt x="86" y="50"/>
                    </a:lnTo>
                    <a:lnTo>
                      <a:pt x="86" y="52"/>
                    </a:lnTo>
                    <a:lnTo>
                      <a:pt x="88" y="58"/>
                    </a:lnTo>
                    <a:lnTo>
                      <a:pt x="88" y="62"/>
                    </a:lnTo>
                    <a:lnTo>
                      <a:pt x="88" y="62"/>
                    </a:lnTo>
                    <a:lnTo>
                      <a:pt x="88" y="64"/>
                    </a:lnTo>
                    <a:lnTo>
                      <a:pt x="88" y="64"/>
                    </a:lnTo>
                    <a:lnTo>
                      <a:pt x="86" y="64"/>
                    </a:lnTo>
                    <a:lnTo>
                      <a:pt x="86" y="64"/>
                    </a:lnTo>
                    <a:lnTo>
                      <a:pt x="66" y="62"/>
                    </a:lnTo>
                    <a:lnTo>
                      <a:pt x="66" y="62"/>
                    </a:lnTo>
                    <a:lnTo>
                      <a:pt x="64" y="62"/>
                    </a:lnTo>
                    <a:lnTo>
                      <a:pt x="60" y="60"/>
                    </a:lnTo>
                    <a:lnTo>
                      <a:pt x="32" y="60"/>
                    </a:lnTo>
                    <a:lnTo>
                      <a:pt x="28" y="62"/>
                    </a:lnTo>
                    <a:lnTo>
                      <a:pt x="28" y="62"/>
                    </a:lnTo>
                    <a:lnTo>
                      <a:pt x="28" y="62"/>
                    </a:lnTo>
                    <a:lnTo>
                      <a:pt x="28" y="62"/>
                    </a:lnTo>
                    <a:lnTo>
                      <a:pt x="12" y="64"/>
                    </a:lnTo>
                    <a:lnTo>
                      <a:pt x="1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1" name="Freeform 532"/>
              <p:cNvSpPr>
                <a:spLocks noEditPoints="1"/>
              </p:cNvSpPr>
              <p:nvPr/>
            </p:nvSpPr>
            <p:spPr bwMode="auto">
              <a:xfrm>
                <a:off x="2615" y="2283"/>
                <a:ext cx="92" cy="68"/>
              </a:xfrm>
              <a:custGeom>
                <a:avLst/>
                <a:gdLst>
                  <a:gd name="T0" fmla="*/ 54 w 92"/>
                  <a:gd name="T1" fmla="*/ 8 h 68"/>
                  <a:gd name="T2" fmla="*/ 68 w 92"/>
                  <a:gd name="T3" fmla="*/ 24 h 68"/>
                  <a:gd name="T4" fmla="*/ 78 w 92"/>
                  <a:gd name="T5" fmla="*/ 36 h 68"/>
                  <a:gd name="T6" fmla="*/ 86 w 92"/>
                  <a:gd name="T7" fmla="*/ 54 h 68"/>
                  <a:gd name="T8" fmla="*/ 88 w 92"/>
                  <a:gd name="T9" fmla="*/ 64 h 68"/>
                  <a:gd name="T10" fmla="*/ 62 w 92"/>
                  <a:gd name="T11" fmla="*/ 60 h 68"/>
                  <a:gd name="T12" fmla="*/ 50 w 92"/>
                  <a:gd name="T13" fmla="*/ 60 h 68"/>
                  <a:gd name="T14" fmla="*/ 34 w 92"/>
                  <a:gd name="T15" fmla="*/ 60 h 68"/>
                  <a:gd name="T16" fmla="*/ 14 w 92"/>
                  <a:gd name="T17" fmla="*/ 64 h 68"/>
                  <a:gd name="T18" fmla="*/ 22 w 92"/>
                  <a:gd name="T19" fmla="*/ 52 h 68"/>
                  <a:gd name="T20" fmla="*/ 38 w 92"/>
                  <a:gd name="T21" fmla="*/ 52 h 68"/>
                  <a:gd name="T22" fmla="*/ 54 w 92"/>
                  <a:gd name="T23" fmla="*/ 50 h 68"/>
                  <a:gd name="T24" fmla="*/ 36 w 92"/>
                  <a:gd name="T25" fmla="*/ 48 h 68"/>
                  <a:gd name="T26" fmla="*/ 14 w 92"/>
                  <a:gd name="T27" fmla="*/ 46 h 68"/>
                  <a:gd name="T28" fmla="*/ 8 w 92"/>
                  <a:gd name="T29" fmla="*/ 38 h 68"/>
                  <a:gd name="T30" fmla="*/ 4 w 92"/>
                  <a:gd name="T31" fmla="*/ 28 h 68"/>
                  <a:gd name="T32" fmla="*/ 14 w 92"/>
                  <a:gd name="T33" fmla="*/ 14 h 68"/>
                  <a:gd name="T34" fmla="*/ 30 w 92"/>
                  <a:gd name="T35" fmla="*/ 4 h 68"/>
                  <a:gd name="T36" fmla="*/ 42 w 92"/>
                  <a:gd name="T37" fmla="*/ 0 h 68"/>
                  <a:gd name="T38" fmla="*/ 30 w 92"/>
                  <a:gd name="T39" fmla="*/ 0 h 68"/>
                  <a:gd name="T40" fmla="*/ 16 w 92"/>
                  <a:gd name="T41" fmla="*/ 0 h 68"/>
                  <a:gd name="T42" fmla="*/ 14 w 92"/>
                  <a:gd name="T43" fmla="*/ 2 h 68"/>
                  <a:gd name="T44" fmla="*/ 12 w 92"/>
                  <a:gd name="T45" fmla="*/ 12 h 68"/>
                  <a:gd name="T46" fmla="*/ 0 w 92"/>
                  <a:gd name="T47" fmla="*/ 26 h 68"/>
                  <a:gd name="T48" fmla="*/ 0 w 92"/>
                  <a:gd name="T49" fmla="*/ 30 h 68"/>
                  <a:gd name="T50" fmla="*/ 4 w 92"/>
                  <a:gd name="T51" fmla="*/ 40 h 68"/>
                  <a:gd name="T52" fmla="*/ 4 w 92"/>
                  <a:gd name="T53" fmla="*/ 40 h 68"/>
                  <a:gd name="T54" fmla="*/ 8 w 92"/>
                  <a:gd name="T55" fmla="*/ 48 h 68"/>
                  <a:gd name="T56" fmla="*/ 14 w 92"/>
                  <a:gd name="T57" fmla="*/ 50 h 68"/>
                  <a:gd name="T58" fmla="*/ 12 w 92"/>
                  <a:gd name="T59" fmla="*/ 52 h 68"/>
                  <a:gd name="T60" fmla="*/ 10 w 92"/>
                  <a:gd name="T61" fmla="*/ 54 h 68"/>
                  <a:gd name="T62" fmla="*/ 10 w 92"/>
                  <a:gd name="T63" fmla="*/ 64 h 68"/>
                  <a:gd name="T64" fmla="*/ 10 w 92"/>
                  <a:gd name="T65" fmla="*/ 68 h 68"/>
                  <a:gd name="T66" fmla="*/ 14 w 92"/>
                  <a:gd name="T67" fmla="*/ 68 h 68"/>
                  <a:gd name="T68" fmla="*/ 14 w 92"/>
                  <a:gd name="T69" fmla="*/ 68 h 68"/>
                  <a:gd name="T70" fmla="*/ 30 w 92"/>
                  <a:gd name="T71" fmla="*/ 66 h 68"/>
                  <a:gd name="T72" fmla="*/ 34 w 92"/>
                  <a:gd name="T73" fmla="*/ 64 h 68"/>
                  <a:gd name="T74" fmla="*/ 50 w 92"/>
                  <a:gd name="T75" fmla="*/ 64 h 68"/>
                  <a:gd name="T76" fmla="*/ 62 w 92"/>
                  <a:gd name="T77" fmla="*/ 64 h 68"/>
                  <a:gd name="T78" fmla="*/ 66 w 92"/>
                  <a:gd name="T79" fmla="*/ 66 h 68"/>
                  <a:gd name="T80" fmla="*/ 88 w 92"/>
                  <a:gd name="T81" fmla="*/ 68 h 68"/>
                  <a:gd name="T82" fmla="*/ 88 w 92"/>
                  <a:gd name="T83" fmla="*/ 68 h 68"/>
                  <a:gd name="T84" fmla="*/ 90 w 92"/>
                  <a:gd name="T85" fmla="*/ 68 h 68"/>
                  <a:gd name="T86" fmla="*/ 92 w 92"/>
                  <a:gd name="T87" fmla="*/ 64 h 68"/>
                  <a:gd name="T88" fmla="*/ 92 w 92"/>
                  <a:gd name="T89" fmla="*/ 62 h 68"/>
                  <a:gd name="T90" fmla="*/ 90 w 92"/>
                  <a:gd name="T91" fmla="*/ 54 h 68"/>
                  <a:gd name="T92" fmla="*/ 90 w 92"/>
                  <a:gd name="T93" fmla="*/ 52 h 68"/>
                  <a:gd name="T94" fmla="*/ 82 w 92"/>
                  <a:gd name="T95" fmla="*/ 36 h 68"/>
                  <a:gd name="T96" fmla="*/ 82 w 92"/>
                  <a:gd name="T97" fmla="*/ 36 h 68"/>
                  <a:gd name="T98" fmla="*/ 80 w 92"/>
                  <a:gd name="T99" fmla="*/ 30 h 68"/>
                  <a:gd name="T100" fmla="*/ 70 w 92"/>
                  <a:gd name="T101" fmla="*/ 22 h 68"/>
                  <a:gd name="T102" fmla="*/ 64 w 92"/>
                  <a:gd name="T103" fmla="*/ 12 h 68"/>
                  <a:gd name="T104" fmla="*/ 56 w 92"/>
                  <a:gd name="T105" fmla="*/ 6 h 68"/>
                  <a:gd name="T106" fmla="*/ 56 w 92"/>
                  <a:gd name="T107" fmla="*/ 4 h 68"/>
                  <a:gd name="T108" fmla="*/ 44 w 92"/>
                  <a:gd name="T109" fmla="*/ 0 h 68"/>
                  <a:gd name="T110" fmla="*/ 42 w 92"/>
                  <a:gd name="T11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68">
                    <a:moveTo>
                      <a:pt x="42" y="4"/>
                    </a:moveTo>
                    <a:lnTo>
                      <a:pt x="54" y="8"/>
                    </a:lnTo>
                    <a:lnTo>
                      <a:pt x="60" y="14"/>
                    </a:lnTo>
                    <a:lnTo>
                      <a:pt x="68" y="24"/>
                    </a:lnTo>
                    <a:lnTo>
                      <a:pt x="76" y="32"/>
                    </a:lnTo>
                    <a:lnTo>
                      <a:pt x="78" y="36"/>
                    </a:lnTo>
                    <a:lnTo>
                      <a:pt x="80" y="48"/>
                    </a:lnTo>
                    <a:lnTo>
                      <a:pt x="86" y="54"/>
                    </a:lnTo>
                    <a:lnTo>
                      <a:pt x="88" y="62"/>
                    </a:lnTo>
                    <a:lnTo>
                      <a:pt x="88" y="64"/>
                    </a:lnTo>
                    <a:lnTo>
                      <a:pt x="68" y="62"/>
                    </a:lnTo>
                    <a:lnTo>
                      <a:pt x="62" y="60"/>
                    </a:lnTo>
                    <a:lnTo>
                      <a:pt x="56" y="60"/>
                    </a:lnTo>
                    <a:lnTo>
                      <a:pt x="50" y="60"/>
                    </a:lnTo>
                    <a:lnTo>
                      <a:pt x="38" y="60"/>
                    </a:lnTo>
                    <a:lnTo>
                      <a:pt x="34" y="60"/>
                    </a:lnTo>
                    <a:lnTo>
                      <a:pt x="30" y="62"/>
                    </a:lnTo>
                    <a:lnTo>
                      <a:pt x="14" y="64"/>
                    </a:lnTo>
                    <a:lnTo>
                      <a:pt x="14" y="56"/>
                    </a:lnTo>
                    <a:lnTo>
                      <a:pt x="22" y="52"/>
                    </a:lnTo>
                    <a:lnTo>
                      <a:pt x="32" y="52"/>
                    </a:lnTo>
                    <a:lnTo>
                      <a:pt x="38" y="52"/>
                    </a:lnTo>
                    <a:lnTo>
                      <a:pt x="50" y="52"/>
                    </a:lnTo>
                    <a:lnTo>
                      <a:pt x="54" y="50"/>
                    </a:lnTo>
                    <a:lnTo>
                      <a:pt x="40" y="48"/>
                    </a:lnTo>
                    <a:lnTo>
                      <a:pt x="36" y="48"/>
                    </a:lnTo>
                    <a:lnTo>
                      <a:pt x="24" y="46"/>
                    </a:lnTo>
                    <a:lnTo>
                      <a:pt x="14" y="46"/>
                    </a:lnTo>
                    <a:lnTo>
                      <a:pt x="12" y="46"/>
                    </a:lnTo>
                    <a:lnTo>
                      <a:pt x="8" y="38"/>
                    </a:lnTo>
                    <a:lnTo>
                      <a:pt x="6" y="32"/>
                    </a:lnTo>
                    <a:lnTo>
                      <a:pt x="4" y="28"/>
                    </a:lnTo>
                    <a:lnTo>
                      <a:pt x="10" y="20"/>
                    </a:lnTo>
                    <a:lnTo>
                      <a:pt x="14" y="14"/>
                    </a:lnTo>
                    <a:lnTo>
                      <a:pt x="16" y="4"/>
                    </a:lnTo>
                    <a:lnTo>
                      <a:pt x="30" y="4"/>
                    </a:lnTo>
                    <a:lnTo>
                      <a:pt x="42" y="4"/>
                    </a:lnTo>
                    <a:close/>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2" name="Freeform 533"/>
              <p:cNvSpPr>
                <a:spLocks/>
              </p:cNvSpPr>
              <p:nvPr/>
            </p:nvSpPr>
            <p:spPr bwMode="auto">
              <a:xfrm>
                <a:off x="2619" y="2287"/>
                <a:ext cx="84" cy="60"/>
              </a:xfrm>
              <a:custGeom>
                <a:avLst/>
                <a:gdLst>
                  <a:gd name="T0" fmla="*/ 38 w 84"/>
                  <a:gd name="T1" fmla="*/ 0 h 60"/>
                  <a:gd name="T2" fmla="*/ 50 w 84"/>
                  <a:gd name="T3" fmla="*/ 4 h 60"/>
                  <a:gd name="T4" fmla="*/ 56 w 84"/>
                  <a:gd name="T5" fmla="*/ 10 h 60"/>
                  <a:gd name="T6" fmla="*/ 64 w 84"/>
                  <a:gd name="T7" fmla="*/ 20 h 60"/>
                  <a:gd name="T8" fmla="*/ 72 w 84"/>
                  <a:gd name="T9" fmla="*/ 28 h 60"/>
                  <a:gd name="T10" fmla="*/ 74 w 84"/>
                  <a:gd name="T11" fmla="*/ 32 h 60"/>
                  <a:gd name="T12" fmla="*/ 76 w 84"/>
                  <a:gd name="T13" fmla="*/ 44 h 60"/>
                  <a:gd name="T14" fmla="*/ 82 w 84"/>
                  <a:gd name="T15" fmla="*/ 50 h 60"/>
                  <a:gd name="T16" fmla="*/ 84 w 84"/>
                  <a:gd name="T17" fmla="*/ 58 h 60"/>
                  <a:gd name="T18" fmla="*/ 84 w 84"/>
                  <a:gd name="T19" fmla="*/ 60 h 60"/>
                  <a:gd name="T20" fmla="*/ 64 w 84"/>
                  <a:gd name="T21" fmla="*/ 58 h 60"/>
                  <a:gd name="T22" fmla="*/ 58 w 84"/>
                  <a:gd name="T23" fmla="*/ 56 h 60"/>
                  <a:gd name="T24" fmla="*/ 52 w 84"/>
                  <a:gd name="T25" fmla="*/ 56 h 60"/>
                  <a:gd name="T26" fmla="*/ 46 w 84"/>
                  <a:gd name="T27" fmla="*/ 56 h 60"/>
                  <a:gd name="T28" fmla="*/ 34 w 84"/>
                  <a:gd name="T29" fmla="*/ 56 h 60"/>
                  <a:gd name="T30" fmla="*/ 30 w 84"/>
                  <a:gd name="T31" fmla="*/ 56 h 60"/>
                  <a:gd name="T32" fmla="*/ 26 w 84"/>
                  <a:gd name="T33" fmla="*/ 58 h 60"/>
                  <a:gd name="T34" fmla="*/ 10 w 84"/>
                  <a:gd name="T35" fmla="*/ 60 h 60"/>
                  <a:gd name="T36" fmla="*/ 10 w 84"/>
                  <a:gd name="T37" fmla="*/ 52 h 60"/>
                  <a:gd name="T38" fmla="*/ 18 w 84"/>
                  <a:gd name="T39" fmla="*/ 48 h 60"/>
                  <a:gd name="T40" fmla="*/ 28 w 84"/>
                  <a:gd name="T41" fmla="*/ 48 h 60"/>
                  <a:gd name="T42" fmla="*/ 34 w 84"/>
                  <a:gd name="T43" fmla="*/ 48 h 60"/>
                  <a:gd name="T44" fmla="*/ 46 w 84"/>
                  <a:gd name="T45" fmla="*/ 48 h 60"/>
                  <a:gd name="T46" fmla="*/ 50 w 84"/>
                  <a:gd name="T47" fmla="*/ 46 h 60"/>
                  <a:gd name="T48" fmla="*/ 36 w 84"/>
                  <a:gd name="T49" fmla="*/ 44 h 60"/>
                  <a:gd name="T50" fmla="*/ 32 w 84"/>
                  <a:gd name="T51" fmla="*/ 44 h 60"/>
                  <a:gd name="T52" fmla="*/ 20 w 84"/>
                  <a:gd name="T53" fmla="*/ 42 h 60"/>
                  <a:gd name="T54" fmla="*/ 10 w 84"/>
                  <a:gd name="T55" fmla="*/ 42 h 60"/>
                  <a:gd name="T56" fmla="*/ 8 w 84"/>
                  <a:gd name="T57" fmla="*/ 42 h 60"/>
                  <a:gd name="T58" fmla="*/ 4 w 84"/>
                  <a:gd name="T59" fmla="*/ 34 h 60"/>
                  <a:gd name="T60" fmla="*/ 2 w 84"/>
                  <a:gd name="T61" fmla="*/ 28 h 60"/>
                  <a:gd name="T62" fmla="*/ 0 w 84"/>
                  <a:gd name="T63" fmla="*/ 24 h 60"/>
                  <a:gd name="T64" fmla="*/ 6 w 84"/>
                  <a:gd name="T65" fmla="*/ 16 h 60"/>
                  <a:gd name="T66" fmla="*/ 10 w 84"/>
                  <a:gd name="T67" fmla="*/ 10 h 60"/>
                  <a:gd name="T68" fmla="*/ 12 w 84"/>
                  <a:gd name="T69" fmla="*/ 0 h 60"/>
                  <a:gd name="T70" fmla="*/ 26 w 84"/>
                  <a:gd name="T71" fmla="*/ 0 h 60"/>
                  <a:gd name="T72" fmla="*/ 38 w 84"/>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60">
                    <a:moveTo>
                      <a:pt x="38" y="0"/>
                    </a:moveTo>
                    <a:lnTo>
                      <a:pt x="50" y="4"/>
                    </a:lnTo>
                    <a:lnTo>
                      <a:pt x="56" y="10"/>
                    </a:lnTo>
                    <a:lnTo>
                      <a:pt x="64" y="20"/>
                    </a:lnTo>
                    <a:lnTo>
                      <a:pt x="72" y="28"/>
                    </a:lnTo>
                    <a:lnTo>
                      <a:pt x="74" y="32"/>
                    </a:lnTo>
                    <a:lnTo>
                      <a:pt x="76" y="44"/>
                    </a:lnTo>
                    <a:lnTo>
                      <a:pt x="82" y="50"/>
                    </a:lnTo>
                    <a:lnTo>
                      <a:pt x="84" y="58"/>
                    </a:lnTo>
                    <a:lnTo>
                      <a:pt x="84" y="60"/>
                    </a:lnTo>
                    <a:lnTo>
                      <a:pt x="64" y="58"/>
                    </a:lnTo>
                    <a:lnTo>
                      <a:pt x="58" y="56"/>
                    </a:lnTo>
                    <a:lnTo>
                      <a:pt x="52" y="56"/>
                    </a:lnTo>
                    <a:lnTo>
                      <a:pt x="46" y="56"/>
                    </a:lnTo>
                    <a:lnTo>
                      <a:pt x="34" y="56"/>
                    </a:lnTo>
                    <a:lnTo>
                      <a:pt x="30" y="56"/>
                    </a:lnTo>
                    <a:lnTo>
                      <a:pt x="26" y="58"/>
                    </a:lnTo>
                    <a:lnTo>
                      <a:pt x="10" y="60"/>
                    </a:lnTo>
                    <a:lnTo>
                      <a:pt x="10" y="52"/>
                    </a:lnTo>
                    <a:lnTo>
                      <a:pt x="18" y="48"/>
                    </a:lnTo>
                    <a:lnTo>
                      <a:pt x="28" y="48"/>
                    </a:lnTo>
                    <a:lnTo>
                      <a:pt x="34" y="48"/>
                    </a:lnTo>
                    <a:lnTo>
                      <a:pt x="46" y="48"/>
                    </a:lnTo>
                    <a:lnTo>
                      <a:pt x="50" y="46"/>
                    </a:lnTo>
                    <a:lnTo>
                      <a:pt x="36" y="44"/>
                    </a:lnTo>
                    <a:lnTo>
                      <a:pt x="32" y="44"/>
                    </a:lnTo>
                    <a:lnTo>
                      <a:pt x="20" y="42"/>
                    </a:lnTo>
                    <a:lnTo>
                      <a:pt x="10" y="42"/>
                    </a:lnTo>
                    <a:lnTo>
                      <a:pt x="8" y="42"/>
                    </a:lnTo>
                    <a:lnTo>
                      <a:pt x="4" y="34"/>
                    </a:lnTo>
                    <a:lnTo>
                      <a:pt x="2" y="28"/>
                    </a:lnTo>
                    <a:lnTo>
                      <a:pt x="0" y="24"/>
                    </a:lnTo>
                    <a:lnTo>
                      <a:pt x="6" y="16"/>
                    </a:lnTo>
                    <a:lnTo>
                      <a:pt x="10" y="10"/>
                    </a:lnTo>
                    <a:lnTo>
                      <a:pt x="12" y="0"/>
                    </a:lnTo>
                    <a:lnTo>
                      <a:pt x="26"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3" name="Freeform 534"/>
              <p:cNvSpPr>
                <a:spLocks/>
              </p:cNvSpPr>
              <p:nvPr/>
            </p:nvSpPr>
            <p:spPr bwMode="auto">
              <a:xfrm>
                <a:off x="2615" y="2283"/>
                <a:ext cx="92" cy="68"/>
              </a:xfrm>
              <a:custGeom>
                <a:avLst/>
                <a:gdLst>
                  <a:gd name="T0" fmla="*/ 30 w 92"/>
                  <a:gd name="T1" fmla="*/ 0 h 68"/>
                  <a:gd name="T2" fmla="*/ 30 w 92"/>
                  <a:gd name="T3" fmla="*/ 0 h 68"/>
                  <a:gd name="T4" fmla="*/ 16 w 92"/>
                  <a:gd name="T5" fmla="*/ 0 h 68"/>
                  <a:gd name="T6" fmla="*/ 12 w 92"/>
                  <a:gd name="T7" fmla="*/ 4 h 68"/>
                  <a:gd name="T8" fmla="*/ 6 w 92"/>
                  <a:gd name="T9" fmla="*/ 18 h 68"/>
                  <a:gd name="T10" fmla="*/ 0 w 92"/>
                  <a:gd name="T11" fmla="*/ 26 h 68"/>
                  <a:gd name="T12" fmla="*/ 2 w 92"/>
                  <a:gd name="T13" fmla="*/ 34 h 68"/>
                  <a:gd name="T14" fmla="*/ 4 w 92"/>
                  <a:gd name="T15" fmla="*/ 40 h 68"/>
                  <a:gd name="T16" fmla="*/ 8 w 92"/>
                  <a:gd name="T17" fmla="*/ 48 h 68"/>
                  <a:gd name="T18" fmla="*/ 12 w 92"/>
                  <a:gd name="T19" fmla="*/ 50 h 68"/>
                  <a:gd name="T20" fmla="*/ 20 w 92"/>
                  <a:gd name="T21" fmla="*/ 50 h 68"/>
                  <a:gd name="T22" fmla="*/ 12 w 92"/>
                  <a:gd name="T23" fmla="*/ 52 h 68"/>
                  <a:gd name="T24" fmla="*/ 10 w 92"/>
                  <a:gd name="T25" fmla="*/ 56 h 68"/>
                  <a:gd name="T26" fmla="*/ 10 w 92"/>
                  <a:gd name="T27" fmla="*/ 64 h 68"/>
                  <a:gd name="T28" fmla="*/ 10 w 92"/>
                  <a:gd name="T29" fmla="*/ 68 h 68"/>
                  <a:gd name="T30" fmla="*/ 14 w 92"/>
                  <a:gd name="T31" fmla="*/ 68 h 68"/>
                  <a:gd name="T32" fmla="*/ 30 w 92"/>
                  <a:gd name="T33" fmla="*/ 66 h 68"/>
                  <a:gd name="T34" fmla="*/ 32 w 92"/>
                  <a:gd name="T35" fmla="*/ 66 h 68"/>
                  <a:gd name="T36" fmla="*/ 38 w 92"/>
                  <a:gd name="T37" fmla="*/ 64 h 68"/>
                  <a:gd name="T38" fmla="*/ 56 w 92"/>
                  <a:gd name="T39" fmla="*/ 64 h 68"/>
                  <a:gd name="T40" fmla="*/ 66 w 92"/>
                  <a:gd name="T41" fmla="*/ 66 h 68"/>
                  <a:gd name="T42" fmla="*/ 68 w 92"/>
                  <a:gd name="T43" fmla="*/ 66 h 68"/>
                  <a:gd name="T44" fmla="*/ 88 w 92"/>
                  <a:gd name="T45" fmla="*/ 68 h 68"/>
                  <a:gd name="T46" fmla="*/ 88 w 92"/>
                  <a:gd name="T47" fmla="*/ 68 h 68"/>
                  <a:gd name="T48" fmla="*/ 90 w 92"/>
                  <a:gd name="T49" fmla="*/ 68 h 68"/>
                  <a:gd name="T50" fmla="*/ 92 w 92"/>
                  <a:gd name="T51" fmla="*/ 62 h 68"/>
                  <a:gd name="T52" fmla="*/ 92 w 92"/>
                  <a:gd name="T53" fmla="*/ 60 h 68"/>
                  <a:gd name="T54" fmla="*/ 90 w 92"/>
                  <a:gd name="T55" fmla="*/ 54 h 68"/>
                  <a:gd name="T56" fmla="*/ 84 w 92"/>
                  <a:gd name="T57" fmla="*/ 46 h 68"/>
                  <a:gd name="T58" fmla="*/ 82 w 92"/>
                  <a:gd name="T59" fmla="*/ 36 h 68"/>
                  <a:gd name="T60" fmla="*/ 80 w 92"/>
                  <a:gd name="T61" fmla="*/ 30 h 68"/>
                  <a:gd name="T62" fmla="*/ 80 w 92"/>
                  <a:gd name="T63" fmla="*/ 28 h 68"/>
                  <a:gd name="T64" fmla="*/ 64 w 92"/>
                  <a:gd name="T65" fmla="*/ 12 h 68"/>
                  <a:gd name="T66" fmla="*/ 62 w 92"/>
                  <a:gd name="T67" fmla="*/ 10 h 68"/>
                  <a:gd name="T68" fmla="*/ 56 w 92"/>
                  <a:gd name="T69" fmla="*/ 6 h 68"/>
                  <a:gd name="T70" fmla="*/ 44 w 92"/>
                  <a:gd name="T71" fmla="*/ 0 h 68"/>
                  <a:gd name="T72" fmla="*/ 42 w 92"/>
                  <a:gd name="T7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68">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4" name="Freeform 535"/>
              <p:cNvSpPr>
                <a:spLocks/>
              </p:cNvSpPr>
              <p:nvPr/>
            </p:nvSpPr>
            <p:spPr bwMode="auto">
              <a:xfrm>
                <a:off x="2779" y="1577"/>
                <a:ext cx="116" cy="178"/>
              </a:xfrm>
              <a:custGeom>
                <a:avLst/>
                <a:gdLst>
                  <a:gd name="T0" fmla="*/ 10 w 116"/>
                  <a:gd name="T1" fmla="*/ 178 h 178"/>
                  <a:gd name="T2" fmla="*/ 6 w 116"/>
                  <a:gd name="T3" fmla="*/ 172 h 178"/>
                  <a:gd name="T4" fmla="*/ 22 w 116"/>
                  <a:gd name="T5" fmla="*/ 156 h 178"/>
                  <a:gd name="T6" fmla="*/ 32 w 116"/>
                  <a:gd name="T7" fmla="*/ 148 h 178"/>
                  <a:gd name="T8" fmla="*/ 28 w 116"/>
                  <a:gd name="T9" fmla="*/ 148 h 178"/>
                  <a:gd name="T10" fmla="*/ 24 w 116"/>
                  <a:gd name="T11" fmla="*/ 144 h 178"/>
                  <a:gd name="T12" fmla="*/ 14 w 116"/>
                  <a:gd name="T13" fmla="*/ 148 h 178"/>
                  <a:gd name="T14" fmla="*/ 10 w 116"/>
                  <a:gd name="T15" fmla="*/ 144 h 178"/>
                  <a:gd name="T16" fmla="*/ 10 w 116"/>
                  <a:gd name="T17" fmla="*/ 142 h 178"/>
                  <a:gd name="T18" fmla="*/ 30 w 116"/>
                  <a:gd name="T19" fmla="*/ 122 h 178"/>
                  <a:gd name="T20" fmla="*/ 22 w 116"/>
                  <a:gd name="T21" fmla="*/ 118 h 178"/>
                  <a:gd name="T22" fmla="*/ 22 w 116"/>
                  <a:gd name="T23" fmla="*/ 110 h 178"/>
                  <a:gd name="T24" fmla="*/ 24 w 116"/>
                  <a:gd name="T25" fmla="*/ 108 h 178"/>
                  <a:gd name="T26" fmla="*/ 46 w 116"/>
                  <a:gd name="T27" fmla="*/ 96 h 178"/>
                  <a:gd name="T28" fmla="*/ 34 w 116"/>
                  <a:gd name="T29" fmla="*/ 88 h 178"/>
                  <a:gd name="T30" fmla="*/ 38 w 116"/>
                  <a:gd name="T31" fmla="*/ 82 h 178"/>
                  <a:gd name="T32" fmla="*/ 32 w 116"/>
                  <a:gd name="T33" fmla="*/ 86 h 178"/>
                  <a:gd name="T34" fmla="*/ 16 w 116"/>
                  <a:gd name="T35" fmla="*/ 86 h 178"/>
                  <a:gd name="T36" fmla="*/ 12 w 116"/>
                  <a:gd name="T37" fmla="*/ 76 h 178"/>
                  <a:gd name="T38" fmla="*/ 18 w 116"/>
                  <a:gd name="T39" fmla="*/ 70 h 178"/>
                  <a:gd name="T40" fmla="*/ 8 w 116"/>
                  <a:gd name="T41" fmla="*/ 62 h 178"/>
                  <a:gd name="T42" fmla="*/ 8 w 116"/>
                  <a:gd name="T43" fmla="*/ 62 h 178"/>
                  <a:gd name="T44" fmla="*/ 2 w 116"/>
                  <a:gd name="T45" fmla="*/ 58 h 178"/>
                  <a:gd name="T46" fmla="*/ 0 w 116"/>
                  <a:gd name="T47" fmla="*/ 56 h 178"/>
                  <a:gd name="T48" fmla="*/ 4 w 116"/>
                  <a:gd name="T49" fmla="*/ 44 h 178"/>
                  <a:gd name="T50" fmla="*/ 0 w 116"/>
                  <a:gd name="T51" fmla="*/ 36 h 178"/>
                  <a:gd name="T52" fmla="*/ 2 w 116"/>
                  <a:gd name="T53" fmla="*/ 20 h 178"/>
                  <a:gd name="T54" fmla="*/ 14 w 116"/>
                  <a:gd name="T55" fmla="*/ 2 h 178"/>
                  <a:gd name="T56" fmla="*/ 16 w 116"/>
                  <a:gd name="T57" fmla="*/ 0 h 178"/>
                  <a:gd name="T58" fmla="*/ 44 w 116"/>
                  <a:gd name="T59" fmla="*/ 4 h 178"/>
                  <a:gd name="T60" fmla="*/ 30 w 116"/>
                  <a:gd name="T61" fmla="*/ 24 h 178"/>
                  <a:gd name="T62" fmla="*/ 60 w 116"/>
                  <a:gd name="T63" fmla="*/ 24 h 178"/>
                  <a:gd name="T64" fmla="*/ 58 w 116"/>
                  <a:gd name="T65" fmla="*/ 38 h 178"/>
                  <a:gd name="T66" fmla="*/ 40 w 116"/>
                  <a:gd name="T67" fmla="*/ 56 h 178"/>
                  <a:gd name="T68" fmla="*/ 48 w 116"/>
                  <a:gd name="T69" fmla="*/ 60 h 178"/>
                  <a:gd name="T70" fmla="*/ 48 w 116"/>
                  <a:gd name="T71" fmla="*/ 60 h 178"/>
                  <a:gd name="T72" fmla="*/ 62 w 116"/>
                  <a:gd name="T73" fmla="*/ 62 h 178"/>
                  <a:gd name="T74" fmla="*/ 78 w 116"/>
                  <a:gd name="T75" fmla="*/ 90 h 178"/>
                  <a:gd name="T76" fmla="*/ 90 w 116"/>
                  <a:gd name="T77" fmla="*/ 118 h 178"/>
                  <a:gd name="T78" fmla="*/ 104 w 116"/>
                  <a:gd name="T79" fmla="*/ 118 h 178"/>
                  <a:gd name="T80" fmla="*/ 106 w 116"/>
                  <a:gd name="T81" fmla="*/ 118 h 178"/>
                  <a:gd name="T82" fmla="*/ 116 w 116"/>
                  <a:gd name="T83" fmla="*/ 128 h 178"/>
                  <a:gd name="T84" fmla="*/ 110 w 116"/>
                  <a:gd name="T85" fmla="*/ 138 h 178"/>
                  <a:gd name="T86" fmla="*/ 98 w 116"/>
                  <a:gd name="T87" fmla="*/ 146 h 178"/>
                  <a:gd name="T88" fmla="*/ 108 w 116"/>
                  <a:gd name="T89" fmla="*/ 152 h 178"/>
                  <a:gd name="T90" fmla="*/ 100 w 116"/>
                  <a:gd name="T91" fmla="*/ 160 h 178"/>
                  <a:gd name="T92" fmla="*/ 38 w 116"/>
                  <a:gd name="T93" fmla="*/ 168 h 178"/>
                  <a:gd name="T94" fmla="*/ 22 w 116"/>
                  <a:gd name="T95" fmla="*/ 170 h 178"/>
                  <a:gd name="T96" fmla="*/ 12 w 116"/>
                  <a:gd name="T9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78">
                    <a:moveTo>
                      <a:pt x="12" y="178"/>
                    </a:moveTo>
                    <a:lnTo>
                      <a:pt x="12" y="178"/>
                    </a:lnTo>
                    <a:lnTo>
                      <a:pt x="10" y="178"/>
                    </a:lnTo>
                    <a:lnTo>
                      <a:pt x="6" y="174"/>
                    </a:lnTo>
                    <a:lnTo>
                      <a:pt x="6" y="174"/>
                    </a:lnTo>
                    <a:lnTo>
                      <a:pt x="6" y="172"/>
                    </a:lnTo>
                    <a:lnTo>
                      <a:pt x="6" y="172"/>
                    </a:lnTo>
                    <a:lnTo>
                      <a:pt x="6" y="170"/>
                    </a:lnTo>
                    <a:lnTo>
                      <a:pt x="22" y="156"/>
                    </a:lnTo>
                    <a:lnTo>
                      <a:pt x="32" y="150"/>
                    </a:lnTo>
                    <a:lnTo>
                      <a:pt x="32" y="150"/>
                    </a:lnTo>
                    <a:lnTo>
                      <a:pt x="32" y="148"/>
                    </a:lnTo>
                    <a:lnTo>
                      <a:pt x="42" y="148"/>
                    </a:lnTo>
                    <a:lnTo>
                      <a:pt x="36" y="148"/>
                    </a:lnTo>
                    <a:lnTo>
                      <a:pt x="28" y="148"/>
                    </a:lnTo>
                    <a:lnTo>
                      <a:pt x="28" y="148"/>
                    </a:lnTo>
                    <a:lnTo>
                      <a:pt x="28" y="146"/>
                    </a:lnTo>
                    <a:lnTo>
                      <a:pt x="24" y="144"/>
                    </a:lnTo>
                    <a:lnTo>
                      <a:pt x="16" y="148"/>
                    </a:lnTo>
                    <a:lnTo>
                      <a:pt x="16" y="148"/>
                    </a:lnTo>
                    <a:lnTo>
                      <a:pt x="14" y="148"/>
                    </a:lnTo>
                    <a:lnTo>
                      <a:pt x="14" y="148"/>
                    </a:lnTo>
                    <a:lnTo>
                      <a:pt x="14" y="146"/>
                    </a:lnTo>
                    <a:lnTo>
                      <a:pt x="10" y="144"/>
                    </a:lnTo>
                    <a:lnTo>
                      <a:pt x="10" y="144"/>
                    </a:lnTo>
                    <a:lnTo>
                      <a:pt x="10" y="142"/>
                    </a:lnTo>
                    <a:lnTo>
                      <a:pt x="10" y="142"/>
                    </a:lnTo>
                    <a:lnTo>
                      <a:pt x="10" y="140"/>
                    </a:lnTo>
                    <a:lnTo>
                      <a:pt x="30" y="124"/>
                    </a:lnTo>
                    <a:lnTo>
                      <a:pt x="30" y="122"/>
                    </a:lnTo>
                    <a:lnTo>
                      <a:pt x="24" y="120"/>
                    </a:lnTo>
                    <a:lnTo>
                      <a:pt x="24" y="120"/>
                    </a:lnTo>
                    <a:lnTo>
                      <a:pt x="22" y="118"/>
                    </a:lnTo>
                    <a:lnTo>
                      <a:pt x="22" y="110"/>
                    </a:lnTo>
                    <a:lnTo>
                      <a:pt x="22" y="110"/>
                    </a:lnTo>
                    <a:lnTo>
                      <a:pt x="22" y="110"/>
                    </a:lnTo>
                    <a:lnTo>
                      <a:pt x="22" y="110"/>
                    </a:lnTo>
                    <a:lnTo>
                      <a:pt x="24" y="108"/>
                    </a:lnTo>
                    <a:lnTo>
                      <a:pt x="24" y="108"/>
                    </a:lnTo>
                    <a:lnTo>
                      <a:pt x="42" y="110"/>
                    </a:lnTo>
                    <a:lnTo>
                      <a:pt x="42" y="104"/>
                    </a:lnTo>
                    <a:lnTo>
                      <a:pt x="46" y="96"/>
                    </a:lnTo>
                    <a:lnTo>
                      <a:pt x="34" y="90"/>
                    </a:lnTo>
                    <a:lnTo>
                      <a:pt x="34" y="90"/>
                    </a:lnTo>
                    <a:lnTo>
                      <a:pt x="34" y="88"/>
                    </a:lnTo>
                    <a:lnTo>
                      <a:pt x="34" y="88"/>
                    </a:lnTo>
                    <a:lnTo>
                      <a:pt x="34" y="86"/>
                    </a:lnTo>
                    <a:lnTo>
                      <a:pt x="38" y="82"/>
                    </a:lnTo>
                    <a:lnTo>
                      <a:pt x="36" y="80"/>
                    </a:lnTo>
                    <a:lnTo>
                      <a:pt x="32" y="86"/>
                    </a:lnTo>
                    <a:lnTo>
                      <a:pt x="32" y="86"/>
                    </a:lnTo>
                    <a:lnTo>
                      <a:pt x="30" y="88"/>
                    </a:lnTo>
                    <a:lnTo>
                      <a:pt x="30" y="88"/>
                    </a:lnTo>
                    <a:lnTo>
                      <a:pt x="16" y="86"/>
                    </a:lnTo>
                    <a:lnTo>
                      <a:pt x="16" y="86"/>
                    </a:lnTo>
                    <a:lnTo>
                      <a:pt x="14" y="84"/>
                    </a:lnTo>
                    <a:lnTo>
                      <a:pt x="12" y="76"/>
                    </a:lnTo>
                    <a:lnTo>
                      <a:pt x="12" y="76"/>
                    </a:lnTo>
                    <a:lnTo>
                      <a:pt x="14" y="76"/>
                    </a:lnTo>
                    <a:lnTo>
                      <a:pt x="18" y="70"/>
                    </a:lnTo>
                    <a:lnTo>
                      <a:pt x="16" y="60"/>
                    </a:lnTo>
                    <a:lnTo>
                      <a:pt x="14" y="58"/>
                    </a:lnTo>
                    <a:lnTo>
                      <a:pt x="8" y="62"/>
                    </a:lnTo>
                    <a:lnTo>
                      <a:pt x="8" y="62"/>
                    </a:lnTo>
                    <a:lnTo>
                      <a:pt x="8" y="62"/>
                    </a:lnTo>
                    <a:lnTo>
                      <a:pt x="8" y="62"/>
                    </a:lnTo>
                    <a:lnTo>
                      <a:pt x="6" y="62"/>
                    </a:lnTo>
                    <a:lnTo>
                      <a:pt x="2" y="58"/>
                    </a:lnTo>
                    <a:lnTo>
                      <a:pt x="2" y="58"/>
                    </a:lnTo>
                    <a:lnTo>
                      <a:pt x="0" y="56"/>
                    </a:lnTo>
                    <a:lnTo>
                      <a:pt x="0" y="56"/>
                    </a:lnTo>
                    <a:lnTo>
                      <a:pt x="0" y="56"/>
                    </a:lnTo>
                    <a:lnTo>
                      <a:pt x="8" y="46"/>
                    </a:lnTo>
                    <a:lnTo>
                      <a:pt x="4" y="44"/>
                    </a:lnTo>
                    <a:lnTo>
                      <a:pt x="4" y="44"/>
                    </a:lnTo>
                    <a:lnTo>
                      <a:pt x="4" y="42"/>
                    </a:lnTo>
                    <a:lnTo>
                      <a:pt x="0" y="36"/>
                    </a:lnTo>
                    <a:lnTo>
                      <a:pt x="0" y="36"/>
                    </a:lnTo>
                    <a:lnTo>
                      <a:pt x="0" y="34"/>
                    </a:lnTo>
                    <a:lnTo>
                      <a:pt x="2" y="20"/>
                    </a:lnTo>
                    <a:lnTo>
                      <a:pt x="2" y="20"/>
                    </a:lnTo>
                    <a:lnTo>
                      <a:pt x="4" y="18"/>
                    </a:lnTo>
                    <a:lnTo>
                      <a:pt x="12" y="18"/>
                    </a:lnTo>
                    <a:lnTo>
                      <a:pt x="14" y="2"/>
                    </a:lnTo>
                    <a:lnTo>
                      <a:pt x="14" y="2"/>
                    </a:lnTo>
                    <a:lnTo>
                      <a:pt x="16" y="0"/>
                    </a:lnTo>
                    <a:lnTo>
                      <a:pt x="16" y="0"/>
                    </a:lnTo>
                    <a:lnTo>
                      <a:pt x="42" y="2"/>
                    </a:lnTo>
                    <a:lnTo>
                      <a:pt x="42" y="2"/>
                    </a:lnTo>
                    <a:lnTo>
                      <a:pt x="44" y="4"/>
                    </a:lnTo>
                    <a:lnTo>
                      <a:pt x="44" y="4"/>
                    </a:lnTo>
                    <a:lnTo>
                      <a:pt x="44" y="6"/>
                    </a:lnTo>
                    <a:lnTo>
                      <a:pt x="30" y="24"/>
                    </a:lnTo>
                    <a:lnTo>
                      <a:pt x="60" y="24"/>
                    </a:lnTo>
                    <a:lnTo>
                      <a:pt x="60" y="24"/>
                    </a:lnTo>
                    <a:lnTo>
                      <a:pt x="60" y="24"/>
                    </a:lnTo>
                    <a:lnTo>
                      <a:pt x="60" y="24"/>
                    </a:lnTo>
                    <a:lnTo>
                      <a:pt x="60" y="26"/>
                    </a:lnTo>
                    <a:lnTo>
                      <a:pt x="58" y="38"/>
                    </a:lnTo>
                    <a:lnTo>
                      <a:pt x="58" y="38"/>
                    </a:lnTo>
                    <a:lnTo>
                      <a:pt x="56" y="38"/>
                    </a:lnTo>
                    <a:lnTo>
                      <a:pt x="40" y="56"/>
                    </a:lnTo>
                    <a:lnTo>
                      <a:pt x="36" y="62"/>
                    </a:lnTo>
                    <a:lnTo>
                      <a:pt x="40" y="64"/>
                    </a:lnTo>
                    <a:lnTo>
                      <a:pt x="48" y="60"/>
                    </a:lnTo>
                    <a:lnTo>
                      <a:pt x="48" y="60"/>
                    </a:lnTo>
                    <a:lnTo>
                      <a:pt x="48" y="60"/>
                    </a:lnTo>
                    <a:lnTo>
                      <a:pt x="48" y="60"/>
                    </a:lnTo>
                    <a:lnTo>
                      <a:pt x="62" y="62"/>
                    </a:lnTo>
                    <a:lnTo>
                      <a:pt x="62" y="62"/>
                    </a:lnTo>
                    <a:lnTo>
                      <a:pt x="62" y="62"/>
                    </a:lnTo>
                    <a:lnTo>
                      <a:pt x="66" y="72"/>
                    </a:lnTo>
                    <a:lnTo>
                      <a:pt x="68" y="82"/>
                    </a:lnTo>
                    <a:lnTo>
                      <a:pt x="78" y="90"/>
                    </a:lnTo>
                    <a:lnTo>
                      <a:pt x="86" y="100"/>
                    </a:lnTo>
                    <a:lnTo>
                      <a:pt x="88" y="108"/>
                    </a:lnTo>
                    <a:lnTo>
                      <a:pt x="90" y="118"/>
                    </a:lnTo>
                    <a:lnTo>
                      <a:pt x="96" y="120"/>
                    </a:lnTo>
                    <a:lnTo>
                      <a:pt x="104" y="118"/>
                    </a:lnTo>
                    <a:lnTo>
                      <a:pt x="104" y="118"/>
                    </a:lnTo>
                    <a:lnTo>
                      <a:pt x="106" y="118"/>
                    </a:lnTo>
                    <a:lnTo>
                      <a:pt x="106" y="118"/>
                    </a:lnTo>
                    <a:lnTo>
                      <a:pt x="106" y="118"/>
                    </a:lnTo>
                    <a:lnTo>
                      <a:pt x="116" y="126"/>
                    </a:lnTo>
                    <a:lnTo>
                      <a:pt x="116" y="126"/>
                    </a:lnTo>
                    <a:lnTo>
                      <a:pt x="116" y="128"/>
                    </a:lnTo>
                    <a:lnTo>
                      <a:pt x="110" y="138"/>
                    </a:lnTo>
                    <a:lnTo>
                      <a:pt x="110" y="138"/>
                    </a:lnTo>
                    <a:lnTo>
                      <a:pt x="110" y="138"/>
                    </a:lnTo>
                    <a:lnTo>
                      <a:pt x="100" y="144"/>
                    </a:lnTo>
                    <a:lnTo>
                      <a:pt x="98" y="146"/>
                    </a:lnTo>
                    <a:lnTo>
                      <a:pt x="98" y="146"/>
                    </a:lnTo>
                    <a:lnTo>
                      <a:pt x="106" y="150"/>
                    </a:lnTo>
                    <a:lnTo>
                      <a:pt x="106" y="150"/>
                    </a:lnTo>
                    <a:lnTo>
                      <a:pt x="108" y="152"/>
                    </a:lnTo>
                    <a:lnTo>
                      <a:pt x="108" y="152"/>
                    </a:lnTo>
                    <a:lnTo>
                      <a:pt x="106" y="154"/>
                    </a:lnTo>
                    <a:lnTo>
                      <a:pt x="100" y="160"/>
                    </a:lnTo>
                    <a:lnTo>
                      <a:pt x="88" y="164"/>
                    </a:lnTo>
                    <a:lnTo>
                      <a:pt x="38" y="164"/>
                    </a:lnTo>
                    <a:lnTo>
                      <a:pt x="38" y="168"/>
                    </a:lnTo>
                    <a:lnTo>
                      <a:pt x="38" y="168"/>
                    </a:lnTo>
                    <a:lnTo>
                      <a:pt x="36" y="170"/>
                    </a:lnTo>
                    <a:lnTo>
                      <a:pt x="22" y="170"/>
                    </a:lnTo>
                    <a:lnTo>
                      <a:pt x="12" y="178"/>
                    </a:lnTo>
                    <a:lnTo>
                      <a:pt x="12" y="178"/>
                    </a:lnTo>
                    <a:lnTo>
                      <a:pt x="12" y="178"/>
                    </a:lnTo>
                    <a:lnTo>
                      <a:pt x="12"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5" name="Freeform 536"/>
              <p:cNvSpPr>
                <a:spLocks noEditPoints="1"/>
              </p:cNvSpPr>
              <p:nvPr/>
            </p:nvSpPr>
            <p:spPr bwMode="auto">
              <a:xfrm>
                <a:off x="2777" y="1575"/>
                <a:ext cx="120" cy="182"/>
              </a:xfrm>
              <a:custGeom>
                <a:avLst/>
                <a:gdLst>
                  <a:gd name="T0" fmla="*/ 62 w 120"/>
                  <a:gd name="T1" fmla="*/ 28 h 182"/>
                  <a:gd name="T2" fmla="*/ 36 w 120"/>
                  <a:gd name="T3" fmla="*/ 64 h 182"/>
                  <a:gd name="T4" fmla="*/ 66 w 120"/>
                  <a:gd name="T5" fmla="*/ 74 h 182"/>
                  <a:gd name="T6" fmla="*/ 88 w 120"/>
                  <a:gd name="T7" fmla="*/ 112 h 182"/>
                  <a:gd name="T8" fmla="*/ 116 w 120"/>
                  <a:gd name="T9" fmla="*/ 130 h 182"/>
                  <a:gd name="T10" fmla="*/ 100 w 120"/>
                  <a:gd name="T11" fmla="*/ 150 h 182"/>
                  <a:gd name="T12" fmla="*/ 46 w 120"/>
                  <a:gd name="T13" fmla="*/ 164 h 182"/>
                  <a:gd name="T14" fmla="*/ 14 w 120"/>
                  <a:gd name="T15" fmla="*/ 178 h 182"/>
                  <a:gd name="T16" fmla="*/ 46 w 120"/>
                  <a:gd name="T17" fmla="*/ 152 h 182"/>
                  <a:gd name="T18" fmla="*/ 38 w 120"/>
                  <a:gd name="T19" fmla="*/ 148 h 182"/>
                  <a:gd name="T20" fmla="*/ 14 w 120"/>
                  <a:gd name="T21" fmla="*/ 144 h 182"/>
                  <a:gd name="T22" fmla="*/ 34 w 120"/>
                  <a:gd name="T23" fmla="*/ 122 h 182"/>
                  <a:gd name="T24" fmla="*/ 46 w 120"/>
                  <a:gd name="T25" fmla="*/ 106 h 182"/>
                  <a:gd name="T26" fmla="*/ 38 w 120"/>
                  <a:gd name="T27" fmla="*/ 80 h 182"/>
                  <a:gd name="T28" fmla="*/ 22 w 120"/>
                  <a:gd name="T29" fmla="*/ 72 h 182"/>
                  <a:gd name="T30" fmla="*/ 4 w 120"/>
                  <a:gd name="T31" fmla="*/ 58 h 182"/>
                  <a:gd name="T32" fmla="*/ 6 w 120"/>
                  <a:gd name="T33" fmla="*/ 22 h 182"/>
                  <a:gd name="T34" fmla="*/ 62 w 120"/>
                  <a:gd name="T35" fmla="*/ 28 h 182"/>
                  <a:gd name="T36" fmla="*/ 14 w 120"/>
                  <a:gd name="T37" fmla="*/ 4 h 182"/>
                  <a:gd name="T38" fmla="*/ 4 w 120"/>
                  <a:gd name="T39" fmla="*/ 20 h 182"/>
                  <a:gd name="T40" fmla="*/ 0 w 120"/>
                  <a:gd name="T41" fmla="*/ 38 h 182"/>
                  <a:gd name="T42" fmla="*/ 8 w 120"/>
                  <a:gd name="T43" fmla="*/ 48 h 182"/>
                  <a:gd name="T44" fmla="*/ 0 w 120"/>
                  <a:gd name="T45" fmla="*/ 60 h 182"/>
                  <a:gd name="T46" fmla="*/ 10 w 120"/>
                  <a:gd name="T47" fmla="*/ 66 h 182"/>
                  <a:gd name="T48" fmla="*/ 18 w 120"/>
                  <a:gd name="T49" fmla="*/ 72 h 182"/>
                  <a:gd name="T50" fmla="*/ 14 w 120"/>
                  <a:gd name="T51" fmla="*/ 86 h 182"/>
                  <a:gd name="T52" fmla="*/ 32 w 120"/>
                  <a:gd name="T53" fmla="*/ 92 h 182"/>
                  <a:gd name="T54" fmla="*/ 34 w 120"/>
                  <a:gd name="T55" fmla="*/ 92 h 182"/>
                  <a:gd name="T56" fmla="*/ 44 w 120"/>
                  <a:gd name="T57" fmla="*/ 104 h 182"/>
                  <a:gd name="T58" fmla="*/ 26 w 120"/>
                  <a:gd name="T59" fmla="*/ 108 h 182"/>
                  <a:gd name="T60" fmla="*/ 22 w 120"/>
                  <a:gd name="T61" fmla="*/ 110 h 182"/>
                  <a:gd name="T62" fmla="*/ 22 w 120"/>
                  <a:gd name="T63" fmla="*/ 120 h 182"/>
                  <a:gd name="T64" fmla="*/ 30 w 120"/>
                  <a:gd name="T65" fmla="*/ 126 h 182"/>
                  <a:gd name="T66" fmla="*/ 10 w 120"/>
                  <a:gd name="T67" fmla="*/ 140 h 182"/>
                  <a:gd name="T68" fmla="*/ 14 w 120"/>
                  <a:gd name="T69" fmla="*/ 150 h 182"/>
                  <a:gd name="T70" fmla="*/ 18 w 120"/>
                  <a:gd name="T71" fmla="*/ 150 h 182"/>
                  <a:gd name="T72" fmla="*/ 30 w 120"/>
                  <a:gd name="T73" fmla="*/ 152 h 182"/>
                  <a:gd name="T74" fmla="*/ 6 w 120"/>
                  <a:gd name="T75" fmla="*/ 174 h 182"/>
                  <a:gd name="T76" fmla="*/ 10 w 120"/>
                  <a:gd name="T77" fmla="*/ 180 h 182"/>
                  <a:gd name="T78" fmla="*/ 26 w 120"/>
                  <a:gd name="T79" fmla="*/ 174 h 182"/>
                  <a:gd name="T80" fmla="*/ 42 w 120"/>
                  <a:gd name="T81" fmla="*/ 170 h 182"/>
                  <a:gd name="T82" fmla="*/ 90 w 120"/>
                  <a:gd name="T83" fmla="*/ 168 h 182"/>
                  <a:gd name="T84" fmla="*/ 102 w 120"/>
                  <a:gd name="T85" fmla="*/ 164 h 182"/>
                  <a:gd name="T86" fmla="*/ 112 w 120"/>
                  <a:gd name="T87" fmla="*/ 154 h 182"/>
                  <a:gd name="T88" fmla="*/ 112 w 120"/>
                  <a:gd name="T89" fmla="*/ 142 h 182"/>
                  <a:gd name="T90" fmla="*/ 120 w 120"/>
                  <a:gd name="T91" fmla="*/ 132 h 182"/>
                  <a:gd name="T92" fmla="*/ 110 w 120"/>
                  <a:gd name="T93" fmla="*/ 118 h 182"/>
                  <a:gd name="T94" fmla="*/ 98 w 120"/>
                  <a:gd name="T95" fmla="*/ 120 h 182"/>
                  <a:gd name="T96" fmla="*/ 90 w 120"/>
                  <a:gd name="T97" fmla="*/ 102 h 182"/>
                  <a:gd name="T98" fmla="*/ 82 w 120"/>
                  <a:gd name="T99" fmla="*/ 90 h 182"/>
                  <a:gd name="T100" fmla="*/ 70 w 120"/>
                  <a:gd name="T101" fmla="*/ 74 h 182"/>
                  <a:gd name="T102" fmla="*/ 52 w 120"/>
                  <a:gd name="T103" fmla="*/ 60 h 182"/>
                  <a:gd name="T104" fmla="*/ 48 w 120"/>
                  <a:gd name="T105" fmla="*/ 60 h 182"/>
                  <a:gd name="T106" fmla="*/ 50 w 120"/>
                  <a:gd name="T107" fmla="*/ 52 h 182"/>
                  <a:gd name="T108" fmla="*/ 64 w 120"/>
                  <a:gd name="T109" fmla="*/ 30 h 182"/>
                  <a:gd name="T110" fmla="*/ 64 w 120"/>
                  <a:gd name="T111" fmla="*/ 24 h 182"/>
                  <a:gd name="T112" fmla="*/ 46 w 120"/>
                  <a:gd name="T113" fmla="*/ 8 h 182"/>
                  <a:gd name="T114" fmla="*/ 44 w 120"/>
                  <a:gd name="T115" fmla="*/ 2 h 182"/>
                  <a:gd name="T116" fmla="*/ 18 w 120"/>
                  <a:gd name="T11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82">
                    <a:moveTo>
                      <a:pt x="18" y="4"/>
                    </a:moveTo>
                    <a:lnTo>
                      <a:pt x="44" y="6"/>
                    </a:lnTo>
                    <a:lnTo>
                      <a:pt x="30" y="28"/>
                    </a:lnTo>
                    <a:lnTo>
                      <a:pt x="62" y="28"/>
                    </a:lnTo>
                    <a:lnTo>
                      <a:pt x="58" y="38"/>
                    </a:lnTo>
                    <a:lnTo>
                      <a:pt x="46" y="50"/>
                    </a:lnTo>
                    <a:lnTo>
                      <a:pt x="40" y="56"/>
                    </a:lnTo>
                    <a:lnTo>
                      <a:pt x="36" y="64"/>
                    </a:lnTo>
                    <a:lnTo>
                      <a:pt x="42" y="68"/>
                    </a:lnTo>
                    <a:lnTo>
                      <a:pt x="50" y="64"/>
                    </a:lnTo>
                    <a:lnTo>
                      <a:pt x="62" y="66"/>
                    </a:lnTo>
                    <a:lnTo>
                      <a:pt x="66" y="74"/>
                    </a:lnTo>
                    <a:lnTo>
                      <a:pt x="68" y="86"/>
                    </a:lnTo>
                    <a:lnTo>
                      <a:pt x="78" y="92"/>
                    </a:lnTo>
                    <a:lnTo>
                      <a:pt x="86" y="104"/>
                    </a:lnTo>
                    <a:lnTo>
                      <a:pt x="88" y="112"/>
                    </a:lnTo>
                    <a:lnTo>
                      <a:pt x="92" y="122"/>
                    </a:lnTo>
                    <a:lnTo>
                      <a:pt x="98" y="124"/>
                    </a:lnTo>
                    <a:lnTo>
                      <a:pt x="108" y="122"/>
                    </a:lnTo>
                    <a:lnTo>
                      <a:pt x="116" y="130"/>
                    </a:lnTo>
                    <a:lnTo>
                      <a:pt x="110" y="138"/>
                    </a:lnTo>
                    <a:lnTo>
                      <a:pt x="102" y="144"/>
                    </a:lnTo>
                    <a:lnTo>
                      <a:pt x="94" y="150"/>
                    </a:lnTo>
                    <a:lnTo>
                      <a:pt x="100" y="150"/>
                    </a:lnTo>
                    <a:lnTo>
                      <a:pt x="108" y="154"/>
                    </a:lnTo>
                    <a:lnTo>
                      <a:pt x="100" y="160"/>
                    </a:lnTo>
                    <a:lnTo>
                      <a:pt x="90" y="164"/>
                    </a:lnTo>
                    <a:lnTo>
                      <a:pt x="46" y="164"/>
                    </a:lnTo>
                    <a:lnTo>
                      <a:pt x="38" y="164"/>
                    </a:lnTo>
                    <a:lnTo>
                      <a:pt x="38" y="170"/>
                    </a:lnTo>
                    <a:lnTo>
                      <a:pt x="24" y="170"/>
                    </a:lnTo>
                    <a:lnTo>
                      <a:pt x="14" y="178"/>
                    </a:lnTo>
                    <a:lnTo>
                      <a:pt x="10" y="174"/>
                    </a:lnTo>
                    <a:lnTo>
                      <a:pt x="26" y="160"/>
                    </a:lnTo>
                    <a:lnTo>
                      <a:pt x="34" y="152"/>
                    </a:lnTo>
                    <a:lnTo>
                      <a:pt x="46" y="152"/>
                    </a:lnTo>
                    <a:lnTo>
                      <a:pt x="52" y="150"/>
                    </a:lnTo>
                    <a:lnTo>
                      <a:pt x="54" y="144"/>
                    </a:lnTo>
                    <a:lnTo>
                      <a:pt x="46" y="150"/>
                    </a:lnTo>
                    <a:lnTo>
                      <a:pt x="38" y="148"/>
                    </a:lnTo>
                    <a:lnTo>
                      <a:pt x="30" y="148"/>
                    </a:lnTo>
                    <a:lnTo>
                      <a:pt x="26" y="144"/>
                    </a:lnTo>
                    <a:lnTo>
                      <a:pt x="16" y="148"/>
                    </a:lnTo>
                    <a:lnTo>
                      <a:pt x="14" y="144"/>
                    </a:lnTo>
                    <a:lnTo>
                      <a:pt x="20" y="138"/>
                    </a:lnTo>
                    <a:lnTo>
                      <a:pt x="28" y="132"/>
                    </a:lnTo>
                    <a:lnTo>
                      <a:pt x="34" y="128"/>
                    </a:lnTo>
                    <a:lnTo>
                      <a:pt x="34" y="122"/>
                    </a:lnTo>
                    <a:lnTo>
                      <a:pt x="26" y="120"/>
                    </a:lnTo>
                    <a:lnTo>
                      <a:pt x="26" y="112"/>
                    </a:lnTo>
                    <a:lnTo>
                      <a:pt x="46" y="114"/>
                    </a:lnTo>
                    <a:lnTo>
                      <a:pt x="46" y="106"/>
                    </a:lnTo>
                    <a:lnTo>
                      <a:pt x="50" y="96"/>
                    </a:lnTo>
                    <a:lnTo>
                      <a:pt x="38" y="90"/>
                    </a:lnTo>
                    <a:lnTo>
                      <a:pt x="44" y="82"/>
                    </a:lnTo>
                    <a:lnTo>
                      <a:pt x="38" y="80"/>
                    </a:lnTo>
                    <a:lnTo>
                      <a:pt x="32" y="88"/>
                    </a:lnTo>
                    <a:lnTo>
                      <a:pt x="18" y="86"/>
                    </a:lnTo>
                    <a:lnTo>
                      <a:pt x="16" y="78"/>
                    </a:lnTo>
                    <a:lnTo>
                      <a:pt x="22" y="72"/>
                    </a:lnTo>
                    <a:lnTo>
                      <a:pt x="20" y="60"/>
                    </a:lnTo>
                    <a:lnTo>
                      <a:pt x="16" y="58"/>
                    </a:lnTo>
                    <a:lnTo>
                      <a:pt x="10" y="62"/>
                    </a:lnTo>
                    <a:lnTo>
                      <a:pt x="4" y="58"/>
                    </a:lnTo>
                    <a:lnTo>
                      <a:pt x="14" y="48"/>
                    </a:lnTo>
                    <a:lnTo>
                      <a:pt x="8" y="44"/>
                    </a:lnTo>
                    <a:lnTo>
                      <a:pt x="4" y="36"/>
                    </a:lnTo>
                    <a:lnTo>
                      <a:pt x="6" y="22"/>
                    </a:lnTo>
                    <a:lnTo>
                      <a:pt x="14" y="22"/>
                    </a:lnTo>
                    <a:lnTo>
                      <a:pt x="18" y="4"/>
                    </a:lnTo>
                    <a:close/>
                    <a:moveTo>
                      <a:pt x="62" y="28"/>
                    </a:moveTo>
                    <a:lnTo>
                      <a:pt x="62" y="28"/>
                    </a:lnTo>
                    <a:close/>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6" name="Freeform 537"/>
              <p:cNvSpPr>
                <a:spLocks/>
              </p:cNvSpPr>
              <p:nvPr/>
            </p:nvSpPr>
            <p:spPr bwMode="auto">
              <a:xfrm>
                <a:off x="2781" y="1579"/>
                <a:ext cx="112" cy="174"/>
              </a:xfrm>
              <a:custGeom>
                <a:avLst/>
                <a:gdLst>
                  <a:gd name="T0" fmla="*/ 40 w 112"/>
                  <a:gd name="T1" fmla="*/ 2 h 174"/>
                  <a:gd name="T2" fmla="*/ 58 w 112"/>
                  <a:gd name="T3" fmla="*/ 24 h 174"/>
                  <a:gd name="T4" fmla="*/ 42 w 112"/>
                  <a:gd name="T5" fmla="*/ 46 h 174"/>
                  <a:gd name="T6" fmla="*/ 32 w 112"/>
                  <a:gd name="T7" fmla="*/ 60 h 174"/>
                  <a:gd name="T8" fmla="*/ 46 w 112"/>
                  <a:gd name="T9" fmla="*/ 60 h 174"/>
                  <a:gd name="T10" fmla="*/ 62 w 112"/>
                  <a:gd name="T11" fmla="*/ 70 h 174"/>
                  <a:gd name="T12" fmla="*/ 74 w 112"/>
                  <a:gd name="T13" fmla="*/ 88 h 174"/>
                  <a:gd name="T14" fmla="*/ 84 w 112"/>
                  <a:gd name="T15" fmla="*/ 108 h 174"/>
                  <a:gd name="T16" fmla="*/ 94 w 112"/>
                  <a:gd name="T17" fmla="*/ 120 h 174"/>
                  <a:gd name="T18" fmla="*/ 112 w 112"/>
                  <a:gd name="T19" fmla="*/ 126 h 174"/>
                  <a:gd name="T20" fmla="*/ 98 w 112"/>
                  <a:gd name="T21" fmla="*/ 140 h 174"/>
                  <a:gd name="T22" fmla="*/ 96 w 112"/>
                  <a:gd name="T23" fmla="*/ 146 h 174"/>
                  <a:gd name="T24" fmla="*/ 96 w 112"/>
                  <a:gd name="T25" fmla="*/ 156 h 174"/>
                  <a:gd name="T26" fmla="*/ 42 w 112"/>
                  <a:gd name="T27" fmla="*/ 160 h 174"/>
                  <a:gd name="T28" fmla="*/ 34 w 112"/>
                  <a:gd name="T29" fmla="*/ 166 h 174"/>
                  <a:gd name="T30" fmla="*/ 10 w 112"/>
                  <a:gd name="T31" fmla="*/ 174 h 174"/>
                  <a:gd name="T32" fmla="*/ 22 w 112"/>
                  <a:gd name="T33" fmla="*/ 156 h 174"/>
                  <a:gd name="T34" fmla="*/ 42 w 112"/>
                  <a:gd name="T35" fmla="*/ 148 h 174"/>
                  <a:gd name="T36" fmla="*/ 50 w 112"/>
                  <a:gd name="T37" fmla="*/ 140 h 174"/>
                  <a:gd name="T38" fmla="*/ 34 w 112"/>
                  <a:gd name="T39" fmla="*/ 144 h 174"/>
                  <a:gd name="T40" fmla="*/ 22 w 112"/>
                  <a:gd name="T41" fmla="*/ 140 h 174"/>
                  <a:gd name="T42" fmla="*/ 10 w 112"/>
                  <a:gd name="T43" fmla="*/ 140 h 174"/>
                  <a:gd name="T44" fmla="*/ 24 w 112"/>
                  <a:gd name="T45" fmla="*/ 128 h 174"/>
                  <a:gd name="T46" fmla="*/ 30 w 112"/>
                  <a:gd name="T47" fmla="*/ 118 h 174"/>
                  <a:gd name="T48" fmla="*/ 22 w 112"/>
                  <a:gd name="T49" fmla="*/ 108 h 174"/>
                  <a:gd name="T50" fmla="*/ 42 w 112"/>
                  <a:gd name="T51" fmla="*/ 102 h 174"/>
                  <a:gd name="T52" fmla="*/ 34 w 112"/>
                  <a:gd name="T53" fmla="*/ 86 h 174"/>
                  <a:gd name="T54" fmla="*/ 34 w 112"/>
                  <a:gd name="T55" fmla="*/ 76 h 174"/>
                  <a:gd name="T56" fmla="*/ 14 w 112"/>
                  <a:gd name="T57" fmla="*/ 82 h 174"/>
                  <a:gd name="T58" fmla="*/ 18 w 112"/>
                  <a:gd name="T59" fmla="*/ 68 h 174"/>
                  <a:gd name="T60" fmla="*/ 12 w 112"/>
                  <a:gd name="T61" fmla="*/ 54 h 174"/>
                  <a:gd name="T62" fmla="*/ 0 w 112"/>
                  <a:gd name="T63" fmla="*/ 54 h 174"/>
                  <a:gd name="T64" fmla="*/ 4 w 112"/>
                  <a:gd name="T65" fmla="*/ 40 h 174"/>
                  <a:gd name="T66" fmla="*/ 2 w 112"/>
                  <a:gd name="T67" fmla="*/ 18 h 174"/>
                  <a:gd name="T68" fmla="*/ 14 w 112"/>
                  <a:gd name="T69"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74">
                    <a:moveTo>
                      <a:pt x="14" y="0"/>
                    </a:moveTo>
                    <a:lnTo>
                      <a:pt x="40" y="2"/>
                    </a:lnTo>
                    <a:lnTo>
                      <a:pt x="26" y="24"/>
                    </a:lnTo>
                    <a:lnTo>
                      <a:pt x="58" y="24"/>
                    </a:lnTo>
                    <a:lnTo>
                      <a:pt x="54" y="34"/>
                    </a:lnTo>
                    <a:lnTo>
                      <a:pt x="42" y="46"/>
                    </a:lnTo>
                    <a:lnTo>
                      <a:pt x="36" y="52"/>
                    </a:lnTo>
                    <a:lnTo>
                      <a:pt x="32" y="60"/>
                    </a:lnTo>
                    <a:lnTo>
                      <a:pt x="38" y="64"/>
                    </a:lnTo>
                    <a:lnTo>
                      <a:pt x="46" y="60"/>
                    </a:lnTo>
                    <a:lnTo>
                      <a:pt x="58" y="62"/>
                    </a:lnTo>
                    <a:lnTo>
                      <a:pt x="62" y="70"/>
                    </a:lnTo>
                    <a:lnTo>
                      <a:pt x="64" y="82"/>
                    </a:lnTo>
                    <a:lnTo>
                      <a:pt x="74" y="88"/>
                    </a:lnTo>
                    <a:lnTo>
                      <a:pt x="82" y="100"/>
                    </a:lnTo>
                    <a:lnTo>
                      <a:pt x="84" y="108"/>
                    </a:lnTo>
                    <a:lnTo>
                      <a:pt x="88" y="118"/>
                    </a:lnTo>
                    <a:lnTo>
                      <a:pt x="94" y="120"/>
                    </a:lnTo>
                    <a:lnTo>
                      <a:pt x="104" y="118"/>
                    </a:lnTo>
                    <a:lnTo>
                      <a:pt x="112" y="126"/>
                    </a:lnTo>
                    <a:lnTo>
                      <a:pt x="106" y="134"/>
                    </a:lnTo>
                    <a:lnTo>
                      <a:pt x="98" y="140"/>
                    </a:lnTo>
                    <a:lnTo>
                      <a:pt x="90" y="146"/>
                    </a:lnTo>
                    <a:lnTo>
                      <a:pt x="96" y="146"/>
                    </a:lnTo>
                    <a:lnTo>
                      <a:pt x="104" y="150"/>
                    </a:lnTo>
                    <a:lnTo>
                      <a:pt x="96" y="156"/>
                    </a:lnTo>
                    <a:lnTo>
                      <a:pt x="86" y="160"/>
                    </a:lnTo>
                    <a:lnTo>
                      <a:pt x="42" y="160"/>
                    </a:lnTo>
                    <a:lnTo>
                      <a:pt x="34" y="160"/>
                    </a:lnTo>
                    <a:lnTo>
                      <a:pt x="34" y="166"/>
                    </a:lnTo>
                    <a:lnTo>
                      <a:pt x="20" y="166"/>
                    </a:lnTo>
                    <a:lnTo>
                      <a:pt x="10" y="174"/>
                    </a:lnTo>
                    <a:lnTo>
                      <a:pt x="6" y="170"/>
                    </a:lnTo>
                    <a:lnTo>
                      <a:pt x="22" y="156"/>
                    </a:lnTo>
                    <a:lnTo>
                      <a:pt x="30" y="148"/>
                    </a:lnTo>
                    <a:lnTo>
                      <a:pt x="42" y="148"/>
                    </a:lnTo>
                    <a:lnTo>
                      <a:pt x="48" y="146"/>
                    </a:lnTo>
                    <a:lnTo>
                      <a:pt x="50" y="140"/>
                    </a:lnTo>
                    <a:lnTo>
                      <a:pt x="42" y="146"/>
                    </a:lnTo>
                    <a:lnTo>
                      <a:pt x="34" y="144"/>
                    </a:lnTo>
                    <a:lnTo>
                      <a:pt x="26" y="144"/>
                    </a:lnTo>
                    <a:lnTo>
                      <a:pt x="22" y="140"/>
                    </a:lnTo>
                    <a:lnTo>
                      <a:pt x="12" y="144"/>
                    </a:lnTo>
                    <a:lnTo>
                      <a:pt x="10" y="140"/>
                    </a:lnTo>
                    <a:lnTo>
                      <a:pt x="16" y="134"/>
                    </a:lnTo>
                    <a:lnTo>
                      <a:pt x="24" y="128"/>
                    </a:lnTo>
                    <a:lnTo>
                      <a:pt x="30" y="124"/>
                    </a:lnTo>
                    <a:lnTo>
                      <a:pt x="30" y="118"/>
                    </a:lnTo>
                    <a:lnTo>
                      <a:pt x="22" y="116"/>
                    </a:lnTo>
                    <a:lnTo>
                      <a:pt x="22" y="108"/>
                    </a:lnTo>
                    <a:lnTo>
                      <a:pt x="42" y="110"/>
                    </a:lnTo>
                    <a:lnTo>
                      <a:pt x="42" y="102"/>
                    </a:lnTo>
                    <a:lnTo>
                      <a:pt x="46" y="92"/>
                    </a:lnTo>
                    <a:lnTo>
                      <a:pt x="34" y="86"/>
                    </a:lnTo>
                    <a:lnTo>
                      <a:pt x="40" y="78"/>
                    </a:lnTo>
                    <a:lnTo>
                      <a:pt x="34" y="76"/>
                    </a:lnTo>
                    <a:lnTo>
                      <a:pt x="28" y="84"/>
                    </a:lnTo>
                    <a:lnTo>
                      <a:pt x="14" y="82"/>
                    </a:lnTo>
                    <a:lnTo>
                      <a:pt x="12" y="74"/>
                    </a:lnTo>
                    <a:lnTo>
                      <a:pt x="18" y="68"/>
                    </a:lnTo>
                    <a:lnTo>
                      <a:pt x="16" y="56"/>
                    </a:lnTo>
                    <a:lnTo>
                      <a:pt x="12" y="54"/>
                    </a:lnTo>
                    <a:lnTo>
                      <a:pt x="6" y="58"/>
                    </a:lnTo>
                    <a:lnTo>
                      <a:pt x="0" y="54"/>
                    </a:lnTo>
                    <a:lnTo>
                      <a:pt x="10" y="44"/>
                    </a:lnTo>
                    <a:lnTo>
                      <a:pt x="4" y="40"/>
                    </a:lnTo>
                    <a:lnTo>
                      <a:pt x="0" y="32"/>
                    </a:lnTo>
                    <a:lnTo>
                      <a:pt x="2" y="18"/>
                    </a:lnTo>
                    <a:lnTo>
                      <a:pt x="10" y="18"/>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7" name="Line 538"/>
              <p:cNvSpPr>
                <a:spLocks noChangeShapeType="1"/>
              </p:cNvSpPr>
              <p:nvPr/>
            </p:nvSpPr>
            <p:spPr bwMode="auto">
              <a:xfrm>
                <a:off x="2839" y="160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8" name="Freeform 539"/>
              <p:cNvSpPr>
                <a:spLocks/>
              </p:cNvSpPr>
              <p:nvPr/>
            </p:nvSpPr>
            <p:spPr bwMode="auto">
              <a:xfrm>
                <a:off x="2777" y="1575"/>
                <a:ext cx="120" cy="182"/>
              </a:xfrm>
              <a:custGeom>
                <a:avLst/>
                <a:gdLst>
                  <a:gd name="T0" fmla="*/ 16 w 120"/>
                  <a:gd name="T1" fmla="*/ 2 h 182"/>
                  <a:gd name="T2" fmla="*/ 6 w 120"/>
                  <a:gd name="T3" fmla="*/ 18 h 182"/>
                  <a:gd name="T4" fmla="*/ 2 w 120"/>
                  <a:gd name="T5" fmla="*/ 22 h 182"/>
                  <a:gd name="T6" fmla="*/ 0 w 120"/>
                  <a:gd name="T7" fmla="*/ 38 h 182"/>
                  <a:gd name="T8" fmla="*/ 6 w 120"/>
                  <a:gd name="T9" fmla="*/ 48 h 182"/>
                  <a:gd name="T10" fmla="*/ 2 w 120"/>
                  <a:gd name="T11" fmla="*/ 56 h 182"/>
                  <a:gd name="T12" fmla="*/ 2 w 120"/>
                  <a:gd name="T13" fmla="*/ 62 h 182"/>
                  <a:gd name="T14" fmla="*/ 10 w 120"/>
                  <a:gd name="T15" fmla="*/ 66 h 182"/>
                  <a:gd name="T16" fmla="*/ 16 w 120"/>
                  <a:gd name="T17" fmla="*/ 64 h 182"/>
                  <a:gd name="T18" fmla="*/ 14 w 120"/>
                  <a:gd name="T19" fmla="*/ 76 h 182"/>
                  <a:gd name="T20" fmla="*/ 14 w 120"/>
                  <a:gd name="T21" fmla="*/ 86 h 182"/>
                  <a:gd name="T22" fmla="*/ 32 w 120"/>
                  <a:gd name="T23" fmla="*/ 92 h 182"/>
                  <a:gd name="T24" fmla="*/ 32 w 120"/>
                  <a:gd name="T25" fmla="*/ 92 h 182"/>
                  <a:gd name="T26" fmla="*/ 36 w 120"/>
                  <a:gd name="T27" fmla="*/ 92 h 182"/>
                  <a:gd name="T28" fmla="*/ 44 w 120"/>
                  <a:gd name="T29" fmla="*/ 104 h 182"/>
                  <a:gd name="T30" fmla="*/ 26 w 120"/>
                  <a:gd name="T31" fmla="*/ 108 h 182"/>
                  <a:gd name="T32" fmla="*/ 26 w 120"/>
                  <a:gd name="T33" fmla="*/ 108 h 182"/>
                  <a:gd name="T34" fmla="*/ 22 w 120"/>
                  <a:gd name="T35" fmla="*/ 112 h 182"/>
                  <a:gd name="T36" fmla="*/ 22 w 120"/>
                  <a:gd name="T37" fmla="*/ 122 h 182"/>
                  <a:gd name="T38" fmla="*/ 30 w 120"/>
                  <a:gd name="T39" fmla="*/ 126 h 182"/>
                  <a:gd name="T40" fmla="*/ 10 w 120"/>
                  <a:gd name="T41" fmla="*/ 140 h 182"/>
                  <a:gd name="T42" fmla="*/ 10 w 120"/>
                  <a:gd name="T43" fmla="*/ 144 h 182"/>
                  <a:gd name="T44" fmla="*/ 14 w 120"/>
                  <a:gd name="T45" fmla="*/ 150 h 182"/>
                  <a:gd name="T46" fmla="*/ 18 w 120"/>
                  <a:gd name="T47" fmla="*/ 150 h 182"/>
                  <a:gd name="T48" fmla="*/ 28 w 120"/>
                  <a:gd name="T49" fmla="*/ 150 h 182"/>
                  <a:gd name="T50" fmla="*/ 6 w 120"/>
                  <a:gd name="T51" fmla="*/ 172 h 182"/>
                  <a:gd name="T52" fmla="*/ 6 w 120"/>
                  <a:gd name="T53" fmla="*/ 174 h 182"/>
                  <a:gd name="T54" fmla="*/ 10 w 120"/>
                  <a:gd name="T55" fmla="*/ 180 h 182"/>
                  <a:gd name="T56" fmla="*/ 16 w 120"/>
                  <a:gd name="T57" fmla="*/ 182 h 182"/>
                  <a:gd name="T58" fmla="*/ 38 w 120"/>
                  <a:gd name="T59" fmla="*/ 174 h 182"/>
                  <a:gd name="T60" fmla="*/ 42 w 120"/>
                  <a:gd name="T61" fmla="*/ 168 h 182"/>
                  <a:gd name="T62" fmla="*/ 90 w 120"/>
                  <a:gd name="T63" fmla="*/ 168 h 182"/>
                  <a:gd name="T64" fmla="*/ 102 w 120"/>
                  <a:gd name="T65" fmla="*/ 164 h 182"/>
                  <a:gd name="T66" fmla="*/ 110 w 120"/>
                  <a:gd name="T67" fmla="*/ 158 h 182"/>
                  <a:gd name="T68" fmla="*/ 110 w 120"/>
                  <a:gd name="T69" fmla="*/ 150 h 182"/>
                  <a:gd name="T70" fmla="*/ 112 w 120"/>
                  <a:gd name="T71" fmla="*/ 142 h 182"/>
                  <a:gd name="T72" fmla="*/ 120 w 120"/>
                  <a:gd name="T73" fmla="*/ 132 h 182"/>
                  <a:gd name="T74" fmla="*/ 118 w 120"/>
                  <a:gd name="T75" fmla="*/ 126 h 182"/>
                  <a:gd name="T76" fmla="*/ 108 w 120"/>
                  <a:gd name="T77" fmla="*/ 118 h 182"/>
                  <a:gd name="T78" fmla="*/ 98 w 120"/>
                  <a:gd name="T79" fmla="*/ 120 h 182"/>
                  <a:gd name="T80" fmla="*/ 90 w 120"/>
                  <a:gd name="T81" fmla="*/ 102 h 182"/>
                  <a:gd name="T82" fmla="*/ 82 w 120"/>
                  <a:gd name="T83" fmla="*/ 90 h 182"/>
                  <a:gd name="T84" fmla="*/ 72 w 120"/>
                  <a:gd name="T85" fmla="*/ 84 h 182"/>
                  <a:gd name="T86" fmla="*/ 70 w 120"/>
                  <a:gd name="T87" fmla="*/ 74 h 182"/>
                  <a:gd name="T88" fmla="*/ 64 w 120"/>
                  <a:gd name="T89" fmla="*/ 62 h 182"/>
                  <a:gd name="T90" fmla="*/ 50 w 120"/>
                  <a:gd name="T91" fmla="*/ 60 h 182"/>
                  <a:gd name="T92" fmla="*/ 42 w 120"/>
                  <a:gd name="T93" fmla="*/ 64 h 182"/>
                  <a:gd name="T94" fmla="*/ 50 w 120"/>
                  <a:gd name="T95" fmla="*/ 52 h 182"/>
                  <a:gd name="T96" fmla="*/ 62 w 120"/>
                  <a:gd name="T97" fmla="*/ 40 h 182"/>
                  <a:gd name="T98" fmla="*/ 66 w 120"/>
                  <a:gd name="T99" fmla="*/ 28 h 182"/>
                  <a:gd name="T100" fmla="*/ 62 w 120"/>
                  <a:gd name="T101" fmla="*/ 24 h 182"/>
                  <a:gd name="T102" fmla="*/ 46 w 120"/>
                  <a:gd name="T103" fmla="*/ 8 h 182"/>
                  <a:gd name="T104" fmla="*/ 46 w 120"/>
                  <a:gd name="T105" fmla="*/ 4 h 182"/>
                  <a:gd name="T106" fmla="*/ 18 w 120"/>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82">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9" name="Freeform 540"/>
              <p:cNvSpPr>
                <a:spLocks/>
              </p:cNvSpPr>
              <p:nvPr/>
            </p:nvSpPr>
            <p:spPr bwMode="auto">
              <a:xfrm>
                <a:off x="2947" y="1791"/>
                <a:ext cx="66" cy="36"/>
              </a:xfrm>
              <a:custGeom>
                <a:avLst/>
                <a:gdLst>
                  <a:gd name="T0" fmla="*/ 16 w 66"/>
                  <a:gd name="T1" fmla="*/ 36 h 36"/>
                  <a:gd name="T2" fmla="*/ 14 w 66"/>
                  <a:gd name="T3" fmla="*/ 36 h 36"/>
                  <a:gd name="T4" fmla="*/ 14 w 66"/>
                  <a:gd name="T5" fmla="*/ 28 h 36"/>
                  <a:gd name="T6" fmla="*/ 2 w 66"/>
                  <a:gd name="T7" fmla="*/ 28 h 36"/>
                  <a:gd name="T8" fmla="*/ 0 w 66"/>
                  <a:gd name="T9" fmla="*/ 28 h 36"/>
                  <a:gd name="T10" fmla="*/ 8 w 66"/>
                  <a:gd name="T11" fmla="*/ 14 h 36"/>
                  <a:gd name="T12" fmla="*/ 16 w 66"/>
                  <a:gd name="T13" fmla="*/ 6 h 36"/>
                  <a:gd name="T14" fmla="*/ 20 w 66"/>
                  <a:gd name="T15" fmla="*/ 4 h 36"/>
                  <a:gd name="T16" fmla="*/ 22 w 66"/>
                  <a:gd name="T17" fmla="*/ 2 h 36"/>
                  <a:gd name="T18" fmla="*/ 38 w 66"/>
                  <a:gd name="T19" fmla="*/ 2 h 36"/>
                  <a:gd name="T20" fmla="*/ 46 w 66"/>
                  <a:gd name="T21" fmla="*/ 0 h 36"/>
                  <a:gd name="T22" fmla="*/ 46 w 66"/>
                  <a:gd name="T23" fmla="*/ 0 h 36"/>
                  <a:gd name="T24" fmla="*/ 54 w 66"/>
                  <a:gd name="T25" fmla="*/ 2 h 36"/>
                  <a:gd name="T26" fmla="*/ 54 w 66"/>
                  <a:gd name="T27" fmla="*/ 2 h 36"/>
                  <a:gd name="T28" fmla="*/ 56 w 66"/>
                  <a:gd name="T29" fmla="*/ 4 h 36"/>
                  <a:gd name="T30" fmla="*/ 54 w 66"/>
                  <a:gd name="T31" fmla="*/ 10 h 36"/>
                  <a:gd name="T32" fmla="*/ 58 w 66"/>
                  <a:gd name="T33" fmla="*/ 14 h 36"/>
                  <a:gd name="T34" fmla="*/ 62 w 66"/>
                  <a:gd name="T35" fmla="*/ 14 h 36"/>
                  <a:gd name="T36" fmla="*/ 66 w 66"/>
                  <a:gd name="T37" fmla="*/ 18 h 36"/>
                  <a:gd name="T38" fmla="*/ 66 w 66"/>
                  <a:gd name="T39" fmla="*/ 20 h 36"/>
                  <a:gd name="T40" fmla="*/ 62 w 66"/>
                  <a:gd name="T41" fmla="*/ 28 h 36"/>
                  <a:gd name="T42" fmla="*/ 52 w 66"/>
                  <a:gd name="T43" fmla="*/ 30 h 36"/>
                  <a:gd name="T44" fmla="*/ 52 w 66"/>
                  <a:gd name="T45" fmla="*/ 30 h 36"/>
                  <a:gd name="T46" fmla="*/ 50 w 66"/>
                  <a:gd name="T47" fmla="*/ 30 h 36"/>
                  <a:gd name="T48" fmla="*/ 48 w 66"/>
                  <a:gd name="T49" fmla="*/ 32 h 36"/>
                  <a:gd name="T50" fmla="*/ 46 w 66"/>
                  <a:gd name="T51" fmla="*/ 34 h 36"/>
                  <a:gd name="T52" fmla="*/ 44 w 66"/>
                  <a:gd name="T53" fmla="*/ 34 h 36"/>
                  <a:gd name="T54" fmla="*/ 42 w 66"/>
                  <a:gd name="T55" fmla="*/ 36 h 36"/>
                  <a:gd name="T56" fmla="*/ 36 w 66"/>
                  <a:gd name="T57" fmla="*/ 34 h 36"/>
                  <a:gd name="T58" fmla="*/ 30 w 66"/>
                  <a:gd name="T59" fmla="*/ 30 h 36"/>
                  <a:gd name="T60" fmla="*/ 30 w 66"/>
                  <a:gd name="T61" fmla="*/ 34 h 36"/>
                  <a:gd name="T62" fmla="*/ 28 w 66"/>
                  <a:gd name="T63" fmla="*/ 36 h 36"/>
                  <a:gd name="T64" fmla="*/ 16 w 66"/>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36">
                    <a:moveTo>
                      <a:pt x="16" y="36"/>
                    </a:moveTo>
                    <a:lnTo>
                      <a:pt x="16" y="36"/>
                    </a:lnTo>
                    <a:lnTo>
                      <a:pt x="14" y="36"/>
                    </a:lnTo>
                    <a:lnTo>
                      <a:pt x="14" y="36"/>
                    </a:lnTo>
                    <a:lnTo>
                      <a:pt x="14" y="34"/>
                    </a:lnTo>
                    <a:lnTo>
                      <a:pt x="14" y="28"/>
                    </a:lnTo>
                    <a:lnTo>
                      <a:pt x="2" y="28"/>
                    </a:lnTo>
                    <a:lnTo>
                      <a:pt x="2" y="28"/>
                    </a:lnTo>
                    <a:lnTo>
                      <a:pt x="0" y="28"/>
                    </a:lnTo>
                    <a:lnTo>
                      <a:pt x="0" y="28"/>
                    </a:lnTo>
                    <a:lnTo>
                      <a:pt x="0" y="26"/>
                    </a:lnTo>
                    <a:lnTo>
                      <a:pt x="8" y="14"/>
                    </a:lnTo>
                    <a:lnTo>
                      <a:pt x="16" y="6"/>
                    </a:lnTo>
                    <a:lnTo>
                      <a:pt x="16" y="6"/>
                    </a:lnTo>
                    <a:lnTo>
                      <a:pt x="18" y="4"/>
                    </a:lnTo>
                    <a:lnTo>
                      <a:pt x="20" y="4"/>
                    </a:lnTo>
                    <a:lnTo>
                      <a:pt x="22" y="2"/>
                    </a:lnTo>
                    <a:lnTo>
                      <a:pt x="22" y="2"/>
                    </a:lnTo>
                    <a:lnTo>
                      <a:pt x="24" y="2"/>
                    </a:lnTo>
                    <a:lnTo>
                      <a:pt x="38" y="2"/>
                    </a:lnTo>
                    <a:lnTo>
                      <a:pt x="46" y="0"/>
                    </a:lnTo>
                    <a:lnTo>
                      <a:pt x="46" y="0"/>
                    </a:lnTo>
                    <a:lnTo>
                      <a:pt x="46" y="0"/>
                    </a:lnTo>
                    <a:lnTo>
                      <a:pt x="46" y="0"/>
                    </a:lnTo>
                    <a:lnTo>
                      <a:pt x="46" y="0"/>
                    </a:lnTo>
                    <a:lnTo>
                      <a:pt x="54" y="2"/>
                    </a:lnTo>
                    <a:lnTo>
                      <a:pt x="54" y="2"/>
                    </a:lnTo>
                    <a:lnTo>
                      <a:pt x="54" y="2"/>
                    </a:lnTo>
                    <a:lnTo>
                      <a:pt x="56" y="4"/>
                    </a:lnTo>
                    <a:lnTo>
                      <a:pt x="56" y="4"/>
                    </a:lnTo>
                    <a:lnTo>
                      <a:pt x="56" y="6"/>
                    </a:lnTo>
                    <a:lnTo>
                      <a:pt x="54" y="10"/>
                    </a:lnTo>
                    <a:lnTo>
                      <a:pt x="54" y="12"/>
                    </a:lnTo>
                    <a:lnTo>
                      <a:pt x="58" y="14"/>
                    </a:lnTo>
                    <a:lnTo>
                      <a:pt x="62" y="14"/>
                    </a:lnTo>
                    <a:lnTo>
                      <a:pt x="62" y="14"/>
                    </a:lnTo>
                    <a:lnTo>
                      <a:pt x="64" y="14"/>
                    </a:lnTo>
                    <a:lnTo>
                      <a:pt x="66" y="18"/>
                    </a:lnTo>
                    <a:lnTo>
                      <a:pt x="66" y="18"/>
                    </a:lnTo>
                    <a:lnTo>
                      <a:pt x="66" y="20"/>
                    </a:lnTo>
                    <a:lnTo>
                      <a:pt x="62" y="28"/>
                    </a:lnTo>
                    <a:lnTo>
                      <a:pt x="62" y="28"/>
                    </a:lnTo>
                    <a:lnTo>
                      <a:pt x="60" y="28"/>
                    </a:lnTo>
                    <a:lnTo>
                      <a:pt x="52" y="30"/>
                    </a:lnTo>
                    <a:lnTo>
                      <a:pt x="52" y="30"/>
                    </a:lnTo>
                    <a:lnTo>
                      <a:pt x="52" y="30"/>
                    </a:lnTo>
                    <a:lnTo>
                      <a:pt x="52" y="30"/>
                    </a:lnTo>
                    <a:lnTo>
                      <a:pt x="50" y="30"/>
                    </a:lnTo>
                    <a:lnTo>
                      <a:pt x="48" y="28"/>
                    </a:lnTo>
                    <a:lnTo>
                      <a:pt x="48" y="32"/>
                    </a:lnTo>
                    <a:lnTo>
                      <a:pt x="48" y="32"/>
                    </a:lnTo>
                    <a:lnTo>
                      <a:pt x="46" y="34"/>
                    </a:lnTo>
                    <a:lnTo>
                      <a:pt x="44" y="34"/>
                    </a:lnTo>
                    <a:lnTo>
                      <a:pt x="44" y="34"/>
                    </a:lnTo>
                    <a:lnTo>
                      <a:pt x="42" y="36"/>
                    </a:lnTo>
                    <a:lnTo>
                      <a:pt x="42" y="36"/>
                    </a:lnTo>
                    <a:lnTo>
                      <a:pt x="42" y="36"/>
                    </a:lnTo>
                    <a:lnTo>
                      <a:pt x="36" y="34"/>
                    </a:lnTo>
                    <a:lnTo>
                      <a:pt x="32" y="30"/>
                    </a:lnTo>
                    <a:lnTo>
                      <a:pt x="30" y="30"/>
                    </a:lnTo>
                    <a:lnTo>
                      <a:pt x="30" y="34"/>
                    </a:lnTo>
                    <a:lnTo>
                      <a:pt x="30" y="34"/>
                    </a:lnTo>
                    <a:lnTo>
                      <a:pt x="28" y="36"/>
                    </a:lnTo>
                    <a:lnTo>
                      <a:pt x="28"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0" name="Freeform 541"/>
              <p:cNvSpPr>
                <a:spLocks noEditPoints="1"/>
              </p:cNvSpPr>
              <p:nvPr/>
            </p:nvSpPr>
            <p:spPr bwMode="auto">
              <a:xfrm>
                <a:off x="2945" y="1789"/>
                <a:ext cx="70" cy="40"/>
              </a:xfrm>
              <a:custGeom>
                <a:avLst/>
                <a:gdLst>
                  <a:gd name="T0" fmla="*/ 56 w 70"/>
                  <a:gd name="T1" fmla="*/ 6 h 40"/>
                  <a:gd name="T2" fmla="*/ 56 w 70"/>
                  <a:gd name="T3" fmla="*/ 10 h 40"/>
                  <a:gd name="T4" fmla="*/ 60 w 70"/>
                  <a:gd name="T5" fmla="*/ 18 h 40"/>
                  <a:gd name="T6" fmla="*/ 66 w 70"/>
                  <a:gd name="T7" fmla="*/ 22 h 40"/>
                  <a:gd name="T8" fmla="*/ 54 w 70"/>
                  <a:gd name="T9" fmla="*/ 30 h 40"/>
                  <a:gd name="T10" fmla="*/ 48 w 70"/>
                  <a:gd name="T11" fmla="*/ 34 h 40"/>
                  <a:gd name="T12" fmla="*/ 40 w 70"/>
                  <a:gd name="T13" fmla="*/ 34 h 40"/>
                  <a:gd name="T14" fmla="*/ 30 w 70"/>
                  <a:gd name="T15" fmla="*/ 32 h 40"/>
                  <a:gd name="T16" fmla="*/ 18 w 70"/>
                  <a:gd name="T17" fmla="*/ 36 h 40"/>
                  <a:gd name="T18" fmla="*/ 4 w 70"/>
                  <a:gd name="T19" fmla="*/ 28 h 40"/>
                  <a:gd name="T20" fmla="*/ 20 w 70"/>
                  <a:gd name="T21" fmla="*/ 8 h 40"/>
                  <a:gd name="T22" fmla="*/ 26 w 70"/>
                  <a:gd name="T23" fmla="*/ 6 h 40"/>
                  <a:gd name="T24" fmla="*/ 48 w 70"/>
                  <a:gd name="T25" fmla="*/ 4 h 40"/>
                  <a:gd name="T26" fmla="*/ 48 w 70"/>
                  <a:gd name="T27" fmla="*/ 0 h 40"/>
                  <a:gd name="T28" fmla="*/ 38 w 70"/>
                  <a:gd name="T29" fmla="*/ 2 h 40"/>
                  <a:gd name="T30" fmla="*/ 26 w 70"/>
                  <a:gd name="T31" fmla="*/ 2 h 40"/>
                  <a:gd name="T32" fmla="*/ 22 w 70"/>
                  <a:gd name="T33" fmla="*/ 4 h 40"/>
                  <a:gd name="T34" fmla="*/ 20 w 70"/>
                  <a:gd name="T35" fmla="*/ 4 h 40"/>
                  <a:gd name="T36" fmla="*/ 18 w 70"/>
                  <a:gd name="T37" fmla="*/ 6 h 40"/>
                  <a:gd name="T38" fmla="*/ 8 w 70"/>
                  <a:gd name="T39" fmla="*/ 14 h 40"/>
                  <a:gd name="T40" fmla="*/ 0 w 70"/>
                  <a:gd name="T41" fmla="*/ 26 h 40"/>
                  <a:gd name="T42" fmla="*/ 0 w 70"/>
                  <a:gd name="T43" fmla="*/ 30 h 40"/>
                  <a:gd name="T44" fmla="*/ 4 w 70"/>
                  <a:gd name="T45" fmla="*/ 32 h 40"/>
                  <a:gd name="T46" fmla="*/ 14 w 70"/>
                  <a:gd name="T47" fmla="*/ 36 h 40"/>
                  <a:gd name="T48" fmla="*/ 16 w 70"/>
                  <a:gd name="T49" fmla="*/ 40 h 40"/>
                  <a:gd name="T50" fmla="*/ 18 w 70"/>
                  <a:gd name="T51" fmla="*/ 40 h 40"/>
                  <a:gd name="T52" fmla="*/ 18 w 70"/>
                  <a:gd name="T53" fmla="*/ 40 h 40"/>
                  <a:gd name="T54" fmla="*/ 32 w 70"/>
                  <a:gd name="T55" fmla="*/ 40 h 40"/>
                  <a:gd name="T56" fmla="*/ 34 w 70"/>
                  <a:gd name="T57" fmla="*/ 36 h 40"/>
                  <a:gd name="T58" fmla="*/ 38 w 70"/>
                  <a:gd name="T59" fmla="*/ 36 h 40"/>
                  <a:gd name="T60" fmla="*/ 38 w 70"/>
                  <a:gd name="T61" fmla="*/ 38 h 40"/>
                  <a:gd name="T62" fmla="*/ 44 w 70"/>
                  <a:gd name="T63" fmla="*/ 40 h 40"/>
                  <a:gd name="T64" fmla="*/ 44 w 70"/>
                  <a:gd name="T65" fmla="*/ 40 h 40"/>
                  <a:gd name="T66" fmla="*/ 50 w 70"/>
                  <a:gd name="T67" fmla="*/ 38 h 40"/>
                  <a:gd name="T68" fmla="*/ 52 w 70"/>
                  <a:gd name="T69" fmla="*/ 34 h 40"/>
                  <a:gd name="T70" fmla="*/ 54 w 70"/>
                  <a:gd name="T71" fmla="*/ 34 h 40"/>
                  <a:gd name="T72" fmla="*/ 54 w 70"/>
                  <a:gd name="T73" fmla="*/ 34 h 40"/>
                  <a:gd name="T74" fmla="*/ 62 w 70"/>
                  <a:gd name="T75" fmla="*/ 32 h 40"/>
                  <a:gd name="T76" fmla="*/ 70 w 70"/>
                  <a:gd name="T77" fmla="*/ 22 h 40"/>
                  <a:gd name="T78" fmla="*/ 70 w 70"/>
                  <a:gd name="T79" fmla="*/ 20 h 40"/>
                  <a:gd name="T80" fmla="*/ 68 w 70"/>
                  <a:gd name="T81" fmla="*/ 16 h 40"/>
                  <a:gd name="T82" fmla="*/ 64 w 70"/>
                  <a:gd name="T83" fmla="*/ 14 h 40"/>
                  <a:gd name="T84" fmla="*/ 58 w 70"/>
                  <a:gd name="T85" fmla="*/ 12 h 40"/>
                  <a:gd name="T86" fmla="*/ 60 w 70"/>
                  <a:gd name="T87" fmla="*/ 8 h 40"/>
                  <a:gd name="T88" fmla="*/ 60 w 70"/>
                  <a:gd name="T89" fmla="*/ 6 h 40"/>
                  <a:gd name="T90" fmla="*/ 58 w 70"/>
                  <a:gd name="T91" fmla="*/ 2 h 40"/>
                  <a:gd name="T92" fmla="*/ 56 w 70"/>
                  <a:gd name="T93" fmla="*/ 2 h 40"/>
                  <a:gd name="T94" fmla="*/ 50 w 70"/>
                  <a:gd name="T95" fmla="*/ 0 h 40"/>
                  <a:gd name="T96" fmla="*/ 48 w 70"/>
                  <a:gd name="T9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40">
                    <a:moveTo>
                      <a:pt x="48" y="4"/>
                    </a:moveTo>
                    <a:lnTo>
                      <a:pt x="56" y="6"/>
                    </a:lnTo>
                    <a:lnTo>
                      <a:pt x="56" y="6"/>
                    </a:lnTo>
                    <a:lnTo>
                      <a:pt x="56" y="10"/>
                    </a:lnTo>
                    <a:lnTo>
                      <a:pt x="54" y="16"/>
                    </a:lnTo>
                    <a:lnTo>
                      <a:pt x="60" y="18"/>
                    </a:lnTo>
                    <a:lnTo>
                      <a:pt x="64" y="18"/>
                    </a:lnTo>
                    <a:lnTo>
                      <a:pt x="66" y="22"/>
                    </a:lnTo>
                    <a:lnTo>
                      <a:pt x="62" y="28"/>
                    </a:lnTo>
                    <a:lnTo>
                      <a:pt x="54" y="30"/>
                    </a:lnTo>
                    <a:lnTo>
                      <a:pt x="48" y="24"/>
                    </a:lnTo>
                    <a:lnTo>
                      <a:pt x="48" y="34"/>
                    </a:lnTo>
                    <a:lnTo>
                      <a:pt x="44" y="36"/>
                    </a:lnTo>
                    <a:lnTo>
                      <a:pt x="40" y="34"/>
                    </a:lnTo>
                    <a:lnTo>
                      <a:pt x="34" y="30"/>
                    </a:lnTo>
                    <a:lnTo>
                      <a:pt x="30" y="32"/>
                    </a:lnTo>
                    <a:lnTo>
                      <a:pt x="30" y="36"/>
                    </a:lnTo>
                    <a:lnTo>
                      <a:pt x="18" y="36"/>
                    </a:lnTo>
                    <a:lnTo>
                      <a:pt x="18" y="28"/>
                    </a:lnTo>
                    <a:lnTo>
                      <a:pt x="4" y="28"/>
                    </a:lnTo>
                    <a:lnTo>
                      <a:pt x="12" y="18"/>
                    </a:lnTo>
                    <a:lnTo>
                      <a:pt x="20" y="8"/>
                    </a:lnTo>
                    <a:lnTo>
                      <a:pt x="24" y="8"/>
                    </a:lnTo>
                    <a:lnTo>
                      <a:pt x="26" y="6"/>
                    </a:lnTo>
                    <a:lnTo>
                      <a:pt x="40" y="6"/>
                    </a:lnTo>
                    <a:lnTo>
                      <a:pt x="48" y="4"/>
                    </a:lnTo>
                    <a:close/>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1" name="Freeform 542"/>
              <p:cNvSpPr>
                <a:spLocks/>
              </p:cNvSpPr>
              <p:nvPr/>
            </p:nvSpPr>
            <p:spPr bwMode="auto">
              <a:xfrm>
                <a:off x="2949" y="1793"/>
                <a:ext cx="62" cy="32"/>
              </a:xfrm>
              <a:custGeom>
                <a:avLst/>
                <a:gdLst>
                  <a:gd name="T0" fmla="*/ 44 w 62"/>
                  <a:gd name="T1" fmla="*/ 0 h 32"/>
                  <a:gd name="T2" fmla="*/ 52 w 62"/>
                  <a:gd name="T3" fmla="*/ 2 h 32"/>
                  <a:gd name="T4" fmla="*/ 52 w 62"/>
                  <a:gd name="T5" fmla="*/ 2 h 32"/>
                  <a:gd name="T6" fmla="*/ 52 w 62"/>
                  <a:gd name="T7" fmla="*/ 6 h 32"/>
                  <a:gd name="T8" fmla="*/ 50 w 62"/>
                  <a:gd name="T9" fmla="*/ 12 h 32"/>
                  <a:gd name="T10" fmla="*/ 56 w 62"/>
                  <a:gd name="T11" fmla="*/ 14 h 32"/>
                  <a:gd name="T12" fmla="*/ 60 w 62"/>
                  <a:gd name="T13" fmla="*/ 14 h 32"/>
                  <a:gd name="T14" fmla="*/ 62 w 62"/>
                  <a:gd name="T15" fmla="*/ 18 h 32"/>
                  <a:gd name="T16" fmla="*/ 58 w 62"/>
                  <a:gd name="T17" fmla="*/ 24 h 32"/>
                  <a:gd name="T18" fmla="*/ 50 w 62"/>
                  <a:gd name="T19" fmla="*/ 26 h 32"/>
                  <a:gd name="T20" fmla="*/ 44 w 62"/>
                  <a:gd name="T21" fmla="*/ 20 h 32"/>
                  <a:gd name="T22" fmla="*/ 44 w 62"/>
                  <a:gd name="T23" fmla="*/ 30 h 32"/>
                  <a:gd name="T24" fmla="*/ 40 w 62"/>
                  <a:gd name="T25" fmla="*/ 32 h 32"/>
                  <a:gd name="T26" fmla="*/ 36 w 62"/>
                  <a:gd name="T27" fmla="*/ 30 h 32"/>
                  <a:gd name="T28" fmla="*/ 30 w 62"/>
                  <a:gd name="T29" fmla="*/ 26 h 32"/>
                  <a:gd name="T30" fmla="*/ 26 w 62"/>
                  <a:gd name="T31" fmla="*/ 28 h 32"/>
                  <a:gd name="T32" fmla="*/ 26 w 62"/>
                  <a:gd name="T33" fmla="*/ 32 h 32"/>
                  <a:gd name="T34" fmla="*/ 14 w 62"/>
                  <a:gd name="T35" fmla="*/ 32 h 32"/>
                  <a:gd name="T36" fmla="*/ 14 w 62"/>
                  <a:gd name="T37" fmla="*/ 24 h 32"/>
                  <a:gd name="T38" fmla="*/ 0 w 62"/>
                  <a:gd name="T39" fmla="*/ 24 h 32"/>
                  <a:gd name="T40" fmla="*/ 8 w 62"/>
                  <a:gd name="T41" fmla="*/ 14 h 32"/>
                  <a:gd name="T42" fmla="*/ 16 w 62"/>
                  <a:gd name="T43" fmla="*/ 4 h 32"/>
                  <a:gd name="T44" fmla="*/ 20 w 62"/>
                  <a:gd name="T45" fmla="*/ 4 h 32"/>
                  <a:gd name="T46" fmla="*/ 22 w 62"/>
                  <a:gd name="T47" fmla="*/ 2 h 32"/>
                  <a:gd name="T48" fmla="*/ 36 w 62"/>
                  <a:gd name="T49" fmla="*/ 2 h 32"/>
                  <a:gd name="T50" fmla="*/ 44 w 62"/>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32">
                    <a:moveTo>
                      <a:pt x="44" y="0"/>
                    </a:moveTo>
                    <a:lnTo>
                      <a:pt x="52" y="2"/>
                    </a:lnTo>
                    <a:lnTo>
                      <a:pt x="52" y="2"/>
                    </a:lnTo>
                    <a:lnTo>
                      <a:pt x="52" y="6"/>
                    </a:lnTo>
                    <a:lnTo>
                      <a:pt x="50" y="12"/>
                    </a:lnTo>
                    <a:lnTo>
                      <a:pt x="56" y="14"/>
                    </a:lnTo>
                    <a:lnTo>
                      <a:pt x="60" y="14"/>
                    </a:lnTo>
                    <a:lnTo>
                      <a:pt x="62" y="18"/>
                    </a:lnTo>
                    <a:lnTo>
                      <a:pt x="58" y="24"/>
                    </a:lnTo>
                    <a:lnTo>
                      <a:pt x="50" y="26"/>
                    </a:lnTo>
                    <a:lnTo>
                      <a:pt x="44" y="20"/>
                    </a:lnTo>
                    <a:lnTo>
                      <a:pt x="44" y="30"/>
                    </a:lnTo>
                    <a:lnTo>
                      <a:pt x="40" y="32"/>
                    </a:lnTo>
                    <a:lnTo>
                      <a:pt x="36" y="30"/>
                    </a:lnTo>
                    <a:lnTo>
                      <a:pt x="30" y="26"/>
                    </a:lnTo>
                    <a:lnTo>
                      <a:pt x="26" y="28"/>
                    </a:lnTo>
                    <a:lnTo>
                      <a:pt x="26" y="32"/>
                    </a:lnTo>
                    <a:lnTo>
                      <a:pt x="14" y="32"/>
                    </a:lnTo>
                    <a:lnTo>
                      <a:pt x="14" y="24"/>
                    </a:lnTo>
                    <a:lnTo>
                      <a:pt x="0" y="24"/>
                    </a:lnTo>
                    <a:lnTo>
                      <a:pt x="8" y="14"/>
                    </a:lnTo>
                    <a:lnTo>
                      <a:pt x="16" y="4"/>
                    </a:lnTo>
                    <a:lnTo>
                      <a:pt x="20" y="4"/>
                    </a:lnTo>
                    <a:lnTo>
                      <a:pt x="22" y="2"/>
                    </a:lnTo>
                    <a:lnTo>
                      <a:pt x="36"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2" name="Freeform 543"/>
              <p:cNvSpPr>
                <a:spLocks/>
              </p:cNvSpPr>
              <p:nvPr/>
            </p:nvSpPr>
            <p:spPr bwMode="auto">
              <a:xfrm>
                <a:off x="2945" y="1789"/>
                <a:ext cx="70" cy="40"/>
              </a:xfrm>
              <a:custGeom>
                <a:avLst/>
                <a:gdLst>
                  <a:gd name="T0" fmla="*/ 48 w 70"/>
                  <a:gd name="T1" fmla="*/ 0 h 40"/>
                  <a:gd name="T2" fmla="*/ 38 w 70"/>
                  <a:gd name="T3" fmla="*/ 2 h 40"/>
                  <a:gd name="T4" fmla="*/ 26 w 70"/>
                  <a:gd name="T5" fmla="*/ 2 h 40"/>
                  <a:gd name="T6" fmla="*/ 22 w 70"/>
                  <a:gd name="T7" fmla="*/ 4 h 40"/>
                  <a:gd name="T8" fmla="*/ 20 w 70"/>
                  <a:gd name="T9" fmla="*/ 4 h 40"/>
                  <a:gd name="T10" fmla="*/ 18 w 70"/>
                  <a:gd name="T11" fmla="*/ 6 h 40"/>
                  <a:gd name="T12" fmla="*/ 8 w 70"/>
                  <a:gd name="T13" fmla="*/ 14 h 40"/>
                  <a:gd name="T14" fmla="*/ 0 w 70"/>
                  <a:gd name="T15" fmla="*/ 26 h 40"/>
                  <a:gd name="T16" fmla="*/ 0 w 70"/>
                  <a:gd name="T17" fmla="*/ 30 h 40"/>
                  <a:gd name="T18" fmla="*/ 4 w 70"/>
                  <a:gd name="T19" fmla="*/ 32 h 40"/>
                  <a:gd name="T20" fmla="*/ 14 w 70"/>
                  <a:gd name="T21" fmla="*/ 36 h 40"/>
                  <a:gd name="T22" fmla="*/ 16 w 70"/>
                  <a:gd name="T23" fmla="*/ 40 h 40"/>
                  <a:gd name="T24" fmla="*/ 18 w 70"/>
                  <a:gd name="T25" fmla="*/ 40 h 40"/>
                  <a:gd name="T26" fmla="*/ 18 w 70"/>
                  <a:gd name="T27" fmla="*/ 40 h 40"/>
                  <a:gd name="T28" fmla="*/ 32 w 70"/>
                  <a:gd name="T29" fmla="*/ 40 h 40"/>
                  <a:gd name="T30" fmla="*/ 34 w 70"/>
                  <a:gd name="T31" fmla="*/ 36 h 40"/>
                  <a:gd name="T32" fmla="*/ 38 w 70"/>
                  <a:gd name="T33" fmla="*/ 36 h 40"/>
                  <a:gd name="T34" fmla="*/ 38 w 70"/>
                  <a:gd name="T35" fmla="*/ 38 h 40"/>
                  <a:gd name="T36" fmla="*/ 44 w 70"/>
                  <a:gd name="T37" fmla="*/ 40 h 40"/>
                  <a:gd name="T38" fmla="*/ 44 w 70"/>
                  <a:gd name="T39" fmla="*/ 40 h 40"/>
                  <a:gd name="T40" fmla="*/ 50 w 70"/>
                  <a:gd name="T41" fmla="*/ 38 h 40"/>
                  <a:gd name="T42" fmla="*/ 52 w 70"/>
                  <a:gd name="T43" fmla="*/ 34 h 40"/>
                  <a:gd name="T44" fmla="*/ 54 w 70"/>
                  <a:gd name="T45" fmla="*/ 34 h 40"/>
                  <a:gd name="T46" fmla="*/ 54 w 70"/>
                  <a:gd name="T47" fmla="*/ 34 h 40"/>
                  <a:gd name="T48" fmla="*/ 62 w 70"/>
                  <a:gd name="T49" fmla="*/ 32 h 40"/>
                  <a:gd name="T50" fmla="*/ 70 w 70"/>
                  <a:gd name="T51" fmla="*/ 22 h 40"/>
                  <a:gd name="T52" fmla="*/ 70 w 70"/>
                  <a:gd name="T53" fmla="*/ 20 h 40"/>
                  <a:gd name="T54" fmla="*/ 68 w 70"/>
                  <a:gd name="T55" fmla="*/ 16 h 40"/>
                  <a:gd name="T56" fmla="*/ 64 w 70"/>
                  <a:gd name="T57" fmla="*/ 14 h 40"/>
                  <a:gd name="T58" fmla="*/ 58 w 70"/>
                  <a:gd name="T59" fmla="*/ 12 h 40"/>
                  <a:gd name="T60" fmla="*/ 60 w 70"/>
                  <a:gd name="T61" fmla="*/ 8 h 40"/>
                  <a:gd name="T62" fmla="*/ 60 w 70"/>
                  <a:gd name="T63" fmla="*/ 6 h 40"/>
                  <a:gd name="T64" fmla="*/ 58 w 70"/>
                  <a:gd name="T65" fmla="*/ 2 h 40"/>
                  <a:gd name="T66" fmla="*/ 56 w 70"/>
                  <a:gd name="T67" fmla="*/ 2 h 40"/>
                  <a:gd name="T68" fmla="*/ 50 w 70"/>
                  <a:gd name="T69" fmla="*/ 0 h 40"/>
                  <a:gd name="T70" fmla="*/ 48 w 70"/>
                  <a:gd name="T7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40">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3" name="Freeform 544"/>
              <p:cNvSpPr>
                <a:spLocks/>
              </p:cNvSpPr>
              <p:nvPr/>
            </p:nvSpPr>
            <p:spPr bwMode="auto">
              <a:xfrm>
                <a:off x="2797" y="1729"/>
                <a:ext cx="182" cy="156"/>
              </a:xfrm>
              <a:custGeom>
                <a:avLst/>
                <a:gdLst>
                  <a:gd name="T0" fmla="*/ 94 w 182"/>
                  <a:gd name="T1" fmla="*/ 154 h 156"/>
                  <a:gd name="T2" fmla="*/ 72 w 182"/>
                  <a:gd name="T3" fmla="*/ 152 h 156"/>
                  <a:gd name="T4" fmla="*/ 70 w 182"/>
                  <a:gd name="T5" fmla="*/ 152 h 156"/>
                  <a:gd name="T6" fmla="*/ 44 w 182"/>
                  <a:gd name="T7" fmla="*/ 140 h 156"/>
                  <a:gd name="T8" fmla="*/ 48 w 182"/>
                  <a:gd name="T9" fmla="*/ 114 h 156"/>
                  <a:gd name="T10" fmla="*/ 50 w 182"/>
                  <a:gd name="T11" fmla="*/ 102 h 156"/>
                  <a:gd name="T12" fmla="*/ 38 w 182"/>
                  <a:gd name="T13" fmla="*/ 82 h 156"/>
                  <a:gd name="T14" fmla="*/ 36 w 182"/>
                  <a:gd name="T15" fmla="*/ 74 h 156"/>
                  <a:gd name="T16" fmla="*/ 16 w 182"/>
                  <a:gd name="T17" fmla="*/ 62 h 156"/>
                  <a:gd name="T18" fmla="*/ 4 w 182"/>
                  <a:gd name="T19" fmla="*/ 62 h 156"/>
                  <a:gd name="T20" fmla="*/ 0 w 182"/>
                  <a:gd name="T21" fmla="*/ 54 h 156"/>
                  <a:gd name="T22" fmla="*/ 2 w 182"/>
                  <a:gd name="T23" fmla="*/ 46 h 156"/>
                  <a:gd name="T24" fmla="*/ 24 w 182"/>
                  <a:gd name="T25" fmla="*/ 42 h 156"/>
                  <a:gd name="T26" fmla="*/ 30 w 182"/>
                  <a:gd name="T27" fmla="*/ 46 h 156"/>
                  <a:gd name="T28" fmla="*/ 36 w 182"/>
                  <a:gd name="T29" fmla="*/ 44 h 156"/>
                  <a:gd name="T30" fmla="*/ 42 w 182"/>
                  <a:gd name="T31" fmla="*/ 46 h 156"/>
                  <a:gd name="T32" fmla="*/ 42 w 182"/>
                  <a:gd name="T33" fmla="*/ 28 h 156"/>
                  <a:gd name="T34" fmla="*/ 42 w 182"/>
                  <a:gd name="T35" fmla="*/ 26 h 156"/>
                  <a:gd name="T36" fmla="*/ 48 w 182"/>
                  <a:gd name="T37" fmla="*/ 26 h 156"/>
                  <a:gd name="T38" fmla="*/ 66 w 182"/>
                  <a:gd name="T39" fmla="*/ 30 h 156"/>
                  <a:gd name="T40" fmla="*/ 92 w 182"/>
                  <a:gd name="T41" fmla="*/ 16 h 156"/>
                  <a:gd name="T42" fmla="*/ 94 w 182"/>
                  <a:gd name="T43" fmla="*/ 4 h 156"/>
                  <a:gd name="T44" fmla="*/ 102 w 182"/>
                  <a:gd name="T45" fmla="*/ 0 h 156"/>
                  <a:gd name="T46" fmla="*/ 112 w 182"/>
                  <a:gd name="T47" fmla="*/ 8 h 156"/>
                  <a:gd name="T48" fmla="*/ 136 w 182"/>
                  <a:gd name="T49" fmla="*/ 20 h 156"/>
                  <a:gd name="T50" fmla="*/ 144 w 182"/>
                  <a:gd name="T51" fmla="*/ 28 h 156"/>
                  <a:gd name="T52" fmla="*/ 154 w 182"/>
                  <a:gd name="T53" fmla="*/ 28 h 156"/>
                  <a:gd name="T54" fmla="*/ 178 w 182"/>
                  <a:gd name="T55" fmla="*/ 34 h 156"/>
                  <a:gd name="T56" fmla="*/ 182 w 182"/>
                  <a:gd name="T57" fmla="*/ 40 h 156"/>
                  <a:gd name="T58" fmla="*/ 174 w 182"/>
                  <a:gd name="T59" fmla="*/ 58 h 156"/>
                  <a:gd name="T60" fmla="*/ 174 w 182"/>
                  <a:gd name="T61" fmla="*/ 64 h 156"/>
                  <a:gd name="T62" fmla="*/ 170 w 182"/>
                  <a:gd name="T63" fmla="*/ 68 h 156"/>
                  <a:gd name="T64" fmla="*/ 154 w 182"/>
                  <a:gd name="T65" fmla="*/ 84 h 156"/>
                  <a:gd name="T66" fmla="*/ 166 w 182"/>
                  <a:gd name="T67" fmla="*/ 86 h 156"/>
                  <a:gd name="T68" fmla="*/ 168 w 182"/>
                  <a:gd name="T69" fmla="*/ 102 h 156"/>
                  <a:gd name="T70" fmla="*/ 166 w 182"/>
                  <a:gd name="T71" fmla="*/ 122 h 156"/>
                  <a:gd name="T72" fmla="*/ 174 w 182"/>
                  <a:gd name="T73" fmla="*/ 124 h 156"/>
                  <a:gd name="T74" fmla="*/ 172 w 182"/>
                  <a:gd name="T75" fmla="*/ 134 h 156"/>
                  <a:gd name="T76" fmla="*/ 162 w 182"/>
                  <a:gd name="T77" fmla="*/ 142 h 156"/>
                  <a:gd name="T78" fmla="*/ 152 w 182"/>
                  <a:gd name="T79" fmla="*/ 146 h 156"/>
                  <a:gd name="T80" fmla="*/ 152 w 182"/>
                  <a:gd name="T81" fmla="*/ 146 h 156"/>
                  <a:gd name="T82" fmla="*/ 122 w 182"/>
                  <a:gd name="T83" fmla="*/ 138 h 156"/>
                  <a:gd name="T84" fmla="*/ 110 w 182"/>
                  <a:gd name="T85" fmla="*/ 154 h 156"/>
                  <a:gd name="T86" fmla="*/ 94 w 182"/>
                  <a:gd name="T8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156">
                    <a:moveTo>
                      <a:pt x="94" y="156"/>
                    </a:moveTo>
                    <a:lnTo>
                      <a:pt x="94" y="156"/>
                    </a:lnTo>
                    <a:lnTo>
                      <a:pt x="94" y="154"/>
                    </a:lnTo>
                    <a:lnTo>
                      <a:pt x="82" y="150"/>
                    </a:lnTo>
                    <a:lnTo>
                      <a:pt x="72" y="152"/>
                    </a:lnTo>
                    <a:lnTo>
                      <a:pt x="72" y="152"/>
                    </a:lnTo>
                    <a:lnTo>
                      <a:pt x="72" y="152"/>
                    </a:lnTo>
                    <a:lnTo>
                      <a:pt x="72" y="152"/>
                    </a:lnTo>
                    <a:lnTo>
                      <a:pt x="70" y="152"/>
                    </a:lnTo>
                    <a:lnTo>
                      <a:pt x="56" y="146"/>
                    </a:lnTo>
                    <a:lnTo>
                      <a:pt x="44" y="140"/>
                    </a:lnTo>
                    <a:lnTo>
                      <a:pt x="44" y="140"/>
                    </a:lnTo>
                    <a:lnTo>
                      <a:pt x="42" y="138"/>
                    </a:lnTo>
                    <a:lnTo>
                      <a:pt x="42" y="128"/>
                    </a:lnTo>
                    <a:lnTo>
                      <a:pt x="48" y="114"/>
                    </a:lnTo>
                    <a:lnTo>
                      <a:pt x="48" y="104"/>
                    </a:lnTo>
                    <a:lnTo>
                      <a:pt x="48" y="104"/>
                    </a:lnTo>
                    <a:lnTo>
                      <a:pt x="50" y="102"/>
                    </a:lnTo>
                    <a:lnTo>
                      <a:pt x="54" y="102"/>
                    </a:lnTo>
                    <a:lnTo>
                      <a:pt x="48" y="90"/>
                    </a:lnTo>
                    <a:lnTo>
                      <a:pt x="38" y="82"/>
                    </a:lnTo>
                    <a:lnTo>
                      <a:pt x="38" y="82"/>
                    </a:lnTo>
                    <a:lnTo>
                      <a:pt x="38" y="82"/>
                    </a:lnTo>
                    <a:lnTo>
                      <a:pt x="36" y="74"/>
                    </a:lnTo>
                    <a:lnTo>
                      <a:pt x="32" y="70"/>
                    </a:lnTo>
                    <a:lnTo>
                      <a:pt x="22" y="64"/>
                    </a:lnTo>
                    <a:lnTo>
                      <a:pt x="16" y="62"/>
                    </a:lnTo>
                    <a:lnTo>
                      <a:pt x="6" y="62"/>
                    </a:lnTo>
                    <a:lnTo>
                      <a:pt x="6" y="62"/>
                    </a:lnTo>
                    <a:lnTo>
                      <a:pt x="4" y="62"/>
                    </a:lnTo>
                    <a:lnTo>
                      <a:pt x="0" y="56"/>
                    </a:lnTo>
                    <a:lnTo>
                      <a:pt x="0" y="56"/>
                    </a:lnTo>
                    <a:lnTo>
                      <a:pt x="0" y="54"/>
                    </a:lnTo>
                    <a:lnTo>
                      <a:pt x="0" y="46"/>
                    </a:lnTo>
                    <a:lnTo>
                      <a:pt x="0" y="46"/>
                    </a:lnTo>
                    <a:lnTo>
                      <a:pt x="2" y="46"/>
                    </a:lnTo>
                    <a:lnTo>
                      <a:pt x="8" y="44"/>
                    </a:lnTo>
                    <a:lnTo>
                      <a:pt x="16" y="42"/>
                    </a:lnTo>
                    <a:lnTo>
                      <a:pt x="24" y="42"/>
                    </a:lnTo>
                    <a:lnTo>
                      <a:pt x="24" y="42"/>
                    </a:lnTo>
                    <a:lnTo>
                      <a:pt x="26" y="42"/>
                    </a:lnTo>
                    <a:lnTo>
                      <a:pt x="30" y="46"/>
                    </a:lnTo>
                    <a:lnTo>
                      <a:pt x="36" y="44"/>
                    </a:lnTo>
                    <a:lnTo>
                      <a:pt x="36" y="44"/>
                    </a:lnTo>
                    <a:lnTo>
                      <a:pt x="36" y="44"/>
                    </a:lnTo>
                    <a:lnTo>
                      <a:pt x="36" y="44"/>
                    </a:lnTo>
                    <a:lnTo>
                      <a:pt x="36" y="44"/>
                    </a:lnTo>
                    <a:lnTo>
                      <a:pt x="42" y="46"/>
                    </a:lnTo>
                    <a:lnTo>
                      <a:pt x="46" y="42"/>
                    </a:lnTo>
                    <a:lnTo>
                      <a:pt x="44" y="34"/>
                    </a:lnTo>
                    <a:lnTo>
                      <a:pt x="42" y="28"/>
                    </a:lnTo>
                    <a:lnTo>
                      <a:pt x="42" y="28"/>
                    </a:lnTo>
                    <a:lnTo>
                      <a:pt x="42" y="26"/>
                    </a:lnTo>
                    <a:lnTo>
                      <a:pt x="42" y="26"/>
                    </a:lnTo>
                    <a:lnTo>
                      <a:pt x="44" y="26"/>
                    </a:lnTo>
                    <a:lnTo>
                      <a:pt x="48" y="26"/>
                    </a:lnTo>
                    <a:lnTo>
                      <a:pt x="48" y="26"/>
                    </a:lnTo>
                    <a:lnTo>
                      <a:pt x="50" y="26"/>
                    </a:lnTo>
                    <a:lnTo>
                      <a:pt x="56" y="32"/>
                    </a:lnTo>
                    <a:lnTo>
                      <a:pt x="66" y="30"/>
                    </a:lnTo>
                    <a:lnTo>
                      <a:pt x="74" y="24"/>
                    </a:lnTo>
                    <a:lnTo>
                      <a:pt x="84" y="20"/>
                    </a:lnTo>
                    <a:lnTo>
                      <a:pt x="92" y="16"/>
                    </a:lnTo>
                    <a:lnTo>
                      <a:pt x="92" y="6"/>
                    </a:lnTo>
                    <a:lnTo>
                      <a:pt x="92" y="6"/>
                    </a:lnTo>
                    <a:lnTo>
                      <a:pt x="94" y="4"/>
                    </a:lnTo>
                    <a:lnTo>
                      <a:pt x="102" y="0"/>
                    </a:lnTo>
                    <a:lnTo>
                      <a:pt x="102" y="0"/>
                    </a:lnTo>
                    <a:lnTo>
                      <a:pt x="102" y="0"/>
                    </a:lnTo>
                    <a:lnTo>
                      <a:pt x="102" y="0"/>
                    </a:lnTo>
                    <a:lnTo>
                      <a:pt x="104" y="0"/>
                    </a:lnTo>
                    <a:lnTo>
                      <a:pt x="112" y="8"/>
                    </a:lnTo>
                    <a:lnTo>
                      <a:pt x="126" y="18"/>
                    </a:lnTo>
                    <a:lnTo>
                      <a:pt x="136" y="20"/>
                    </a:lnTo>
                    <a:lnTo>
                      <a:pt x="136" y="20"/>
                    </a:lnTo>
                    <a:lnTo>
                      <a:pt x="136" y="22"/>
                    </a:lnTo>
                    <a:lnTo>
                      <a:pt x="138" y="24"/>
                    </a:lnTo>
                    <a:lnTo>
                      <a:pt x="144" y="28"/>
                    </a:lnTo>
                    <a:lnTo>
                      <a:pt x="154" y="28"/>
                    </a:lnTo>
                    <a:lnTo>
                      <a:pt x="154" y="28"/>
                    </a:lnTo>
                    <a:lnTo>
                      <a:pt x="154" y="28"/>
                    </a:lnTo>
                    <a:lnTo>
                      <a:pt x="160" y="32"/>
                    </a:lnTo>
                    <a:lnTo>
                      <a:pt x="164" y="34"/>
                    </a:lnTo>
                    <a:lnTo>
                      <a:pt x="178" y="34"/>
                    </a:lnTo>
                    <a:lnTo>
                      <a:pt x="178" y="34"/>
                    </a:lnTo>
                    <a:lnTo>
                      <a:pt x="180" y="36"/>
                    </a:lnTo>
                    <a:lnTo>
                      <a:pt x="182" y="40"/>
                    </a:lnTo>
                    <a:lnTo>
                      <a:pt x="182" y="40"/>
                    </a:lnTo>
                    <a:lnTo>
                      <a:pt x="182" y="42"/>
                    </a:lnTo>
                    <a:lnTo>
                      <a:pt x="174" y="58"/>
                    </a:lnTo>
                    <a:lnTo>
                      <a:pt x="174" y="64"/>
                    </a:lnTo>
                    <a:lnTo>
                      <a:pt x="174" y="64"/>
                    </a:lnTo>
                    <a:lnTo>
                      <a:pt x="174" y="64"/>
                    </a:lnTo>
                    <a:lnTo>
                      <a:pt x="172" y="68"/>
                    </a:lnTo>
                    <a:lnTo>
                      <a:pt x="172" y="68"/>
                    </a:lnTo>
                    <a:lnTo>
                      <a:pt x="170" y="68"/>
                    </a:lnTo>
                    <a:lnTo>
                      <a:pt x="166" y="68"/>
                    </a:lnTo>
                    <a:lnTo>
                      <a:pt x="158" y="78"/>
                    </a:lnTo>
                    <a:lnTo>
                      <a:pt x="154" y="84"/>
                    </a:lnTo>
                    <a:lnTo>
                      <a:pt x="164" y="84"/>
                    </a:lnTo>
                    <a:lnTo>
                      <a:pt x="164" y="84"/>
                    </a:lnTo>
                    <a:lnTo>
                      <a:pt x="166" y="86"/>
                    </a:lnTo>
                    <a:lnTo>
                      <a:pt x="166" y="100"/>
                    </a:lnTo>
                    <a:lnTo>
                      <a:pt x="168" y="102"/>
                    </a:lnTo>
                    <a:lnTo>
                      <a:pt x="168" y="102"/>
                    </a:lnTo>
                    <a:lnTo>
                      <a:pt x="168" y="104"/>
                    </a:lnTo>
                    <a:lnTo>
                      <a:pt x="164" y="112"/>
                    </a:lnTo>
                    <a:lnTo>
                      <a:pt x="166" y="122"/>
                    </a:lnTo>
                    <a:lnTo>
                      <a:pt x="172" y="122"/>
                    </a:lnTo>
                    <a:lnTo>
                      <a:pt x="172" y="122"/>
                    </a:lnTo>
                    <a:lnTo>
                      <a:pt x="174" y="124"/>
                    </a:lnTo>
                    <a:lnTo>
                      <a:pt x="174" y="132"/>
                    </a:lnTo>
                    <a:lnTo>
                      <a:pt x="174" y="132"/>
                    </a:lnTo>
                    <a:lnTo>
                      <a:pt x="172" y="134"/>
                    </a:lnTo>
                    <a:lnTo>
                      <a:pt x="166" y="136"/>
                    </a:lnTo>
                    <a:lnTo>
                      <a:pt x="162" y="142"/>
                    </a:lnTo>
                    <a:lnTo>
                      <a:pt x="162" y="142"/>
                    </a:lnTo>
                    <a:lnTo>
                      <a:pt x="162" y="142"/>
                    </a:lnTo>
                    <a:lnTo>
                      <a:pt x="152" y="146"/>
                    </a:lnTo>
                    <a:lnTo>
                      <a:pt x="152" y="146"/>
                    </a:lnTo>
                    <a:lnTo>
                      <a:pt x="152" y="146"/>
                    </a:lnTo>
                    <a:lnTo>
                      <a:pt x="152" y="146"/>
                    </a:lnTo>
                    <a:lnTo>
                      <a:pt x="152" y="146"/>
                    </a:lnTo>
                    <a:lnTo>
                      <a:pt x="140" y="140"/>
                    </a:lnTo>
                    <a:lnTo>
                      <a:pt x="132" y="140"/>
                    </a:lnTo>
                    <a:lnTo>
                      <a:pt x="122" y="138"/>
                    </a:lnTo>
                    <a:lnTo>
                      <a:pt x="114" y="140"/>
                    </a:lnTo>
                    <a:lnTo>
                      <a:pt x="110" y="146"/>
                    </a:lnTo>
                    <a:lnTo>
                      <a:pt x="110" y="154"/>
                    </a:lnTo>
                    <a:lnTo>
                      <a:pt x="110" y="154"/>
                    </a:lnTo>
                    <a:lnTo>
                      <a:pt x="108" y="156"/>
                    </a:lnTo>
                    <a:lnTo>
                      <a:pt x="94"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4" name="Freeform 545"/>
              <p:cNvSpPr>
                <a:spLocks noEditPoints="1"/>
              </p:cNvSpPr>
              <p:nvPr/>
            </p:nvSpPr>
            <p:spPr bwMode="auto">
              <a:xfrm>
                <a:off x="2795" y="1727"/>
                <a:ext cx="186" cy="160"/>
              </a:xfrm>
              <a:custGeom>
                <a:avLst/>
                <a:gdLst>
                  <a:gd name="T0" fmla="*/ 136 w 186"/>
                  <a:gd name="T1" fmla="*/ 24 h 160"/>
                  <a:gd name="T2" fmla="*/ 162 w 186"/>
                  <a:gd name="T3" fmla="*/ 36 h 160"/>
                  <a:gd name="T4" fmla="*/ 176 w 186"/>
                  <a:gd name="T5" fmla="*/ 52 h 160"/>
                  <a:gd name="T6" fmla="*/ 168 w 186"/>
                  <a:gd name="T7" fmla="*/ 68 h 160"/>
                  <a:gd name="T8" fmla="*/ 166 w 186"/>
                  <a:gd name="T9" fmla="*/ 96 h 160"/>
                  <a:gd name="T10" fmla="*/ 166 w 186"/>
                  <a:gd name="T11" fmla="*/ 126 h 160"/>
                  <a:gd name="T12" fmla="*/ 162 w 186"/>
                  <a:gd name="T13" fmla="*/ 142 h 160"/>
                  <a:gd name="T14" fmla="*/ 124 w 186"/>
                  <a:gd name="T15" fmla="*/ 138 h 160"/>
                  <a:gd name="T16" fmla="*/ 96 w 186"/>
                  <a:gd name="T17" fmla="*/ 156 h 160"/>
                  <a:gd name="T18" fmla="*/ 46 w 186"/>
                  <a:gd name="T19" fmla="*/ 140 h 160"/>
                  <a:gd name="T20" fmla="*/ 60 w 186"/>
                  <a:gd name="T21" fmla="*/ 106 h 160"/>
                  <a:gd name="T22" fmla="*/ 34 w 186"/>
                  <a:gd name="T23" fmla="*/ 70 h 160"/>
                  <a:gd name="T24" fmla="*/ 4 w 186"/>
                  <a:gd name="T25" fmla="*/ 56 h 160"/>
                  <a:gd name="T26" fmla="*/ 26 w 186"/>
                  <a:gd name="T27" fmla="*/ 46 h 160"/>
                  <a:gd name="T28" fmla="*/ 50 w 186"/>
                  <a:gd name="T29" fmla="*/ 44 h 160"/>
                  <a:gd name="T30" fmla="*/ 58 w 186"/>
                  <a:gd name="T31" fmla="*/ 36 h 160"/>
                  <a:gd name="T32" fmla="*/ 96 w 186"/>
                  <a:gd name="T33" fmla="*/ 20 h 160"/>
                  <a:gd name="T34" fmla="*/ 104 w 186"/>
                  <a:gd name="T35" fmla="*/ 0 h 160"/>
                  <a:gd name="T36" fmla="*/ 92 w 186"/>
                  <a:gd name="T37" fmla="*/ 4 h 160"/>
                  <a:gd name="T38" fmla="*/ 74 w 186"/>
                  <a:gd name="T39" fmla="*/ 24 h 160"/>
                  <a:gd name="T40" fmla="*/ 58 w 186"/>
                  <a:gd name="T41" fmla="*/ 32 h 160"/>
                  <a:gd name="T42" fmla="*/ 46 w 186"/>
                  <a:gd name="T43" fmla="*/ 26 h 160"/>
                  <a:gd name="T44" fmla="*/ 42 w 186"/>
                  <a:gd name="T45" fmla="*/ 32 h 160"/>
                  <a:gd name="T46" fmla="*/ 40 w 186"/>
                  <a:gd name="T47" fmla="*/ 44 h 160"/>
                  <a:gd name="T48" fmla="*/ 36 w 186"/>
                  <a:gd name="T49" fmla="*/ 44 h 160"/>
                  <a:gd name="T50" fmla="*/ 26 w 186"/>
                  <a:gd name="T51" fmla="*/ 42 h 160"/>
                  <a:gd name="T52" fmla="*/ 10 w 186"/>
                  <a:gd name="T53" fmla="*/ 44 h 160"/>
                  <a:gd name="T54" fmla="*/ 4 w 186"/>
                  <a:gd name="T55" fmla="*/ 46 h 160"/>
                  <a:gd name="T56" fmla="*/ 0 w 186"/>
                  <a:gd name="T57" fmla="*/ 60 h 160"/>
                  <a:gd name="T58" fmla="*/ 18 w 186"/>
                  <a:gd name="T59" fmla="*/ 66 h 160"/>
                  <a:gd name="T60" fmla="*/ 38 w 186"/>
                  <a:gd name="T61" fmla="*/ 84 h 160"/>
                  <a:gd name="T62" fmla="*/ 54 w 186"/>
                  <a:gd name="T63" fmla="*/ 102 h 160"/>
                  <a:gd name="T64" fmla="*/ 48 w 186"/>
                  <a:gd name="T65" fmla="*/ 106 h 160"/>
                  <a:gd name="T66" fmla="*/ 42 w 186"/>
                  <a:gd name="T67" fmla="*/ 130 h 160"/>
                  <a:gd name="T68" fmla="*/ 46 w 186"/>
                  <a:gd name="T69" fmla="*/ 144 h 160"/>
                  <a:gd name="T70" fmla="*/ 74 w 186"/>
                  <a:gd name="T71" fmla="*/ 156 h 160"/>
                  <a:gd name="T72" fmla="*/ 94 w 186"/>
                  <a:gd name="T73" fmla="*/ 158 h 160"/>
                  <a:gd name="T74" fmla="*/ 110 w 186"/>
                  <a:gd name="T75" fmla="*/ 160 h 160"/>
                  <a:gd name="T76" fmla="*/ 118 w 186"/>
                  <a:gd name="T77" fmla="*/ 144 h 160"/>
                  <a:gd name="T78" fmla="*/ 152 w 186"/>
                  <a:gd name="T79" fmla="*/ 150 h 160"/>
                  <a:gd name="T80" fmla="*/ 156 w 186"/>
                  <a:gd name="T81" fmla="*/ 150 h 160"/>
                  <a:gd name="T82" fmla="*/ 170 w 186"/>
                  <a:gd name="T83" fmla="*/ 140 h 160"/>
                  <a:gd name="T84" fmla="*/ 178 w 186"/>
                  <a:gd name="T85" fmla="*/ 134 h 160"/>
                  <a:gd name="T86" fmla="*/ 174 w 186"/>
                  <a:gd name="T87" fmla="*/ 122 h 160"/>
                  <a:gd name="T88" fmla="*/ 172 w 186"/>
                  <a:gd name="T89" fmla="*/ 108 h 160"/>
                  <a:gd name="T90" fmla="*/ 170 w 186"/>
                  <a:gd name="T91" fmla="*/ 88 h 160"/>
                  <a:gd name="T92" fmla="*/ 160 w 186"/>
                  <a:gd name="T93" fmla="*/ 84 h 160"/>
                  <a:gd name="T94" fmla="*/ 172 w 186"/>
                  <a:gd name="T95" fmla="*/ 72 h 160"/>
                  <a:gd name="T96" fmla="*/ 178 w 186"/>
                  <a:gd name="T97" fmla="*/ 66 h 160"/>
                  <a:gd name="T98" fmla="*/ 186 w 186"/>
                  <a:gd name="T99" fmla="*/ 44 h 160"/>
                  <a:gd name="T100" fmla="*/ 180 w 186"/>
                  <a:gd name="T101" fmla="*/ 34 h 160"/>
                  <a:gd name="T102" fmla="*/ 164 w 186"/>
                  <a:gd name="T103" fmla="*/ 32 h 160"/>
                  <a:gd name="T104" fmla="*/ 146 w 186"/>
                  <a:gd name="T105" fmla="*/ 28 h 160"/>
                  <a:gd name="T106" fmla="*/ 138 w 186"/>
                  <a:gd name="T107" fmla="*/ 20 h 160"/>
                  <a:gd name="T108" fmla="*/ 108 w 186"/>
                  <a:gd name="T10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60">
                    <a:moveTo>
                      <a:pt x="104" y="4"/>
                    </a:moveTo>
                    <a:lnTo>
                      <a:pt x="114" y="10"/>
                    </a:lnTo>
                    <a:lnTo>
                      <a:pt x="126" y="22"/>
                    </a:lnTo>
                    <a:lnTo>
                      <a:pt x="136" y="24"/>
                    </a:lnTo>
                    <a:lnTo>
                      <a:pt x="138" y="28"/>
                    </a:lnTo>
                    <a:lnTo>
                      <a:pt x="146" y="32"/>
                    </a:lnTo>
                    <a:lnTo>
                      <a:pt x="156" y="32"/>
                    </a:lnTo>
                    <a:lnTo>
                      <a:pt x="162" y="36"/>
                    </a:lnTo>
                    <a:lnTo>
                      <a:pt x="164" y="38"/>
                    </a:lnTo>
                    <a:lnTo>
                      <a:pt x="180" y="38"/>
                    </a:lnTo>
                    <a:lnTo>
                      <a:pt x="182" y="42"/>
                    </a:lnTo>
                    <a:lnTo>
                      <a:pt x="176" y="52"/>
                    </a:lnTo>
                    <a:lnTo>
                      <a:pt x="174" y="60"/>
                    </a:lnTo>
                    <a:lnTo>
                      <a:pt x="174" y="66"/>
                    </a:lnTo>
                    <a:lnTo>
                      <a:pt x="172" y="68"/>
                    </a:lnTo>
                    <a:lnTo>
                      <a:pt x="168" y="68"/>
                    </a:lnTo>
                    <a:lnTo>
                      <a:pt x="160" y="78"/>
                    </a:lnTo>
                    <a:lnTo>
                      <a:pt x="152" y="88"/>
                    </a:lnTo>
                    <a:lnTo>
                      <a:pt x="166" y="88"/>
                    </a:lnTo>
                    <a:lnTo>
                      <a:pt x="166" y="96"/>
                    </a:lnTo>
                    <a:lnTo>
                      <a:pt x="166" y="102"/>
                    </a:lnTo>
                    <a:lnTo>
                      <a:pt x="168" y="106"/>
                    </a:lnTo>
                    <a:lnTo>
                      <a:pt x="164" y="112"/>
                    </a:lnTo>
                    <a:lnTo>
                      <a:pt x="166" y="126"/>
                    </a:lnTo>
                    <a:lnTo>
                      <a:pt x="174" y="126"/>
                    </a:lnTo>
                    <a:lnTo>
                      <a:pt x="174" y="134"/>
                    </a:lnTo>
                    <a:lnTo>
                      <a:pt x="166" y="136"/>
                    </a:lnTo>
                    <a:lnTo>
                      <a:pt x="162" y="142"/>
                    </a:lnTo>
                    <a:lnTo>
                      <a:pt x="154" y="146"/>
                    </a:lnTo>
                    <a:lnTo>
                      <a:pt x="144" y="140"/>
                    </a:lnTo>
                    <a:lnTo>
                      <a:pt x="134" y="140"/>
                    </a:lnTo>
                    <a:lnTo>
                      <a:pt x="124" y="138"/>
                    </a:lnTo>
                    <a:lnTo>
                      <a:pt x="116" y="140"/>
                    </a:lnTo>
                    <a:lnTo>
                      <a:pt x="110" y="146"/>
                    </a:lnTo>
                    <a:lnTo>
                      <a:pt x="110" y="156"/>
                    </a:lnTo>
                    <a:lnTo>
                      <a:pt x="96" y="156"/>
                    </a:lnTo>
                    <a:lnTo>
                      <a:pt x="84" y="150"/>
                    </a:lnTo>
                    <a:lnTo>
                      <a:pt x="74" y="152"/>
                    </a:lnTo>
                    <a:lnTo>
                      <a:pt x="60" y="146"/>
                    </a:lnTo>
                    <a:lnTo>
                      <a:pt x="46" y="140"/>
                    </a:lnTo>
                    <a:lnTo>
                      <a:pt x="46" y="130"/>
                    </a:lnTo>
                    <a:lnTo>
                      <a:pt x="52" y="116"/>
                    </a:lnTo>
                    <a:lnTo>
                      <a:pt x="52" y="106"/>
                    </a:lnTo>
                    <a:lnTo>
                      <a:pt x="60" y="106"/>
                    </a:lnTo>
                    <a:lnTo>
                      <a:pt x="52" y="90"/>
                    </a:lnTo>
                    <a:lnTo>
                      <a:pt x="42" y="82"/>
                    </a:lnTo>
                    <a:lnTo>
                      <a:pt x="40" y="76"/>
                    </a:lnTo>
                    <a:lnTo>
                      <a:pt x="34" y="70"/>
                    </a:lnTo>
                    <a:lnTo>
                      <a:pt x="26" y="66"/>
                    </a:lnTo>
                    <a:lnTo>
                      <a:pt x="18" y="62"/>
                    </a:lnTo>
                    <a:lnTo>
                      <a:pt x="8" y="62"/>
                    </a:lnTo>
                    <a:lnTo>
                      <a:pt x="4" y="56"/>
                    </a:lnTo>
                    <a:lnTo>
                      <a:pt x="4" y="50"/>
                    </a:lnTo>
                    <a:lnTo>
                      <a:pt x="10" y="48"/>
                    </a:lnTo>
                    <a:lnTo>
                      <a:pt x="18" y="46"/>
                    </a:lnTo>
                    <a:lnTo>
                      <a:pt x="26" y="46"/>
                    </a:lnTo>
                    <a:lnTo>
                      <a:pt x="32" y="52"/>
                    </a:lnTo>
                    <a:lnTo>
                      <a:pt x="38" y="48"/>
                    </a:lnTo>
                    <a:lnTo>
                      <a:pt x="46" y="50"/>
                    </a:lnTo>
                    <a:lnTo>
                      <a:pt x="50" y="44"/>
                    </a:lnTo>
                    <a:lnTo>
                      <a:pt x="46" y="36"/>
                    </a:lnTo>
                    <a:lnTo>
                      <a:pt x="46" y="30"/>
                    </a:lnTo>
                    <a:lnTo>
                      <a:pt x="50" y="30"/>
                    </a:lnTo>
                    <a:lnTo>
                      <a:pt x="58" y="36"/>
                    </a:lnTo>
                    <a:lnTo>
                      <a:pt x="70" y="34"/>
                    </a:lnTo>
                    <a:lnTo>
                      <a:pt x="76" y="28"/>
                    </a:lnTo>
                    <a:lnTo>
                      <a:pt x="88" y="22"/>
                    </a:lnTo>
                    <a:lnTo>
                      <a:pt x="96" y="20"/>
                    </a:lnTo>
                    <a:lnTo>
                      <a:pt x="96" y="8"/>
                    </a:lnTo>
                    <a:lnTo>
                      <a:pt x="104" y="4"/>
                    </a:lnTo>
                    <a:close/>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5" name="Freeform 546"/>
              <p:cNvSpPr>
                <a:spLocks/>
              </p:cNvSpPr>
              <p:nvPr/>
            </p:nvSpPr>
            <p:spPr bwMode="auto">
              <a:xfrm>
                <a:off x="2799" y="1731"/>
                <a:ext cx="178" cy="152"/>
              </a:xfrm>
              <a:custGeom>
                <a:avLst/>
                <a:gdLst>
                  <a:gd name="T0" fmla="*/ 110 w 178"/>
                  <a:gd name="T1" fmla="*/ 6 h 152"/>
                  <a:gd name="T2" fmla="*/ 132 w 178"/>
                  <a:gd name="T3" fmla="*/ 20 h 152"/>
                  <a:gd name="T4" fmla="*/ 142 w 178"/>
                  <a:gd name="T5" fmla="*/ 28 h 152"/>
                  <a:gd name="T6" fmla="*/ 158 w 178"/>
                  <a:gd name="T7" fmla="*/ 32 h 152"/>
                  <a:gd name="T8" fmla="*/ 176 w 178"/>
                  <a:gd name="T9" fmla="*/ 34 h 152"/>
                  <a:gd name="T10" fmla="*/ 172 w 178"/>
                  <a:gd name="T11" fmla="*/ 48 h 152"/>
                  <a:gd name="T12" fmla="*/ 170 w 178"/>
                  <a:gd name="T13" fmla="*/ 62 h 152"/>
                  <a:gd name="T14" fmla="*/ 164 w 178"/>
                  <a:gd name="T15" fmla="*/ 64 h 152"/>
                  <a:gd name="T16" fmla="*/ 148 w 178"/>
                  <a:gd name="T17" fmla="*/ 84 h 152"/>
                  <a:gd name="T18" fmla="*/ 162 w 178"/>
                  <a:gd name="T19" fmla="*/ 92 h 152"/>
                  <a:gd name="T20" fmla="*/ 164 w 178"/>
                  <a:gd name="T21" fmla="*/ 102 h 152"/>
                  <a:gd name="T22" fmla="*/ 162 w 178"/>
                  <a:gd name="T23" fmla="*/ 122 h 152"/>
                  <a:gd name="T24" fmla="*/ 170 w 178"/>
                  <a:gd name="T25" fmla="*/ 130 h 152"/>
                  <a:gd name="T26" fmla="*/ 158 w 178"/>
                  <a:gd name="T27" fmla="*/ 138 h 152"/>
                  <a:gd name="T28" fmla="*/ 140 w 178"/>
                  <a:gd name="T29" fmla="*/ 136 h 152"/>
                  <a:gd name="T30" fmla="*/ 120 w 178"/>
                  <a:gd name="T31" fmla="*/ 134 h 152"/>
                  <a:gd name="T32" fmla="*/ 106 w 178"/>
                  <a:gd name="T33" fmla="*/ 142 h 152"/>
                  <a:gd name="T34" fmla="*/ 92 w 178"/>
                  <a:gd name="T35" fmla="*/ 152 h 152"/>
                  <a:gd name="T36" fmla="*/ 70 w 178"/>
                  <a:gd name="T37" fmla="*/ 148 h 152"/>
                  <a:gd name="T38" fmla="*/ 42 w 178"/>
                  <a:gd name="T39" fmla="*/ 136 h 152"/>
                  <a:gd name="T40" fmla="*/ 48 w 178"/>
                  <a:gd name="T41" fmla="*/ 112 h 152"/>
                  <a:gd name="T42" fmla="*/ 56 w 178"/>
                  <a:gd name="T43" fmla="*/ 102 h 152"/>
                  <a:gd name="T44" fmla="*/ 38 w 178"/>
                  <a:gd name="T45" fmla="*/ 78 h 152"/>
                  <a:gd name="T46" fmla="*/ 30 w 178"/>
                  <a:gd name="T47" fmla="*/ 66 h 152"/>
                  <a:gd name="T48" fmla="*/ 14 w 178"/>
                  <a:gd name="T49" fmla="*/ 58 h 152"/>
                  <a:gd name="T50" fmla="*/ 0 w 178"/>
                  <a:gd name="T51" fmla="*/ 52 h 152"/>
                  <a:gd name="T52" fmla="*/ 6 w 178"/>
                  <a:gd name="T53" fmla="*/ 44 h 152"/>
                  <a:gd name="T54" fmla="*/ 22 w 178"/>
                  <a:gd name="T55" fmla="*/ 42 h 152"/>
                  <a:gd name="T56" fmla="*/ 34 w 178"/>
                  <a:gd name="T57" fmla="*/ 44 h 152"/>
                  <a:gd name="T58" fmla="*/ 46 w 178"/>
                  <a:gd name="T59" fmla="*/ 40 h 152"/>
                  <a:gd name="T60" fmla="*/ 42 w 178"/>
                  <a:gd name="T61" fmla="*/ 26 h 152"/>
                  <a:gd name="T62" fmla="*/ 54 w 178"/>
                  <a:gd name="T63" fmla="*/ 32 h 152"/>
                  <a:gd name="T64" fmla="*/ 72 w 178"/>
                  <a:gd name="T65" fmla="*/ 24 h 152"/>
                  <a:gd name="T66" fmla="*/ 92 w 178"/>
                  <a:gd name="T67" fmla="*/ 16 h 152"/>
                  <a:gd name="T68" fmla="*/ 100 w 178"/>
                  <a:gd name="T6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152">
                    <a:moveTo>
                      <a:pt x="100" y="0"/>
                    </a:moveTo>
                    <a:lnTo>
                      <a:pt x="110" y="6"/>
                    </a:lnTo>
                    <a:lnTo>
                      <a:pt x="122" y="18"/>
                    </a:lnTo>
                    <a:lnTo>
                      <a:pt x="132" y="20"/>
                    </a:lnTo>
                    <a:lnTo>
                      <a:pt x="134" y="24"/>
                    </a:lnTo>
                    <a:lnTo>
                      <a:pt x="142" y="28"/>
                    </a:lnTo>
                    <a:lnTo>
                      <a:pt x="152" y="28"/>
                    </a:lnTo>
                    <a:lnTo>
                      <a:pt x="158" y="32"/>
                    </a:lnTo>
                    <a:lnTo>
                      <a:pt x="160" y="34"/>
                    </a:lnTo>
                    <a:lnTo>
                      <a:pt x="176" y="34"/>
                    </a:lnTo>
                    <a:lnTo>
                      <a:pt x="178" y="38"/>
                    </a:lnTo>
                    <a:lnTo>
                      <a:pt x="172" y="48"/>
                    </a:lnTo>
                    <a:lnTo>
                      <a:pt x="170" y="56"/>
                    </a:lnTo>
                    <a:lnTo>
                      <a:pt x="170" y="62"/>
                    </a:lnTo>
                    <a:lnTo>
                      <a:pt x="168" y="64"/>
                    </a:lnTo>
                    <a:lnTo>
                      <a:pt x="164" y="64"/>
                    </a:lnTo>
                    <a:lnTo>
                      <a:pt x="156" y="74"/>
                    </a:lnTo>
                    <a:lnTo>
                      <a:pt x="148" y="84"/>
                    </a:lnTo>
                    <a:lnTo>
                      <a:pt x="162" y="84"/>
                    </a:lnTo>
                    <a:lnTo>
                      <a:pt x="162" y="92"/>
                    </a:lnTo>
                    <a:lnTo>
                      <a:pt x="162" y="98"/>
                    </a:lnTo>
                    <a:lnTo>
                      <a:pt x="164" y="102"/>
                    </a:lnTo>
                    <a:lnTo>
                      <a:pt x="160" y="108"/>
                    </a:lnTo>
                    <a:lnTo>
                      <a:pt x="162" y="122"/>
                    </a:lnTo>
                    <a:lnTo>
                      <a:pt x="170" y="122"/>
                    </a:lnTo>
                    <a:lnTo>
                      <a:pt x="170" y="130"/>
                    </a:lnTo>
                    <a:lnTo>
                      <a:pt x="162" y="132"/>
                    </a:lnTo>
                    <a:lnTo>
                      <a:pt x="158" y="138"/>
                    </a:lnTo>
                    <a:lnTo>
                      <a:pt x="150" y="142"/>
                    </a:lnTo>
                    <a:lnTo>
                      <a:pt x="140" y="136"/>
                    </a:lnTo>
                    <a:lnTo>
                      <a:pt x="130" y="136"/>
                    </a:lnTo>
                    <a:lnTo>
                      <a:pt x="120" y="134"/>
                    </a:lnTo>
                    <a:lnTo>
                      <a:pt x="112" y="136"/>
                    </a:lnTo>
                    <a:lnTo>
                      <a:pt x="106" y="142"/>
                    </a:lnTo>
                    <a:lnTo>
                      <a:pt x="106" y="152"/>
                    </a:lnTo>
                    <a:lnTo>
                      <a:pt x="92" y="152"/>
                    </a:lnTo>
                    <a:lnTo>
                      <a:pt x="80" y="146"/>
                    </a:lnTo>
                    <a:lnTo>
                      <a:pt x="70" y="148"/>
                    </a:lnTo>
                    <a:lnTo>
                      <a:pt x="56" y="142"/>
                    </a:lnTo>
                    <a:lnTo>
                      <a:pt x="42" y="136"/>
                    </a:lnTo>
                    <a:lnTo>
                      <a:pt x="42" y="126"/>
                    </a:lnTo>
                    <a:lnTo>
                      <a:pt x="48" y="112"/>
                    </a:lnTo>
                    <a:lnTo>
                      <a:pt x="48" y="102"/>
                    </a:lnTo>
                    <a:lnTo>
                      <a:pt x="56" y="102"/>
                    </a:lnTo>
                    <a:lnTo>
                      <a:pt x="48" y="86"/>
                    </a:lnTo>
                    <a:lnTo>
                      <a:pt x="38" y="78"/>
                    </a:lnTo>
                    <a:lnTo>
                      <a:pt x="36" y="72"/>
                    </a:lnTo>
                    <a:lnTo>
                      <a:pt x="30" y="66"/>
                    </a:lnTo>
                    <a:lnTo>
                      <a:pt x="22" y="62"/>
                    </a:lnTo>
                    <a:lnTo>
                      <a:pt x="14" y="58"/>
                    </a:lnTo>
                    <a:lnTo>
                      <a:pt x="4" y="58"/>
                    </a:lnTo>
                    <a:lnTo>
                      <a:pt x="0" y="52"/>
                    </a:lnTo>
                    <a:lnTo>
                      <a:pt x="0" y="46"/>
                    </a:lnTo>
                    <a:lnTo>
                      <a:pt x="6" y="44"/>
                    </a:lnTo>
                    <a:lnTo>
                      <a:pt x="14" y="42"/>
                    </a:lnTo>
                    <a:lnTo>
                      <a:pt x="22" y="42"/>
                    </a:lnTo>
                    <a:lnTo>
                      <a:pt x="28" y="48"/>
                    </a:lnTo>
                    <a:lnTo>
                      <a:pt x="34" y="44"/>
                    </a:lnTo>
                    <a:lnTo>
                      <a:pt x="42" y="46"/>
                    </a:lnTo>
                    <a:lnTo>
                      <a:pt x="46" y="40"/>
                    </a:lnTo>
                    <a:lnTo>
                      <a:pt x="42" y="32"/>
                    </a:lnTo>
                    <a:lnTo>
                      <a:pt x="42" y="26"/>
                    </a:lnTo>
                    <a:lnTo>
                      <a:pt x="46" y="26"/>
                    </a:lnTo>
                    <a:lnTo>
                      <a:pt x="54" y="32"/>
                    </a:lnTo>
                    <a:lnTo>
                      <a:pt x="66" y="30"/>
                    </a:lnTo>
                    <a:lnTo>
                      <a:pt x="72" y="24"/>
                    </a:lnTo>
                    <a:lnTo>
                      <a:pt x="84" y="18"/>
                    </a:lnTo>
                    <a:lnTo>
                      <a:pt x="92" y="16"/>
                    </a:lnTo>
                    <a:lnTo>
                      <a:pt x="92" y="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6" name="Freeform 547"/>
              <p:cNvSpPr>
                <a:spLocks/>
              </p:cNvSpPr>
              <p:nvPr/>
            </p:nvSpPr>
            <p:spPr bwMode="auto">
              <a:xfrm>
                <a:off x="2795" y="1727"/>
                <a:ext cx="186" cy="160"/>
              </a:xfrm>
              <a:custGeom>
                <a:avLst/>
                <a:gdLst>
                  <a:gd name="T0" fmla="*/ 104 w 186"/>
                  <a:gd name="T1" fmla="*/ 0 h 160"/>
                  <a:gd name="T2" fmla="*/ 92 w 186"/>
                  <a:gd name="T3" fmla="*/ 4 h 160"/>
                  <a:gd name="T4" fmla="*/ 86 w 186"/>
                  <a:gd name="T5" fmla="*/ 20 h 160"/>
                  <a:gd name="T6" fmla="*/ 74 w 186"/>
                  <a:gd name="T7" fmla="*/ 26 h 160"/>
                  <a:gd name="T8" fmla="*/ 52 w 186"/>
                  <a:gd name="T9" fmla="*/ 26 h 160"/>
                  <a:gd name="T10" fmla="*/ 46 w 186"/>
                  <a:gd name="T11" fmla="*/ 26 h 160"/>
                  <a:gd name="T12" fmla="*/ 42 w 186"/>
                  <a:gd name="T13" fmla="*/ 28 h 160"/>
                  <a:gd name="T14" fmla="*/ 46 w 186"/>
                  <a:gd name="T15" fmla="*/ 44 h 160"/>
                  <a:gd name="T16" fmla="*/ 40 w 186"/>
                  <a:gd name="T17" fmla="*/ 44 h 160"/>
                  <a:gd name="T18" fmla="*/ 36 w 186"/>
                  <a:gd name="T19" fmla="*/ 44 h 160"/>
                  <a:gd name="T20" fmla="*/ 28 w 186"/>
                  <a:gd name="T21" fmla="*/ 44 h 160"/>
                  <a:gd name="T22" fmla="*/ 18 w 186"/>
                  <a:gd name="T23" fmla="*/ 42 h 160"/>
                  <a:gd name="T24" fmla="*/ 10 w 186"/>
                  <a:gd name="T25" fmla="*/ 44 h 160"/>
                  <a:gd name="T26" fmla="*/ 4 w 186"/>
                  <a:gd name="T27" fmla="*/ 46 h 160"/>
                  <a:gd name="T28" fmla="*/ 0 w 186"/>
                  <a:gd name="T29" fmla="*/ 56 h 160"/>
                  <a:gd name="T30" fmla="*/ 6 w 186"/>
                  <a:gd name="T31" fmla="*/ 64 h 160"/>
                  <a:gd name="T32" fmla="*/ 24 w 186"/>
                  <a:gd name="T33" fmla="*/ 68 h 160"/>
                  <a:gd name="T34" fmla="*/ 38 w 186"/>
                  <a:gd name="T35" fmla="*/ 84 h 160"/>
                  <a:gd name="T36" fmla="*/ 48 w 186"/>
                  <a:gd name="T37" fmla="*/ 92 h 160"/>
                  <a:gd name="T38" fmla="*/ 52 w 186"/>
                  <a:gd name="T39" fmla="*/ 102 h 160"/>
                  <a:gd name="T40" fmla="*/ 48 w 186"/>
                  <a:gd name="T41" fmla="*/ 116 h 160"/>
                  <a:gd name="T42" fmla="*/ 42 w 186"/>
                  <a:gd name="T43" fmla="*/ 130 h 160"/>
                  <a:gd name="T44" fmla="*/ 44 w 186"/>
                  <a:gd name="T45" fmla="*/ 144 h 160"/>
                  <a:gd name="T46" fmla="*/ 72 w 186"/>
                  <a:gd name="T47" fmla="*/ 156 h 160"/>
                  <a:gd name="T48" fmla="*/ 74 w 186"/>
                  <a:gd name="T49" fmla="*/ 156 h 160"/>
                  <a:gd name="T50" fmla="*/ 94 w 186"/>
                  <a:gd name="T51" fmla="*/ 158 h 160"/>
                  <a:gd name="T52" fmla="*/ 110 w 186"/>
                  <a:gd name="T53" fmla="*/ 160 h 160"/>
                  <a:gd name="T54" fmla="*/ 114 w 186"/>
                  <a:gd name="T55" fmla="*/ 156 h 160"/>
                  <a:gd name="T56" fmla="*/ 124 w 186"/>
                  <a:gd name="T57" fmla="*/ 142 h 160"/>
                  <a:gd name="T58" fmla="*/ 152 w 186"/>
                  <a:gd name="T59" fmla="*/ 150 h 160"/>
                  <a:gd name="T60" fmla="*/ 154 w 186"/>
                  <a:gd name="T61" fmla="*/ 150 h 160"/>
                  <a:gd name="T62" fmla="*/ 164 w 186"/>
                  <a:gd name="T63" fmla="*/ 146 h 160"/>
                  <a:gd name="T64" fmla="*/ 174 w 186"/>
                  <a:gd name="T65" fmla="*/ 138 h 160"/>
                  <a:gd name="T66" fmla="*/ 178 w 186"/>
                  <a:gd name="T67" fmla="*/ 134 h 160"/>
                  <a:gd name="T68" fmla="*/ 176 w 186"/>
                  <a:gd name="T69" fmla="*/ 124 h 160"/>
                  <a:gd name="T70" fmla="*/ 168 w 186"/>
                  <a:gd name="T71" fmla="*/ 114 h 160"/>
                  <a:gd name="T72" fmla="*/ 172 w 186"/>
                  <a:gd name="T73" fmla="*/ 104 h 160"/>
                  <a:gd name="T74" fmla="*/ 170 w 186"/>
                  <a:gd name="T75" fmla="*/ 88 h 160"/>
                  <a:gd name="T76" fmla="*/ 166 w 186"/>
                  <a:gd name="T77" fmla="*/ 84 h 160"/>
                  <a:gd name="T78" fmla="*/ 170 w 186"/>
                  <a:gd name="T79" fmla="*/ 72 h 160"/>
                  <a:gd name="T80" fmla="*/ 176 w 186"/>
                  <a:gd name="T81" fmla="*/ 70 h 160"/>
                  <a:gd name="T82" fmla="*/ 178 w 186"/>
                  <a:gd name="T83" fmla="*/ 66 h 160"/>
                  <a:gd name="T84" fmla="*/ 186 w 186"/>
                  <a:gd name="T85" fmla="*/ 44 h 160"/>
                  <a:gd name="T86" fmla="*/ 184 w 186"/>
                  <a:gd name="T87" fmla="*/ 38 h 160"/>
                  <a:gd name="T88" fmla="*/ 166 w 186"/>
                  <a:gd name="T89" fmla="*/ 34 h 160"/>
                  <a:gd name="T90" fmla="*/ 164 w 186"/>
                  <a:gd name="T91" fmla="*/ 32 h 160"/>
                  <a:gd name="T92" fmla="*/ 156 w 186"/>
                  <a:gd name="T93" fmla="*/ 28 h 160"/>
                  <a:gd name="T94" fmla="*/ 140 w 186"/>
                  <a:gd name="T95" fmla="*/ 22 h 160"/>
                  <a:gd name="T96" fmla="*/ 128 w 186"/>
                  <a:gd name="T97" fmla="*/ 18 h 160"/>
                  <a:gd name="T98" fmla="*/ 108 w 186"/>
                  <a:gd name="T9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60">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7" name="Freeform 548"/>
              <p:cNvSpPr>
                <a:spLocks/>
              </p:cNvSpPr>
              <p:nvPr/>
            </p:nvSpPr>
            <p:spPr bwMode="auto">
              <a:xfrm>
                <a:off x="2751" y="1885"/>
                <a:ext cx="54" cy="88"/>
              </a:xfrm>
              <a:custGeom>
                <a:avLst/>
                <a:gdLst>
                  <a:gd name="T0" fmla="*/ 14 w 54"/>
                  <a:gd name="T1" fmla="*/ 88 h 88"/>
                  <a:gd name="T2" fmla="*/ 14 w 54"/>
                  <a:gd name="T3" fmla="*/ 88 h 88"/>
                  <a:gd name="T4" fmla="*/ 12 w 54"/>
                  <a:gd name="T5" fmla="*/ 86 h 88"/>
                  <a:gd name="T6" fmla="*/ 12 w 54"/>
                  <a:gd name="T7" fmla="*/ 68 h 88"/>
                  <a:gd name="T8" fmla="*/ 8 w 54"/>
                  <a:gd name="T9" fmla="*/ 66 h 88"/>
                  <a:gd name="T10" fmla="*/ 8 w 54"/>
                  <a:gd name="T11" fmla="*/ 66 h 88"/>
                  <a:gd name="T12" fmla="*/ 8 w 54"/>
                  <a:gd name="T13" fmla="*/ 66 h 88"/>
                  <a:gd name="T14" fmla="*/ 0 w 54"/>
                  <a:gd name="T15" fmla="*/ 56 h 88"/>
                  <a:gd name="T16" fmla="*/ 0 w 54"/>
                  <a:gd name="T17" fmla="*/ 56 h 88"/>
                  <a:gd name="T18" fmla="*/ 0 w 54"/>
                  <a:gd name="T19" fmla="*/ 54 h 88"/>
                  <a:gd name="T20" fmla="*/ 8 w 54"/>
                  <a:gd name="T21" fmla="*/ 46 h 88"/>
                  <a:gd name="T22" fmla="*/ 10 w 54"/>
                  <a:gd name="T23" fmla="*/ 38 h 88"/>
                  <a:gd name="T24" fmla="*/ 14 w 54"/>
                  <a:gd name="T25" fmla="*/ 26 h 88"/>
                  <a:gd name="T26" fmla="*/ 12 w 54"/>
                  <a:gd name="T27" fmla="*/ 16 h 88"/>
                  <a:gd name="T28" fmla="*/ 14 w 54"/>
                  <a:gd name="T29" fmla="*/ 2 h 88"/>
                  <a:gd name="T30" fmla="*/ 14 w 54"/>
                  <a:gd name="T31" fmla="*/ 2 h 88"/>
                  <a:gd name="T32" fmla="*/ 14 w 54"/>
                  <a:gd name="T33" fmla="*/ 2 h 88"/>
                  <a:gd name="T34" fmla="*/ 14 w 54"/>
                  <a:gd name="T35" fmla="*/ 2 h 88"/>
                  <a:gd name="T36" fmla="*/ 16 w 54"/>
                  <a:gd name="T37" fmla="*/ 0 h 88"/>
                  <a:gd name="T38" fmla="*/ 16 w 54"/>
                  <a:gd name="T39" fmla="*/ 0 h 88"/>
                  <a:gd name="T40" fmla="*/ 16 w 54"/>
                  <a:gd name="T41" fmla="*/ 0 h 88"/>
                  <a:gd name="T42" fmla="*/ 22 w 54"/>
                  <a:gd name="T43" fmla="*/ 2 h 88"/>
                  <a:gd name="T44" fmla="*/ 22 w 54"/>
                  <a:gd name="T45" fmla="*/ 2 h 88"/>
                  <a:gd name="T46" fmla="*/ 22 w 54"/>
                  <a:gd name="T47" fmla="*/ 2 h 88"/>
                  <a:gd name="T48" fmla="*/ 28 w 54"/>
                  <a:gd name="T49" fmla="*/ 8 h 88"/>
                  <a:gd name="T50" fmla="*/ 38 w 54"/>
                  <a:gd name="T51" fmla="*/ 6 h 88"/>
                  <a:gd name="T52" fmla="*/ 48 w 54"/>
                  <a:gd name="T53" fmla="*/ 6 h 88"/>
                  <a:gd name="T54" fmla="*/ 48 w 54"/>
                  <a:gd name="T55" fmla="*/ 6 h 88"/>
                  <a:gd name="T56" fmla="*/ 48 w 54"/>
                  <a:gd name="T57" fmla="*/ 6 h 88"/>
                  <a:gd name="T58" fmla="*/ 54 w 54"/>
                  <a:gd name="T59" fmla="*/ 14 h 88"/>
                  <a:gd name="T60" fmla="*/ 54 w 54"/>
                  <a:gd name="T61" fmla="*/ 14 h 88"/>
                  <a:gd name="T62" fmla="*/ 54 w 54"/>
                  <a:gd name="T63" fmla="*/ 16 h 88"/>
                  <a:gd name="T64" fmla="*/ 52 w 54"/>
                  <a:gd name="T65" fmla="*/ 20 h 88"/>
                  <a:gd name="T66" fmla="*/ 52 w 54"/>
                  <a:gd name="T67" fmla="*/ 20 h 88"/>
                  <a:gd name="T68" fmla="*/ 52 w 54"/>
                  <a:gd name="T69" fmla="*/ 22 h 88"/>
                  <a:gd name="T70" fmla="*/ 44 w 54"/>
                  <a:gd name="T71" fmla="*/ 24 h 88"/>
                  <a:gd name="T72" fmla="*/ 44 w 54"/>
                  <a:gd name="T73" fmla="*/ 44 h 88"/>
                  <a:gd name="T74" fmla="*/ 44 w 54"/>
                  <a:gd name="T75" fmla="*/ 44 h 88"/>
                  <a:gd name="T76" fmla="*/ 44 w 54"/>
                  <a:gd name="T77" fmla="*/ 44 h 88"/>
                  <a:gd name="T78" fmla="*/ 42 w 54"/>
                  <a:gd name="T79" fmla="*/ 48 h 88"/>
                  <a:gd name="T80" fmla="*/ 42 w 54"/>
                  <a:gd name="T81" fmla="*/ 48 h 88"/>
                  <a:gd name="T82" fmla="*/ 40 w 54"/>
                  <a:gd name="T83" fmla="*/ 48 h 88"/>
                  <a:gd name="T84" fmla="*/ 36 w 54"/>
                  <a:gd name="T85" fmla="*/ 52 h 88"/>
                  <a:gd name="T86" fmla="*/ 36 w 54"/>
                  <a:gd name="T87" fmla="*/ 52 h 88"/>
                  <a:gd name="T88" fmla="*/ 42 w 54"/>
                  <a:gd name="T89" fmla="*/ 60 h 88"/>
                  <a:gd name="T90" fmla="*/ 42 w 54"/>
                  <a:gd name="T91" fmla="*/ 60 h 88"/>
                  <a:gd name="T92" fmla="*/ 42 w 54"/>
                  <a:gd name="T93" fmla="*/ 60 h 88"/>
                  <a:gd name="T94" fmla="*/ 42 w 54"/>
                  <a:gd name="T95" fmla="*/ 60 h 88"/>
                  <a:gd name="T96" fmla="*/ 40 w 54"/>
                  <a:gd name="T97" fmla="*/ 62 h 88"/>
                  <a:gd name="T98" fmla="*/ 36 w 54"/>
                  <a:gd name="T99" fmla="*/ 64 h 88"/>
                  <a:gd name="T100" fmla="*/ 40 w 54"/>
                  <a:gd name="T101" fmla="*/ 74 h 88"/>
                  <a:gd name="T102" fmla="*/ 40 w 54"/>
                  <a:gd name="T103" fmla="*/ 74 h 88"/>
                  <a:gd name="T104" fmla="*/ 38 w 54"/>
                  <a:gd name="T105" fmla="*/ 76 h 88"/>
                  <a:gd name="T106" fmla="*/ 34 w 54"/>
                  <a:gd name="T107" fmla="*/ 78 h 88"/>
                  <a:gd name="T108" fmla="*/ 38 w 54"/>
                  <a:gd name="T109" fmla="*/ 86 h 88"/>
                  <a:gd name="T110" fmla="*/ 38 w 54"/>
                  <a:gd name="T111" fmla="*/ 86 h 88"/>
                  <a:gd name="T112" fmla="*/ 38 w 54"/>
                  <a:gd name="T113" fmla="*/ 88 h 88"/>
                  <a:gd name="T114" fmla="*/ 38 w 54"/>
                  <a:gd name="T115" fmla="*/ 88 h 88"/>
                  <a:gd name="T116" fmla="*/ 36 w 54"/>
                  <a:gd name="T117" fmla="*/ 88 h 88"/>
                  <a:gd name="T118" fmla="*/ 14 w 54"/>
                  <a:gd name="T1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88">
                    <a:moveTo>
                      <a:pt x="14" y="88"/>
                    </a:moveTo>
                    <a:lnTo>
                      <a:pt x="14" y="88"/>
                    </a:lnTo>
                    <a:lnTo>
                      <a:pt x="12" y="86"/>
                    </a:lnTo>
                    <a:lnTo>
                      <a:pt x="12" y="68"/>
                    </a:lnTo>
                    <a:lnTo>
                      <a:pt x="8" y="66"/>
                    </a:lnTo>
                    <a:lnTo>
                      <a:pt x="8" y="66"/>
                    </a:lnTo>
                    <a:lnTo>
                      <a:pt x="8" y="66"/>
                    </a:lnTo>
                    <a:lnTo>
                      <a:pt x="0" y="56"/>
                    </a:lnTo>
                    <a:lnTo>
                      <a:pt x="0" y="56"/>
                    </a:lnTo>
                    <a:lnTo>
                      <a:pt x="0" y="54"/>
                    </a:lnTo>
                    <a:lnTo>
                      <a:pt x="8" y="46"/>
                    </a:lnTo>
                    <a:lnTo>
                      <a:pt x="10" y="38"/>
                    </a:lnTo>
                    <a:lnTo>
                      <a:pt x="14" y="26"/>
                    </a:lnTo>
                    <a:lnTo>
                      <a:pt x="12" y="16"/>
                    </a:lnTo>
                    <a:lnTo>
                      <a:pt x="14" y="2"/>
                    </a:lnTo>
                    <a:lnTo>
                      <a:pt x="14" y="2"/>
                    </a:lnTo>
                    <a:lnTo>
                      <a:pt x="14" y="2"/>
                    </a:lnTo>
                    <a:lnTo>
                      <a:pt x="14" y="2"/>
                    </a:lnTo>
                    <a:lnTo>
                      <a:pt x="16" y="0"/>
                    </a:lnTo>
                    <a:lnTo>
                      <a:pt x="16" y="0"/>
                    </a:lnTo>
                    <a:lnTo>
                      <a:pt x="16" y="0"/>
                    </a:lnTo>
                    <a:lnTo>
                      <a:pt x="22" y="2"/>
                    </a:lnTo>
                    <a:lnTo>
                      <a:pt x="22" y="2"/>
                    </a:lnTo>
                    <a:lnTo>
                      <a:pt x="22" y="2"/>
                    </a:lnTo>
                    <a:lnTo>
                      <a:pt x="28" y="8"/>
                    </a:lnTo>
                    <a:lnTo>
                      <a:pt x="38" y="6"/>
                    </a:lnTo>
                    <a:lnTo>
                      <a:pt x="48" y="6"/>
                    </a:lnTo>
                    <a:lnTo>
                      <a:pt x="48" y="6"/>
                    </a:lnTo>
                    <a:lnTo>
                      <a:pt x="48" y="6"/>
                    </a:lnTo>
                    <a:lnTo>
                      <a:pt x="54" y="14"/>
                    </a:lnTo>
                    <a:lnTo>
                      <a:pt x="54" y="14"/>
                    </a:lnTo>
                    <a:lnTo>
                      <a:pt x="54" y="16"/>
                    </a:lnTo>
                    <a:lnTo>
                      <a:pt x="52" y="20"/>
                    </a:lnTo>
                    <a:lnTo>
                      <a:pt x="52" y="20"/>
                    </a:lnTo>
                    <a:lnTo>
                      <a:pt x="52" y="22"/>
                    </a:lnTo>
                    <a:lnTo>
                      <a:pt x="44" y="24"/>
                    </a:lnTo>
                    <a:lnTo>
                      <a:pt x="44" y="44"/>
                    </a:lnTo>
                    <a:lnTo>
                      <a:pt x="44" y="44"/>
                    </a:lnTo>
                    <a:lnTo>
                      <a:pt x="44" y="44"/>
                    </a:lnTo>
                    <a:lnTo>
                      <a:pt x="42" y="48"/>
                    </a:lnTo>
                    <a:lnTo>
                      <a:pt x="42" y="48"/>
                    </a:lnTo>
                    <a:lnTo>
                      <a:pt x="40" y="48"/>
                    </a:lnTo>
                    <a:lnTo>
                      <a:pt x="36" y="52"/>
                    </a:lnTo>
                    <a:lnTo>
                      <a:pt x="36" y="52"/>
                    </a:lnTo>
                    <a:lnTo>
                      <a:pt x="42" y="60"/>
                    </a:lnTo>
                    <a:lnTo>
                      <a:pt x="42" y="60"/>
                    </a:lnTo>
                    <a:lnTo>
                      <a:pt x="42" y="60"/>
                    </a:lnTo>
                    <a:lnTo>
                      <a:pt x="42" y="60"/>
                    </a:lnTo>
                    <a:lnTo>
                      <a:pt x="40" y="62"/>
                    </a:lnTo>
                    <a:lnTo>
                      <a:pt x="36" y="64"/>
                    </a:lnTo>
                    <a:lnTo>
                      <a:pt x="40" y="74"/>
                    </a:lnTo>
                    <a:lnTo>
                      <a:pt x="40" y="74"/>
                    </a:lnTo>
                    <a:lnTo>
                      <a:pt x="38" y="76"/>
                    </a:lnTo>
                    <a:lnTo>
                      <a:pt x="34" y="78"/>
                    </a:lnTo>
                    <a:lnTo>
                      <a:pt x="38" y="86"/>
                    </a:lnTo>
                    <a:lnTo>
                      <a:pt x="38" y="86"/>
                    </a:lnTo>
                    <a:lnTo>
                      <a:pt x="38" y="88"/>
                    </a:lnTo>
                    <a:lnTo>
                      <a:pt x="38" y="88"/>
                    </a:lnTo>
                    <a:lnTo>
                      <a:pt x="36" y="88"/>
                    </a:lnTo>
                    <a:lnTo>
                      <a:pt x="1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8" name="Freeform 549"/>
              <p:cNvSpPr>
                <a:spLocks noEditPoints="1"/>
              </p:cNvSpPr>
              <p:nvPr/>
            </p:nvSpPr>
            <p:spPr bwMode="auto">
              <a:xfrm>
                <a:off x="2749" y="1883"/>
                <a:ext cx="58" cy="92"/>
              </a:xfrm>
              <a:custGeom>
                <a:avLst/>
                <a:gdLst>
                  <a:gd name="T0" fmla="*/ 22 w 58"/>
                  <a:gd name="T1" fmla="*/ 6 h 92"/>
                  <a:gd name="T2" fmla="*/ 40 w 58"/>
                  <a:gd name="T3" fmla="*/ 10 h 92"/>
                  <a:gd name="T4" fmla="*/ 54 w 58"/>
                  <a:gd name="T5" fmla="*/ 16 h 92"/>
                  <a:gd name="T6" fmla="*/ 44 w 58"/>
                  <a:gd name="T7" fmla="*/ 24 h 92"/>
                  <a:gd name="T8" fmla="*/ 44 w 58"/>
                  <a:gd name="T9" fmla="*/ 46 h 92"/>
                  <a:gd name="T10" fmla="*/ 36 w 58"/>
                  <a:gd name="T11" fmla="*/ 52 h 92"/>
                  <a:gd name="T12" fmla="*/ 42 w 58"/>
                  <a:gd name="T13" fmla="*/ 62 h 92"/>
                  <a:gd name="T14" fmla="*/ 38 w 58"/>
                  <a:gd name="T15" fmla="*/ 72 h 92"/>
                  <a:gd name="T16" fmla="*/ 34 w 58"/>
                  <a:gd name="T17" fmla="*/ 80 h 92"/>
                  <a:gd name="T18" fmla="*/ 26 w 58"/>
                  <a:gd name="T19" fmla="*/ 88 h 92"/>
                  <a:gd name="T20" fmla="*/ 16 w 58"/>
                  <a:gd name="T21" fmla="*/ 82 h 92"/>
                  <a:gd name="T22" fmla="*/ 12 w 58"/>
                  <a:gd name="T23" fmla="*/ 66 h 92"/>
                  <a:gd name="T24" fmla="*/ 12 w 58"/>
                  <a:gd name="T25" fmla="*/ 48 h 92"/>
                  <a:gd name="T26" fmla="*/ 18 w 58"/>
                  <a:gd name="T27" fmla="*/ 28 h 92"/>
                  <a:gd name="T28" fmla="*/ 18 w 58"/>
                  <a:gd name="T29" fmla="*/ 4 h 92"/>
                  <a:gd name="T30" fmla="*/ 18 w 58"/>
                  <a:gd name="T31" fmla="*/ 0 h 92"/>
                  <a:gd name="T32" fmla="*/ 16 w 58"/>
                  <a:gd name="T33" fmla="*/ 2 h 92"/>
                  <a:gd name="T34" fmla="*/ 12 w 58"/>
                  <a:gd name="T35" fmla="*/ 16 h 92"/>
                  <a:gd name="T36" fmla="*/ 12 w 58"/>
                  <a:gd name="T37" fmla="*/ 18 h 92"/>
                  <a:gd name="T38" fmla="*/ 10 w 58"/>
                  <a:gd name="T39" fmla="*/ 38 h 92"/>
                  <a:gd name="T40" fmla="*/ 2 w 58"/>
                  <a:gd name="T41" fmla="*/ 54 h 92"/>
                  <a:gd name="T42" fmla="*/ 0 w 58"/>
                  <a:gd name="T43" fmla="*/ 58 h 92"/>
                  <a:gd name="T44" fmla="*/ 8 w 58"/>
                  <a:gd name="T45" fmla="*/ 68 h 92"/>
                  <a:gd name="T46" fmla="*/ 10 w 58"/>
                  <a:gd name="T47" fmla="*/ 70 h 92"/>
                  <a:gd name="T48" fmla="*/ 12 w 58"/>
                  <a:gd name="T49" fmla="*/ 82 h 92"/>
                  <a:gd name="T50" fmla="*/ 12 w 58"/>
                  <a:gd name="T51" fmla="*/ 88 h 92"/>
                  <a:gd name="T52" fmla="*/ 16 w 58"/>
                  <a:gd name="T53" fmla="*/ 92 h 92"/>
                  <a:gd name="T54" fmla="*/ 38 w 58"/>
                  <a:gd name="T55" fmla="*/ 92 h 92"/>
                  <a:gd name="T56" fmla="*/ 42 w 58"/>
                  <a:gd name="T57" fmla="*/ 92 h 92"/>
                  <a:gd name="T58" fmla="*/ 42 w 58"/>
                  <a:gd name="T59" fmla="*/ 88 h 92"/>
                  <a:gd name="T60" fmla="*/ 42 w 58"/>
                  <a:gd name="T61" fmla="*/ 80 h 92"/>
                  <a:gd name="T62" fmla="*/ 44 w 58"/>
                  <a:gd name="T63" fmla="*/ 78 h 92"/>
                  <a:gd name="T64" fmla="*/ 42 w 58"/>
                  <a:gd name="T65" fmla="*/ 70 h 92"/>
                  <a:gd name="T66" fmla="*/ 44 w 58"/>
                  <a:gd name="T67" fmla="*/ 66 h 92"/>
                  <a:gd name="T68" fmla="*/ 46 w 58"/>
                  <a:gd name="T69" fmla="*/ 64 h 92"/>
                  <a:gd name="T70" fmla="*/ 44 w 58"/>
                  <a:gd name="T71" fmla="*/ 60 h 92"/>
                  <a:gd name="T72" fmla="*/ 44 w 58"/>
                  <a:gd name="T73" fmla="*/ 52 h 92"/>
                  <a:gd name="T74" fmla="*/ 46 w 58"/>
                  <a:gd name="T75" fmla="*/ 50 h 92"/>
                  <a:gd name="T76" fmla="*/ 46 w 58"/>
                  <a:gd name="T77" fmla="*/ 46 h 92"/>
                  <a:gd name="T78" fmla="*/ 48 w 58"/>
                  <a:gd name="T79" fmla="*/ 36 h 92"/>
                  <a:gd name="T80" fmla="*/ 54 w 58"/>
                  <a:gd name="T81" fmla="*/ 26 h 92"/>
                  <a:gd name="T82" fmla="*/ 56 w 58"/>
                  <a:gd name="T83" fmla="*/ 24 h 92"/>
                  <a:gd name="T84" fmla="*/ 58 w 58"/>
                  <a:gd name="T85" fmla="*/ 18 h 92"/>
                  <a:gd name="T86" fmla="*/ 52 w 58"/>
                  <a:gd name="T87" fmla="*/ 8 h 92"/>
                  <a:gd name="T88" fmla="*/ 50 w 58"/>
                  <a:gd name="T89" fmla="*/ 6 h 92"/>
                  <a:gd name="T90" fmla="*/ 40 w 58"/>
                  <a:gd name="T91" fmla="*/ 6 h 92"/>
                  <a:gd name="T92" fmla="*/ 30 w 58"/>
                  <a:gd name="T93" fmla="*/ 8 h 92"/>
                  <a:gd name="T94" fmla="*/ 26 w 58"/>
                  <a:gd name="T95" fmla="*/ 4 h 92"/>
                  <a:gd name="T96" fmla="*/ 18 w 58"/>
                  <a:gd name="T97" fmla="*/ 0 h 92"/>
                  <a:gd name="T98" fmla="*/ 18 w 58"/>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92">
                    <a:moveTo>
                      <a:pt x="18" y="4"/>
                    </a:moveTo>
                    <a:lnTo>
                      <a:pt x="22" y="6"/>
                    </a:lnTo>
                    <a:lnTo>
                      <a:pt x="28" y="12"/>
                    </a:lnTo>
                    <a:lnTo>
                      <a:pt x="40" y="10"/>
                    </a:lnTo>
                    <a:lnTo>
                      <a:pt x="50" y="10"/>
                    </a:lnTo>
                    <a:lnTo>
                      <a:pt x="54" y="16"/>
                    </a:lnTo>
                    <a:lnTo>
                      <a:pt x="52" y="22"/>
                    </a:lnTo>
                    <a:lnTo>
                      <a:pt x="44" y="24"/>
                    </a:lnTo>
                    <a:lnTo>
                      <a:pt x="44" y="36"/>
                    </a:lnTo>
                    <a:lnTo>
                      <a:pt x="44" y="46"/>
                    </a:lnTo>
                    <a:lnTo>
                      <a:pt x="42" y="48"/>
                    </a:lnTo>
                    <a:lnTo>
                      <a:pt x="36" y="52"/>
                    </a:lnTo>
                    <a:lnTo>
                      <a:pt x="36" y="56"/>
                    </a:lnTo>
                    <a:lnTo>
                      <a:pt x="42" y="62"/>
                    </a:lnTo>
                    <a:lnTo>
                      <a:pt x="36" y="66"/>
                    </a:lnTo>
                    <a:lnTo>
                      <a:pt x="38" y="72"/>
                    </a:lnTo>
                    <a:lnTo>
                      <a:pt x="40" y="76"/>
                    </a:lnTo>
                    <a:lnTo>
                      <a:pt x="34" y="80"/>
                    </a:lnTo>
                    <a:lnTo>
                      <a:pt x="38" y="88"/>
                    </a:lnTo>
                    <a:lnTo>
                      <a:pt x="26" y="88"/>
                    </a:lnTo>
                    <a:lnTo>
                      <a:pt x="16" y="88"/>
                    </a:lnTo>
                    <a:lnTo>
                      <a:pt x="16" y="82"/>
                    </a:lnTo>
                    <a:lnTo>
                      <a:pt x="16" y="68"/>
                    </a:lnTo>
                    <a:lnTo>
                      <a:pt x="12" y="66"/>
                    </a:lnTo>
                    <a:lnTo>
                      <a:pt x="4" y="58"/>
                    </a:lnTo>
                    <a:lnTo>
                      <a:pt x="12" y="48"/>
                    </a:lnTo>
                    <a:lnTo>
                      <a:pt x="14" y="40"/>
                    </a:lnTo>
                    <a:lnTo>
                      <a:pt x="18" y="28"/>
                    </a:lnTo>
                    <a:lnTo>
                      <a:pt x="16" y="16"/>
                    </a:lnTo>
                    <a:lnTo>
                      <a:pt x="18" y="4"/>
                    </a:lnTo>
                    <a:close/>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9" name="Freeform 550"/>
              <p:cNvSpPr>
                <a:spLocks/>
              </p:cNvSpPr>
              <p:nvPr/>
            </p:nvSpPr>
            <p:spPr bwMode="auto">
              <a:xfrm>
                <a:off x="2753" y="1887"/>
                <a:ext cx="50" cy="84"/>
              </a:xfrm>
              <a:custGeom>
                <a:avLst/>
                <a:gdLst>
                  <a:gd name="T0" fmla="*/ 14 w 50"/>
                  <a:gd name="T1" fmla="*/ 0 h 84"/>
                  <a:gd name="T2" fmla="*/ 18 w 50"/>
                  <a:gd name="T3" fmla="*/ 2 h 84"/>
                  <a:gd name="T4" fmla="*/ 24 w 50"/>
                  <a:gd name="T5" fmla="*/ 8 h 84"/>
                  <a:gd name="T6" fmla="*/ 36 w 50"/>
                  <a:gd name="T7" fmla="*/ 6 h 84"/>
                  <a:gd name="T8" fmla="*/ 46 w 50"/>
                  <a:gd name="T9" fmla="*/ 6 h 84"/>
                  <a:gd name="T10" fmla="*/ 50 w 50"/>
                  <a:gd name="T11" fmla="*/ 12 h 84"/>
                  <a:gd name="T12" fmla="*/ 48 w 50"/>
                  <a:gd name="T13" fmla="*/ 18 h 84"/>
                  <a:gd name="T14" fmla="*/ 40 w 50"/>
                  <a:gd name="T15" fmla="*/ 20 h 84"/>
                  <a:gd name="T16" fmla="*/ 40 w 50"/>
                  <a:gd name="T17" fmla="*/ 32 h 84"/>
                  <a:gd name="T18" fmla="*/ 40 w 50"/>
                  <a:gd name="T19" fmla="*/ 42 h 84"/>
                  <a:gd name="T20" fmla="*/ 38 w 50"/>
                  <a:gd name="T21" fmla="*/ 44 h 84"/>
                  <a:gd name="T22" fmla="*/ 32 w 50"/>
                  <a:gd name="T23" fmla="*/ 48 h 84"/>
                  <a:gd name="T24" fmla="*/ 32 w 50"/>
                  <a:gd name="T25" fmla="*/ 52 h 84"/>
                  <a:gd name="T26" fmla="*/ 38 w 50"/>
                  <a:gd name="T27" fmla="*/ 58 h 84"/>
                  <a:gd name="T28" fmla="*/ 32 w 50"/>
                  <a:gd name="T29" fmla="*/ 62 h 84"/>
                  <a:gd name="T30" fmla="*/ 34 w 50"/>
                  <a:gd name="T31" fmla="*/ 68 h 84"/>
                  <a:gd name="T32" fmla="*/ 36 w 50"/>
                  <a:gd name="T33" fmla="*/ 72 h 84"/>
                  <a:gd name="T34" fmla="*/ 30 w 50"/>
                  <a:gd name="T35" fmla="*/ 76 h 84"/>
                  <a:gd name="T36" fmla="*/ 34 w 50"/>
                  <a:gd name="T37" fmla="*/ 84 h 84"/>
                  <a:gd name="T38" fmla="*/ 22 w 50"/>
                  <a:gd name="T39" fmla="*/ 84 h 84"/>
                  <a:gd name="T40" fmla="*/ 12 w 50"/>
                  <a:gd name="T41" fmla="*/ 84 h 84"/>
                  <a:gd name="T42" fmla="*/ 12 w 50"/>
                  <a:gd name="T43" fmla="*/ 78 h 84"/>
                  <a:gd name="T44" fmla="*/ 12 w 50"/>
                  <a:gd name="T45" fmla="*/ 64 h 84"/>
                  <a:gd name="T46" fmla="*/ 8 w 50"/>
                  <a:gd name="T47" fmla="*/ 62 h 84"/>
                  <a:gd name="T48" fmla="*/ 0 w 50"/>
                  <a:gd name="T49" fmla="*/ 54 h 84"/>
                  <a:gd name="T50" fmla="*/ 8 w 50"/>
                  <a:gd name="T51" fmla="*/ 44 h 84"/>
                  <a:gd name="T52" fmla="*/ 10 w 50"/>
                  <a:gd name="T53" fmla="*/ 36 h 84"/>
                  <a:gd name="T54" fmla="*/ 14 w 50"/>
                  <a:gd name="T55" fmla="*/ 24 h 84"/>
                  <a:gd name="T56" fmla="*/ 12 w 50"/>
                  <a:gd name="T57" fmla="*/ 12 h 84"/>
                  <a:gd name="T58" fmla="*/ 14 w 50"/>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84">
                    <a:moveTo>
                      <a:pt x="14" y="0"/>
                    </a:moveTo>
                    <a:lnTo>
                      <a:pt x="18" y="2"/>
                    </a:lnTo>
                    <a:lnTo>
                      <a:pt x="24" y="8"/>
                    </a:lnTo>
                    <a:lnTo>
                      <a:pt x="36" y="6"/>
                    </a:lnTo>
                    <a:lnTo>
                      <a:pt x="46" y="6"/>
                    </a:lnTo>
                    <a:lnTo>
                      <a:pt x="50" y="12"/>
                    </a:lnTo>
                    <a:lnTo>
                      <a:pt x="48" y="18"/>
                    </a:lnTo>
                    <a:lnTo>
                      <a:pt x="40" y="20"/>
                    </a:lnTo>
                    <a:lnTo>
                      <a:pt x="40" y="32"/>
                    </a:lnTo>
                    <a:lnTo>
                      <a:pt x="40" y="42"/>
                    </a:lnTo>
                    <a:lnTo>
                      <a:pt x="38" y="44"/>
                    </a:lnTo>
                    <a:lnTo>
                      <a:pt x="32" y="48"/>
                    </a:lnTo>
                    <a:lnTo>
                      <a:pt x="32" y="52"/>
                    </a:lnTo>
                    <a:lnTo>
                      <a:pt x="38" y="58"/>
                    </a:lnTo>
                    <a:lnTo>
                      <a:pt x="32" y="62"/>
                    </a:lnTo>
                    <a:lnTo>
                      <a:pt x="34" y="68"/>
                    </a:lnTo>
                    <a:lnTo>
                      <a:pt x="36" y="72"/>
                    </a:lnTo>
                    <a:lnTo>
                      <a:pt x="30" y="76"/>
                    </a:lnTo>
                    <a:lnTo>
                      <a:pt x="34" y="84"/>
                    </a:lnTo>
                    <a:lnTo>
                      <a:pt x="22" y="84"/>
                    </a:lnTo>
                    <a:lnTo>
                      <a:pt x="12" y="84"/>
                    </a:lnTo>
                    <a:lnTo>
                      <a:pt x="12" y="78"/>
                    </a:lnTo>
                    <a:lnTo>
                      <a:pt x="12" y="64"/>
                    </a:lnTo>
                    <a:lnTo>
                      <a:pt x="8" y="62"/>
                    </a:lnTo>
                    <a:lnTo>
                      <a:pt x="0" y="54"/>
                    </a:lnTo>
                    <a:lnTo>
                      <a:pt x="8" y="44"/>
                    </a:lnTo>
                    <a:lnTo>
                      <a:pt x="10" y="36"/>
                    </a:lnTo>
                    <a:lnTo>
                      <a:pt x="14" y="24"/>
                    </a:lnTo>
                    <a:lnTo>
                      <a:pt x="12" y="12"/>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0" name="Freeform 551"/>
              <p:cNvSpPr>
                <a:spLocks/>
              </p:cNvSpPr>
              <p:nvPr/>
            </p:nvSpPr>
            <p:spPr bwMode="auto">
              <a:xfrm>
                <a:off x="2749" y="1883"/>
                <a:ext cx="58" cy="92"/>
              </a:xfrm>
              <a:custGeom>
                <a:avLst/>
                <a:gdLst>
                  <a:gd name="T0" fmla="*/ 18 w 58"/>
                  <a:gd name="T1" fmla="*/ 0 h 92"/>
                  <a:gd name="T2" fmla="*/ 16 w 58"/>
                  <a:gd name="T3" fmla="*/ 2 h 92"/>
                  <a:gd name="T4" fmla="*/ 12 w 58"/>
                  <a:gd name="T5" fmla="*/ 16 h 92"/>
                  <a:gd name="T6" fmla="*/ 12 w 58"/>
                  <a:gd name="T7" fmla="*/ 18 h 92"/>
                  <a:gd name="T8" fmla="*/ 10 w 58"/>
                  <a:gd name="T9" fmla="*/ 38 h 92"/>
                  <a:gd name="T10" fmla="*/ 2 w 58"/>
                  <a:gd name="T11" fmla="*/ 54 h 92"/>
                  <a:gd name="T12" fmla="*/ 0 w 58"/>
                  <a:gd name="T13" fmla="*/ 58 h 92"/>
                  <a:gd name="T14" fmla="*/ 8 w 58"/>
                  <a:gd name="T15" fmla="*/ 68 h 92"/>
                  <a:gd name="T16" fmla="*/ 10 w 58"/>
                  <a:gd name="T17" fmla="*/ 70 h 92"/>
                  <a:gd name="T18" fmla="*/ 12 w 58"/>
                  <a:gd name="T19" fmla="*/ 82 h 92"/>
                  <a:gd name="T20" fmla="*/ 12 w 58"/>
                  <a:gd name="T21" fmla="*/ 88 h 92"/>
                  <a:gd name="T22" fmla="*/ 16 w 58"/>
                  <a:gd name="T23" fmla="*/ 92 h 92"/>
                  <a:gd name="T24" fmla="*/ 38 w 58"/>
                  <a:gd name="T25" fmla="*/ 92 h 92"/>
                  <a:gd name="T26" fmla="*/ 42 w 58"/>
                  <a:gd name="T27" fmla="*/ 92 h 92"/>
                  <a:gd name="T28" fmla="*/ 42 w 58"/>
                  <a:gd name="T29" fmla="*/ 88 h 92"/>
                  <a:gd name="T30" fmla="*/ 42 w 58"/>
                  <a:gd name="T31" fmla="*/ 80 h 92"/>
                  <a:gd name="T32" fmla="*/ 44 w 58"/>
                  <a:gd name="T33" fmla="*/ 78 h 92"/>
                  <a:gd name="T34" fmla="*/ 42 w 58"/>
                  <a:gd name="T35" fmla="*/ 70 h 92"/>
                  <a:gd name="T36" fmla="*/ 44 w 58"/>
                  <a:gd name="T37" fmla="*/ 66 h 92"/>
                  <a:gd name="T38" fmla="*/ 46 w 58"/>
                  <a:gd name="T39" fmla="*/ 64 h 92"/>
                  <a:gd name="T40" fmla="*/ 44 w 58"/>
                  <a:gd name="T41" fmla="*/ 60 h 92"/>
                  <a:gd name="T42" fmla="*/ 44 w 58"/>
                  <a:gd name="T43" fmla="*/ 52 h 92"/>
                  <a:gd name="T44" fmla="*/ 46 w 58"/>
                  <a:gd name="T45" fmla="*/ 50 h 92"/>
                  <a:gd name="T46" fmla="*/ 46 w 58"/>
                  <a:gd name="T47" fmla="*/ 46 h 92"/>
                  <a:gd name="T48" fmla="*/ 48 w 58"/>
                  <a:gd name="T49" fmla="*/ 36 h 92"/>
                  <a:gd name="T50" fmla="*/ 54 w 58"/>
                  <a:gd name="T51" fmla="*/ 26 h 92"/>
                  <a:gd name="T52" fmla="*/ 56 w 58"/>
                  <a:gd name="T53" fmla="*/ 24 h 92"/>
                  <a:gd name="T54" fmla="*/ 58 w 58"/>
                  <a:gd name="T55" fmla="*/ 18 h 92"/>
                  <a:gd name="T56" fmla="*/ 52 w 58"/>
                  <a:gd name="T57" fmla="*/ 8 h 92"/>
                  <a:gd name="T58" fmla="*/ 50 w 58"/>
                  <a:gd name="T59" fmla="*/ 6 h 92"/>
                  <a:gd name="T60" fmla="*/ 40 w 58"/>
                  <a:gd name="T61" fmla="*/ 6 h 92"/>
                  <a:gd name="T62" fmla="*/ 30 w 58"/>
                  <a:gd name="T63" fmla="*/ 8 h 92"/>
                  <a:gd name="T64" fmla="*/ 26 w 58"/>
                  <a:gd name="T65" fmla="*/ 4 h 92"/>
                  <a:gd name="T66" fmla="*/ 18 w 58"/>
                  <a:gd name="T67" fmla="*/ 0 h 92"/>
                  <a:gd name="T68" fmla="*/ 18 w 58"/>
                  <a:gd name="T6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92">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1" name="Freeform 552"/>
              <p:cNvSpPr>
                <a:spLocks/>
              </p:cNvSpPr>
              <p:nvPr/>
            </p:nvSpPr>
            <p:spPr bwMode="auto">
              <a:xfrm>
                <a:off x="2757" y="1857"/>
                <a:ext cx="182" cy="134"/>
              </a:xfrm>
              <a:custGeom>
                <a:avLst/>
                <a:gdLst>
                  <a:gd name="T0" fmla="*/ 54 w 182"/>
                  <a:gd name="T1" fmla="*/ 134 h 134"/>
                  <a:gd name="T2" fmla="*/ 42 w 182"/>
                  <a:gd name="T3" fmla="*/ 128 h 134"/>
                  <a:gd name="T4" fmla="*/ 42 w 182"/>
                  <a:gd name="T5" fmla="*/ 126 h 134"/>
                  <a:gd name="T6" fmla="*/ 36 w 182"/>
                  <a:gd name="T7" fmla="*/ 118 h 134"/>
                  <a:gd name="T8" fmla="*/ 32 w 182"/>
                  <a:gd name="T9" fmla="*/ 118 h 134"/>
                  <a:gd name="T10" fmla="*/ 26 w 182"/>
                  <a:gd name="T11" fmla="*/ 106 h 134"/>
                  <a:gd name="T12" fmla="*/ 26 w 182"/>
                  <a:gd name="T13" fmla="*/ 104 h 134"/>
                  <a:gd name="T14" fmla="*/ 28 w 182"/>
                  <a:gd name="T15" fmla="*/ 92 h 134"/>
                  <a:gd name="T16" fmla="*/ 28 w 182"/>
                  <a:gd name="T17" fmla="*/ 90 h 134"/>
                  <a:gd name="T18" fmla="*/ 28 w 182"/>
                  <a:gd name="T19" fmla="*/ 82 h 134"/>
                  <a:gd name="T20" fmla="*/ 28 w 182"/>
                  <a:gd name="T21" fmla="*/ 80 h 134"/>
                  <a:gd name="T22" fmla="*/ 28 w 182"/>
                  <a:gd name="T23" fmla="*/ 78 h 134"/>
                  <a:gd name="T24" fmla="*/ 34 w 182"/>
                  <a:gd name="T25" fmla="*/ 72 h 134"/>
                  <a:gd name="T26" fmla="*/ 34 w 182"/>
                  <a:gd name="T27" fmla="*/ 48 h 134"/>
                  <a:gd name="T28" fmla="*/ 36 w 182"/>
                  <a:gd name="T29" fmla="*/ 46 h 134"/>
                  <a:gd name="T30" fmla="*/ 46 w 182"/>
                  <a:gd name="T31" fmla="*/ 42 h 134"/>
                  <a:gd name="T32" fmla="*/ 42 w 182"/>
                  <a:gd name="T33" fmla="*/ 36 h 134"/>
                  <a:gd name="T34" fmla="*/ 22 w 182"/>
                  <a:gd name="T35" fmla="*/ 38 h 134"/>
                  <a:gd name="T36" fmla="*/ 16 w 182"/>
                  <a:gd name="T37" fmla="*/ 32 h 134"/>
                  <a:gd name="T38" fmla="*/ 10 w 182"/>
                  <a:gd name="T39" fmla="*/ 30 h 134"/>
                  <a:gd name="T40" fmla="*/ 6 w 182"/>
                  <a:gd name="T41" fmla="*/ 24 h 134"/>
                  <a:gd name="T42" fmla="*/ 0 w 182"/>
                  <a:gd name="T43" fmla="*/ 14 h 134"/>
                  <a:gd name="T44" fmla="*/ 4 w 182"/>
                  <a:gd name="T45" fmla="*/ 8 h 134"/>
                  <a:gd name="T46" fmla="*/ 4 w 182"/>
                  <a:gd name="T47" fmla="*/ 8 h 134"/>
                  <a:gd name="T48" fmla="*/ 22 w 182"/>
                  <a:gd name="T49" fmla="*/ 0 h 134"/>
                  <a:gd name="T50" fmla="*/ 24 w 182"/>
                  <a:gd name="T51" fmla="*/ 0 h 134"/>
                  <a:gd name="T52" fmla="*/ 44 w 182"/>
                  <a:gd name="T53" fmla="*/ 2 h 134"/>
                  <a:gd name="T54" fmla="*/ 74 w 182"/>
                  <a:gd name="T55" fmla="*/ 8 h 134"/>
                  <a:gd name="T56" fmla="*/ 106 w 182"/>
                  <a:gd name="T57" fmla="*/ 8 h 134"/>
                  <a:gd name="T58" fmla="*/ 114 w 182"/>
                  <a:gd name="T59" fmla="*/ 8 h 134"/>
                  <a:gd name="T60" fmla="*/ 126 w 182"/>
                  <a:gd name="T61" fmla="*/ 14 h 134"/>
                  <a:gd name="T62" fmla="*/ 152 w 182"/>
                  <a:gd name="T63" fmla="*/ 18 h 134"/>
                  <a:gd name="T64" fmla="*/ 152 w 182"/>
                  <a:gd name="T65" fmla="*/ 18 h 134"/>
                  <a:gd name="T66" fmla="*/ 152 w 182"/>
                  <a:gd name="T67" fmla="*/ 18 h 134"/>
                  <a:gd name="T68" fmla="*/ 180 w 182"/>
                  <a:gd name="T69" fmla="*/ 22 h 134"/>
                  <a:gd name="T70" fmla="*/ 180 w 182"/>
                  <a:gd name="T71" fmla="*/ 24 h 134"/>
                  <a:gd name="T72" fmla="*/ 182 w 182"/>
                  <a:gd name="T73" fmla="*/ 28 h 134"/>
                  <a:gd name="T74" fmla="*/ 182 w 182"/>
                  <a:gd name="T75" fmla="*/ 38 h 134"/>
                  <a:gd name="T76" fmla="*/ 180 w 182"/>
                  <a:gd name="T77" fmla="*/ 38 h 134"/>
                  <a:gd name="T78" fmla="*/ 166 w 182"/>
                  <a:gd name="T79" fmla="*/ 48 h 134"/>
                  <a:gd name="T80" fmla="*/ 164 w 182"/>
                  <a:gd name="T81" fmla="*/ 48 h 134"/>
                  <a:gd name="T82" fmla="*/ 150 w 182"/>
                  <a:gd name="T83" fmla="*/ 56 h 134"/>
                  <a:gd name="T84" fmla="*/ 136 w 182"/>
                  <a:gd name="T85" fmla="*/ 72 h 134"/>
                  <a:gd name="T86" fmla="*/ 138 w 182"/>
                  <a:gd name="T87" fmla="*/ 90 h 134"/>
                  <a:gd name="T88" fmla="*/ 136 w 182"/>
                  <a:gd name="T89" fmla="*/ 92 h 134"/>
                  <a:gd name="T90" fmla="*/ 124 w 182"/>
                  <a:gd name="T91" fmla="*/ 108 h 134"/>
                  <a:gd name="T92" fmla="*/ 122 w 182"/>
                  <a:gd name="T93" fmla="*/ 108 h 134"/>
                  <a:gd name="T94" fmla="*/ 110 w 182"/>
                  <a:gd name="T95" fmla="*/ 118 h 134"/>
                  <a:gd name="T96" fmla="*/ 108 w 182"/>
                  <a:gd name="T97" fmla="*/ 118 h 134"/>
                  <a:gd name="T98" fmla="*/ 96 w 182"/>
                  <a:gd name="T99" fmla="*/ 124 h 134"/>
                  <a:gd name="T100" fmla="*/ 80 w 182"/>
                  <a:gd name="T101" fmla="*/ 124 h 134"/>
                  <a:gd name="T102" fmla="*/ 60 w 182"/>
                  <a:gd name="T103" fmla="*/ 132 h 134"/>
                  <a:gd name="T104" fmla="*/ 54 w 182"/>
                  <a:gd name="T105" fmla="*/ 134 h 134"/>
                  <a:gd name="T106" fmla="*/ 54 w 182"/>
                  <a:gd name="T10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 h="134">
                    <a:moveTo>
                      <a:pt x="54" y="134"/>
                    </a:moveTo>
                    <a:lnTo>
                      <a:pt x="54" y="134"/>
                    </a:lnTo>
                    <a:lnTo>
                      <a:pt x="52" y="134"/>
                    </a:lnTo>
                    <a:lnTo>
                      <a:pt x="42" y="128"/>
                    </a:lnTo>
                    <a:lnTo>
                      <a:pt x="42" y="128"/>
                    </a:lnTo>
                    <a:lnTo>
                      <a:pt x="42" y="126"/>
                    </a:lnTo>
                    <a:lnTo>
                      <a:pt x="40" y="120"/>
                    </a:lnTo>
                    <a:lnTo>
                      <a:pt x="36" y="118"/>
                    </a:lnTo>
                    <a:lnTo>
                      <a:pt x="32" y="118"/>
                    </a:lnTo>
                    <a:lnTo>
                      <a:pt x="32" y="118"/>
                    </a:lnTo>
                    <a:lnTo>
                      <a:pt x="30" y="116"/>
                    </a:lnTo>
                    <a:lnTo>
                      <a:pt x="26" y="106"/>
                    </a:lnTo>
                    <a:lnTo>
                      <a:pt x="26" y="106"/>
                    </a:lnTo>
                    <a:lnTo>
                      <a:pt x="26" y="104"/>
                    </a:lnTo>
                    <a:lnTo>
                      <a:pt x="30" y="102"/>
                    </a:lnTo>
                    <a:lnTo>
                      <a:pt x="28" y="92"/>
                    </a:lnTo>
                    <a:lnTo>
                      <a:pt x="28" y="92"/>
                    </a:lnTo>
                    <a:lnTo>
                      <a:pt x="28" y="90"/>
                    </a:lnTo>
                    <a:lnTo>
                      <a:pt x="32" y="88"/>
                    </a:lnTo>
                    <a:lnTo>
                      <a:pt x="28" y="82"/>
                    </a:lnTo>
                    <a:lnTo>
                      <a:pt x="28" y="82"/>
                    </a:lnTo>
                    <a:lnTo>
                      <a:pt x="28" y="80"/>
                    </a:lnTo>
                    <a:lnTo>
                      <a:pt x="28" y="78"/>
                    </a:lnTo>
                    <a:lnTo>
                      <a:pt x="28" y="78"/>
                    </a:lnTo>
                    <a:lnTo>
                      <a:pt x="28" y="76"/>
                    </a:lnTo>
                    <a:lnTo>
                      <a:pt x="34" y="72"/>
                    </a:lnTo>
                    <a:lnTo>
                      <a:pt x="34" y="70"/>
                    </a:lnTo>
                    <a:lnTo>
                      <a:pt x="34" y="48"/>
                    </a:lnTo>
                    <a:lnTo>
                      <a:pt x="34" y="48"/>
                    </a:lnTo>
                    <a:lnTo>
                      <a:pt x="36" y="46"/>
                    </a:lnTo>
                    <a:lnTo>
                      <a:pt x="44" y="44"/>
                    </a:lnTo>
                    <a:lnTo>
                      <a:pt x="46" y="42"/>
                    </a:lnTo>
                    <a:lnTo>
                      <a:pt x="42" y="36"/>
                    </a:lnTo>
                    <a:lnTo>
                      <a:pt x="42" y="36"/>
                    </a:lnTo>
                    <a:lnTo>
                      <a:pt x="22" y="38"/>
                    </a:lnTo>
                    <a:lnTo>
                      <a:pt x="22" y="38"/>
                    </a:lnTo>
                    <a:lnTo>
                      <a:pt x="20" y="36"/>
                    </a:lnTo>
                    <a:lnTo>
                      <a:pt x="16" y="32"/>
                    </a:lnTo>
                    <a:lnTo>
                      <a:pt x="10" y="30"/>
                    </a:lnTo>
                    <a:lnTo>
                      <a:pt x="10" y="30"/>
                    </a:lnTo>
                    <a:lnTo>
                      <a:pt x="10" y="30"/>
                    </a:lnTo>
                    <a:lnTo>
                      <a:pt x="6" y="24"/>
                    </a:lnTo>
                    <a:lnTo>
                      <a:pt x="0" y="14"/>
                    </a:lnTo>
                    <a:lnTo>
                      <a:pt x="0" y="14"/>
                    </a:lnTo>
                    <a:lnTo>
                      <a:pt x="0" y="12"/>
                    </a:lnTo>
                    <a:lnTo>
                      <a:pt x="4" y="8"/>
                    </a:lnTo>
                    <a:lnTo>
                      <a:pt x="4" y="8"/>
                    </a:lnTo>
                    <a:lnTo>
                      <a:pt x="4" y="8"/>
                    </a:lnTo>
                    <a:lnTo>
                      <a:pt x="16" y="4"/>
                    </a:lnTo>
                    <a:lnTo>
                      <a:pt x="22" y="0"/>
                    </a:lnTo>
                    <a:lnTo>
                      <a:pt x="22" y="0"/>
                    </a:lnTo>
                    <a:lnTo>
                      <a:pt x="24" y="0"/>
                    </a:lnTo>
                    <a:lnTo>
                      <a:pt x="24" y="0"/>
                    </a:lnTo>
                    <a:lnTo>
                      <a:pt x="44" y="2"/>
                    </a:lnTo>
                    <a:lnTo>
                      <a:pt x="62" y="4"/>
                    </a:lnTo>
                    <a:lnTo>
                      <a:pt x="74" y="8"/>
                    </a:lnTo>
                    <a:lnTo>
                      <a:pt x="90" y="6"/>
                    </a:lnTo>
                    <a:lnTo>
                      <a:pt x="106" y="8"/>
                    </a:lnTo>
                    <a:lnTo>
                      <a:pt x="114" y="8"/>
                    </a:lnTo>
                    <a:lnTo>
                      <a:pt x="114" y="8"/>
                    </a:lnTo>
                    <a:lnTo>
                      <a:pt x="114" y="8"/>
                    </a:lnTo>
                    <a:lnTo>
                      <a:pt x="126" y="14"/>
                    </a:lnTo>
                    <a:lnTo>
                      <a:pt x="140" y="18"/>
                    </a:lnTo>
                    <a:lnTo>
                      <a:pt x="152" y="18"/>
                    </a:lnTo>
                    <a:lnTo>
                      <a:pt x="152" y="18"/>
                    </a:lnTo>
                    <a:lnTo>
                      <a:pt x="152" y="18"/>
                    </a:lnTo>
                    <a:lnTo>
                      <a:pt x="152" y="18"/>
                    </a:lnTo>
                    <a:lnTo>
                      <a:pt x="152" y="18"/>
                    </a:lnTo>
                    <a:lnTo>
                      <a:pt x="166" y="22"/>
                    </a:lnTo>
                    <a:lnTo>
                      <a:pt x="180" y="22"/>
                    </a:lnTo>
                    <a:lnTo>
                      <a:pt x="180" y="22"/>
                    </a:lnTo>
                    <a:lnTo>
                      <a:pt x="180" y="24"/>
                    </a:lnTo>
                    <a:lnTo>
                      <a:pt x="182" y="28"/>
                    </a:lnTo>
                    <a:lnTo>
                      <a:pt x="182" y="28"/>
                    </a:lnTo>
                    <a:lnTo>
                      <a:pt x="182" y="28"/>
                    </a:lnTo>
                    <a:lnTo>
                      <a:pt x="182" y="38"/>
                    </a:lnTo>
                    <a:lnTo>
                      <a:pt x="182" y="38"/>
                    </a:lnTo>
                    <a:lnTo>
                      <a:pt x="180" y="38"/>
                    </a:lnTo>
                    <a:lnTo>
                      <a:pt x="174" y="42"/>
                    </a:lnTo>
                    <a:lnTo>
                      <a:pt x="166" y="48"/>
                    </a:lnTo>
                    <a:lnTo>
                      <a:pt x="166" y="48"/>
                    </a:lnTo>
                    <a:lnTo>
                      <a:pt x="164" y="48"/>
                    </a:lnTo>
                    <a:lnTo>
                      <a:pt x="154" y="48"/>
                    </a:lnTo>
                    <a:lnTo>
                      <a:pt x="150" y="56"/>
                    </a:lnTo>
                    <a:lnTo>
                      <a:pt x="140" y="66"/>
                    </a:lnTo>
                    <a:lnTo>
                      <a:pt x="136" y="72"/>
                    </a:lnTo>
                    <a:lnTo>
                      <a:pt x="134" y="80"/>
                    </a:lnTo>
                    <a:lnTo>
                      <a:pt x="138" y="90"/>
                    </a:lnTo>
                    <a:lnTo>
                      <a:pt x="138" y="90"/>
                    </a:lnTo>
                    <a:lnTo>
                      <a:pt x="136" y="92"/>
                    </a:lnTo>
                    <a:lnTo>
                      <a:pt x="132" y="96"/>
                    </a:lnTo>
                    <a:lnTo>
                      <a:pt x="124" y="108"/>
                    </a:lnTo>
                    <a:lnTo>
                      <a:pt x="124" y="108"/>
                    </a:lnTo>
                    <a:lnTo>
                      <a:pt x="122" y="108"/>
                    </a:lnTo>
                    <a:lnTo>
                      <a:pt x="114" y="110"/>
                    </a:lnTo>
                    <a:lnTo>
                      <a:pt x="110" y="118"/>
                    </a:lnTo>
                    <a:lnTo>
                      <a:pt x="110" y="118"/>
                    </a:lnTo>
                    <a:lnTo>
                      <a:pt x="108" y="118"/>
                    </a:lnTo>
                    <a:lnTo>
                      <a:pt x="96" y="124"/>
                    </a:lnTo>
                    <a:lnTo>
                      <a:pt x="96" y="124"/>
                    </a:lnTo>
                    <a:lnTo>
                      <a:pt x="96" y="124"/>
                    </a:lnTo>
                    <a:lnTo>
                      <a:pt x="80" y="124"/>
                    </a:lnTo>
                    <a:lnTo>
                      <a:pt x="70" y="126"/>
                    </a:lnTo>
                    <a:lnTo>
                      <a:pt x="60" y="132"/>
                    </a:lnTo>
                    <a:lnTo>
                      <a:pt x="54" y="134"/>
                    </a:lnTo>
                    <a:lnTo>
                      <a:pt x="54" y="134"/>
                    </a:lnTo>
                    <a:lnTo>
                      <a:pt x="54" y="134"/>
                    </a:lnTo>
                    <a:lnTo>
                      <a:pt x="54"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2" name="Freeform 553"/>
              <p:cNvSpPr>
                <a:spLocks noEditPoints="1"/>
              </p:cNvSpPr>
              <p:nvPr/>
            </p:nvSpPr>
            <p:spPr bwMode="auto">
              <a:xfrm>
                <a:off x="2755" y="1855"/>
                <a:ext cx="186" cy="138"/>
              </a:xfrm>
              <a:custGeom>
                <a:avLst/>
                <a:gdLst>
                  <a:gd name="T0" fmla="*/ 64 w 186"/>
                  <a:gd name="T1" fmla="*/ 8 h 138"/>
                  <a:gd name="T2" fmla="*/ 108 w 186"/>
                  <a:gd name="T3" fmla="*/ 12 h 138"/>
                  <a:gd name="T4" fmla="*/ 142 w 186"/>
                  <a:gd name="T5" fmla="*/ 22 h 138"/>
                  <a:gd name="T6" fmla="*/ 182 w 186"/>
                  <a:gd name="T7" fmla="*/ 26 h 138"/>
                  <a:gd name="T8" fmla="*/ 176 w 186"/>
                  <a:gd name="T9" fmla="*/ 42 h 138"/>
                  <a:gd name="T10" fmla="*/ 150 w 186"/>
                  <a:gd name="T11" fmla="*/ 58 h 138"/>
                  <a:gd name="T12" fmla="*/ 134 w 186"/>
                  <a:gd name="T13" fmla="*/ 82 h 138"/>
                  <a:gd name="T14" fmla="*/ 124 w 186"/>
                  <a:gd name="T15" fmla="*/ 108 h 138"/>
                  <a:gd name="T16" fmla="*/ 98 w 186"/>
                  <a:gd name="T17" fmla="*/ 124 h 138"/>
                  <a:gd name="T18" fmla="*/ 60 w 186"/>
                  <a:gd name="T19" fmla="*/ 132 h 138"/>
                  <a:gd name="T20" fmla="*/ 44 w 186"/>
                  <a:gd name="T21" fmla="*/ 120 h 138"/>
                  <a:gd name="T22" fmla="*/ 30 w 186"/>
                  <a:gd name="T23" fmla="*/ 108 h 138"/>
                  <a:gd name="T24" fmla="*/ 36 w 186"/>
                  <a:gd name="T25" fmla="*/ 90 h 138"/>
                  <a:gd name="T26" fmla="*/ 36 w 186"/>
                  <a:gd name="T27" fmla="*/ 76 h 138"/>
                  <a:gd name="T28" fmla="*/ 48 w 186"/>
                  <a:gd name="T29" fmla="*/ 48 h 138"/>
                  <a:gd name="T30" fmla="*/ 24 w 186"/>
                  <a:gd name="T31" fmla="*/ 38 h 138"/>
                  <a:gd name="T32" fmla="*/ 10 w 186"/>
                  <a:gd name="T33" fmla="*/ 24 h 138"/>
                  <a:gd name="T34" fmla="*/ 18 w 186"/>
                  <a:gd name="T35" fmla="*/ 8 h 138"/>
                  <a:gd name="T36" fmla="*/ 26 w 186"/>
                  <a:gd name="T37" fmla="*/ 0 h 138"/>
                  <a:gd name="T38" fmla="*/ 6 w 186"/>
                  <a:gd name="T39" fmla="*/ 8 h 138"/>
                  <a:gd name="T40" fmla="*/ 2 w 186"/>
                  <a:gd name="T41" fmla="*/ 12 h 138"/>
                  <a:gd name="T42" fmla="*/ 0 w 186"/>
                  <a:gd name="T43" fmla="*/ 18 h 138"/>
                  <a:gd name="T44" fmla="*/ 10 w 186"/>
                  <a:gd name="T45" fmla="*/ 32 h 138"/>
                  <a:gd name="T46" fmla="*/ 22 w 186"/>
                  <a:gd name="T47" fmla="*/ 40 h 138"/>
                  <a:gd name="T48" fmla="*/ 24 w 186"/>
                  <a:gd name="T49" fmla="*/ 42 h 138"/>
                  <a:gd name="T50" fmla="*/ 46 w 186"/>
                  <a:gd name="T51" fmla="*/ 44 h 138"/>
                  <a:gd name="T52" fmla="*/ 38 w 186"/>
                  <a:gd name="T53" fmla="*/ 46 h 138"/>
                  <a:gd name="T54" fmla="*/ 34 w 186"/>
                  <a:gd name="T55" fmla="*/ 70 h 138"/>
                  <a:gd name="T56" fmla="*/ 30 w 186"/>
                  <a:gd name="T57" fmla="*/ 76 h 138"/>
                  <a:gd name="T58" fmla="*/ 28 w 186"/>
                  <a:gd name="T59" fmla="*/ 82 h 138"/>
                  <a:gd name="T60" fmla="*/ 30 w 186"/>
                  <a:gd name="T61" fmla="*/ 90 h 138"/>
                  <a:gd name="T62" fmla="*/ 28 w 186"/>
                  <a:gd name="T63" fmla="*/ 94 h 138"/>
                  <a:gd name="T64" fmla="*/ 28 w 186"/>
                  <a:gd name="T65" fmla="*/ 104 h 138"/>
                  <a:gd name="T66" fmla="*/ 30 w 186"/>
                  <a:gd name="T67" fmla="*/ 118 h 138"/>
                  <a:gd name="T68" fmla="*/ 34 w 186"/>
                  <a:gd name="T69" fmla="*/ 122 h 138"/>
                  <a:gd name="T70" fmla="*/ 42 w 186"/>
                  <a:gd name="T71" fmla="*/ 130 h 138"/>
                  <a:gd name="T72" fmla="*/ 52 w 186"/>
                  <a:gd name="T73" fmla="*/ 138 h 138"/>
                  <a:gd name="T74" fmla="*/ 56 w 186"/>
                  <a:gd name="T75" fmla="*/ 138 h 138"/>
                  <a:gd name="T76" fmla="*/ 62 w 186"/>
                  <a:gd name="T77" fmla="*/ 136 h 138"/>
                  <a:gd name="T78" fmla="*/ 82 w 186"/>
                  <a:gd name="T79" fmla="*/ 128 h 138"/>
                  <a:gd name="T80" fmla="*/ 98 w 186"/>
                  <a:gd name="T81" fmla="*/ 128 h 138"/>
                  <a:gd name="T82" fmla="*/ 114 w 186"/>
                  <a:gd name="T83" fmla="*/ 122 h 138"/>
                  <a:gd name="T84" fmla="*/ 126 w 186"/>
                  <a:gd name="T85" fmla="*/ 112 h 138"/>
                  <a:gd name="T86" fmla="*/ 140 w 186"/>
                  <a:gd name="T87" fmla="*/ 94 h 138"/>
                  <a:gd name="T88" fmla="*/ 140 w 186"/>
                  <a:gd name="T89" fmla="*/ 90 h 138"/>
                  <a:gd name="T90" fmla="*/ 144 w 186"/>
                  <a:gd name="T91" fmla="*/ 70 h 138"/>
                  <a:gd name="T92" fmla="*/ 154 w 186"/>
                  <a:gd name="T93" fmla="*/ 60 h 138"/>
                  <a:gd name="T94" fmla="*/ 166 w 186"/>
                  <a:gd name="T95" fmla="*/ 52 h 138"/>
                  <a:gd name="T96" fmla="*/ 184 w 186"/>
                  <a:gd name="T97" fmla="*/ 42 h 138"/>
                  <a:gd name="T98" fmla="*/ 186 w 186"/>
                  <a:gd name="T99" fmla="*/ 30 h 138"/>
                  <a:gd name="T100" fmla="*/ 184 w 186"/>
                  <a:gd name="T101" fmla="*/ 24 h 138"/>
                  <a:gd name="T102" fmla="*/ 168 w 186"/>
                  <a:gd name="T103" fmla="*/ 22 h 138"/>
                  <a:gd name="T104" fmla="*/ 154 w 186"/>
                  <a:gd name="T105" fmla="*/ 18 h 138"/>
                  <a:gd name="T106" fmla="*/ 144 w 186"/>
                  <a:gd name="T107" fmla="*/ 18 h 138"/>
                  <a:gd name="T108" fmla="*/ 116 w 186"/>
                  <a:gd name="T109" fmla="*/ 8 h 138"/>
                  <a:gd name="T110" fmla="*/ 92 w 186"/>
                  <a:gd name="T111" fmla="*/ 6 h 138"/>
                  <a:gd name="T112" fmla="*/ 92 w 186"/>
                  <a:gd name="T113" fmla="*/ 6 h 138"/>
                  <a:gd name="T114" fmla="*/ 66 w 186"/>
                  <a:gd name="T115" fmla="*/ 4 h 138"/>
                  <a:gd name="T116" fmla="*/ 46 w 186"/>
                  <a:gd name="T117" fmla="*/ 2 h 138"/>
                  <a:gd name="T118" fmla="*/ 26 w 186"/>
                  <a:gd name="T11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6" h="138">
                    <a:moveTo>
                      <a:pt x="26" y="4"/>
                    </a:moveTo>
                    <a:lnTo>
                      <a:pt x="46" y="6"/>
                    </a:lnTo>
                    <a:lnTo>
                      <a:pt x="64" y="8"/>
                    </a:lnTo>
                    <a:lnTo>
                      <a:pt x="76" y="12"/>
                    </a:lnTo>
                    <a:lnTo>
                      <a:pt x="92" y="10"/>
                    </a:lnTo>
                    <a:lnTo>
                      <a:pt x="108" y="12"/>
                    </a:lnTo>
                    <a:lnTo>
                      <a:pt x="116" y="12"/>
                    </a:lnTo>
                    <a:lnTo>
                      <a:pt x="128" y="18"/>
                    </a:lnTo>
                    <a:lnTo>
                      <a:pt x="142" y="22"/>
                    </a:lnTo>
                    <a:lnTo>
                      <a:pt x="154" y="22"/>
                    </a:lnTo>
                    <a:lnTo>
                      <a:pt x="166" y="26"/>
                    </a:lnTo>
                    <a:lnTo>
                      <a:pt x="182" y="26"/>
                    </a:lnTo>
                    <a:lnTo>
                      <a:pt x="182" y="30"/>
                    </a:lnTo>
                    <a:lnTo>
                      <a:pt x="182" y="40"/>
                    </a:lnTo>
                    <a:lnTo>
                      <a:pt x="176" y="42"/>
                    </a:lnTo>
                    <a:lnTo>
                      <a:pt x="166" y="48"/>
                    </a:lnTo>
                    <a:lnTo>
                      <a:pt x="156" y="48"/>
                    </a:lnTo>
                    <a:lnTo>
                      <a:pt x="150" y="58"/>
                    </a:lnTo>
                    <a:lnTo>
                      <a:pt x="140" y="66"/>
                    </a:lnTo>
                    <a:lnTo>
                      <a:pt x="136" y="74"/>
                    </a:lnTo>
                    <a:lnTo>
                      <a:pt x="134" y="82"/>
                    </a:lnTo>
                    <a:lnTo>
                      <a:pt x="138" y="92"/>
                    </a:lnTo>
                    <a:lnTo>
                      <a:pt x="132" y="98"/>
                    </a:lnTo>
                    <a:lnTo>
                      <a:pt x="124" y="108"/>
                    </a:lnTo>
                    <a:lnTo>
                      <a:pt x="116" y="110"/>
                    </a:lnTo>
                    <a:lnTo>
                      <a:pt x="110" y="120"/>
                    </a:lnTo>
                    <a:lnTo>
                      <a:pt x="98" y="124"/>
                    </a:lnTo>
                    <a:lnTo>
                      <a:pt x="82" y="124"/>
                    </a:lnTo>
                    <a:lnTo>
                      <a:pt x="72" y="126"/>
                    </a:lnTo>
                    <a:lnTo>
                      <a:pt x="60" y="132"/>
                    </a:lnTo>
                    <a:lnTo>
                      <a:pt x="56" y="134"/>
                    </a:lnTo>
                    <a:lnTo>
                      <a:pt x="46" y="128"/>
                    </a:lnTo>
                    <a:lnTo>
                      <a:pt x="44" y="120"/>
                    </a:lnTo>
                    <a:lnTo>
                      <a:pt x="38" y="118"/>
                    </a:lnTo>
                    <a:lnTo>
                      <a:pt x="34" y="118"/>
                    </a:lnTo>
                    <a:lnTo>
                      <a:pt x="30" y="108"/>
                    </a:lnTo>
                    <a:lnTo>
                      <a:pt x="34" y="104"/>
                    </a:lnTo>
                    <a:lnTo>
                      <a:pt x="32" y="94"/>
                    </a:lnTo>
                    <a:lnTo>
                      <a:pt x="36" y="90"/>
                    </a:lnTo>
                    <a:lnTo>
                      <a:pt x="32" y="82"/>
                    </a:lnTo>
                    <a:lnTo>
                      <a:pt x="32" y="80"/>
                    </a:lnTo>
                    <a:lnTo>
                      <a:pt x="36" y="76"/>
                    </a:lnTo>
                    <a:lnTo>
                      <a:pt x="38" y="72"/>
                    </a:lnTo>
                    <a:lnTo>
                      <a:pt x="38" y="50"/>
                    </a:lnTo>
                    <a:lnTo>
                      <a:pt x="48" y="48"/>
                    </a:lnTo>
                    <a:lnTo>
                      <a:pt x="50" y="42"/>
                    </a:lnTo>
                    <a:lnTo>
                      <a:pt x="44" y="36"/>
                    </a:lnTo>
                    <a:lnTo>
                      <a:pt x="24" y="38"/>
                    </a:lnTo>
                    <a:lnTo>
                      <a:pt x="18" y="32"/>
                    </a:lnTo>
                    <a:lnTo>
                      <a:pt x="14" y="30"/>
                    </a:lnTo>
                    <a:lnTo>
                      <a:pt x="10" y="24"/>
                    </a:lnTo>
                    <a:lnTo>
                      <a:pt x="4" y="16"/>
                    </a:lnTo>
                    <a:lnTo>
                      <a:pt x="8" y="12"/>
                    </a:lnTo>
                    <a:lnTo>
                      <a:pt x="18" y="8"/>
                    </a:lnTo>
                    <a:lnTo>
                      <a:pt x="26" y="4"/>
                    </a:lnTo>
                    <a:close/>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3" name="Freeform 554"/>
              <p:cNvSpPr>
                <a:spLocks/>
              </p:cNvSpPr>
              <p:nvPr/>
            </p:nvSpPr>
            <p:spPr bwMode="auto">
              <a:xfrm>
                <a:off x="2759" y="1859"/>
                <a:ext cx="178" cy="130"/>
              </a:xfrm>
              <a:custGeom>
                <a:avLst/>
                <a:gdLst>
                  <a:gd name="T0" fmla="*/ 22 w 178"/>
                  <a:gd name="T1" fmla="*/ 0 h 130"/>
                  <a:gd name="T2" fmla="*/ 42 w 178"/>
                  <a:gd name="T3" fmla="*/ 2 h 130"/>
                  <a:gd name="T4" fmla="*/ 60 w 178"/>
                  <a:gd name="T5" fmla="*/ 4 h 130"/>
                  <a:gd name="T6" fmla="*/ 72 w 178"/>
                  <a:gd name="T7" fmla="*/ 8 h 130"/>
                  <a:gd name="T8" fmla="*/ 88 w 178"/>
                  <a:gd name="T9" fmla="*/ 6 h 130"/>
                  <a:gd name="T10" fmla="*/ 104 w 178"/>
                  <a:gd name="T11" fmla="*/ 8 h 130"/>
                  <a:gd name="T12" fmla="*/ 112 w 178"/>
                  <a:gd name="T13" fmla="*/ 8 h 130"/>
                  <a:gd name="T14" fmla="*/ 124 w 178"/>
                  <a:gd name="T15" fmla="*/ 14 h 130"/>
                  <a:gd name="T16" fmla="*/ 138 w 178"/>
                  <a:gd name="T17" fmla="*/ 18 h 130"/>
                  <a:gd name="T18" fmla="*/ 150 w 178"/>
                  <a:gd name="T19" fmla="*/ 18 h 130"/>
                  <a:gd name="T20" fmla="*/ 162 w 178"/>
                  <a:gd name="T21" fmla="*/ 22 h 130"/>
                  <a:gd name="T22" fmla="*/ 178 w 178"/>
                  <a:gd name="T23" fmla="*/ 22 h 130"/>
                  <a:gd name="T24" fmla="*/ 178 w 178"/>
                  <a:gd name="T25" fmla="*/ 26 h 130"/>
                  <a:gd name="T26" fmla="*/ 178 w 178"/>
                  <a:gd name="T27" fmla="*/ 36 h 130"/>
                  <a:gd name="T28" fmla="*/ 172 w 178"/>
                  <a:gd name="T29" fmla="*/ 38 h 130"/>
                  <a:gd name="T30" fmla="*/ 162 w 178"/>
                  <a:gd name="T31" fmla="*/ 44 h 130"/>
                  <a:gd name="T32" fmla="*/ 152 w 178"/>
                  <a:gd name="T33" fmla="*/ 44 h 130"/>
                  <a:gd name="T34" fmla="*/ 146 w 178"/>
                  <a:gd name="T35" fmla="*/ 54 h 130"/>
                  <a:gd name="T36" fmla="*/ 136 w 178"/>
                  <a:gd name="T37" fmla="*/ 62 h 130"/>
                  <a:gd name="T38" fmla="*/ 132 w 178"/>
                  <a:gd name="T39" fmla="*/ 70 h 130"/>
                  <a:gd name="T40" fmla="*/ 130 w 178"/>
                  <a:gd name="T41" fmla="*/ 78 h 130"/>
                  <a:gd name="T42" fmla="*/ 134 w 178"/>
                  <a:gd name="T43" fmla="*/ 88 h 130"/>
                  <a:gd name="T44" fmla="*/ 128 w 178"/>
                  <a:gd name="T45" fmla="*/ 94 h 130"/>
                  <a:gd name="T46" fmla="*/ 120 w 178"/>
                  <a:gd name="T47" fmla="*/ 104 h 130"/>
                  <a:gd name="T48" fmla="*/ 112 w 178"/>
                  <a:gd name="T49" fmla="*/ 106 h 130"/>
                  <a:gd name="T50" fmla="*/ 106 w 178"/>
                  <a:gd name="T51" fmla="*/ 116 h 130"/>
                  <a:gd name="T52" fmla="*/ 94 w 178"/>
                  <a:gd name="T53" fmla="*/ 120 h 130"/>
                  <a:gd name="T54" fmla="*/ 78 w 178"/>
                  <a:gd name="T55" fmla="*/ 120 h 130"/>
                  <a:gd name="T56" fmla="*/ 68 w 178"/>
                  <a:gd name="T57" fmla="*/ 122 h 130"/>
                  <a:gd name="T58" fmla="*/ 56 w 178"/>
                  <a:gd name="T59" fmla="*/ 128 h 130"/>
                  <a:gd name="T60" fmla="*/ 52 w 178"/>
                  <a:gd name="T61" fmla="*/ 130 h 130"/>
                  <a:gd name="T62" fmla="*/ 42 w 178"/>
                  <a:gd name="T63" fmla="*/ 124 h 130"/>
                  <a:gd name="T64" fmla="*/ 40 w 178"/>
                  <a:gd name="T65" fmla="*/ 116 h 130"/>
                  <a:gd name="T66" fmla="*/ 34 w 178"/>
                  <a:gd name="T67" fmla="*/ 114 h 130"/>
                  <a:gd name="T68" fmla="*/ 30 w 178"/>
                  <a:gd name="T69" fmla="*/ 114 h 130"/>
                  <a:gd name="T70" fmla="*/ 26 w 178"/>
                  <a:gd name="T71" fmla="*/ 104 h 130"/>
                  <a:gd name="T72" fmla="*/ 30 w 178"/>
                  <a:gd name="T73" fmla="*/ 100 h 130"/>
                  <a:gd name="T74" fmla="*/ 28 w 178"/>
                  <a:gd name="T75" fmla="*/ 90 h 130"/>
                  <a:gd name="T76" fmla="*/ 32 w 178"/>
                  <a:gd name="T77" fmla="*/ 86 h 130"/>
                  <a:gd name="T78" fmla="*/ 28 w 178"/>
                  <a:gd name="T79" fmla="*/ 78 h 130"/>
                  <a:gd name="T80" fmla="*/ 28 w 178"/>
                  <a:gd name="T81" fmla="*/ 76 h 130"/>
                  <a:gd name="T82" fmla="*/ 32 w 178"/>
                  <a:gd name="T83" fmla="*/ 72 h 130"/>
                  <a:gd name="T84" fmla="*/ 34 w 178"/>
                  <a:gd name="T85" fmla="*/ 68 h 130"/>
                  <a:gd name="T86" fmla="*/ 34 w 178"/>
                  <a:gd name="T87" fmla="*/ 46 h 130"/>
                  <a:gd name="T88" fmla="*/ 44 w 178"/>
                  <a:gd name="T89" fmla="*/ 44 h 130"/>
                  <a:gd name="T90" fmla="*/ 46 w 178"/>
                  <a:gd name="T91" fmla="*/ 38 h 130"/>
                  <a:gd name="T92" fmla="*/ 40 w 178"/>
                  <a:gd name="T93" fmla="*/ 32 h 130"/>
                  <a:gd name="T94" fmla="*/ 20 w 178"/>
                  <a:gd name="T95" fmla="*/ 34 h 130"/>
                  <a:gd name="T96" fmla="*/ 14 w 178"/>
                  <a:gd name="T97" fmla="*/ 28 h 130"/>
                  <a:gd name="T98" fmla="*/ 10 w 178"/>
                  <a:gd name="T99" fmla="*/ 26 h 130"/>
                  <a:gd name="T100" fmla="*/ 6 w 178"/>
                  <a:gd name="T101" fmla="*/ 20 h 130"/>
                  <a:gd name="T102" fmla="*/ 0 w 178"/>
                  <a:gd name="T103" fmla="*/ 12 h 130"/>
                  <a:gd name="T104" fmla="*/ 4 w 178"/>
                  <a:gd name="T105" fmla="*/ 8 h 130"/>
                  <a:gd name="T106" fmla="*/ 14 w 178"/>
                  <a:gd name="T107" fmla="*/ 4 h 130"/>
                  <a:gd name="T108" fmla="*/ 22 w 178"/>
                  <a:gd name="T10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0">
                    <a:moveTo>
                      <a:pt x="22" y="0"/>
                    </a:moveTo>
                    <a:lnTo>
                      <a:pt x="42" y="2"/>
                    </a:lnTo>
                    <a:lnTo>
                      <a:pt x="60" y="4"/>
                    </a:lnTo>
                    <a:lnTo>
                      <a:pt x="72" y="8"/>
                    </a:lnTo>
                    <a:lnTo>
                      <a:pt x="88" y="6"/>
                    </a:lnTo>
                    <a:lnTo>
                      <a:pt x="104" y="8"/>
                    </a:lnTo>
                    <a:lnTo>
                      <a:pt x="112" y="8"/>
                    </a:lnTo>
                    <a:lnTo>
                      <a:pt x="124" y="14"/>
                    </a:lnTo>
                    <a:lnTo>
                      <a:pt x="138" y="18"/>
                    </a:lnTo>
                    <a:lnTo>
                      <a:pt x="150" y="18"/>
                    </a:lnTo>
                    <a:lnTo>
                      <a:pt x="162" y="22"/>
                    </a:lnTo>
                    <a:lnTo>
                      <a:pt x="178" y="22"/>
                    </a:lnTo>
                    <a:lnTo>
                      <a:pt x="178" y="26"/>
                    </a:lnTo>
                    <a:lnTo>
                      <a:pt x="178" y="36"/>
                    </a:lnTo>
                    <a:lnTo>
                      <a:pt x="172" y="38"/>
                    </a:lnTo>
                    <a:lnTo>
                      <a:pt x="162" y="44"/>
                    </a:lnTo>
                    <a:lnTo>
                      <a:pt x="152" y="44"/>
                    </a:lnTo>
                    <a:lnTo>
                      <a:pt x="146" y="54"/>
                    </a:lnTo>
                    <a:lnTo>
                      <a:pt x="136" y="62"/>
                    </a:lnTo>
                    <a:lnTo>
                      <a:pt x="132" y="70"/>
                    </a:lnTo>
                    <a:lnTo>
                      <a:pt x="130" y="78"/>
                    </a:lnTo>
                    <a:lnTo>
                      <a:pt x="134" y="88"/>
                    </a:lnTo>
                    <a:lnTo>
                      <a:pt x="128" y="94"/>
                    </a:lnTo>
                    <a:lnTo>
                      <a:pt x="120" y="104"/>
                    </a:lnTo>
                    <a:lnTo>
                      <a:pt x="112" y="106"/>
                    </a:lnTo>
                    <a:lnTo>
                      <a:pt x="106" y="116"/>
                    </a:lnTo>
                    <a:lnTo>
                      <a:pt x="94" y="120"/>
                    </a:lnTo>
                    <a:lnTo>
                      <a:pt x="78" y="120"/>
                    </a:lnTo>
                    <a:lnTo>
                      <a:pt x="68" y="122"/>
                    </a:lnTo>
                    <a:lnTo>
                      <a:pt x="56" y="128"/>
                    </a:lnTo>
                    <a:lnTo>
                      <a:pt x="52" y="130"/>
                    </a:lnTo>
                    <a:lnTo>
                      <a:pt x="42" y="124"/>
                    </a:lnTo>
                    <a:lnTo>
                      <a:pt x="40" y="116"/>
                    </a:lnTo>
                    <a:lnTo>
                      <a:pt x="34" y="114"/>
                    </a:lnTo>
                    <a:lnTo>
                      <a:pt x="30" y="114"/>
                    </a:lnTo>
                    <a:lnTo>
                      <a:pt x="26" y="104"/>
                    </a:lnTo>
                    <a:lnTo>
                      <a:pt x="30" y="100"/>
                    </a:lnTo>
                    <a:lnTo>
                      <a:pt x="28" y="90"/>
                    </a:lnTo>
                    <a:lnTo>
                      <a:pt x="32" y="86"/>
                    </a:lnTo>
                    <a:lnTo>
                      <a:pt x="28" y="78"/>
                    </a:lnTo>
                    <a:lnTo>
                      <a:pt x="28" y="76"/>
                    </a:lnTo>
                    <a:lnTo>
                      <a:pt x="32" y="72"/>
                    </a:lnTo>
                    <a:lnTo>
                      <a:pt x="34" y="68"/>
                    </a:lnTo>
                    <a:lnTo>
                      <a:pt x="34" y="46"/>
                    </a:lnTo>
                    <a:lnTo>
                      <a:pt x="44" y="44"/>
                    </a:lnTo>
                    <a:lnTo>
                      <a:pt x="46" y="38"/>
                    </a:lnTo>
                    <a:lnTo>
                      <a:pt x="40" y="32"/>
                    </a:lnTo>
                    <a:lnTo>
                      <a:pt x="20" y="34"/>
                    </a:lnTo>
                    <a:lnTo>
                      <a:pt x="14" y="28"/>
                    </a:lnTo>
                    <a:lnTo>
                      <a:pt x="10" y="26"/>
                    </a:lnTo>
                    <a:lnTo>
                      <a:pt x="6" y="20"/>
                    </a:lnTo>
                    <a:lnTo>
                      <a:pt x="0" y="12"/>
                    </a:lnTo>
                    <a:lnTo>
                      <a:pt x="4" y="8"/>
                    </a:lnTo>
                    <a:lnTo>
                      <a:pt x="14" y="4"/>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4" name="Freeform 555"/>
              <p:cNvSpPr>
                <a:spLocks/>
              </p:cNvSpPr>
              <p:nvPr/>
            </p:nvSpPr>
            <p:spPr bwMode="auto">
              <a:xfrm>
                <a:off x="2755" y="1855"/>
                <a:ext cx="186" cy="138"/>
              </a:xfrm>
              <a:custGeom>
                <a:avLst/>
                <a:gdLst>
                  <a:gd name="T0" fmla="*/ 26 w 186"/>
                  <a:gd name="T1" fmla="*/ 0 h 138"/>
                  <a:gd name="T2" fmla="*/ 16 w 186"/>
                  <a:gd name="T3" fmla="*/ 4 h 138"/>
                  <a:gd name="T4" fmla="*/ 6 w 186"/>
                  <a:gd name="T5" fmla="*/ 8 h 138"/>
                  <a:gd name="T6" fmla="*/ 2 w 186"/>
                  <a:gd name="T7" fmla="*/ 12 h 138"/>
                  <a:gd name="T8" fmla="*/ 0 w 186"/>
                  <a:gd name="T9" fmla="*/ 16 h 138"/>
                  <a:gd name="T10" fmla="*/ 6 w 186"/>
                  <a:gd name="T11" fmla="*/ 26 h 138"/>
                  <a:gd name="T12" fmla="*/ 10 w 186"/>
                  <a:gd name="T13" fmla="*/ 32 h 138"/>
                  <a:gd name="T14" fmla="*/ 16 w 186"/>
                  <a:gd name="T15" fmla="*/ 36 h 138"/>
                  <a:gd name="T16" fmla="*/ 22 w 186"/>
                  <a:gd name="T17" fmla="*/ 40 h 138"/>
                  <a:gd name="T18" fmla="*/ 24 w 186"/>
                  <a:gd name="T19" fmla="*/ 42 h 138"/>
                  <a:gd name="T20" fmla="*/ 42 w 186"/>
                  <a:gd name="T21" fmla="*/ 40 h 138"/>
                  <a:gd name="T22" fmla="*/ 44 w 186"/>
                  <a:gd name="T23" fmla="*/ 44 h 138"/>
                  <a:gd name="T24" fmla="*/ 38 w 186"/>
                  <a:gd name="T25" fmla="*/ 46 h 138"/>
                  <a:gd name="T26" fmla="*/ 34 w 186"/>
                  <a:gd name="T27" fmla="*/ 50 h 138"/>
                  <a:gd name="T28" fmla="*/ 34 w 186"/>
                  <a:gd name="T29" fmla="*/ 72 h 138"/>
                  <a:gd name="T30" fmla="*/ 30 w 186"/>
                  <a:gd name="T31" fmla="*/ 76 h 138"/>
                  <a:gd name="T32" fmla="*/ 28 w 186"/>
                  <a:gd name="T33" fmla="*/ 82 h 138"/>
                  <a:gd name="T34" fmla="*/ 28 w 186"/>
                  <a:gd name="T35" fmla="*/ 86 h 138"/>
                  <a:gd name="T36" fmla="*/ 30 w 186"/>
                  <a:gd name="T37" fmla="*/ 90 h 138"/>
                  <a:gd name="T38" fmla="*/ 28 w 186"/>
                  <a:gd name="T39" fmla="*/ 92 h 138"/>
                  <a:gd name="T40" fmla="*/ 30 w 186"/>
                  <a:gd name="T41" fmla="*/ 102 h 138"/>
                  <a:gd name="T42" fmla="*/ 28 w 186"/>
                  <a:gd name="T43" fmla="*/ 104 h 138"/>
                  <a:gd name="T44" fmla="*/ 26 w 186"/>
                  <a:gd name="T45" fmla="*/ 110 h 138"/>
                  <a:gd name="T46" fmla="*/ 30 w 186"/>
                  <a:gd name="T47" fmla="*/ 118 h 138"/>
                  <a:gd name="T48" fmla="*/ 34 w 186"/>
                  <a:gd name="T49" fmla="*/ 122 h 138"/>
                  <a:gd name="T50" fmla="*/ 40 w 186"/>
                  <a:gd name="T51" fmla="*/ 124 h 138"/>
                  <a:gd name="T52" fmla="*/ 42 w 186"/>
                  <a:gd name="T53" fmla="*/ 130 h 138"/>
                  <a:gd name="T54" fmla="*/ 52 w 186"/>
                  <a:gd name="T55" fmla="*/ 138 h 138"/>
                  <a:gd name="T56" fmla="*/ 56 w 186"/>
                  <a:gd name="T57" fmla="*/ 138 h 138"/>
                  <a:gd name="T58" fmla="*/ 56 w 186"/>
                  <a:gd name="T59" fmla="*/ 138 h 138"/>
                  <a:gd name="T60" fmla="*/ 62 w 186"/>
                  <a:gd name="T61" fmla="*/ 136 h 138"/>
                  <a:gd name="T62" fmla="*/ 72 w 186"/>
                  <a:gd name="T63" fmla="*/ 130 h 138"/>
                  <a:gd name="T64" fmla="*/ 98 w 186"/>
                  <a:gd name="T65" fmla="*/ 128 h 138"/>
                  <a:gd name="T66" fmla="*/ 98 w 186"/>
                  <a:gd name="T67" fmla="*/ 128 h 138"/>
                  <a:gd name="T68" fmla="*/ 112 w 186"/>
                  <a:gd name="T69" fmla="*/ 122 h 138"/>
                  <a:gd name="T70" fmla="*/ 118 w 186"/>
                  <a:gd name="T71" fmla="*/ 114 h 138"/>
                  <a:gd name="T72" fmla="*/ 126 w 186"/>
                  <a:gd name="T73" fmla="*/ 112 h 138"/>
                  <a:gd name="T74" fmla="*/ 134 w 186"/>
                  <a:gd name="T75" fmla="*/ 100 h 138"/>
                  <a:gd name="T76" fmla="*/ 140 w 186"/>
                  <a:gd name="T77" fmla="*/ 94 h 138"/>
                  <a:gd name="T78" fmla="*/ 140 w 186"/>
                  <a:gd name="T79" fmla="*/ 90 h 138"/>
                  <a:gd name="T80" fmla="*/ 140 w 186"/>
                  <a:gd name="T81" fmla="*/ 76 h 138"/>
                  <a:gd name="T82" fmla="*/ 152 w 186"/>
                  <a:gd name="T83" fmla="*/ 60 h 138"/>
                  <a:gd name="T84" fmla="*/ 154 w 186"/>
                  <a:gd name="T85" fmla="*/ 60 h 138"/>
                  <a:gd name="T86" fmla="*/ 166 w 186"/>
                  <a:gd name="T87" fmla="*/ 52 h 138"/>
                  <a:gd name="T88" fmla="*/ 168 w 186"/>
                  <a:gd name="T89" fmla="*/ 52 h 138"/>
                  <a:gd name="T90" fmla="*/ 184 w 186"/>
                  <a:gd name="T91" fmla="*/ 42 h 138"/>
                  <a:gd name="T92" fmla="*/ 184 w 186"/>
                  <a:gd name="T93" fmla="*/ 40 h 138"/>
                  <a:gd name="T94" fmla="*/ 186 w 186"/>
                  <a:gd name="T95" fmla="*/ 30 h 138"/>
                  <a:gd name="T96" fmla="*/ 184 w 186"/>
                  <a:gd name="T97" fmla="*/ 24 h 138"/>
                  <a:gd name="T98" fmla="*/ 182 w 186"/>
                  <a:gd name="T99" fmla="*/ 22 h 138"/>
                  <a:gd name="T100" fmla="*/ 156 w 186"/>
                  <a:gd name="T101" fmla="*/ 18 h 138"/>
                  <a:gd name="T102" fmla="*/ 154 w 186"/>
                  <a:gd name="T103" fmla="*/ 18 h 138"/>
                  <a:gd name="T104" fmla="*/ 154 w 186"/>
                  <a:gd name="T105" fmla="*/ 18 h 138"/>
                  <a:gd name="T106" fmla="*/ 130 w 186"/>
                  <a:gd name="T107" fmla="*/ 14 h 138"/>
                  <a:gd name="T108" fmla="*/ 116 w 186"/>
                  <a:gd name="T109" fmla="*/ 8 h 138"/>
                  <a:gd name="T110" fmla="*/ 108 w 186"/>
                  <a:gd name="T111" fmla="*/ 8 h 138"/>
                  <a:gd name="T112" fmla="*/ 92 w 186"/>
                  <a:gd name="T113" fmla="*/ 6 h 138"/>
                  <a:gd name="T114" fmla="*/ 92 w 186"/>
                  <a:gd name="T115" fmla="*/ 6 h 138"/>
                  <a:gd name="T116" fmla="*/ 76 w 186"/>
                  <a:gd name="T117" fmla="*/ 8 h 138"/>
                  <a:gd name="T118" fmla="*/ 66 w 186"/>
                  <a:gd name="T119" fmla="*/ 4 h 138"/>
                  <a:gd name="T120" fmla="*/ 46 w 186"/>
                  <a:gd name="T121" fmla="*/ 2 h 138"/>
                  <a:gd name="T122" fmla="*/ 26 w 186"/>
                  <a:gd name="T123" fmla="*/ 0 h 138"/>
                  <a:gd name="T124" fmla="*/ 26 w 186"/>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38">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5" name="Freeform 556"/>
              <p:cNvSpPr>
                <a:spLocks/>
              </p:cNvSpPr>
              <p:nvPr/>
            </p:nvSpPr>
            <p:spPr bwMode="auto">
              <a:xfrm>
                <a:off x="3025" y="1763"/>
                <a:ext cx="116" cy="54"/>
              </a:xfrm>
              <a:custGeom>
                <a:avLst/>
                <a:gdLst>
                  <a:gd name="T0" fmla="*/ 70 w 116"/>
                  <a:gd name="T1" fmla="*/ 54 h 54"/>
                  <a:gd name="T2" fmla="*/ 62 w 116"/>
                  <a:gd name="T3" fmla="*/ 50 h 54"/>
                  <a:gd name="T4" fmla="*/ 48 w 116"/>
                  <a:gd name="T5" fmla="*/ 52 h 54"/>
                  <a:gd name="T6" fmla="*/ 46 w 116"/>
                  <a:gd name="T7" fmla="*/ 52 h 54"/>
                  <a:gd name="T8" fmla="*/ 38 w 116"/>
                  <a:gd name="T9" fmla="*/ 48 h 54"/>
                  <a:gd name="T10" fmla="*/ 36 w 116"/>
                  <a:gd name="T11" fmla="*/ 42 h 54"/>
                  <a:gd name="T12" fmla="*/ 26 w 116"/>
                  <a:gd name="T13" fmla="*/ 46 h 54"/>
                  <a:gd name="T14" fmla="*/ 24 w 116"/>
                  <a:gd name="T15" fmla="*/ 48 h 54"/>
                  <a:gd name="T16" fmla="*/ 14 w 116"/>
                  <a:gd name="T17" fmla="*/ 48 h 54"/>
                  <a:gd name="T18" fmla="*/ 12 w 116"/>
                  <a:gd name="T19" fmla="*/ 44 h 54"/>
                  <a:gd name="T20" fmla="*/ 2 w 116"/>
                  <a:gd name="T21" fmla="*/ 42 h 54"/>
                  <a:gd name="T22" fmla="*/ 0 w 116"/>
                  <a:gd name="T23" fmla="*/ 42 h 54"/>
                  <a:gd name="T24" fmla="*/ 0 w 116"/>
                  <a:gd name="T25" fmla="*/ 40 h 54"/>
                  <a:gd name="T26" fmla="*/ 2 w 116"/>
                  <a:gd name="T27" fmla="*/ 34 h 54"/>
                  <a:gd name="T28" fmla="*/ 18 w 116"/>
                  <a:gd name="T29" fmla="*/ 32 h 54"/>
                  <a:gd name="T30" fmla="*/ 38 w 116"/>
                  <a:gd name="T31" fmla="*/ 24 h 54"/>
                  <a:gd name="T32" fmla="*/ 38 w 116"/>
                  <a:gd name="T33" fmla="*/ 24 h 54"/>
                  <a:gd name="T34" fmla="*/ 48 w 116"/>
                  <a:gd name="T35" fmla="*/ 18 h 54"/>
                  <a:gd name="T36" fmla="*/ 48 w 116"/>
                  <a:gd name="T37" fmla="*/ 18 h 54"/>
                  <a:gd name="T38" fmla="*/ 62 w 116"/>
                  <a:gd name="T39" fmla="*/ 6 h 54"/>
                  <a:gd name="T40" fmla="*/ 62 w 116"/>
                  <a:gd name="T41" fmla="*/ 4 h 54"/>
                  <a:gd name="T42" fmla="*/ 64 w 116"/>
                  <a:gd name="T43" fmla="*/ 4 h 54"/>
                  <a:gd name="T44" fmla="*/ 76 w 116"/>
                  <a:gd name="T45" fmla="*/ 4 h 54"/>
                  <a:gd name="T46" fmla="*/ 78 w 116"/>
                  <a:gd name="T47" fmla="*/ 0 h 54"/>
                  <a:gd name="T48" fmla="*/ 78 w 116"/>
                  <a:gd name="T49" fmla="*/ 0 h 54"/>
                  <a:gd name="T50" fmla="*/ 80 w 116"/>
                  <a:gd name="T51" fmla="*/ 0 h 54"/>
                  <a:gd name="T52" fmla="*/ 98 w 116"/>
                  <a:gd name="T53" fmla="*/ 8 h 54"/>
                  <a:gd name="T54" fmla="*/ 106 w 116"/>
                  <a:gd name="T55" fmla="*/ 8 h 54"/>
                  <a:gd name="T56" fmla="*/ 110 w 116"/>
                  <a:gd name="T57" fmla="*/ 12 h 54"/>
                  <a:gd name="T58" fmla="*/ 116 w 116"/>
                  <a:gd name="T59" fmla="*/ 22 h 54"/>
                  <a:gd name="T60" fmla="*/ 116 w 116"/>
                  <a:gd name="T61" fmla="*/ 24 h 54"/>
                  <a:gd name="T62" fmla="*/ 116 w 116"/>
                  <a:gd name="T63" fmla="*/ 26 h 54"/>
                  <a:gd name="T64" fmla="*/ 102 w 116"/>
                  <a:gd name="T65" fmla="*/ 36 h 54"/>
                  <a:gd name="T66" fmla="*/ 100 w 116"/>
                  <a:gd name="T67" fmla="*/ 40 h 54"/>
                  <a:gd name="T68" fmla="*/ 94 w 116"/>
                  <a:gd name="T69" fmla="*/ 46 h 54"/>
                  <a:gd name="T70" fmla="*/ 70 w 116"/>
                  <a:gd name="T71" fmla="*/ 54 h 54"/>
                  <a:gd name="T72" fmla="*/ 70 w 116"/>
                  <a:gd name="T7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54">
                    <a:moveTo>
                      <a:pt x="70" y="54"/>
                    </a:moveTo>
                    <a:lnTo>
                      <a:pt x="70" y="54"/>
                    </a:lnTo>
                    <a:lnTo>
                      <a:pt x="70" y="54"/>
                    </a:lnTo>
                    <a:lnTo>
                      <a:pt x="62" y="50"/>
                    </a:lnTo>
                    <a:lnTo>
                      <a:pt x="62" y="50"/>
                    </a:lnTo>
                    <a:lnTo>
                      <a:pt x="48" y="52"/>
                    </a:lnTo>
                    <a:lnTo>
                      <a:pt x="48" y="52"/>
                    </a:lnTo>
                    <a:lnTo>
                      <a:pt x="46" y="52"/>
                    </a:lnTo>
                    <a:lnTo>
                      <a:pt x="38" y="48"/>
                    </a:lnTo>
                    <a:lnTo>
                      <a:pt x="38" y="48"/>
                    </a:lnTo>
                    <a:lnTo>
                      <a:pt x="36" y="46"/>
                    </a:lnTo>
                    <a:lnTo>
                      <a:pt x="36" y="42"/>
                    </a:lnTo>
                    <a:lnTo>
                      <a:pt x="26" y="42"/>
                    </a:lnTo>
                    <a:lnTo>
                      <a:pt x="26" y="46"/>
                    </a:lnTo>
                    <a:lnTo>
                      <a:pt x="26" y="46"/>
                    </a:lnTo>
                    <a:lnTo>
                      <a:pt x="24" y="48"/>
                    </a:lnTo>
                    <a:lnTo>
                      <a:pt x="14" y="48"/>
                    </a:lnTo>
                    <a:lnTo>
                      <a:pt x="14" y="48"/>
                    </a:lnTo>
                    <a:lnTo>
                      <a:pt x="12" y="46"/>
                    </a:lnTo>
                    <a:lnTo>
                      <a:pt x="12" y="44"/>
                    </a:lnTo>
                    <a:lnTo>
                      <a:pt x="10" y="44"/>
                    </a:lnTo>
                    <a:lnTo>
                      <a:pt x="2" y="42"/>
                    </a:lnTo>
                    <a:lnTo>
                      <a:pt x="2" y="42"/>
                    </a:lnTo>
                    <a:lnTo>
                      <a:pt x="0" y="42"/>
                    </a:lnTo>
                    <a:lnTo>
                      <a:pt x="0" y="42"/>
                    </a:lnTo>
                    <a:lnTo>
                      <a:pt x="0" y="40"/>
                    </a:lnTo>
                    <a:lnTo>
                      <a:pt x="2" y="34"/>
                    </a:lnTo>
                    <a:lnTo>
                      <a:pt x="2" y="34"/>
                    </a:lnTo>
                    <a:lnTo>
                      <a:pt x="4" y="32"/>
                    </a:lnTo>
                    <a:lnTo>
                      <a:pt x="18" y="32"/>
                    </a:lnTo>
                    <a:lnTo>
                      <a:pt x="28" y="30"/>
                    </a:lnTo>
                    <a:lnTo>
                      <a:pt x="38" y="24"/>
                    </a:lnTo>
                    <a:lnTo>
                      <a:pt x="38" y="24"/>
                    </a:lnTo>
                    <a:lnTo>
                      <a:pt x="38" y="24"/>
                    </a:lnTo>
                    <a:lnTo>
                      <a:pt x="48" y="24"/>
                    </a:lnTo>
                    <a:lnTo>
                      <a:pt x="48" y="18"/>
                    </a:lnTo>
                    <a:lnTo>
                      <a:pt x="48" y="18"/>
                    </a:lnTo>
                    <a:lnTo>
                      <a:pt x="48" y="18"/>
                    </a:lnTo>
                    <a:lnTo>
                      <a:pt x="62" y="10"/>
                    </a:lnTo>
                    <a:lnTo>
                      <a:pt x="62" y="6"/>
                    </a:lnTo>
                    <a:lnTo>
                      <a:pt x="62" y="6"/>
                    </a:lnTo>
                    <a:lnTo>
                      <a:pt x="62" y="4"/>
                    </a:lnTo>
                    <a:lnTo>
                      <a:pt x="62" y="4"/>
                    </a:lnTo>
                    <a:lnTo>
                      <a:pt x="64" y="4"/>
                    </a:lnTo>
                    <a:lnTo>
                      <a:pt x="64" y="4"/>
                    </a:lnTo>
                    <a:lnTo>
                      <a:pt x="76" y="4"/>
                    </a:lnTo>
                    <a:lnTo>
                      <a:pt x="78" y="0"/>
                    </a:lnTo>
                    <a:lnTo>
                      <a:pt x="78" y="0"/>
                    </a:lnTo>
                    <a:lnTo>
                      <a:pt x="78" y="0"/>
                    </a:lnTo>
                    <a:lnTo>
                      <a:pt x="78" y="0"/>
                    </a:lnTo>
                    <a:lnTo>
                      <a:pt x="80" y="0"/>
                    </a:lnTo>
                    <a:lnTo>
                      <a:pt x="80" y="0"/>
                    </a:lnTo>
                    <a:lnTo>
                      <a:pt x="80" y="0"/>
                    </a:lnTo>
                    <a:lnTo>
                      <a:pt x="98" y="8"/>
                    </a:lnTo>
                    <a:lnTo>
                      <a:pt x="106" y="8"/>
                    </a:lnTo>
                    <a:lnTo>
                      <a:pt x="106" y="8"/>
                    </a:lnTo>
                    <a:lnTo>
                      <a:pt x="108" y="8"/>
                    </a:lnTo>
                    <a:lnTo>
                      <a:pt x="110" y="12"/>
                    </a:lnTo>
                    <a:lnTo>
                      <a:pt x="110" y="20"/>
                    </a:lnTo>
                    <a:lnTo>
                      <a:pt x="116" y="22"/>
                    </a:lnTo>
                    <a:lnTo>
                      <a:pt x="116" y="22"/>
                    </a:lnTo>
                    <a:lnTo>
                      <a:pt x="116" y="24"/>
                    </a:lnTo>
                    <a:lnTo>
                      <a:pt x="116" y="24"/>
                    </a:lnTo>
                    <a:lnTo>
                      <a:pt x="116" y="26"/>
                    </a:lnTo>
                    <a:lnTo>
                      <a:pt x="106" y="30"/>
                    </a:lnTo>
                    <a:lnTo>
                      <a:pt x="102" y="36"/>
                    </a:lnTo>
                    <a:lnTo>
                      <a:pt x="100" y="40"/>
                    </a:lnTo>
                    <a:lnTo>
                      <a:pt x="100" y="40"/>
                    </a:lnTo>
                    <a:lnTo>
                      <a:pt x="100" y="42"/>
                    </a:lnTo>
                    <a:lnTo>
                      <a:pt x="94" y="46"/>
                    </a:lnTo>
                    <a:lnTo>
                      <a:pt x="82" y="52"/>
                    </a:lnTo>
                    <a:lnTo>
                      <a:pt x="70" y="54"/>
                    </a:lnTo>
                    <a:lnTo>
                      <a:pt x="70" y="54"/>
                    </a:lnTo>
                    <a:lnTo>
                      <a:pt x="70" y="54"/>
                    </a:lnTo>
                    <a:lnTo>
                      <a:pt x="7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6" name="Freeform 557"/>
              <p:cNvSpPr>
                <a:spLocks noEditPoints="1"/>
              </p:cNvSpPr>
              <p:nvPr/>
            </p:nvSpPr>
            <p:spPr bwMode="auto">
              <a:xfrm>
                <a:off x="3023" y="1761"/>
                <a:ext cx="120" cy="58"/>
              </a:xfrm>
              <a:custGeom>
                <a:avLst/>
                <a:gdLst>
                  <a:gd name="T0" fmla="*/ 98 w 120"/>
                  <a:gd name="T1" fmla="*/ 12 h 58"/>
                  <a:gd name="T2" fmla="*/ 110 w 120"/>
                  <a:gd name="T3" fmla="*/ 14 h 58"/>
                  <a:gd name="T4" fmla="*/ 116 w 120"/>
                  <a:gd name="T5" fmla="*/ 26 h 58"/>
                  <a:gd name="T6" fmla="*/ 102 w 120"/>
                  <a:gd name="T7" fmla="*/ 36 h 58"/>
                  <a:gd name="T8" fmla="*/ 96 w 120"/>
                  <a:gd name="T9" fmla="*/ 46 h 58"/>
                  <a:gd name="T10" fmla="*/ 72 w 120"/>
                  <a:gd name="T11" fmla="*/ 54 h 58"/>
                  <a:gd name="T12" fmla="*/ 50 w 120"/>
                  <a:gd name="T13" fmla="*/ 52 h 58"/>
                  <a:gd name="T14" fmla="*/ 40 w 120"/>
                  <a:gd name="T15" fmla="*/ 42 h 58"/>
                  <a:gd name="T16" fmla="*/ 26 w 120"/>
                  <a:gd name="T17" fmla="*/ 48 h 58"/>
                  <a:gd name="T18" fmla="*/ 14 w 120"/>
                  <a:gd name="T19" fmla="*/ 44 h 58"/>
                  <a:gd name="T20" fmla="*/ 4 w 120"/>
                  <a:gd name="T21" fmla="*/ 42 h 58"/>
                  <a:gd name="T22" fmla="*/ 20 w 120"/>
                  <a:gd name="T23" fmla="*/ 36 h 58"/>
                  <a:gd name="T24" fmla="*/ 40 w 120"/>
                  <a:gd name="T25" fmla="*/ 28 h 58"/>
                  <a:gd name="T26" fmla="*/ 52 w 120"/>
                  <a:gd name="T27" fmla="*/ 20 h 58"/>
                  <a:gd name="T28" fmla="*/ 66 w 120"/>
                  <a:gd name="T29" fmla="*/ 8 h 58"/>
                  <a:gd name="T30" fmla="*/ 82 w 120"/>
                  <a:gd name="T31" fmla="*/ 4 h 58"/>
                  <a:gd name="T32" fmla="*/ 82 w 120"/>
                  <a:gd name="T33" fmla="*/ 0 h 58"/>
                  <a:gd name="T34" fmla="*/ 80 w 120"/>
                  <a:gd name="T35" fmla="*/ 0 h 58"/>
                  <a:gd name="T36" fmla="*/ 76 w 120"/>
                  <a:gd name="T37" fmla="*/ 4 h 58"/>
                  <a:gd name="T38" fmla="*/ 66 w 120"/>
                  <a:gd name="T39" fmla="*/ 4 h 58"/>
                  <a:gd name="T40" fmla="*/ 66 w 120"/>
                  <a:gd name="T41" fmla="*/ 4 h 58"/>
                  <a:gd name="T42" fmla="*/ 62 w 120"/>
                  <a:gd name="T43" fmla="*/ 4 h 58"/>
                  <a:gd name="T44" fmla="*/ 62 w 120"/>
                  <a:gd name="T45" fmla="*/ 10 h 58"/>
                  <a:gd name="T46" fmla="*/ 50 w 120"/>
                  <a:gd name="T47" fmla="*/ 18 h 58"/>
                  <a:gd name="T48" fmla="*/ 48 w 120"/>
                  <a:gd name="T49" fmla="*/ 24 h 58"/>
                  <a:gd name="T50" fmla="*/ 40 w 120"/>
                  <a:gd name="T51" fmla="*/ 24 h 58"/>
                  <a:gd name="T52" fmla="*/ 30 w 120"/>
                  <a:gd name="T53" fmla="*/ 30 h 58"/>
                  <a:gd name="T54" fmla="*/ 6 w 120"/>
                  <a:gd name="T55" fmla="*/ 32 h 58"/>
                  <a:gd name="T56" fmla="*/ 4 w 120"/>
                  <a:gd name="T57" fmla="*/ 34 h 58"/>
                  <a:gd name="T58" fmla="*/ 0 w 120"/>
                  <a:gd name="T59" fmla="*/ 40 h 58"/>
                  <a:gd name="T60" fmla="*/ 0 w 120"/>
                  <a:gd name="T61" fmla="*/ 44 h 58"/>
                  <a:gd name="T62" fmla="*/ 4 w 120"/>
                  <a:gd name="T63" fmla="*/ 46 h 58"/>
                  <a:gd name="T64" fmla="*/ 10 w 120"/>
                  <a:gd name="T65" fmla="*/ 48 h 58"/>
                  <a:gd name="T66" fmla="*/ 12 w 120"/>
                  <a:gd name="T67" fmla="*/ 48 h 58"/>
                  <a:gd name="T68" fmla="*/ 14 w 120"/>
                  <a:gd name="T69" fmla="*/ 50 h 58"/>
                  <a:gd name="T70" fmla="*/ 16 w 120"/>
                  <a:gd name="T71" fmla="*/ 52 h 58"/>
                  <a:gd name="T72" fmla="*/ 26 w 120"/>
                  <a:gd name="T73" fmla="*/ 52 h 58"/>
                  <a:gd name="T74" fmla="*/ 30 w 120"/>
                  <a:gd name="T75" fmla="*/ 50 h 58"/>
                  <a:gd name="T76" fmla="*/ 36 w 120"/>
                  <a:gd name="T77" fmla="*/ 46 h 58"/>
                  <a:gd name="T78" fmla="*/ 36 w 120"/>
                  <a:gd name="T79" fmla="*/ 48 h 58"/>
                  <a:gd name="T80" fmla="*/ 38 w 120"/>
                  <a:gd name="T81" fmla="*/ 52 h 58"/>
                  <a:gd name="T82" fmla="*/ 48 w 120"/>
                  <a:gd name="T83" fmla="*/ 56 h 58"/>
                  <a:gd name="T84" fmla="*/ 50 w 120"/>
                  <a:gd name="T85" fmla="*/ 56 h 58"/>
                  <a:gd name="T86" fmla="*/ 62 w 120"/>
                  <a:gd name="T87" fmla="*/ 54 h 58"/>
                  <a:gd name="T88" fmla="*/ 70 w 120"/>
                  <a:gd name="T89" fmla="*/ 58 h 58"/>
                  <a:gd name="T90" fmla="*/ 72 w 120"/>
                  <a:gd name="T91" fmla="*/ 58 h 58"/>
                  <a:gd name="T92" fmla="*/ 84 w 120"/>
                  <a:gd name="T93" fmla="*/ 56 h 58"/>
                  <a:gd name="T94" fmla="*/ 84 w 120"/>
                  <a:gd name="T95" fmla="*/ 56 h 58"/>
                  <a:gd name="T96" fmla="*/ 96 w 120"/>
                  <a:gd name="T97" fmla="*/ 50 h 58"/>
                  <a:gd name="T98" fmla="*/ 102 w 120"/>
                  <a:gd name="T99" fmla="*/ 46 h 58"/>
                  <a:gd name="T100" fmla="*/ 104 w 120"/>
                  <a:gd name="T101" fmla="*/ 44 h 58"/>
                  <a:gd name="T102" fmla="*/ 110 w 120"/>
                  <a:gd name="T103" fmla="*/ 34 h 58"/>
                  <a:gd name="T104" fmla="*/ 118 w 120"/>
                  <a:gd name="T105" fmla="*/ 30 h 58"/>
                  <a:gd name="T106" fmla="*/ 120 w 120"/>
                  <a:gd name="T107" fmla="*/ 28 h 58"/>
                  <a:gd name="T108" fmla="*/ 114 w 120"/>
                  <a:gd name="T109" fmla="*/ 20 h 58"/>
                  <a:gd name="T110" fmla="*/ 114 w 120"/>
                  <a:gd name="T111" fmla="*/ 14 h 58"/>
                  <a:gd name="T112" fmla="*/ 112 w 120"/>
                  <a:gd name="T113" fmla="*/ 10 h 58"/>
                  <a:gd name="T114" fmla="*/ 110 w 120"/>
                  <a:gd name="T115" fmla="*/ 8 h 58"/>
                  <a:gd name="T116" fmla="*/ 100 w 120"/>
                  <a:gd name="T117" fmla="*/ 8 h 58"/>
                  <a:gd name="T118" fmla="*/ 82 w 120"/>
                  <a:gd name="T119" fmla="*/ 0 h 58"/>
                  <a:gd name="T120" fmla="*/ 82 w 120"/>
                  <a:gd name="T1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58">
                    <a:moveTo>
                      <a:pt x="82" y="4"/>
                    </a:moveTo>
                    <a:lnTo>
                      <a:pt x="98" y="12"/>
                    </a:lnTo>
                    <a:lnTo>
                      <a:pt x="108" y="12"/>
                    </a:lnTo>
                    <a:lnTo>
                      <a:pt x="110" y="14"/>
                    </a:lnTo>
                    <a:lnTo>
                      <a:pt x="112" y="22"/>
                    </a:lnTo>
                    <a:lnTo>
                      <a:pt x="116" y="26"/>
                    </a:lnTo>
                    <a:lnTo>
                      <a:pt x="108" y="30"/>
                    </a:lnTo>
                    <a:lnTo>
                      <a:pt x="102" y="36"/>
                    </a:lnTo>
                    <a:lnTo>
                      <a:pt x="100" y="42"/>
                    </a:lnTo>
                    <a:lnTo>
                      <a:pt x="96" y="46"/>
                    </a:lnTo>
                    <a:lnTo>
                      <a:pt x="82" y="52"/>
                    </a:lnTo>
                    <a:lnTo>
                      <a:pt x="72" y="54"/>
                    </a:lnTo>
                    <a:lnTo>
                      <a:pt x="64" y="50"/>
                    </a:lnTo>
                    <a:lnTo>
                      <a:pt x="50" y="52"/>
                    </a:lnTo>
                    <a:lnTo>
                      <a:pt x="40" y="48"/>
                    </a:lnTo>
                    <a:lnTo>
                      <a:pt x="40" y="42"/>
                    </a:lnTo>
                    <a:lnTo>
                      <a:pt x="28" y="42"/>
                    </a:lnTo>
                    <a:lnTo>
                      <a:pt x="26" y="48"/>
                    </a:lnTo>
                    <a:lnTo>
                      <a:pt x="16" y="48"/>
                    </a:lnTo>
                    <a:lnTo>
                      <a:pt x="14" y="44"/>
                    </a:lnTo>
                    <a:lnTo>
                      <a:pt x="12" y="44"/>
                    </a:lnTo>
                    <a:lnTo>
                      <a:pt x="4" y="42"/>
                    </a:lnTo>
                    <a:lnTo>
                      <a:pt x="6" y="36"/>
                    </a:lnTo>
                    <a:lnTo>
                      <a:pt x="20" y="36"/>
                    </a:lnTo>
                    <a:lnTo>
                      <a:pt x="32" y="34"/>
                    </a:lnTo>
                    <a:lnTo>
                      <a:pt x="40" y="28"/>
                    </a:lnTo>
                    <a:lnTo>
                      <a:pt x="52" y="28"/>
                    </a:lnTo>
                    <a:lnTo>
                      <a:pt x="52" y="20"/>
                    </a:lnTo>
                    <a:lnTo>
                      <a:pt x="66" y="12"/>
                    </a:lnTo>
                    <a:lnTo>
                      <a:pt x="66" y="8"/>
                    </a:lnTo>
                    <a:lnTo>
                      <a:pt x="80" y="10"/>
                    </a:lnTo>
                    <a:lnTo>
                      <a:pt x="82" y="4"/>
                    </a:lnTo>
                    <a:close/>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7" name="Freeform 558"/>
              <p:cNvSpPr>
                <a:spLocks/>
              </p:cNvSpPr>
              <p:nvPr/>
            </p:nvSpPr>
            <p:spPr bwMode="auto">
              <a:xfrm>
                <a:off x="3027" y="1765"/>
                <a:ext cx="112" cy="50"/>
              </a:xfrm>
              <a:custGeom>
                <a:avLst/>
                <a:gdLst>
                  <a:gd name="T0" fmla="*/ 78 w 112"/>
                  <a:gd name="T1" fmla="*/ 0 h 50"/>
                  <a:gd name="T2" fmla="*/ 94 w 112"/>
                  <a:gd name="T3" fmla="*/ 8 h 50"/>
                  <a:gd name="T4" fmla="*/ 104 w 112"/>
                  <a:gd name="T5" fmla="*/ 8 h 50"/>
                  <a:gd name="T6" fmla="*/ 106 w 112"/>
                  <a:gd name="T7" fmla="*/ 10 h 50"/>
                  <a:gd name="T8" fmla="*/ 108 w 112"/>
                  <a:gd name="T9" fmla="*/ 18 h 50"/>
                  <a:gd name="T10" fmla="*/ 112 w 112"/>
                  <a:gd name="T11" fmla="*/ 22 h 50"/>
                  <a:gd name="T12" fmla="*/ 104 w 112"/>
                  <a:gd name="T13" fmla="*/ 26 h 50"/>
                  <a:gd name="T14" fmla="*/ 98 w 112"/>
                  <a:gd name="T15" fmla="*/ 32 h 50"/>
                  <a:gd name="T16" fmla="*/ 96 w 112"/>
                  <a:gd name="T17" fmla="*/ 38 h 50"/>
                  <a:gd name="T18" fmla="*/ 92 w 112"/>
                  <a:gd name="T19" fmla="*/ 42 h 50"/>
                  <a:gd name="T20" fmla="*/ 78 w 112"/>
                  <a:gd name="T21" fmla="*/ 48 h 50"/>
                  <a:gd name="T22" fmla="*/ 68 w 112"/>
                  <a:gd name="T23" fmla="*/ 50 h 50"/>
                  <a:gd name="T24" fmla="*/ 60 w 112"/>
                  <a:gd name="T25" fmla="*/ 46 h 50"/>
                  <a:gd name="T26" fmla="*/ 46 w 112"/>
                  <a:gd name="T27" fmla="*/ 48 h 50"/>
                  <a:gd name="T28" fmla="*/ 36 w 112"/>
                  <a:gd name="T29" fmla="*/ 44 h 50"/>
                  <a:gd name="T30" fmla="*/ 36 w 112"/>
                  <a:gd name="T31" fmla="*/ 38 h 50"/>
                  <a:gd name="T32" fmla="*/ 24 w 112"/>
                  <a:gd name="T33" fmla="*/ 38 h 50"/>
                  <a:gd name="T34" fmla="*/ 22 w 112"/>
                  <a:gd name="T35" fmla="*/ 44 h 50"/>
                  <a:gd name="T36" fmla="*/ 12 w 112"/>
                  <a:gd name="T37" fmla="*/ 44 h 50"/>
                  <a:gd name="T38" fmla="*/ 10 w 112"/>
                  <a:gd name="T39" fmla="*/ 40 h 50"/>
                  <a:gd name="T40" fmla="*/ 8 w 112"/>
                  <a:gd name="T41" fmla="*/ 40 h 50"/>
                  <a:gd name="T42" fmla="*/ 0 w 112"/>
                  <a:gd name="T43" fmla="*/ 38 h 50"/>
                  <a:gd name="T44" fmla="*/ 2 w 112"/>
                  <a:gd name="T45" fmla="*/ 32 h 50"/>
                  <a:gd name="T46" fmla="*/ 16 w 112"/>
                  <a:gd name="T47" fmla="*/ 32 h 50"/>
                  <a:gd name="T48" fmla="*/ 28 w 112"/>
                  <a:gd name="T49" fmla="*/ 30 h 50"/>
                  <a:gd name="T50" fmla="*/ 36 w 112"/>
                  <a:gd name="T51" fmla="*/ 24 h 50"/>
                  <a:gd name="T52" fmla="*/ 48 w 112"/>
                  <a:gd name="T53" fmla="*/ 24 h 50"/>
                  <a:gd name="T54" fmla="*/ 48 w 112"/>
                  <a:gd name="T55" fmla="*/ 16 h 50"/>
                  <a:gd name="T56" fmla="*/ 62 w 112"/>
                  <a:gd name="T57" fmla="*/ 8 h 50"/>
                  <a:gd name="T58" fmla="*/ 62 w 112"/>
                  <a:gd name="T59" fmla="*/ 4 h 50"/>
                  <a:gd name="T60" fmla="*/ 76 w 112"/>
                  <a:gd name="T61" fmla="*/ 6 h 50"/>
                  <a:gd name="T62" fmla="*/ 78 w 11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50">
                    <a:moveTo>
                      <a:pt x="78" y="0"/>
                    </a:moveTo>
                    <a:lnTo>
                      <a:pt x="94" y="8"/>
                    </a:lnTo>
                    <a:lnTo>
                      <a:pt x="104" y="8"/>
                    </a:lnTo>
                    <a:lnTo>
                      <a:pt x="106" y="10"/>
                    </a:lnTo>
                    <a:lnTo>
                      <a:pt x="108" y="18"/>
                    </a:lnTo>
                    <a:lnTo>
                      <a:pt x="112" y="22"/>
                    </a:lnTo>
                    <a:lnTo>
                      <a:pt x="104" y="26"/>
                    </a:lnTo>
                    <a:lnTo>
                      <a:pt x="98" y="32"/>
                    </a:lnTo>
                    <a:lnTo>
                      <a:pt x="96" y="38"/>
                    </a:lnTo>
                    <a:lnTo>
                      <a:pt x="92" y="42"/>
                    </a:lnTo>
                    <a:lnTo>
                      <a:pt x="78" y="48"/>
                    </a:lnTo>
                    <a:lnTo>
                      <a:pt x="68" y="50"/>
                    </a:lnTo>
                    <a:lnTo>
                      <a:pt x="60" y="46"/>
                    </a:lnTo>
                    <a:lnTo>
                      <a:pt x="46" y="48"/>
                    </a:lnTo>
                    <a:lnTo>
                      <a:pt x="36" y="44"/>
                    </a:lnTo>
                    <a:lnTo>
                      <a:pt x="36" y="38"/>
                    </a:lnTo>
                    <a:lnTo>
                      <a:pt x="24" y="38"/>
                    </a:lnTo>
                    <a:lnTo>
                      <a:pt x="22" y="44"/>
                    </a:lnTo>
                    <a:lnTo>
                      <a:pt x="12" y="44"/>
                    </a:lnTo>
                    <a:lnTo>
                      <a:pt x="10" y="40"/>
                    </a:lnTo>
                    <a:lnTo>
                      <a:pt x="8" y="40"/>
                    </a:lnTo>
                    <a:lnTo>
                      <a:pt x="0" y="38"/>
                    </a:lnTo>
                    <a:lnTo>
                      <a:pt x="2" y="32"/>
                    </a:lnTo>
                    <a:lnTo>
                      <a:pt x="16" y="32"/>
                    </a:lnTo>
                    <a:lnTo>
                      <a:pt x="28" y="30"/>
                    </a:lnTo>
                    <a:lnTo>
                      <a:pt x="36" y="24"/>
                    </a:lnTo>
                    <a:lnTo>
                      <a:pt x="48" y="24"/>
                    </a:lnTo>
                    <a:lnTo>
                      <a:pt x="48" y="16"/>
                    </a:lnTo>
                    <a:lnTo>
                      <a:pt x="62" y="8"/>
                    </a:lnTo>
                    <a:lnTo>
                      <a:pt x="62" y="4"/>
                    </a:lnTo>
                    <a:lnTo>
                      <a:pt x="76" y="6"/>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8" name="Freeform 559"/>
              <p:cNvSpPr>
                <a:spLocks/>
              </p:cNvSpPr>
              <p:nvPr/>
            </p:nvSpPr>
            <p:spPr bwMode="auto">
              <a:xfrm>
                <a:off x="3023" y="1761"/>
                <a:ext cx="120" cy="58"/>
              </a:xfrm>
              <a:custGeom>
                <a:avLst/>
                <a:gdLst>
                  <a:gd name="T0" fmla="*/ 82 w 120"/>
                  <a:gd name="T1" fmla="*/ 0 h 58"/>
                  <a:gd name="T2" fmla="*/ 80 w 120"/>
                  <a:gd name="T3" fmla="*/ 0 h 58"/>
                  <a:gd name="T4" fmla="*/ 76 w 120"/>
                  <a:gd name="T5" fmla="*/ 4 h 58"/>
                  <a:gd name="T6" fmla="*/ 66 w 120"/>
                  <a:gd name="T7" fmla="*/ 4 h 58"/>
                  <a:gd name="T8" fmla="*/ 66 w 120"/>
                  <a:gd name="T9" fmla="*/ 4 h 58"/>
                  <a:gd name="T10" fmla="*/ 62 w 120"/>
                  <a:gd name="T11" fmla="*/ 4 h 58"/>
                  <a:gd name="T12" fmla="*/ 62 w 120"/>
                  <a:gd name="T13" fmla="*/ 10 h 58"/>
                  <a:gd name="T14" fmla="*/ 50 w 120"/>
                  <a:gd name="T15" fmla="*/ 18 h 58"/>
                  <a:gd name="T16" fmla="*/ 48 w 120"/>
                  <a:gd name="T17" fmla="*/ 24 h 58"/>
                  <a:gd name="T18" fmla="*/ 40 w 120"/>
                  <a:gd name="T19" fmla="*/ 24 h 58"/>
                  <a:gd name="T20" fmla="*/ 30 w 120"/>
                  <a:gd name="T21" fmla="*/ 30 h 58"/>
                  <a:gd name="T22" fmla="*/ 6 w 120"/>
                  <a:gd name="T23" fmla="*/ 32 h 58"/>
                  <a:gd name="T24" fmla="*/ 4 w 120"/>
                  <a:gd name="T25" fmla="*/ 34 h 58"/>
                  <a:gd name="T26" fmla="*/ 0 w 120"/>
                  <a:gd name="T27" fmla="*/ 40 h 58"/>
                  <a:gd name="T28" fmla="*/ 0 w 120"/>
                  <a:gd name="T29" fmla="*/ 44 h 58"/>
                  <a:gd name="T30" fmla="*/ 4 w 120"/>
                  <a:gd name="T31" fmla="*/ 46 h 58"/>
                  <a:gd name="T32" fmla="*/ 10 w 120"/>
                  <a:gd name="T33" fmla="*/ 48 h 58"/>
                  <a:gd name="T34" fmla="*/ 12 w 120"/>
                  <a:gd name="T35" fmla="*/ 48 h 58"/>
                  <a:gd name="T36" fmla="*/ 14 w 120"/>
                  <a:gd name="T37" fmla="*/ 50 h 58"/>
                  <a:gd name="T38" fmla="*/ 16 w 120"/>
                  <a:gd name="T39" fmla="*/ 52 h 58"/>
                  <a:gd name="T40" fmla="*/ 26 w 120"/>
                  <a:gd name="T41" fmla="*/ 52 h 58"/>
                  <a:gd name="T42" fmla="*/ 30 w 120"/>
                  <a:gd name="T43" fmla="*/ 50 h 58"/>
                  <a:gd name="T44" fmla="*/ 36 w 120"/>
                  <a:gd name="T45" fmla="*/ 46 h 58"/>
                  <a:gd name="T46" fmla="*/ 36 w 120"/>
                  <a:gd name="T47" fmla="*/ 48 h 58"/>
                  <a:gd name="T48" fmla="*/ 38 w 120"/>
                  <a:gd name="T49" fmla="*/ 52 h 58"/>
                  <a:gd name="T50" fmla="*/ 48 w 120"/>
                  <a:gd name="T51" fmla="*/ 56 h 58"/>
                  <a:gd name="T52" fmla="*/ 50 w 120"/>
                  <a:gd name="T53" fmla="*/ 56 h 58"/>
                  <a:gd name="T54" fmla="*/ 62 w 120"/>
                  <a:gd name="T55" fmla="*/ 54 h 58"/>
                  <a:gd name="T56" fmla="*/ 70 w 120"/>
                  <a:gd name="T57" fmla="*/ 58 h 58"/>
                  <a:gd name="T58" fmla="*/ 72 w 120"/>
                  <a:gd name="T59" fmla="*/ 58 h 58"/>
                  <a:gd name="T60" fmla="*/ 84 w 120"/>
                  <a:gd name="T61" fmla="*/ 56 h 58"/>
                  <a:gd name="T62" fmla="*/ 84 w 120"/>
                  <a:gd name="T63" fmla="*/ 56 h 58"/>
                  <a:gd name="T64" fmla="*/ 96 w 120"/>
                  <a:gd name="T65" fmla="*/ 50 h 58"/>
                  <a:gd name="T66" fmla="*/ 102 w 120"/>
                  <a:gd name="T67" fmla="*/ 46 h 58"/>
                  <a:gd name="T68" fmla="*/ 104 w 120"/>
                  <a:gd name="T69" fmla="*/ 44 h 58"/>
                  <a:gd name="T70" fmla="*/ 110 w 120"/>
                  <a:gd name="T71" fmla="*/ 34 h 58"/>
                  <a:gd name="T72" fmla="*/ 118 w 120"/>
                  <a:gd name="T73" fmla="*/ 30 h 58"/>
                  <a:gd name="T74" fmla="*/ 120 w 120"/>
                  <a:gd name="T75" fmla="*/ 28 h 58"/>
                  <a:gd name="T76" fmla="*/ 114 w 120"/>
                  <a:gd name="T77" fmla="*/ 20 h 58"/>
                  <a:gd name="T78" fmla="*/ 114 w 120"/>
                  <a:gd name="T79" fmla="*/ 14 h 58"/>
                  <a:gd name="T80" fmla="*/ 112 w 120"/>
                  <a:gd name="T81" fmla="*/ 10 h 58"/>
                  <a:gd name="T82" fmla="*/ 110 w 120"/>
                  <a:gd name="T83" fmla="*/ 8 h 58"/>
                  <a:gd name="T84" fmla="*/ 100 w 120"/>
                  <a:gd name="T85" fmla="*/ 8 h 58"/>
                  <a:gd name="T86" fmla="*/ 82 w 120"/>
                  <a:gd name="T87" fmla="*/ 0 h 58"/>
                  <a:gd name="T88" fmla="*/ 82 w 120"/>
                  <a:gd name="T8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58">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9" name="Freeform 560"/>
              <p:cNvSpPr>
                <a:spLocks/>
              </p:cNvSpPr>
              <p:nvPr/>
            </p:nvSpPr>
            <p:spPr bwMode="auto">
              <a:xfrm>
                <a:off x="3171" y="1645"/>
                <a:ext cx="48" cy="20"/>
              </a:xfrm>
              <a:custGeom>
                <a:avLst/>
                <a:gdLst>
                  <a:gd name="T0" fmla="*/ 6 w 48"/>
                  <a:gd name="T1" fmla="*/ 20 h 20"/>
                  <a:gd name="T2" fmla="*/ 6 w 48"/>
                  <a:gd name="T3" fmla="*/ 20 h 20"/>
                  <a:gd name="T4" fmla="*/ 4 w 48"/>
                  <a:gd name="T5" fmla="*/ 20 h 20"/>
                  <a:gd name="T6" fmla="*/ 0 w 48"/>
                  <a:gd name="T7" fmla="*/ 12 h 20"/>
                  <a:gd name="T8" fmla="*/ 0 w 48"/>
                  <a:gd name="T9" fmla="*/ 12 h 20"/>
                  <a:gd name="T10" fmla="*/ 0 w 48"/>
                  <a:gd name="T11" fmla="*/ 10 h 20"/>
                  <a:gd name="T12" fmla="*/ 0 w 48"/>
                  <a:gd name="T13" fmla="*/ 10 h 20"/>
                  <a:gd name="T14" fmla="*/ 2 w 48"/>
                  <a:gd name="T15" fmla="*/ 10 h 20"/>
                  <a:gd name="T16" fmla="*/ 6 w 48"/>
                  <a:gd name="T17" fmla="*/ 10 h 20"/>
                  <a:gd name="T18" fmla="*/ 6 w 48"/>
                  <a:gd name="T19" fmla="*/ 6 h 20"/>
                  <a:gd name="T20" fmla="*/ 6 w 48"/>
                  <a:gd name="T21" fmla="*/ 6 h 20"/>
                  <a:gd name="T22" fmla="*/ 8 w 48"/>
                  <a:gd name="T23" fmla="*/ 4 h 20"/>
                  <a:gd name="T24" fmla="*/ 8 w 48"/>
                  <a:gd name="T25" fmla="*/ 4 h 20"/>
                  <a:gd name="T26" fmla="*/ 22 w 48"/>
                  <a:gd name="T27" fmla="*/ 6 h 20"/>
                  <a:gd name="T28" fmla="*/ 26 w 48"/>
                  <a:gd name="T29" fmla="*/ 0 h 20"/>
                  <a:gd name="T30" fmla="*/ 26 w 48"/>
                  <a:gd name="T31" fmla="*/ 0 h 20"/>
                  <a:gd name="T32" fmla="*/ 28 w 48"/>
                  <a:gd name="T33" fmla="*/ 0 h 20"/>
                  <a:gd name="T34" fmla="*/ 28 w 48"/>
                  <a:gd name="T35" fmla="*/ 0 h 20"/>
                  <a:gd name="T36" fmla="*/ 28 w 48"/>
                  <a:gd name="T37" fmla="*/ 0 h 20"/>
                  <a:gd name="T38" fmla="*/ 48 w 48"/>
                  <a:gd name="T39" fmla="*/ 6 h 20"/>
                  <a:gd name="T40" fmla="*/ 48 w 48"/>
                  <a:gd name="T41" fmla="*/ 6 h 20"/>
                  <a:gd name="T42" fmla="*/ 48 w 48"/>
                  <a:gd name="T43" fmla="*/ 8 h 20"/>
                  <a:gd name="T44" fmla="*/ 46 w 48"/>
                  <a:gd name="T45" fmla="*/ 18 h 20"/>
                  <a:gd name="T46" fmla="*/ 46 w 48"/>
                  <a:gd name="T47" fmla="*/ 18 h 20"/>
                  <a:gd name="T48" fmla="*/ 44 w 48"/>
                  <a:gd name="T49" fmla="*/ 18 h 20"/>
                  <a:gd name="T50" fmla="*/ 44 w 48"/>
                  <a:gd name="T51" fmla="*/ 18 h 20"/>
                  <a:gd name="T52" fmla="*/ 6 w 48"/>
                  <a:gd name="T53" fmla="*/ 20 h 20"/>
                  <a:gd name="T54" fmla="*/ 6 w 48"/>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20">
                    <a:moveTo>
                      <a:pt x="6" y="20"/>
                    </a:moveTo>
                    <a:lnTo>
                      <a:pt x="6" y="20"/>
                    </a:lnTo>
                    <a:lnTo>
                      <a:pt x="4" y="20"/>
                    </a:lnTo>
                    <a:lnTo>
                      <a:pt x="0" y="12"/>
                    </a:lnTo>
                    <a:lnTo>
                      <a:pt x="0" y="12"/>
                    </a:lnTo>
                    <a:lnTo>
                      <a:pt x="0" y="10"/>
                    </a:lnTo>
                    <a:lnTo>
                      <a:pt x="0" y="10"/>
                    </a:lnTo>
                    <a:lnTo>
                      <a:pt x="2" y="10"/>
                    </a:lnTo>
                    <a:lnTo>
                      <a:pt x="6" y="10"/>
                    </a:lnTo>
                    <a:lnTo>
                      <a:pt x="6" y="6"/>
                    </a:lnTo>
                    <a:lnTo>
                      <a:pt x="6" y="6"/>
                    </a:lnTo>
                    <a:lnTo>
                      <a:pt x="8" y="4"/>
                    </a:lnTo>
                    <a:lnTo>
                      <a:pt x="8" y="4"/>
                    </a:lnTo>
                    <a:lnTo>
                      <a:pt x="22" y="6"/>
                    </a:lnTo>
                    <a:lnTo>
                      <a:pt x="26" y="0"/>
                    </a:lnTo>
                    <a:lnTo>
                      <a:pt x="26" y="0"/>
                    </a:lnTo>
                    <a:lnTo>
                      <a:pt x="28" y="0"/>
                    </a:lnTo>
                    <a:lnTo>
                      <a:pt x="28" y="0"/>
                    </a:lnTo>
                    <a:lnTo>
                      <a:pt x="28" y="0"/>
                    </a:lnTo>
                    <a:lnTo>
                      <a:pt x="48" y="6"/>
                    </a:lnTo>
                    <a:lnTo>
                      <a:pt x="48" y="6"/>
                    </a:lnTo>
                    <a:lnTo>
                      <a:pt x="48" y="8"/>
                    </a:lnTo>
                    <a:lnTo>
                      <a:pt x="46" y="18"/>
                    </a:lnTo>
                    <a:lnTo>
                      <a:pt x="46" y="18"/>
                    </a:lnTo>
                    <a:lnTo>
                      <a:pt x="44" y="18"/>
                    </a:lnTo>
                    <a:lnTo>
                      <a:pt x="44" y="18"/>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0" name="Freeform 561"/>
              <p:cNvSpPr>
                <a:spLocks noEditPoints="1"/>
              </p:cNvSpPr>
              <p:nvPr/>
            </p:nvSpPr>
            <p:spPr bwMode="auto">
              <a:xfrm>
                <a:off x="3169" y="1643"/>
                <a:ext cx="52" cy="24"/>
              </a:xfrm>
              <a:custGeom>
                <a:avLst/>
                <a:gdLst>
                  <a:gd name="T0" fmla="*/ 30 w 52"/>
                  <a:gd name="T1" fmla="*/ 4 h 24"/>
                  <a:gd name="T2" fmla="*/ 48 w 52"/>
                  <a:gd name="T3" fmla="*/ 10 h 24"/>
                  <a:gd name="T4" fmla="*/ 46 w 52"/>
                  <a:gd name="T5" fmla="*/ 18 h 24"/>
                  <a:gd name="T6" fmla="*/ 8 w 52"/>
                  <a:gd name="T7" fmla="*/ 20 h 24"/>
                  <a:gd name="T8" fmla="*/ 4 w 52"/>
                  <a:gd name="T9" fmla="*/ 14 h 24"/>
                  <a:gd name="T10" fmla="*/ 10 w 52"/>
                  <a:gd name="T11" fmla="*/ 14 h 24"/>
                  <a:gd name="T12" fmla="*/ 10 w 52"/>
                  <a:gd name="T13" fmla="*/ 8 h 24"/>
                  <a:gd name="T14" fmla="*/ 24 w 52"/>
                  <a:gd name="T15" fmla="*/ 10 h 24"/>
                  <a:gd name="T16" fmla="*/ 30 w 52"/>
                  <a:gd name="T17" fmla="*/ 4 h 24"/>
                  <a:gd name="T18" fmla="*/ 30 w 52"/>
                  <a:gd name="T19" fmla="*/ 0 h 24"/>
                  <a:gd name="T20" fmla="*/ 30 w 52"/>
                  <a:gd name="T21" fmla="*/ 0 h 24"/>
                  <a:gd name="T22" fmla="*/ 26 w 52"/>
                  <a:gd name="T23" fmla="*/ 2 h 24"/>
                  <a:gd name="T24" fmla="*/ 22 w 52"/>
                  <a:gd name="T25" fmla="*/ 6 h 24"/>
                  <a:gd name="T26" fmla="*/ 12 w 52"/>
                  <a:gd name="T27" fmla="*/ 4 h 24"/>
                  <a:gd name="T28" fmla="*/ 12 w 52"/>
                  <a:gd name="T29" fmla="*/ 4 h 24"/>
                  <a:gd name="T30" fmla="*/ 10 w 52"/>
                  <a:gd name="T31" fmla="*/ 4 h 24"/>
                  <a:gd name="T32" fmla="*/ 10 w 52"/>
                  <a:gd name="T33" fmla="*/ 4 h 24"/>
                  <a:gd name="T34" fmla="*/ 8 w 52"/>
                  <a:gd name="T35" fmla="*/ 6 h 24"/>
                  <a:gd name="T36" fmla="*/ 6 w 52"/>
                  <a:gd name="T37" fmla="*/ 8 h 24"/>
                  <a:gd name="T38" fmla="*/ 6 w 52"/>
                  <a:gd name="T39" fmla="*/ 10 h 24"/>
                  <a:gd name="T40" fmla="*/ 4 w 52"/>
                  <a:gd name="T41" fmla="*/ 10 h 24"/>
                  <a:gd name="T42" fmla="*/ 4 w 52"/>
                  <a:gd name="T43" fmla="*/ 10 h 24"/>
                  <a:gd name="T44" fmla="*/ 0 w 52"/>
                  <a:gd name="T45" fmla="*/ 12 h 24"/>
                  <a:gd name="T46" fmla="*/ 0 w 52"/>
                  <a:gd name="T47" fmla="*/ 12 h 24"/>
                  <a:gd name="T48" fmla="*/ 0 w 52"/>
                  <a:gd name="T49" fmla="*/ 16 h 24"/>
                  <a:gd name="T50" fmla="*/ 4 w 52"/>
                  <a:gd name="T51" fmla="*/ 22 h 24"/>
                  <a:gd name="T52" fmla="*/ 4 w 52"/>
                  <a:gd name="T53" fmla="*/ 22 h 24"/>
                  <a:gd name="T54" fmla="*/ 8 w 52"/>
                  <a:gd name="T55" fmla="*/ 24 h 24"/>
                  <a:gd name="T56" fmla="*/ 8 w 52"/>
                  <a:gd name="T57" fmla="*/ 24 h 24"/>
                  <a:gd name="T58" fmla="*/ 8 w 52"/>
                  <a:gd name="T59" fmla="*/ 24 h 24"/>
                  <a:gd name="T60" fmla="*/ 48 w 52"/>
                  <a:gd name="T61" fmla="*/ 22 h 24"/>
                  <a:gd name="T62" fmla="*/ 48 w 52"/>
                  <a:gd name="T63" fmla="*/ 22 h 24"/>
                  <a:gd name="T64" fmla="*/ 50 w 52"/>
                  <a:gd name="T65" fmla="*/ 22 h 24"/>
                  <a:gd name="T66" fmla="*/ 50 w 52"/>
                  <a:gd name="T67" fmla="*/ 20 h 24"/>
                  <a:gd name="T68" fmla="*/ 52 w 52"/>
                  <a:gd name="T69" fmla="*/ 10 h 24"/>
                  <a:gd name="T70" fmla="*/ 52 w 52"/>
                  <a:gd name="T71" fmla="*/ 10 h 24"/>
                  <a:gd name="T72" fmla="*/ 52 w 52"/>
                  <a:gd name="T73" fmla="*/ 8 h 24"/>
                  <a:gd name="T74" fmla="*/ 50 w 52"/>
                  <a:gd name="T75" fmla="*/ 6 h 24"/>
                  <a:gd name="T76" fmla="*/ 32 w 52"/>
                  <a:gd name="T77" fmla="*/ 0 h 24"/>
                  <a:gd name="T78" fmla="*/ 32 w 52"/>
                  <a:gd name="T79" fmla="*/ 0 h 24"/>
                  <a:gd name="T80" fmla="*/ 30 w 52"/>
                  <a:gd name="T81" fmla="*/ 0 h 24"/>
                  <a:gd name="T82" fmla="*/ 30 w 52"/>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24">
                    <a:moveTo>
                      <a:pt x="30" y="4"/>
                    </a:moveTo>
                    <a:lnTo>
                      <a:pt x="48" y="10"/>
                    </a:lnTo>
                    <a:lnTo>
                      <a:pt x="46" y="18"/>
                    </a:lnTo>
                    <a:lnTo>
                      <a:pt x="8" y="20"/>
                    </a:lnTo>
                    <a:lnTo>
                      <a:pt x="4" y="14"/>
                    </a:lnTo>
                    <a:lnTo>
                      <a:pt x="10" y="14"/>
                    </a:lnTo>
                    <a:lnTo>
                      <a:pt x="10" y="8"/>
                    </a:lnTo>
                    <a:lnTo>
                      <a:pt x="24" y="10"/>
                    </a:lnTo>
                    <a:lnTo>
                      <a:pt x="30" y="4"/>
                    </a:lnTo>
                    <a:close/>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1" name="Freeform 562"/>
              <p:cNvSpPr>
                <a:spLocks/>
              </p:cNvSpPr>
              <p:nvPr/>
            </p:nvSpPr>
            <p:spPr bwMode="auto">
              <a:xfrm>
                <a:off x="3173" y="1647"/>
                <a:ext cx="44" cy="16"/>
              </a:xfrm>
              <a:custGeom>
                <a:avLst/>
                <a:gdLst>
                  <a:gd name="T0" fmla="*/ 26 w 44"/>
                  <a:gd name="T1" fmla="*/ 0 h 16"/>
                  <a:gd name="T2" fmla="*/ 44 w 44"/>
                  <a:gd name="T3" fmla="*/ 6 h 16"/>
                  <a:gd name="T4" fmla="*/ 42 w 44"/>
                  <a:gd name="T5" fmla="*/ 14 h 16"/>
                  <a:gd name="T6" fmla="*/ 4 w 44"/>
                  <a:gd name="T7" fmla="*/ 16 h 16"/>
                  <a:gd name="T8" fmla="*/ 0 w 44"/>
                  <a:gd name="T9" fmla="*/ 10 h 16"/>
                  <a:gd name="T10" fmla="*/ 6 w 44"/>
                  <a:gd name="T11" fmla="*/ 10 h 16"/>
                  <a:gd name="T12" fmla="*/ 6 w 44"/>
                  <a:gd name="T13" fmla="*/ 4 h 16"/>
                  <a:gd name="T14" fmla="*/ 20 w 44"/>
                  <a:gd name="T15" fmla="*/ 6 h 16"/>
                  <a:gd name="T16" fmla="*/ 26 w 4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26" y="0"/>
                    </a:moveTo>
                    <a:lnTo>
                      <a:pt x="44" y="6"/>
                    </a:lnTo>
                    <a:lnTo>
                      <a:pt x="42" y="14"/>
                    </a:lnTo>
                    <a:lnTo>
                      <a:pt x="4" y="16"/>
                    </a:lnTo>
                    <a:lnTo>
                      <a:pt x="0" y="10"/>
                    </a:lnTo>
                    <a:lnTo>
                      <a:pt x="6" y="10"/>
                    </a:lnTo>
                    <a:lnTo>
                      <a:pt x="6" y="4"/>
                    </a:lnTo>
                    <a:lnTo>
                      <a:pt x="20" y="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2" name="Freeform 563"/>
              <p:cNvSpPr>
                <a:spLocks/>
              </p:cNvSpPr>
              <p:nvPr/>
            </p:nvSpPr>
            <p:spPr bwMode="auto">
              <a:xfrm>
                <a:off x="3169" y="1643"/>
                <a:ext cx="52" cy="24"/>
              </a:xfrm>
              <a:custGeom>
                <a:avLst/>
                <a:gdLst>
                  <a:gd name="T0" fmla="*/ 30 w 52"/>
                  <a:gd name="T1" fmla="*/ 0 h 24"/>
                  <a:gd name="T2" fmla="*/ 30 w 52"/>
                  <a:gd name="T3" fmla="*/ 0 h 24"/>
                  <a:gd name="T4" fmla="*/ 26 w 52"/>
                  <a:gd name="T5" fmla="*/ 2 h 24"/>
                  <a:gd name="T6" fmla="*/ 22 w 52"/>
                  <a:gd name="T7" fmla="*/ 6 h 24"/>
                  <a:gd name="T8" fmla="*/ 12 w 52"/>
                  <a:gd name="T9" fmla="*/ 4 h 24"/>
                  <a:gd name="T10" fmla="*/ 12 w 52"/>
                  <a:gd name="T11" fmla="*/ 4 h 24"/>
                  <a:gd name="T12" fmla="*/ 10 w 52"/>
                  <a:gd name="T13" fmla="*/ 4 h 24"/>
                  <a:gd name="T14" fmla="*/ 10 w 52"/>
                  <a:gd name="T15" fmla="*/ 4 h 24"/>
                  <a:gd name="T16" fmla="*/ 8 w 52"/>
                  <a:gd name="T17" fmla="*/ 6 h 24"/>
                  <a:gd name="T18" fmla="*/ 6 w 52"/>
                  <a:gd name="T19" fmla="*/ 8 h 24"/>
                  <a:gd name="T20" fmla="*/ 6 w 52"/>
                  <a:gd name="T21" fmla="*/ 10 h 24"/>
                  <a:gd name="T22" fmla="*/ 4 w 52"/>
                  <a:gd name="T23" fmla="*/ 10 h 24"/>
                  <a:gd name="T24" fmla="*/ 4 w 52"/>
                  <a:gd name="T25" fmla="*/ 10 h 24"/>
                  <a:gd name="T26" fmla="*/ 0 w 52"/>
                  <a:gd name="T27" fmla="*/ 12 h 24"/>
                  <a:gd name="T28" fmla="*/ 0 w 52"/>
                  <a:gd name="T29" fmla="*/ 12 h 24"/>
                  <a:gd name="T30" fmla="*/ 0 w 52"/>
                  <a:gd name="T31" fmla="*/ 16 h 24"/>
                  <a:gd name="T32" fmla="*/ 4 w 52"/>
                  <a:gd name="T33" fmla="*/ 22 h 24"/>
                  <a:gd name="T34" fmla="*/ 4 w 52"/>
                  <a:gd name="T35" fmla="*/ 22 h 24"/>
                  <a:gd name="T36" fmla="*/ 8 w 52"/>
                  <a:gd name="T37" fmla="*/ 24 h 24"/>
                  <a:gd name="T38" fmla="*/ 8 w 52"/>
                  <a:gd name="T39" fmla="*/ 24 h 24"/>
                  <a:gd name="T40" fmla="*/ 8 w 52"/>
                  <a:gd name="T41" fmla="*/ 24 h 24"/>
                  <a:gd name="T42" fmla="*/ 48 w 52"/>
                  <a:gd name="T43" fmla="*/ 22 h 24"/>
                  <a:gd name="T44" fmla="*/ 48 w 52"/>
                  <a:gd name="T45" fmla="*/ 22 h 24"/>
                  <a:gd name="T46" fmla="*/ 50 w 52"/>
                  <a:gd name="T47" fmla="*/ 22 h 24"/>
                  <a:gd name="T48" fmla="*/ 50 w 52"/>
                  <a:gd name="T49" fmla="*/ 20 h 24"/>
                  <a:gd name="T50" fmla="*/ 52 w 52"/>
                  <a:gd name="T51" fmla="*/ 10 h 24"/>
                  <a:gd name="T52" fmla="*/ 52 w 52"/>
                  <a:gd name="T53" fmla="*/ 10 h 24"/>
                  <a:gd name="T54" fmla="*/ 52 w 52"/>
                  <a:gd name="T55" fmla="*/ 8 h 24"/>
                  <a:gd name="T56" fmla="*/ 50 w 52"/>
                  <a:gd name="T57" fmla="*/ 6 h 24"/>
                  <a:gd name="T58" fmla="*/ 32 w 52"/>
                  <a:gd name="T59" fmla="*/ 0 h 24"/>
                  <a:gd name="T60" fmla="*/ 32 w 52"/>
                  <a:gd name="T61" fmla="*/ 0 h 24"/>
                  <a:gd name="T62" fmla="*/ 30 w 52"/>
                  <a:gd name="T63" fmla="*/ 0 h 24"/>
                  <a:gd name="T64" fmla="*/ 30 w 52"/>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24">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3" name="Freeform 564"/>
              <p:cNvSpPr>
                <a:spLocks/>
              </p:cNvSpPr>
              <p:nvPr/>
            </p:nvSpPr>
            <p:spPr bwMode="auto">
              <a:xfrm>
                <a:off x="3031" y="1639"/>
                <a:ext cx="16" cy="16"/>
              </a:xfrm>
              <a:custGeom>
                <a:avLst/>
                <a:gdLst>
                  <a:gd name="T0" fmla="*/ 6 w 16"/>
                  <a:gd name="T1" fmla="*/ 16 h 16"/>
                  <a:gd name="T2" fmla="*/ 6 w 16"/>
                  <a:gd name="T3" fmla="*/ 16 h 16"/>
                  <a:gd name="T4" fmla="*/ 4 w 16"/>
                  <a:gd name="T5" fmla="*/ 14 h 16"/>
                  <a:gd name="T6" fmla="*/ 0 w 16"/>
                  <a:gd name="T7" fmla="*/ 10 h 16"/>
                  <a:gd name="T8" fmla="*/ 0 w 16"/>
                  <a:gd name="T9" fmla="*/ 10 h 16"/>
                  <a:gd name="T10" fmla="*/ 0 w 16"/>
                  <a:gd name="T11" fmla="*/ 8 h 16"/>
                  <a:gd name="T12" fmla="*/ 2 w 16"/>
                  <a:gd name="T13" fmla="*/ 2 h 16"/>
                  <a:gd name="T14" fmla="*/ 2 w 16"/>
                  <a:gd name="T15" fmla="*/ 2 h 16"/>
                  <a:gd name="T16" fmla="*/ 4 w 16"/>
                  <a:gd name="T17" fmla="*/ 0 h 16"/>
                  <a:gd name="T18" fmla="*/ 14 w 16"/>
                  <a:gd name="T19" fmla="*/ 0 h 16"/>
                  <a:gd name="T20" fmla="*/ 14 w 16"/>
                  <a:gd name="T21" fmla="*/ 0 h 16"/>
                  <a:gd name="T22" fmla="*/ 16 w 16"/>
                  <a:gd name="T23" fmla="*/ 2 h 16"/>
                  <a:gd name="T24" fmla="*/ 16 w 16"/>
                  <a:gd name="T25" fmla="*/ 14 h 16"/>
                  <a:gd name="T26" fmla="*/ 16 w 16"/>
                  <a:gd name="T27" fmla="*/ 14 h 16"/>
                  <a:gd name="T28" fmla="*/ 14 w 16"/>
                  <a:gd name="T29" fmla="*/ 16 h 16"/>
                  <a:gd name="T30" fmla="*/ 6 w 16"/>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6" y="16"/>
                    </a:moveTo>
                    <a:lnTo>
                      <a:pt x="6" y="16"/>
                    </a:lnTo>
                    <a:lnTo>
                      <a:pt x="4" y="14"/>
                    </a:lnTo>
                    <a:lnTo>
                      <a:pt x="0" y="10"/>
                    </a:lnTo>
                    <a:lnTo>
                      <a:pt x="0" y="10"/>
                    </a:lnTo>
                    <a:lnTo>
                      <a:pt x="0" y="8"/>
                    </a:lnTo>
                    <a:lnTo>
                      <a:pt x="2" y="2"/>
                    </a:lnTo>
                    <a:lnTo>
                      <a:pt x="2" y="2"/>
                    </a:lnTo>
                    <a:lnTo>
                      <a:pt x="4" y="0"/>
                    </a:lnTo>
                    <a:lnTo>
                      <a:pt x="14" y="0"/>
                    </a:lnTo>
                    <a:lnTo>
                      <a:pt x="14" y="0"/>
                    </a:lnTo>
                    <a:lnTo>
                      <a:pt x="16" y="2"/>
                    </a:lnTo>
                    <a:lnTo>
                      <a:pt x="16" y="14"/>
                    </a:lnTo>
                    <a:lnTo>
                      <a:pt x="16" y="14"/>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4" name="Freeform 565"/>
              <p:cNvSpPr>
                <a:spLocks noEditPoints="1"/>
              </p:cNvSpPr>
              <p:nvPr/>
            </p:nvSpPr>
            <p:spPr bwMode="auto">
              <a:xfrm>
                <a:off x="3029" y="1637"/>
                <a:ext cx="20" cy="20"/>
              </a:xfrm>
              <a:custGeom>
                <a:avLst/>
                <a:gdLst>
                  <a:gd name="T0" fmla="*/ 16 w 20"/>
                  <a:gd name="T1" fmla="*/ 4 h 20"/>
                  <a:gd name="T2" fmla="*/ 16 w 20"/>
                  <a:gd name="T3" fmla="*/ 10 h 20"/>
                  <a:gd name="T4" fmla="*/ 16 w 20"/>
                  <a:gd name="T5" fmla="*/ 16 h 20"/>
                  <a:gd name="T6" fmla="*/ 8 w 20"/>
                  <a:gd name="T7" fmla="*/ 16 h 20"/>
                  <a:gd name="T8" fmla="*/ 4 w 20"/>
                  <a:gd name="T9" fmla="*/ 10 h 20"/>
                  <a:gd name="T10" fmla="*/ 6 w 20"/>
                  <a:gd name="T11" fmla="*/ 4 h 20"/>
                  <a:gd name="T12" fmla="*/ 16 w 20"/>
                  <a:gd name="T13" fmla="*/ 4 h 20"/>
                  <a:gd name="T14" fmla="*/ 16 w 20"/>
                  <a:gd name="T15" fmla="*/ 0 h 20"/>
                  <a:gd name="T16" fmla="*/ 6 w 20"/>
                  <a:gd name="T17" fmla="*/ 0 h 20"/>
                  <a:gd name="T18" fmla="*/ 6 w 20"/>
                  <a:gd name="T19" fmla="*/ 0 h 20"/>
                  <a:gd name="T20" fmla="*/ 4 w 20"/>
                  <a:gd name="T21" fmla="*/ 0 h 20"/>
                  <a:gd name="T22" fmla="*/ 2 w 20"/>
                  <a:gd name="T23" fmla="*/ 2 h 20"/>
                  <a:gd name="T24" fmla="*/ 0 w 20"/>
                  <a:gd name="T25" fmla="*/ 10 h 20"/>
                  <a:gd name="T26" fmla="*/ 0 w 20"/>
                  <a:gd name="T27" fmla="*/ 10 h 20"/>
                  <a:gd name="T28" fmla="*/ 0 w 20"/>
                  <a:gd name="T29" fmla="*/ 12 h 20"/>
                  <a:gd name="T30" fmla="*/ 4 w 20"/>
                  <a:gd name="T31" fmla="*/ 18 h 20"/>
                  <a:gd name="T32" fmla="*/ 4 w 20"/>
                  <a:gd name="T33" fmla="*/ 18 h 20"/>
                  <a:gd name="T34" fmla="*/ 8 w 20"/>
                  <a:gd name="T35" fmla="*/ 20 h 20"/>
                  <a:gd name="T36" fmla="*/ 16 w 20"/>
                  <a:gd name="T37" fmla="*/ 20 h 20"/>
                  <a:gd name="T38" fmla="*/ 16 w 20"/>
                  <a:gd name="T39" fmla="*/ 20 h 20"/>
                  <a:gd name="T40" fmla="*/ 18 w 20"/>
                  <a:gd name="T41" fmla="*/ 18 h 20"/>
                  <a:gd name="T42" fmla="*/ 20 w 20"/>
                  <a:gd name="T43" fmla="*/ 16 h 20"/>
                  <a:gd name="T44" fmla="*/ 20 w 20"/>
                  <a:gd name="T45" fmla="*/ 10 h 20"/>
                  <a:gd name="T46" fmla="*/ 20 w 20"/>
                  <a:gd name="T47" fmla="*/ 4 h 20"/>
                  <a:gd name="T48" fmla="*/ 20 w 20"/>
                  <a:gd name="T49" fmla="*/ 4 h 20"/>
                  <a:gd name="T50" fmla="*/ 18 w 20"/>
                  <a:gd name="T51" fmla="*/ 2 h 20"/>
                  <a:gd name="T52" fmla="*/ 16 w 20"/>
                  <a:gd name="T53" fmla="*/ 0 h 20"/>
                  <a:gd name="T54" fmla="*/ 16 w 2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6" y="4"/>
                    </a:moveTo>
                    <a:lnTo>
                      <a:pt x="16" y="10"/>
                    </a:lnTo>
                    <a:lnTo>
                      <a:pt x="16" y="16"/>
                    </a:lnTo>
                    <a:lnTo>
                      <a:pt x="8" y="16"/>
                    </a:lnTo>
                    <a:lnTo>
                      <a:pt x="4" y="10"/>
                    </a:lnTo>
                    <a:lnTo>
                      <a:pt x="6" y="4"/>
                    </a:lnTo>
                    <a:lnTo>
                      <a:pt x="16" y="4"/>
                    </a:lnTo>
                    <a:close/>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5" name="Freeform 566"/>
              <p:cNvSpPr>
                <a:spLocks/>
              </p:cNvSpPr>
              <p:nvPr/>
            </p:nvSpPr>
            <p:spPr bwMode="auto">
              <a:xfrm>
                <a:off x="3033" y="1641"/>
                <a:ext cx="12" cy="12"/>
              </a:xfrm>
              <a:custGeom>
                <a:avLst/>
                <a:gdLst>
                  <a:gd name="T0" fmla="*/ 12 w 12"/>
                  <a:gd name="T1" fmla="*/ 0 h 12"/>
                  <a:gd name="T2" fmla="*/ 12 w 12"/>
                  <a:gd name="T3" fmla="*/ 6 h 12"/>
                  <a:gd name="T4" fmla="*/ 12 w 12"/>
                  <a:gd name="T5" fmla="*/ 12 h 12"/>
                  <a:gd name="T6" fmla="*/ 4 w 12"/>
                  <a:gd name="T7" fmla="*/ 12 h 12"/>
                  <a:gd name="T8" fmla="*/ 0 w 12"/>
                  <a:gd name="T9" fmla="*/ 6 h 12"/>
                  <a:gd name="T10" fmla="*/ 2 w 12"/>
                  <a:gd name="T11" fmla="*/ 0 h 12"/>
                  <a:gd name="T12" fmla="*/ 12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0"/>
                    </a:moveTo>
                    <a:lnTo>
                      <a:pt x="12" y="6"/>
                    </a:lnTo>
                    <a:lnTo>
                      <a:pt x="12" y="12"/>
                    </a:lnTo>
                    <a:lnTo>
                      <a:pt x="4" y="12"/>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6" name="Freeform 567"/>
              <p:cNvSpPr>
                <a:spLocks/>
              </p:cNvSpPr>
              <p:nvPr/>
            </p:nvSpPr>
            <p:spPr bwMode="auto">
              <a:xfrm>
                <a:off x="3029" y="1637"/>
                <a:ext cx="20" cy="20"/>
              </a:xfrm>
              <a:custGeom>
                <a:avLst/>
                <a:gdLst>
                  <a:gd name="T0" fmla="*/ 16 w 20"/>
                  <a:gd name="T1" fmla="*/ 0 h 20"/>
                  <a:gd name="T2" fmla="*/ 6 w 20"/>
                  <a:gd name="T3" fmla="*/ 0 h 20"/>
                  <a:gd name="T4" fmla="*/ 6 w 20"/>
                  <a:gd name="T5" fmla="*/ 0 h 20"/>
                  <a:gd name="T6" fmla="*/ 4 w 20"/>
                  <a:gd name="T7" fmla="*/ 0 h 20"/>
                  <a:gd name="T8" fmla="*/ 2 w 20"/>
                  <a:gd name="T9" fmla="*/ 2 h 20"/>
                  <a:gd name="T10" fmla="*/ 0 w 20"/>
                  <a:gd name="T11" fmla="*/ 10 h 20"/>
                  <a:gd name="T12" fmla="*/ 0 w 20"/>
                  <a:gd name="T13" fmla="*/ 10 h 20"/>
                  <a:gd name="T14" fmla="*/ 0 w 20"/>
                  <a:gd name="T15" fmla="*/ 12 h 20"/>
                  <a:gd name="T16" fmla="*/ 4 w 20"/>
                  <a:gd name="T17" fmla="*/ 18 h 20"/>
                  <a:gd name="T18" fmla="*/ 4 w 20"/>
                  <a:gd name="T19" fmla="*/ 18 h 20"/>
                  <a:gd name="T20" fmla="*/ 8 w 20"/>
                  <a:gd name="T21" fmla="*/ 20 h 20"/>
                  <a:gd name="T22" fmla="*/ 16 w 20"/>
                  <a:gd name="T23" fmla="*/ 20 h 20"/>
                  <a:gd name="T24" fmla="*/ 16 w 20"/>
                  <a:gd name="T25" fmla="*/ 20 h 20"/>
                  <a:gd name="T26" fmla="*/ 18 w 20"/>
                  <a:gd name="T27" fmla="*/ 18 h 20"/>
                  <a:gd name="T28" fmla="*/ 20 w 20"/>
                  <a:gd name="T29" fmla="*/ 16 h 20"/>
                  <a:gd name="T30" fmla="*/ 20 w 20"/>
                  <a:gd name="T31" fmla="*/ 10 h 20"/>
                  <a:gd name="T32" fmla="*/ 20 w 20"/>
                  <a:gd name="T33" fmla="*/ 4 h 20"/>
                  <a:gd name="T34" fmla="*/ 20 w 20"/>
                  <a:gd name="T35" fmla="*/ 4 h 20"/>
                  <a:gd name="T36" fmla="*/ 18 w 20"/>
                  <a:gd name="T37" fmla="*/ 2 h 20"/>
                  <a:gd name="T38" fmla="*/ 16 w 20"/>
                  <a:gd name="T39" fmla="*/ 0 h 20"/>
                  <a:gd name="T40" fmla="*/ 16 w 20"/>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0">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7" name="Freeform 568"/>
              <p:cNvSpPr>
                <a:spLocks/>
              </p:cNvSpPr>
              <p:nvPr/>
            </p:nvSpPr>
            <p:spPr bwMode="auto">
              <a:xfrm>
                <a:off x="3187" y="1313"/>
                <a:ext cx="156" cy="240"/>
              </a:xfrm>
              <a:custGeom>
                <a:avLst/>
                <a:gdLst>
                  <a:gd name="T0" fmla="*/ 38 w 156"/>
                  <a:gd name="T1" fmla="*/ 240 h 240"/>
                  <a:gd name="T2" fmla="*/ 10 w 156"/>
                  <a:gd name="T3" fmla="*/ 226 h 240"/>
                  <a:gd name="T4" fmla="*/ 10 w 156"/>
                  <a:gd name="T5" fmla="*/ 224 h 240"/>
                  <a:gd name="T6" fmla="*/ 6 w 156"/>
                  <a:gd name="T7" fmla="*/ 186 h 240"/>
                  <a:gd name="T8" fmla="*/ 6 w 156"/>
                  <a:gd name="T9" fmla="*/ 186 h 240"/>
                  <a:gd name="T10" fmla="*/ 10 w 156"/>
                  <a:gd name="T11" fmla="*/ 172 h 240"/>
                  <a:gd name="T12" fmla="*/ 20 w 156"/>
                  <a:gd name="T13" fmla="*/ 164 h 240"/>
                  <a:gd name="T14" fmla="*/ 26 w 156"/>
                  <a:gd name="T15" fmla="*/ 154 h 240"/>
                  <a:gd name="T16" fmla="*/ 58 w 156"/>
                  <a:gd name="T17" fmla="*/ 128 h 240"/>
                  <a:gd name="T18" fmla="*/ 60 w 156"/>
                  <a:gd name="T19" fmla="*/ 128 h 240"/>
                  <a:gd name="T20" fmla="*/ 64 w 156"/>
                  <a:gd name="T21" fmla="*/ 116 h 240"/>
                  <a:gd name="T22" fmla="*/ 50 w 156"/>
                  <a:gd name="T23" fmla="*/ 108 h 240"/>
                  <a:gd name="T24" fmla="*/ 40 w 156"/>
                  <a:gd name="T25" fmla="*/ 96 h 240"/>
                  <a:gd name="T26" fmla="*/ 40 w 156"/>
                  <a:gd name="T27" fmla="*/ 94 h 240"/>
                  <a:gd name="T28" fmla="*/ 40 w 156"/>
                  <a:gd name="T29" fmla="*/ 78 h 240"/>
                  <a:gd name="T30" fmla="*/ 38 w 156"/>
                  <a:gd name="T31" fmla="*/ 76 h 240"/>
                  <a:gd name="T32" fmla="*/ 32 w 156"/>
                  <a:gd name="T33" fmla="*/ 48 h 240"/>
                  <a:gd name="T34" fmla="*/ 20 w 156"/>
                  <a:gd name="T35" fmla="*/ 48 h 240"/>
                  <a:gd name="T36" fmla="*/ 2 w 156"/>
                  <a:gd name="T37" fmla="*/ 30 h 240"/>
                  <a:gd name="T38" fmla="*/ 0 w 156"/>
                  <a:gd name="T39" fmla="*/ 30 h 240"/>
                  <a:gd name="T40" fmla="*/ 2 w 156"/>
                  <a:gd name="T41" fmla="*/ 28 h 240"/>
                  <a:gd name="T42" fmla="*/ 10 w 156"/>
                  <a:gd name="T43" fmla="*/ 20 h 240"/>
                  <a:gd name="T44" fmla="*/ 12 w 156"/>
                  <a:gd name="T45" fmla="*/ 20 h 240"/>
                  <a:gd name="T46" fmla="*/ 24 w 156"/>
                  <a:gd name="T47" fmla="*/ 34 h 240"/>
                  <a:gd name="T48" fmla="*/ 68 w 156"/>
                  <a:gd name="T49" fmla="*/ 30 h 240"/>
                  <a:gd name="T50" fmla="*/ 76 w 156"/>
                  <a:gd name="T51" fmla="*/ 12 h 240"/>
                  <a:gd name="T52" fmla="*/ 94 w 156"/>
                  <a:gd name="T53" fmla="*/ 0 h 240"/>
                  <a:gd name="T54" fmla="*/ 96 w 156"/>
                  <a:gd name="T55" fmla="*/ 0 h 240"/>
                  <a:gd name="T56" fmla="*/ 96 w 156"/>
                  <a:gd name="T57" fmla="*/ 0 h 240"/>
                  <a:gd name="T58" fmla="*/ 116 w 156"/>
                  <a:gd name="T59" fmla="*/ 8 h 240"/>
                  <a:gd name="T60" fmla="*/ 126 w 156"/>
                  <a:gd name="T61" fmla="*/ 22 h 240"/>
                  <a:gd name="T62" fmla="*/ 124 w 156"/>
                  <a:gd name="T63" fmla="*/ 24 h 240"/>
                  <a:gd name="T64" fmla="*/ 114 w 156"/>
                  <a:gd name="T65" fmla="*/ 50 h 240"/>
                  <a:gd name="T66" fmla="*/ 134 w 156"/>
                  <a:gd name="T67" fmla="*/ 62 h 240"/>
                  <a:gd name="T68" fmla="*/ 134 w 156"/>
                  <a:gd name="T69" fmla="*/ 64 h 240"/>
                  <a:gd name="T70" fmla="*/ 120 w 156"/>
                  <a:gd name="T71" fmla="*/ 78 h 240"/>
                  <a:gd name="T72" fmla="*/ 134 w 156"/>
                  <a:gd name="T73" fmla="*/ 108 h 240"/>
                  <a:gd name="T74" fmla="*/ 134 w 156"/>
                  <a:gd name="T75" fmla="*/ 110 h 240"/>
                  <a:gd name="T76" fmla="*/ 136 w 156"/>
                  <a:gd name="T77" fmla="*/ 134 h 240"/>
                  <a:gd name="T78" fmla="*/ 144 w 156"/>
                  <a:gd name="T79" fmla="*/ 148 h 240"/>
                  <a:gd name="T80" fmla="*/ 136 w 156"/>
                  <a:gd name="T81" fmla="*/ 156 h 240"/>
                  <a:gd name="T82" fmla="*/ 154 w 156"/>
                  <a:gd name="T83" fmla="*/ 172 h 240"/>
                  <a:gd name="T84" fmla="*/ 148 w 156"/>
                  <a:gd name="T85" fmla="*/ 186 h 240"/>
                  <a:gd name="T86" fmla="*/ 98 w 156"/>
                  <a:gd name="T87" fmla="*/ 228 h 240"/>
                  <a:gd name="T88" fmla="*/ 96 w 156"/>
                  <a:gd name="T89" fmla="*/ 230 h 240"/>
                  <a:gd name="T90" fmla="*/ 60 w 156"/>
                  <a:gd name="T91" fmla="*/ 236 h 240"/>
                  <a:gd name="T92" fmla="*/ 38 w 156"/>
                  <a:gd name="T93" fmla="*/ 240 h 240"/>
                  <a:gd name="T94" fmla="*/ 38 w 156"/>
                  <a:gd name="T9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240">
                    <a:moveTo>
                      <a:pt x="38" y="240"/>
                    </a:moveTo>
                    <a:lnTo>
                      <a:pt x="38" y="240"/>
                    </a:lnTo>
                    <a:lnTo>
                      <a:pt x="38" y="240"/>
                    </a:lnTo>
                    <a:lnTo>
                      <a:pt x="10" y="226"/>
                    </a:lnTo>
                    <a:lnTo>
                      <a:pt x="10" y="226"/>
                    </a:lnTo>
                    <a:lnTo>
                      <a:pt x="10" y="224"/>
                    </a:lnTo>
                    <a:lnTo>
                      <a:pt x="12" y="206"/>
                    </a:lnTo>
                    <a:lnTo>
                      <a:pt x="6" y="186"/>
                    </a:lnTo>
                    <a:lnTo>
                      <a:pt x="6" y="186"/>
                    </a:lnTo>
                    <a:lnTo>
                      <a:pt x="6" y="186"/>
                    </a:lnTo>
                    <a:lnTo>
                      <a:pt x="10" y="172"/>
                    </a:lnTo>
                    <a:lnTo>
                      <a:pt x="10" y="172"/>
                    </a:lnTo>
                    <a:lnTo>
                      <a:pt x="10" y="170"/>
                    </a:lnTo>
                    <a:lnTo>
                      <a:pt x="20" y="164"/>
                    </a:lnTo>
                    <a:lnTo>
                      <a:pt x="26" y="154"/>
                    </a:lnTo>
                    <a:lnTo>
                      <a:pt x="26" y="154"/>
                    </a:lnTo>
                    <a:lnTo>
                      <a:pt x="26" y="154"/>
                    </a:lnTo>
                    <a:lnTo>
                      <a:pt x="58" y="128"/>
                    </a:lnTo>
                    <a:lnTo>
                      <a:pt x="58" y="128"/>
                    </a:lnTo>
                    <a:lnTo>
                      <a:pt x="60" y="128"/>
                    </a:lnTo>
                    <a:lnTo>
                      <a:pt x="64" y="126"/>
                    </a:lnTo>
                    <a:lnTo>
                      <a:pt x="64" y="116"/>
                    </a:lnTo>
                    <a:lnTo>
                      <a:pt x="50" y="108"/>
                    </a:lnTo>
                    <a:lnTo>
                      <a:pt x="50" y="108"/>
                    </a:lnTo>
                    <a:lnTo>
                      <a:pt x="50" y="108"/>
                    </a:lnTo>
                    <a:lnTo>
                      <a:pt x="40" y="96"/>
                    </a:lnTo>
                    <a:lnTo>
                      <a:pt x="40" y="96"/>
                    </a:lnTo>
                    <a:lnTo>
                      <a:pt x="40" y="94"/>
                    </a:lnTo>
                    <a:lnTo>
                      <a:pt x="44" y="80"/>
                    </a:lnTo>
                    <a:lnTo>
                      <a:pt x="40" y="78"/>
                    </a:lnTo>
                    <a:lnTo>
                      <a:pt x="40" y="78"/>
                    </a:lnTo>
                    <a:lnTo>
                      <a:pt x="38" y="76"/>
                    </a:lnTo>
                    <a:lnTo>
                      <a:pt x="40" y="58"/>
                    </a:lnTo>
                    <a:lnTo>
                      <a:pt x="32" y="48"/>
                    </a:lnTo>
                    <a:lnTo>
                      <a:pt x="20" y="48"/>
                    </a:lnTo>
                    <a:lnTo>
                      <a:pt x="20" y="48"/>
                    </a:lnTo>
                    <a:lnTo>
                      <a:pt x="20" y="48"/>
                    </a:lnTo>
                    <a:lnTo>
                      <a:pt x="2" y="30"/>
                    </a:lnTo>
                    <a:lnTo>
                      <a:pt x="2" y="30"/>
                    </a:lnTo>
                    <a:lnTo>
                      <a:pt x="0" y="30"/>
                    </a:lnTo>
                    <a:lnTo>
                      <a:pt x="0" y="30"/>
                    </a:lnTo>
                    <a:lnTo>
                      <a:pt x="2" y="28"/>
                    </a:lnTo>
                    <a:lnTo>
                      <a:pt x="10" y="20"/>
                    </a:lnTo>
                    <a:lnTo>
                      <a:pt x="10" y="20"/>
                    </a:lnTo>
                    <a:lnTo>
                      <a:pt x="12" y="20"/>
                    </a:lnTo>
                    <a:lnTo>
                      <a:pt x="12" y="20"/>
                    </a:lnTo>
                    <a:lnTo>
                      <a:pt x="14" y="20"/>
                    </a:lnTo>
                    <a:lnTo>
                      <a:pt x="24" y="34"/>
                    </a:lnTo>
                    <a:lnTo>
                      <a:pt x="60" y="38"/>
                    </a:lnTo>
                    <a:lnTo>
                      <a:pt x="68" y="30"/>
                    </a:lnTo>
                    <a:lnTo>
                      <a:pt x="76" y="12"/>
                    </a:lnTo>
                    <a:lnTo>
                      <a:pt x="76" y="12"/>
                    </a:lnTo>
                    <a:lnTo>
                      <a:pt x="76" y="12"/>
                    </a:lnTo>
                    <a:lnTo>
                      <a:pt x="94" y="0"/>
                    </a:lnTo>
                    <a:lnTo>
                      <a:pt x="94" y="0"/>
                    </a:lnTo>
                    <a:lnTo>
                      <a:pt x="96" y="0"/>
                    </a:lnTo>
                    <a:lnTo>
                      <a:pt x="96" y="0"/>
                    </a:lnTo>
                    <a:lnTo>
                      <a:pt x="96" y="0"/>
                    </a:lnTo>
                    <a:lnTo>
                      <a:pt x="116" y="8"/>
                    </a:lnTo>
                    <a:lnTo>
                      <a:pt x="116" y="8"/>
                    </a:lnTo>
                    <a:lnTo>
                      <a:pt x="116" y="8"/>
                    </a:lnTo>
                    <a:lnTo>
                      <a:pt x="126" y="22"/>
                    </a:lnTo>
                    <a:lnTo>
                      <a:pt x="126" y="22"/>
                    </a:lnTo>
                    <a:lnTo>
                      <a:pt x="124" y="24"/>
                    </a:lnTo>
                    <a:lnTo>
                      <a:pt x="116" y="32"/>
                    </a:lnTo>
                    <a:lnTo>
                      <a:pt x="114" y="50"/>
                    </a:lnTo>
                    <a:lnTo>
                      <a:pt x="134" y="62"/>
                    </a:lnTo>
                    <a:lnTo>
                      <a:pt x="134" y="62"/>
                    </a:lnTo>
                    <a:lnTo>
                      <a:pt x="134" y="64"/>
                    </a:lnTo>
                    <a:lnTo>
                      <a:pt x="134" y="64"/>
                    </a:lnTo>
                    <a:lnTo>
                      <a:pt x="134" y="66"/>
                    </a:lnTo>
                    <a:lnTo>
                      <a:pt x="120" y="78"/>
                    </a:lnTo>
                    <a:lnTo>
                      <a:pt x="128" y="94"/>
                    </a:lnTo>
                    <a:lnTo>
                      <a:pt x="134" y="108"/>
                    </a:lnTo>
                    <a:lnTo>
                      <a:pt x="134" y="108"/>
                    </a:lnTo>
                    <a:lnTo>
                      <a:pt x="134" y="110"/>
                    </a:lnTo>
                    <a:lnTo>
                      <a:pt x="128" y="126"/>
                    </a:lnTo>
                    <a:lnTo>
                      <a:pt x="136" y="134"/>
                    </a:lnTo>
                    <a:lnTo>
                      <a:pt x="144" y="148"/>
                    </a:lnTo>
                    <a:lnTo>
                      <a:pt x="144" y="148"/>
                    </a:lnTo>
                    <a:lnTo>
                      <a:pt x="142" y="150"/>
                    </a:lnTo>
                    <a:lnTo>
                      <a:pt x="136" y="156"/>
                    </a:lnTo>
                    <a:lnTo>
                      <a:pt x="154" y="172"/>
                    </a:lnTo>
                    <a:lnTo>
                      <a:pt x="154" y="172"/>
                    </a:lnTo>
                    <a:lnTo>
                      <a:pt x="156" y="174"/>
                    </a:lnTo>
                    <a:lnTo>
                      <a:pt x="148" y="186"/>
                    </a:lnTo>
                    <a:lnTo>
                      <a:pt x="124" y="208"/>
                    </a:lnTo>
                    <a:lnTo>
                      <a:pt x="98" y="228"/>
                    </a:lnTo>
                    <a:lnTo>
                      <a:pt x="98" y="228"/>
                    </a:lnTo>
                    <a:lnTo>
                      <a:pt x="96" y="230"/>
                    </a:lnTo>
                    <a:lnTo>
                      <a:pt x="80" y="230"/>
                    </a:lnTo>
                    <a:lnTo>
                      <a:pt x="60" y="236"/>
                    </a:lnTo>
                    <a:lnTo>
                      <a:pt x="38" y="240"/>
                    </a:lnTo>
                    <a:lnTo>
                      <a:pt x="38" y="240"/>
                    </a:lnTo>
                    <a:lnTo>
                      <a:pt x="38" y="240"/>
                    </a:lnTo>
                    <a:lnTo>
                      <a:pt x="38"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8" name="Freeform 569"/>
              <p:cNvSpPr>
                <a:spLocks noEditPoints="1"/>
              </p:cNvSpPr>
              <p:nvPr/>
            </p:nvSpPr>
            <p:spPr bwMode="auto">
              <a:xfrm>
                <a:off x="3185" y="1311"/>
                <a:ext cx="160" cy="244"/>
              </a:xfrm>
              <a:custGeom>
                <a:avLst/>
                <a:gdLst>
                  <a:gd name="T0" fmla="*/ 126 w 160"/>
                  <a:gd name="T1" fmla="*/ 24 h 244"/>
                  <a:gd name="T2" fmla="*/ 134 w 160"/>
                  <a:gd name="T3" fmla="*/ 66 h 244"/>
                  <a:gd name="T4" fmla="*/ 134 w 160"/>
                  <a:gd name="T5" fmla="*/ 110 h 244"/>
                  <a:gd name="T6" fmla="*/ 144 w 160"/>
                  <a:gd name="T7" fmla="*/ 150 h 244"/>
                  <a:gd name="T8" fmla="*/ 148 w 160"/>
                  <a:gd name="T9" fmla="*/ 188 h 244"/>
                  <a:gd name="T10" fmla="*/ 82 w 160"/>
                  <a:gd name="T11" fmla="*/ 230 h 244"/>
                  <a:gd name="T12" fmla="*/ 14 w 160"/>
                  <a:gd name="T13" fmla="*/ 226 h 244"/>
                  <a:gd name="T14" fmla="*/ 14 w 160"/>
                  <a:gd name="T15" fmla="*/ 174 h 244"/>
                  <a:gd name="T16" fmla="*/ 62 w 160"/>
                  <a:gd name="T17" fmla="*/ 132 h 244"/>
                  <a:gd name="T18" fmla="*/ 52 w 160"/>
                  <a:gd name="T19" fmla="*/ 108 h 244"/>
                  <a:gd name="T20" fmla="*/ 42 w 160"/>
                  <a:gd name="T21" fmla="*/ 78 h 244"/>
                  <a:gd name="T22" fmla="*/ 22 w 160"/>
                  <a:gd name="T23" fmla="*/ 48 h 244"/>
                  <a:gd name="T24" fmla="*/ 26 w 160"/>
                  <a:gd name="T25" fmla="*/ 38 h 244"/>
                  <a:gd name="T26" fmla="*/ 80 w 160"/>
                  <a:gd name="T27" fmla="*/ 16 h 244"/>
                  <a:gd name="T28" fmla="*/ 98 w 160"/>
                  <a:gd name="T29" fmla="*/ 0 h 244"/>
                  <a:gd name="T30" fmla="*/ 78 w 160"/>
                  <a:gd name="T31" fmla="*/ 12 h 244"/>
                  <a:gd name="T32" fmla="*/ 62 w 160"/>
                  <a:gd name="T33" fmla="*/ 38 h 244"/>
                  <a:gd name="T34" fmla="*/ 16 w 160"/>
                  <a:gd name="T35" fmla="*/ 22 h 244"/>
                  <a:gd name="T36" fmla="*/ 12 w 160"/>
                  <a:gd name="T37" fmla="*/ 22 h 244"/>
                  <a:gd name="T38" fmla="*/ 0 w 160"/>
                  <a:gd name="T39" fmla="*/ 32 h 244"/>
                  <a:gd name="T40" fmla="*/ 20 w 160"/>
                  <a:gd name="T41" fmla="*/ 50 h 244"/>
                  <a:gd name="T42" fmla="*/ 32 w 160"/>
                  <a:gd name="T43" fmla="*/ 52 h 244"/>
                  <a:gd name="T44" fmla="*/ 38 w 160"/>
                  <a:gd name="T45" fmla="*/ 78 h 244"/>
                  <a:gd name="T46" fmla="*/ 44 w 160"/>
                  <a:gd name="T47" fmla="*/ 84 h 244"/>
                  <a:gd name="T48" fmla="*/ 40 w 160"/>
                  <a:gd name="T49" fmla="*/ 98 h 244"/>
                  <a:gd name="T50" fmla="*/ 50 w 160"/>
                  <a:gd name="T51" fmla="*/ 112 h 244"/>
                  <a:gd name="T52" fmla="*/ 60 w 160"/>
                  <a:gd name="T53" fmla="*/ 128 h 244"/>
                  <a:gd name="T54" fmla="*/ 28 w 160"/>
                  <a:gd name="T55" fmla="*/ 154 h 244"/>
                  <a:gd name="T56" fmla="*/ 22 w 160"/>
                  <a:gd name="T57" fmla="*/ 166 h 244"/>
                  <a:gd name="T58" fmla="*/ 10 w 160"/>
                  <a:gd name="T59" fmla="*/ 172 h 244"/>
                  <a:gd name="T60" fmla="*/ 6 w 160"/>
                  <a:gd name="T61" fmla="*/ 188 h 244"/>
                  <a:gd name="T62" fmla="*/ 10 w 160"/>
                  <a:gd name="T63" fmla="*/ 226 h 244"/>
                  <a:gd name="T64" fmla="*/ 38 w 160"/>
                  <a:gd name="T65" fmla="*/ 244 h 244"/>
                  <a:gd name="T66" fmla="*/ 40 w 160"/>
                  <a:gd name="T67" fmla="*/ 244 h 244"/>
                  <a:gd name="T68" fmla="*/ 62 w 160"/>
                  <a:gd name="T69" fmla="*/ 240 h 244"/>
                  <a:gd name="T70" fmla="*/ 98 w 160"/>
                  <a:gd name="T71" fmla="*/ 234 h 244"/>
                  <a:gd name="T72" fmla="*/ 128 w 160"/>
                  <a:gd name="T73" fmla="*/ 212 h 244"/>
                  <a:gd name="T74" fmla="*/ 152 w 160"/>
                  <a:gd name="T75" fmla="*/ 190 h 244"/>
                  <a:gd name="T76" fmla="*/ 160 w 160"/>
                  <a:gd name="T77" fmla="*/ 178 h 244"/>
                  <a:gd name="T78" fmla="*/ 158 w 160"/>
                  <a:gd name="T79" fmla="*/ 172 h 244"/>
                  <a:gd name="T80" fmla="*/ 146 w 160"/>
                  <a:gd name="T81" fmla="*/ 152 h 244"/>
                  <a:gd name="T82" fmla="*/ 140 w 160"/>
                  <a:gd name="T83" fmla="*/ 136 h 244"/>
                  <a:gd name="T84" fmla="*/ 132 w 160"/>
                  <a:gd name="T85" fmla="*/ 128 h 244"/>
                  <a:gd name="T86" fmla="*/ 138 w 160"/>
                  <a:gd name="T87" fmla="*/ 110 h 244"/>
                  <a:gd name="T88" fmla="*/ 132 w 160"/>
                  <a:gd name="T89" fmla="*/ 94 h 244"/>
                  <a:gd name="T90" fmla="*/ 138 w 160"/>
                  <a:gd name="T91" fmla="*/ 68 h 244"/>
                  <a:gd name="T92" fmla="*/ 136 w 160"/>
                  <a:gd name="T93" fmla="*/ 62 h 244"/>
                  <a:gd name="T94" fmla="*/ 128 w 160"/>
                  <a:gd name="T95" fmla="*/ 28 h 244"/>
                  <a:gd name="T96" fmla="*/ 128 w 160"/>
                  <a:gd name="T97" fmla="*/ 22 h 244"/>
                  <a:gd name="T98" fmla="*/ 118 w 160"/>
                  <a:gd name="T99" fmla="*/ 8 h 244"/>
                  <a:gd name="T100" fmla="*/ 98 w 160"/>
                  <a:gd name="T10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244">
                    <a:moveTo>
                      <a:pt x="98" y="4"/>
                    </a:moveTo>
                    <a:lnTo>
                      <a:pt x="116" y="12"/>
                    </a:lnTo>
                    <a:lnTo>
                      <a:pt x="126" y="24"/>
                    </a:lnTo>
                    <a:lnTo>
                      <a:pt x="116" y="34"/>
                    </a:lnTo>
                    <a:lnTo>
                      <a:pt x="114" y="54"/>
                    </a:lnTo>
                    <a:lnTo>
                      <a:pt x="134" y="66"/>
                    </a:lnTo>
                    <a:lnTo>
                      <a:pt x="120" y="80"/>
                    </a:lnTo>
                    <a:lnTo>
                      <a:pt x="130" y="96"/>
                    </a:lnTo>
                    <a:lnTo>
                      <a:pt x="134" y="110"/>
                    </a:lnTo>
                    <a:lnTo>
                      <a:pt x="128" y="128"/>
                    </a:lnTo>
                    <a:lnTo>
                      <a:pt x="136" y="138"/>
                    </a:lnTo>
                    <a:lnTo>
                      <a:pt x="144" y="150"/>
                    </a:lnTo>
                    <a:lnTo>
                      <a:pt x="134" y="160"/>
                    </a:lnTo>
                    <a:lnTo>
                      <a:pt x="156" y="176"/>
                    </a:lnTo>
                    <a:lnTo>
                      <a:pt x="148" y="188"/>
                    </a:lnTo>
                    <a:lnTo>
                      <a:pt x="126" y="210"/>
                    </a:lnTo>
                    <a:lnTo>
                      <a:pt x="98" y="230"/>
                    </a:lnTo>
                    <a:lnTo>
                      <a:pt x="82" y="230"/>
                    </a:lnTo>
                    <a:lnTo>
                      <a:pt x="62" y="236"/>
                    </a:lnTo>
                    <a:lnTo>
                      <a:pt x="40" y="240"/>
                    </a:lnTo>
                    <a:lnTo>
                      <a:pt x="14" y="226"/>
                    </a:lnTo>
                    <a:lnTo>
                      <a:pt x="16" y="208"/>
                    </a:lnTo>
                    <a:lnTo>
                      <a:pt x="10" y="188"/>
                    </a:lnTo>
                    <a:lnTo>
                      <a:pt x="14" y="174"/>
                    </a:lnTo>
                    <a:lnTo>
                      <a:pt x="24" y="168"/>
                    </a:lnTo>
                    <a:lnTo>
                      <a:pt x="30" y="158"/>
                    </a:lnTo>
                    <a:lnTo>
                      <a:pt x="62" y="132"/>
                    </a:lnTo>
                    <a:lnTo>
                      <a:pt x="68" y="130"/>
                    </a:lnTo>
                    <a:lnTo>
                      <a:pt x="66" y="116"/>
                    </a:lnTo>
                    <a:lnTo>
                      <a:pt x="52" y="108"/>
                    </a:lnTo>
                    <a:lnTo>
                      <a:pt x="44" y="96"/>
                    </a:lnTo>
                    <a:lnTo>
                      <a:pt x="50" y="82"/>
                    </a:lnTo>
                    <a:lnTo>
                      <a:pt x="42" y="78"/>
                    </a:lnTo>
                    <a:lnTo>
                      <a:pt x="44" y="60"/>
                    </a:lnTo>
                    <a:lnTo>
                      <a:pt x="34" y="48"/>
                    </a:lnTo>
                    <a:lnTo>
                      <a:pt x="22" y="48"/>
                    </a:lnTo>
                    <a:lnTo>
                      <a:pt x="4" y="32"/>
                    </a:lnTo>
                    <a:lnTo>
                      <a:pt x="14" y="24"/>
                    </a:lnTo>
                    <a:lnTo>
                      <a:pt x="26" y="38"/>
                    </a:lnTo>
                    <a:lnTo>
                      <a:pt x="64" y="42"/>
                    </a:lnTo>
                    <a:lnTo>
                      <a:pt x="72" y="34"/>
                    </a:lnTo>
                    <a:lnTo>
                      <a:pt x="80" y="16"/>
                    </a:lnTo>
                    <a:lnTo>
                      <a:pt x="98" y="4"/>
                    </a:lnTo>
                    <a:close/>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9" name="Freeform 570"/>
              <p:cNvSpPr>
                <a:spLocks/>
              </p:cNvSpPr>
              <p:nvPr/>
            </p:nvSpPr>
            <p:spPr bwMode="auto">
              <a:xfrm>
                <a:off x="3189" y="1315"/>
                <a:ext cx="152" cy="236"/>
              </a:xfrm>
              <a:custGeom>
                <a:avLst/>
                <a:gdLst>
                  <a:gd name="T0" fmla="*/ 94 w 152"/>
                  <a:gd name="T1" fmla="*/ 0 h 236"/>
                  <a:gd name="T2" fmla="*/ 112 w 152"/>
                  <a:gd name="T3" fmla="*/ 8 h 236"/>
                  <a:gd name="T4" fmla="*/ 122 w 152"/>
                  <a:gd name="T5" fmla="*/ 20 h 236"/>
                  <a:gd name="T6" fmla="*/ 112 w 152"/>
                  <a:gd name="T7" fmla="*/ 30 h 236"/>
                  <a:gd name="T8" fmla="*/ 110 w 152"/>
                  <a:gd name="T9" fmla="*/ 50 h 236"/>
                  <a:gd name="T10" fmla="*/ 130 w 152"/>
                  <a:gd name="T11" fmla="*/ 62 h 236"/>
                  <a:gd name="T12" fmla="*/ 116 w 152"/>
                  <a:gd name="T13" fmla="*/ 76 h 236"/>
                  <a:gd name="T14" fmla="*/ 126 w 152"/>
                  <a:gd name="T15" fmla="*/ 92 h 236"/>
                  <a:gd name="T16" fmla="*/ 130 w 152"/>
                  <a:gd name="T17" fmla="*/ 106 h 236"/>
                  <a:gd name="T18" fmla="*/ 124 w 152"/>
                  <a:gd name="T19" fmla="*/ 124 h 236"/>
                  <a:gd name="T20" fmla="*/ 132 w 152"/>
                  <a:gd name="T21" fmla="*/ 134 h 236"/>
                  <a:gd name="T22" fmla="*/ 140 w 152"/>
                  <a:gd name="T23" fmla="*/ 146 h 236"/>
                  <a:gd name="T24" fmla="*/ 130 w 152"/>
                  <a:gd name="T25" fmla="*/ 156 h 236"/>
                  <a:gd name="T26" fmla="*/ 152 w 152"/>
                  <a:gd name="T27" fmla="*/ 172 h 236"/>
                  <a:gd name="T28" fmla="*/ 144 w 152"/>
                  <a:gd name="T29" fmla="*/ 184 h 236"/>
                  <a:gd name="T30" fmla="*/ 122 w 152"/>
                  <a:gd name="T31" fmla="*/ 206 h 236"/>
                  <a:gd name="T32" fmla="*/ 94 w 152"/>
                  <a:gd name="T33" fmla="*/ 226 h 236"/>
                  <a:gd name="T34" fmla="*/ 78 w 152"/>
                  <a:gd name="T35" fmla="*/ 226 h 236"/>
                  <a:gd name="T36" fmla="*/ 58 w 152"/>
                  <a:gd name="T37" fmla="*/ 232 h 236"/>
                  <a:gd name="T38" fmla="*/ 36 w 152"/>
                  <a:gd name="T39" fmla="*/ 236 h 236"/>
                  <a:gd name="T40" fmla="*/ 10 w 152"/>
                  <a:gd name="T41" fmla="*/ 222 h 236"/>
                  <a:gd name="T42" fmla="*/ 12 w 152"/>
                  <a:gd name="T43" fmla="*/ 204 h 236"/>
                  <a:gd name="T44" fmla="*/ 6 w 152"/>
                  <a:gd name="T45" fmla="*/ 184 h 236"/>
                  <a:gd name="T46" fmla="*/ 10 w 152"/>
                  <a:gd name="T47" fmla="*/ 170 h 236"/>
                  <a:gd name="T48" fmla="*/ 20 w 152"/>
                  <a:gd name="T49" fmla="*/ 164 h 236"/>
                  <a:gd name="T50" fmla="*/ 26 w 152"/>
                  <a:gd name="T51" fmla="*/ 154 h 236"/>
                  <a:gd name="T52" fmla="*/ 58 w 152"/>
                  <a:gd name="T53" fmla="*/ 128 h 236"/>
                  <a:gd name="T54" fmla="*/ 64 w 152"/>
                  <a:gd name="T55" fmla="*/ 126 h 236"/>
                  <a:gd name="T56" fmla="*/ 62 w 152"/>
                  <a:gd name="T57" fmla="*/ 112 h 236"/>
                  <a:gd name="T58" fmla="*/ 48 w 152"/>
                  <a:gd name="T59" fmla="*/ 104 h 236"/>
                  <a:gd name="T60" fmla="*/ 40 w 152"/>
                  <a:gd name="T61" fmla="*/ 92 h 236"/>
                  <a:gd name="T62" fmla="*/ 46 w 152"/>
                  <a:gd name="T63" fmla="*/ 78 h 236"/>
                  <a:gd name="T64" fmla="*/ 38 w 152"/>
                  <a:gd name="T65" fmla="*/ 74 h 236"/>
                  <a:gd name="T66" fmla="*/ 40 w 152"/>
                  <a:gd name="T67" fmla="*/ 56 h 236"/>
                  <a:gd name="T68" fmla="*/ 30 w 152"/>
                  <a:gd name="T69" fmla="*/ 44 h 236"/>
                  <a:gd name="T70" fmla="*/ 18 w 152"/>
                  <a:gd name="T71" fmla="*/ 44 h 236"/>
                  <a:gd name="T72" fmla="*/ 0 w 152"/>
                  <a:gd name="T73" fmla="*/ 28 h 236"/>
                  <a:gd name="T74" fmla="*/ 10 w 152"/>
                  <a:gd name="T75" fmla="*/ 20 h 236"/>
                  <a:gd name="T76" fmla="*/ 22 w 152"/>
                  <a:gd name="T77" fmla="*/ 34 h 236"/>
                  <a:gd name="T78" fmla="*/ 60 w 152"/>
                  <a:gd name="T79" fmla="*/ 38 h 236"/>
                  <a:gd name="T80" fmla="*/ 68 w 152"/>
                  <a:gd name="T81" fmla="*/ 30 h 236"/>
                  <a:gd name="T82" fmla="*/ 76 w 152"/>
                  <a:gd name="T83" fmla="*/ 12 h 236"/>
                  <a:gd name="T84" fmla="*/ 94 w 152"/>
                  <a:gd name="T8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 h="236">
                    <a:moveTo>
                      <a:pt x="94" y="0"/>
                    </a:moveTo>
                    <a:lnTo>
                      <a:pt x="112" y="8"/>
                    </a:lnTo>
                    <a:lnTo>
                      <a:pt x="122" y="20"/>
                    </a:lnTo>
                    <a:lnTo>
                      <a:pt x="112" y="30"/>
                    </a:lnTo>
                    <a:lnTo>
                      <a:pt x="110" y="50"/>
                    </a:lnTo>
                    <a:lnTo>
                      <a:pt x="130" y="62"/>
                    </a:lnTo>
                    <a:lnTo>
                      <a:pt x="116" y="76"/>
                    </a:lnTo>
                    <a:lnTo>
                      <a:pt x="126" y="92"/>
                    </a:lnTo>
                    <a:lnTo>
                      <a:pt x="130" y="106"/>
                    </a:lnTo>
                    <a:lnTo>
                      <a:pt x="124" y="124"/>
                    </a:lnTo>
                    <a:lnTo>
                      <a:pt x="132" y="134"/>
                    </a:lnTo>
                    <a:lnTo>
                      <a:pt x="140" y="146"/>
                    </a:lnTo>
                    <a:lnTo>
                      <a:pt x="130" y="156"/>
                    </a:lnTo>
                    <a:lnTo>
                      <a:pt x="152" y="172"/>
                    </a:lnTo>
                    <a:lnTo>
                      <a:pt x="144" y="184"/>
                    </a:lnTo>
                    <a:lnTo>
                      <a:pt x="122" y="206"/>
                    </a:lnTo>
                    <a:lnTo>
                      <a:pt x="94" y="226"/>
                    </a:lnTo>
                    <a:lnTo>
                      <a:pt x="78" y="226"/>
                    </a:lnTo>
                    <a:lnTo>
                      <a:pt x="58" y="232"/>
                    </a:lnTo>
                    <a:lnTo>
                      <a:pt x="36" y="236"/>
                    </a:lnTo>
                    <a:lnTo>
                      <a:pt x="10" y="222"/>
                    </a:lnTo>
                    <a:lnTo>
                      <a:pt x="12" y="204"/>
                    </a:lnTo>
                    <a:lnTo>
                      <a:pt x="6" y="184"/>
                    </a:lnTo>
                    <a:lnTo>
                      <a:pt x="10" y="170"/>
                    </a:lnTo>
                    <a:lnTo>
                      <a:pt x="20" y="164"/>
                    </a:lnTo>
                    <a:lnTo>
                      <a:pt x="26" y="154"/>
                    </a:lnTo>
                    <a:lnTo>
                      <a:pt x="58" y="128"/>
                    </a:lnTo>
                    <a:lnTo>
                      <a:pt x="64" y="126"/>
                    </a:lnTo>
                    <a:lnTo>
                      <a:pt x="62" y="112"/>
                    </a:lnTo>
                    <a:lnTo>
                      <a:pt x="48" y="104"/>
                    </a:lnTo>
                    <a:lnTo>
                      <a:pt x="40" y="92"/>
                    </a:lnTo>
                    <a:lnTo>
                      <a:pt x="46" y="78"/>
                    </a:lnTo>
                    <a:lnTo>
                      <a:pt x="38" y="74"/>
                    </a:lnTo>
                    <a:lnTo>
                      <a:pt x="40" y="56"/>
                    </a:lnTo>
                    <a:lnTo>
                      <a:pt x="30" y="44"/>
                    </a:lnTo>
                    <a:lnTo>
                      <a:pt x="18" y="44"/>
                    </a:lnTo>
                    <a:lnTo>
                      <a:pt x="0" y="28"/>
                    </a:lnTo>
                    <a:lnTo>
                      <a:pt x="10" y="20"/>
                    </a:lnTo>
                    <a:lnTo>
                      <a:pt x="22" y="34"/>
                    </a:lnTo>
                    <a:lnTo>
                      <a:pt x="60" y="38"/>
                    </a:lnTo>
                    <a:lnTo>
                      <a:pt x="68" y="30"/>
                    </a:lnTo>
                    <a:lnTo>
                      <a:pt x="76" y="12"/>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0" name="Freeform 571"/>
              <p:cNvSpPr>
                <a:spLocks/>
              </p:cNvSpPr>
              <p:nvPr/>
            </p:nvSpPr>
            <p:spPr bwMode="auto">
              <a:xfrm>
                <a:off x="3185" y="1311"/>
                <a:ext cx="160" cy="244"/>
              </a:xfrm>
              <a:custGeom>
                <a:avLst/>
                <a:gdLst>
                  <a:gd name="T0" fmla="*/ 98 w 160"/>
                  <a:gd name="T1" fmla="*/ 0 h 244"/>
                  <a:gd name="T2" fmla="*/ 78 w 160"/>
                  <a:gd name="T3" fmla="*/ 12 h 244"/>
                  <a:gd name="T4" fmla="*/ 76 w 160"/>
                  <a:gd name="T5" fmla="*/ 14 h 244"/>
                  <a:gd name="T6" fmla="*/ 62 w 160"/>
                  <a:gd name="T7" fmla="*/ 38 h 244"/>
                  <a:gd name="T8" fmla="*/ 16 w 160"/>
                  <a:gd name="T9" fmla="*/ 22 h 244"/>
                  <a:gd name="T10" fmla="*/ 14 w 160"/>
                  <a:gd name="T11" fmla="*/ 20 h 244"/>
                  <a:gd name="T12" fmla="*/ 12 w 160"/>
                  <a:gd name="T13" fmla="*/ 22 h 244"/>
                  <a:gd name="T14" fmla="*/ 2 w 160"/>
                  <a:gd name="T15" fmla="*/ 28 h 244"/>
                  <a:gd name="T16" fmla="*/ 0 w 160"/>
                  <a:gd name="T17" fmla="*/ 32 h 244"/>
                  <a:gd name="T18" fmla="*/ 20 w 160"/>
                  <a:gd name="T19" fmla="*/ 50 h 244"/>
                  <a:gd name="T20" fmla="*/ 22 w 160"/>
                  <a:gd name="T21" fmla="*/ 52 h 244"/>
                  <a:gd name="T22" fmla="*/ 40 w 160"/>
                  <a:gd name="T23" fmla="*/ 62 h 244"/>
                  <a:gd name="T24" fmla="*/ 38 w 160"/>
                  <a:gd name="T25" fmla="*/ 78 h 244"/>
                  <a:gd name="T26" fmla="*/ 40 w 160"/>
                  <a:gd name="T27" fmla="*/ 82 h 244"/>
                  <a:gd name="T28" fmla="*/ 40 w 160"/>
                  <a:gd name="T29" fmla="*/ 94 h 244"/>
                  <a:gd name="T30" fmla="*/ 40 w 160"/>
                  <a:gd name="T31" fmla="*/ 98 h 244"/>
                  <a:gd name="T32" fmla="*/ 50 w 160"/>
                  <a:gd name="T33" fmla="*/ 112 h 244"/>
                  <a:gd name="T34" fmla="*/ 64 w 160"/>
                  <a:gd name="T35" fmla="*/ 118 h 244"/>
                  <a:gd name="T36" fmla="*/ 60 w 160"/>
                  <a:gd name="T37" fmla="*/ 128 h 244"/>
                  <a:gd name="T38" fmla="*/ 60 w 160"/>
                  <a:gd name="T39" fmla="*/ 130 h 244"/>
                  <a:gd name="T40" fmla="*/ 28 w 160"/>
                  <a:gd name="T41" fmla="*/ 154 h 244"/>
                  <a:gd name="T42" fmla="*/ 22 w 160"/>
                  <a:gd name="T43" fmla="*/ 166 h 244"/>
                  <a:gd name="T44" fmla="*/ 12 w 160"/>
                  <a:gd name="T45" fmla="*/ 170 h 244"/>
                  <a:gd name="T46" fmla="*/ 6 w 160"/>
                  <a:gd name="T47" fmla="*/ 186 h 244"/>
                  <a:gd name="T48" fmla="*/ 6 w 160"/>
                  <a:gd name="T49" fmla="*/ 188 h 244"/>
                  <a:gd name="T50" fmla="*/ 10 w 160"/>
                  <a:gd name="T51" fmla="*/ 226 h 244"/>
                  <a:gd name="T52" fmla="*/ 10 w 160"/>
                  <a:gd name="T53" fmla="*/ 228 h 244"/>
                  <a:gd name="T54" fmla="*/ 38 w 160"/>
                  <a:gd name="T55" fmla="*/ 244 h 244"/>
                  <a:gd name="T56" fmla="*/ 40 w 160"/>
                  <a:gd name="T57" fmla="*/ 244 h 244"/>
                  <a:gd name="T58" fmla="*/ 40 w 160"/>
                  <a:gd name="T59" fmla="*/ 244 h 244"/>
                  <a:gd name="T60" fmla="*/ 62 w 160"/>
                  <a:gd name="T61" fmla="*/ 240 h 244"/>
                  <a:gd name="T62" fmla="*/ 84 w 160"/>
                  <a:gd name="T63" fmla="*/ 234 h 244"/>
                  <a:gd name="T64" fmla="*/ 98 w 160"/>
                  <a:gd name="T65" fmla="*/ 234 h 244"/>
                  <a:gd name="T66" fmla="*/ 128 w 160"/>
                  <a:gd name="T67" fmla="*/ 212 h 244"/>
                  <a:gd name="T68" fmla="*/ 128 w 160"/>
                  <a:gd name="T69" fmla="*/ 212 h 244"/>
                  <a:gd name="T70" fmla="*/ 152 w 160"/>
                  <a:gd name="T71" fmla="*/ 190 h 244"/>
                  <a:gd name="T72" fmla="*/ 160 w 160"/>
                  <a:gd name="T73" fmla="*/ 178 h 244"/>
                  <a:gd name="T74" fmla="*/ 160 w 160"/>
                  <a:gd name="T75" fmla="*/ 174 h 244"/>
                  <a:gd name="T76" fmla="*/ 140 w 160"/>
                  <a:gd name="T77" fmla="*/ 158 h 244"/>
                  <a:gd name="T78" fmla="*/ 146 w 160"/>
                  <a:gd name="T79" fmla="*/ 152 h 244"/>
                  <a:gd name="T80" fmla="*/ 146 w 160"/>
                  <a:gd name="T81" fmla="*/ 148 h 244"/>
                  <a:gd name="T82" fmla="*/ 140 w 160"/>
                  <a:gd name="T83" fmla="*/ 136 h 244"/>
                  <a:gd name="T84" fmla="*/ 132 w 160"/>
                  <a:gd name="T85" fmla="*/ 128 h 244"/>
                  <a:gd name="T86" fmla="*/ 138 w 160"/>
                  <a:gd name="T87" fmla="*/ 112 h 244"/>
                  <a:gd name="T88" fmla="*/ 132 w 160"/>
                  <a:gd name="T89" fmla="*/ 94 h 244"/>
                  <a:gd name="T90" fmla="*/ 132 w 160"/>
                  <a:gd name="T91" fmla="*/ 94 h 244"/>
                  <a:gd name="T92" fmla="*/ 138 w 160"/>
                  <a:gd name="T93" fmla="*/ 68 h 244"/>
                  <a:gd name="T94" fmla="*/ 138 w 160"/>
                  <a:gd name="T95" fmla="*/ 66 h 244"/>
                  <a:gd name="T96" fmla="*/ 136 w 160"/>
                  <a:gd name="T97" fmla="*/ 62 h 244"/>
                  <a:gd name="T98" fmla="*/ 120 w 160"/>
                  <a:gd name="T99" fmla="*/ 36 h 244"/>
                  <a:gd name="T100" fmla="*/ 128 w 160"/>
                  <a:gd name="T101" fmla="*/ 28 h 244"/>
                  <a:gd name="T102" fmla="*/ 128 w 160"/>
                  <a:gd name="T103" fmla="*/ 22 h 244"/>
                  <a:gd name="T104" fmla="*/ 120 w 160"/>
                  <a:gd name="T105" fmla="*/ 10 h 244"/>
                  <a:gd name="T106" fmla="*/ 98 w 160"/>
                  <a:gd name="T107" fmla="*/ 0 h 244"/>
                  <a:gd name="T108" fmla="*/ 98 w 160"/>
                  <a:gd name="T10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44">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1" name="Freeform 572"/>
              <p:cNvSpPr>
                <a:spLocks/>
              </p:cNvSpPr>
              <p:nvPr/>
            </p:nvSpPr>
            <p:spPr bwMode="auto">
              <a:xfrm>
                <a:off x="3049" y="1341"/>
                <a:ext cx="188" cy="308"/>
              </a:xfrm>
              <a:custGeom>
                <a:avLst/>
                <a:gdLst>
                  <a:gd name="T0" fmla="*/ 32 w 188"/>
                  <a:gd name="T1" fmla="*/ 306 h 308"/>
                  <a:gd name="T2" fmla="*/ 24 w 188"/>
                  <a:gd name="T3" fmla="*/ 286 h 308"/>
                  <a:gd name="T4" fmla="*/ 14 w 188"/>
                  <a:gd name="T5" fmla="*/ 264 h 308"/>
                  <a:gd name="T6" fmla="*/ 0 w 188"/>
                  <a:gd name="T7" fmla="*/ 232 h 308"/>
                  <a:gd name="T8" fmla="*/ 0 w 188"/>
                  <a:gd name="T9" fmla="*/ 228 h 308"/>
                  <a:gd name="T10" fmla="*/ 14 w 188"/>
                  <a:gd name="T11" fmla="*/ 214 h 308"/>
                  <a:gd name="T12" fmla="*/ 24 w 188"/>
                  <a:gd name="T13" fmla="*/ 196 h 308"/>
                  <a:gd name="T14" fmla="*/ 14 w 188"/>
                  <a:gd name="T15" fmla="*/ 188 h 308"/>
                  <a:gd name="T16" fmla="*/ 26 w 188"/>
                  <a:gd name="T17" fmla="*/ 186 h 308"/>
                  <a:gd name="T18" fmla="*/ 14 w 188"/>
                  <a:gd name="T19" fmla="*/ 172 h 308"/>
                  <a:gd name="T20" fmla="*/ 14 w 188"/>
                  <a:gd name="T21" fmla="*/ 126 h 308"/>
                  <a:gd name="T22" fmla="*/ 42 w 188"/>
                  <a:gd name="T23" fmla="*/ 116 h 308"/>
                  <a:gd name="T24" fmla="*/ 40 w 188"/>
                  <a:gd name="T25" fmla="*/ 102 h 308"/>
                  <a:gd name="T26" fmla="*/ 50 w 188"/>
                  <a:gd name="T27" fmla="*/ 74 h 308"/>
                  <a:gd name="T28" fmla="*/ 64 w 188"/>
                  <a:gd name="T29" fmla="*/ 70 h 308"/>
                  <a:gd name="T30" fmla="*/ 66 w 188"/>
                  <a:gd name="T31" fmla="*/ 58 h 308"/>
                  <a:gd name="T32" fmla="*/ 76 w 188"/>
                  <a:gd name="T33" fmla="*/ 40 h 308"/>
                  <a:gd name="T34" fmla="*/ 86 w 188"/>
                  <a:gd name="T35" fmla="*/ 24 h 308"/>
                  <a:gd name="T36" fmla="*/ 102 w 188"/>
                  <a:gd name="T37" fmla="*/ 14 h 308"/>
                  <a:gd name="T38" fmla="*/ 104 w 188"/>
                  <a:gd name="T39" fmla="*/ 12 h 308"/>
                  <a:gd name="T40" fmla="*/ 118 w 188"/>
                  <a:gd name="T41" fmla="*/ 10 h 308"/>
                  <a:gd name="T42" fmla="*/ 118 w 188"/>
                  <a:gd name="T43" fmla="*/ 16 h 308"/>
                  <a:gd name="T44" fmla="*/ 126 w 188"/>
                  <a:gd name="T45" fmla="*/ 4 h 308"/>
                  <a:gd name="T46" fmla="*/ 138 w 188"/>
                  <a:gd name="T47" fmla="*/ 0 h 308"/>
                  <a:gd name="T48" fmla="*/ 140 w 188"/>
                  <a:gd name="T49" fmla="*/ 0 h 308"/>
                  <a:gd name="T50" fmla="*/ 168 w 188"/>
                  <a:gd name="T51" fmla="*/ 16 h 308"/>
                  <a:gd name="T52" fmla="*/ 178 w 188"/>
                  <a:gd name="T53" fmla="*/ 30 h 308"/>
                  <a:gd name="T54" fmla="*/ 178 w 188"/>
                  <a:gd name="T55" fmla="*/ 38 h 308"/>
                  <a:gd name="T56" fmla="*/ 182 w 188"/>
                  <a:gd name="T57" fmla="*/ 50 h 308"/>
                  <a:gd name="T58" fmla="*/ 188 w 188"/>
                  <a:gd name="T59" fmla="*/ 78 h 308"/>
                  <a:gd name="T60" fmla="*/ 188 w 188"/>
                  <a:gd name="T61" fmla="*/ 80 h 308"/>
                  <a:gd name="T62" fmla="*/ 162 w 188"/>
                  <a:gd name="T63" fmla="*/ 86 h 308"/>
                  <a:gd name="T64" fmla="*/ 148 w 188"/>
                  <a:gd name="T65" fmla="*/ 112 h 308"/>
                  <a:gd name="T66" fmla="*/ 138 w 188"/>
                  <a:gd name="T67" fmla="*/ 128 h 308"/>
                  <a:gd name="T68" fmla="*/ 122 w 188"/>
                  <a:gd name="T69" fmla="*/ 138 h 308"/>
                  <a:gd name="T70" fmla="*/ 94 w 188"/>
                  <a:gd name="T71" fmla="*/ 164 h 308"/>
                  <a:gd name="T72" fmla="*/ 104 w 188"/>
                  <a:gd name="T73" fmla="*/ 200 h 308"/>
                  <a:gd name="T74" fmla="*/ 112 w 188"/>
                  <a:gd name="T75" fmla="*/ 212 h 308"/>
                  <a:gd name="T76" fmla="*/ 112 w 188"/>
                  <a:gd name="T77" fmla="*/ 226 h 308"/>
                  <a:gd name="T78" fmla="*/ 100 w 188"/>
                  <a:gd name="T79" fmla="*/ 234 h 308"/>
                  <a:gd name="T80" fmla="*/ 84 w 188"/>
                  <a:gd name="T81" fmla="*/ 264 h 308"/>
                  <a:gd name="T82" fmla="*/ 74 w 188"/>
                  <a:gd name="T83" fmla="*/ 286 h 308"/>
                  <a:gd name="T84" fmla="*/ 50 w 188"/>
                  <a:gd name="T85" fmla="*/ 294 h 308"/>
                  <a:gd name="T86" fmla="*/ 46 w 188"/>
                  <a:gd name="T87" fmla="*/ 306 h 308"/>
                  <a:gd name="T88" fmla="*/ 34 w 188"/>
                  <a:gd name="T89"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308">
                    <a:moveTo>
                      <a:pt x="34" y="308"/>
                    </a:moveTo>
                    <a:lnTo>
                      <a:pt x="34" y="308"/>
                    </a:lnTo>
                    <a:lnTo>
                      <a:pt x="32" y="306"/>
                    </a:lnTo>
                    <a:lnTo>
                      <a:pt x="28" y="294"/>
                    </a:lnTo>
                    <a:lnTo>
                      <a:pt x="24" y="286"/>
                    </a:lnTo>
                    <a:lnTo>
                      <a:pt x="24" y="286"/>
                    </a:lnTo>
                    <a:lnTo>
                      <a:pt x="24" y="286"/>
                    </a:lnTo>
                    <a:lnTo>
                      <a:pt x="24" y="280"/>
                    </a:lnTo>
                    <a:lnTo>
                      <a:pt x="14" y="264"/>
                    </a:lnTo>
                    <a:lnTo>
                      <a:pt x="8" y="248"/>
                    </a:lnTo>
                    <a:lnTo>
                      <a:pt x="0" y="232"/>
                    </a:lnTo>
                    <a:lnTo>
                      <a:pt x="0" y="232"/>
                    </a:lnTo>
                    <a:lnTo>
                      <a:pt x="0" y="230"/>
                    </a:lnTo>
                    <a:lnTo>
                      <a:pt x="0" y="230"/>
                    </a:lnTo>
                    <a:lnTo>
                      <a:pt x="0" y="228"/>
                    </a:lnTo>
                    <a:lnTo>
                      <a:pt x="14" y="226"/>
                    </a:lnTo>
                    <a:lnTo>
                      <a:pt x="14" y="214"/>
                    </a:lnTo>
                    <a:lnTo>
                      <a:pt x="14" y="214"/>
                    </a:lnTo>
                    <a:lnTo>
                      <a:pt x="14" y="212"/>
                    </a:lnTo>
                    <a:lnTo>
                      <a:pt x="22" y="206"/>
                    </a:lnTo>
                    <a:lnTo>
                      <a:pt x="24" y="196"/>
                    </a:lnTo>
                    <a:lnTo>
                      <a:pt x="14" y="190"/>
                    </a:lnTo>
                    <a:lnTo>
                      <a:pt x="14" y="190"/>
                    </a:lnTo>
                    <a:lnTo>
                      <a:pt x="14" y="188"/>
                    </a:lnTo>
                    <a:lnTo>
                      <a:pt x="14" y="188"/>
                    </a:lnTo>
                    <a:lnTo>
                      <a:pt x="16" y="186"/>
                    </a:lnTo>
                    <a:lnTo>
                      <a:pt x="26" y="186"/>
                    </a:lnTo>
                    <a:lnTo>
                      <a:pt x="24" y="178"/>
                    </a:lnTo>
                    <a:lnTo>
                      <a:pt x="14" y="172"/>
                    </a:lnTo>
                    <a:lnTo>
                      <a:pt x="14" y="172"/>
                    </a:lnTo>
                    <a:lnTo>
                      <a:pt x="14" y="172"/>
                    </a:lnTo>
                    <a:lnTo>
                      <a:pt x="14" y="126"/>
                    </a:lnTo>
                    <a:lnTo>
                      <a:pt x="14" y="126"/>
                    </a:lnTo>
                    <a:lnTo>
                      <a:pt x="16" y="124"/>
                    </a:lnTo>
                    <a:lnTo>
                      <a:pt x="30" y="120"/>
                    </a:lnTo>
                    <a:lnTo>
                      <a:pt x="42" y="116"/>
                    </a:lnTo>
                    <a:lnTo>
                      <a:pt x="46" y="114"/>
                    </a:lnTo>
                    <a:lnTo>
                      <a:pt x="40" y="102"/>
                    </a:lnTo>
                    <a:lnTo>
                      <a:pt x="40" y="102"/>
                    </a:lnTo>
                    <a:lnTo>
                      <a:pt x="40" y="100"/>
                    </a:lnTo>
                    <a:lnTo>
                      <a:pt x="50" y="86"/>
                    </a:lnTo>
                    <a:lnTo>
                      <a:pt x="50" y="74"/>
                    </a:lnTo>
                    <a:lnTo>
                      <a:pt x="50" y="74"/>
                    </a:lnTo>
                    <a:lnTo>
                      <a:pt x="52" y="72"/>
                    </a:lnTo>
                    <a:lnTo>
                      <a:pt x="64" y="70"/>
                    </a:lnTo>
                    <a:lnTo>
                      <a:pt x="66" y="60"/>
                    </a:lnTo>
                    <a:lnTo>
                      <a:pt x="66" y="60"/>
                    </a:lnTo>
                    <a:lnTo>
                      <a:pt x="66" y="58"/>
                    </a:lnTo>
                    <a:lnTo>
                      <a:pt x="76" y="50"/>
                    </a:lnTo>
                    <a:lnTo>
                      <a:pt x="76" y="40"/>
                    </a:lnTo>
                    <a:lnTo>
                      <a:pt x="76" y="40"/>
                    </a:lnTo>
                    <a:lnTo>
                      <a:pt x="76" y="38"/>
                    </a:lnTo>
                    <a:lnTo>
                      <a:pt x="86" y="24"/>
                    </a:lnTo>
                    <a:lnTo>
                      <a:pt x="86" y="24"/>
                    </a:lnTo>
                    <a:lnTo>
                      <a:pt x="88" y="24"/>
                    </a:lnTo>
                    <a:lnTo>
                      <a:pt x="102" y="22"/>
                    </a:lnTo>
                    <a:lnTo>
                      <a:pt x="102" y="14"/>
                    </a:lnTo>
                    <a:lnTo>
                      <a:pt x="102" y="14"/>
                    </a:lnTo>
                    <a:lnTo>
                      <a:pt x="104" y="12"/>
                    </a:lnTo>
                    <a:lnTo>
                      <a:pt x="104" y="12"/>
                    </a:lnTo>
                    <a:lnTo>
                      <a:pt x="116" y="10"/>
                    </a:lnTo>
                    <a:lnTo>
                      <a:pt x="116" y="10"/>
                    </a:lnTo>
                    <a:lnTo>
                      <a:pt x="118" y="10"/>
                    </a:lnTo>
                    <a:lnTo>
                      <a:pt x="118" y="10"/>
                    </a:lnTo>
                    <a:lnTo>
                      <a:pt x="118" y="12"/>
                    </a:lnTo>
                    <a:lnTo>
                      <a:pt x="118" y="16"/>
                    </a:lnTo>
                    <a:lnTo>
                      <a:pt x="126" y="16"/>
                    </a:lnTo>
                    <a:lnTo>
                      <a:pt x="126" y="4"/>
                    </a:lnTo>
                    <a:lnTo>
                      <a:pt x="126" y="4"/>
                    </a:lnTo>
                    <a:lnTo>
                      <a:pt x="128" y="2"/>
                    </a:lnTo>
                    <a:lnTo>
                      <a:pt x="138" y="0"/>
                    </a:lnTo>
                    <a:lnTo>
                      <a:pt x="138" y="0"/>
                    </a:lnTo>
                    <a:lnTo>
                      <a:pt x="138" y="0"/>
                    </a:lnTo>
                    <a:lnTo>
                      <a:pt x="138" y="0"/>
                    </a:lnTo>
                    <a:lnTo>
                      <a:pt x="140" y="0"/>
                    </a:lnTo>
                    <a:lnTo>
                      <a:pt x="150" y="10"/>
                    </a:lnTo>
                    <a:lnTo>
                      <a:pt x="156" y="16"/>
                    </a:lnTo>
                    <a:lnTo>
                      <a:pt x="168" y="16"/>
                    </a:lnTo>
                    <a:lnTo>
                      <a:pt x="168" y="16"/>
                    </a:lnTo>
                    <a:lnTo>
                      <a:pt x="170" y="18"/>
                    </a:lnTo>
                    <a:lnTo>
                      <a:pt x="178" y="30"/>
                    </a:lnTo>
                    <a:lnTo>
                      <a:pt x="178" y="30"/>
                    </a:lnTo>
                    <a:lnTo>
                      <a:pt x="178" y="32"/>
                    </a:lnTo>
                    <a:lnTo>
                      <a:pt x="178" y="38"/>
                    </a:lnTo>
                    <a:lnTo>
                      <a:pt x="178" y="48"/>
                    </a:lnTo>
                    <a:lnTo>
                      <a:pt x="182" y="50"/>
                    </a:lnTo>
                    <a:lnTo>
                      <a:pt x="182" y="50"/>
                    </a:lnTo>
                    <a:lnTo>
                      <a:pt x="184" y="54"/>
                    </a:lnTo>
                    <a:lnTo>
                      <a:pt x="178" y="66"/>
                    </a:lnTo>
                    <a:lnTo>
                      <a:pt x="188" y="78"/>
                    </a:lnTo>
                    <a:lnTo>
                      <a:pt x="188" y="78"/>
                    </a:lnTo>
                    <a:lnTo>
                      <a:pt x="188" y="80"/>
                    </a:lnTo>
                    <a:lnTo>
                      <a:pt x="188" y="80"/>
                    </a:lnTo>
                    <a:lnTo>
                      <a:pt x="186" y="82"/>
                    </a:lnTo>
                    <a:lnTo>
                      <a:pt x="170" y="84"/>
                    </a:lnTo>
                    <a:lnTo>
                      <a:pt x="162" y="86"/>
                    </a:lnTo>
                    <a:lnTo>
                      <a:pt x="150" y="94"/>
                    </a:lnTo>
                    <a:lnTo>
                      <a:pt x="146" y="104"/>
                    </a:lnTo>
                    <a:lnTo>
                      <a:pt x="148" y="112"/>
                    </a:lnTo>
                    <a:lnTo>
                      <a:pt x="148" y="112"/>
                    </a:lnTo>
                    <a:lnTo>
                      <a:pt x="148" y="114"/>
                    </a:lnTo>
                    <a:lnTo>
                      <a:pt x="138" y="128"/>
                    </a:lnTo>
                    <a:lnTo>
                      <a:pt x="124" y="138"/>
                    </a:lnTo>
                    <a:lnTo>
                      <a:pt x="124" y="138"/>
                    </a:lnTo>
                    <a:lnTo>
                      <a:pt x="122" y="138"/>
                    </a:lnTo>
                    <a:lnTo>
                      <a:pt x="108" y="140"/>
                    </a:lnTo>
                    <a:lnTo>
                      <a:pt x="100" y="152"/>
                    </a:lnTo>
                    <a:lnTo>
                      <a:pt x="94" y="164"/>
                    </a:lnTo>
                    <a:lnTo>
                      <a:pt x="90" y="176"/>
                    </a:lnTo>
                    <a:lnTo>
                      <a:pt x="92" y="194"/>
                    </a:lnTo>
                    <a:lnTo>
                      <a:pt x="104" y="200"/>
                    </a:lnTo>
                    <a:lnTo>
                      <a:pt x="104" y="200"/>
                    </a:lnTo>
                    <a:lnTo>
                      <a:pt x="104" y="200"/>
                    </a:lnTo>
                    <a:lnTo>
                      <a:pt x="112" y="212"/>
                    </a:lnTo>
                    <a:lnTo>
                      <a:pt x="112" y="212"/>
                    </a:lnTo>
                    <a:lnTo>
                      <a:pt x="114" y="214"/>
                    </a:lnTo>
                    <a:lnTo>
                      <a:pt x="112" y="226"/>
                    </a:lnTo>
                    <a:lnTo>
                      <a:pt x="112" y="226"/>
                    </a:lnTo>
                    <a:lnTo>
                      <a:pt x="110" y="226"/>
                    </a:lnTo>
                    <a:lnTo>
                      <a:pt x="100" y="234"/>
                    </a:lnTo>
                    <a:lnTo>
                      <a:pt x="84" y="242"/>
                    </a:lnTo>
                    <a:lnTo>
                      <a:pt x="84" y="252"/>
                    </a:lnTo>
                    <a:lnTo>
                      <a:pt x="84" y="264"/>
                    </a:lnTo>
                    <a:lnTo>
                      <a:pt x="80" y="276"/>
                    </a:lnTo>
                    <a:lnTo>
                      <a:pt x="74" y="286"/>
                    </a:lnTo>
                    <a:lnTo>
                      <a:pt x="74" y="286"/>
                    </a:lnTo>
                    <a:lnTo>
                      <a:pt x="74" y="288"/>
                    </a:lnTo>
                    <a:lnTo>
                      <a:pt x="62" y="292"/>
                    </a:lnTo>
                    <a:lnTo>
                      <a:pt x="50" y="294"/>
                    </a:lnTo>
                    <a:lnTo>
                      <a:pt x="48" y="304"/>
                    </a:lnTo>
                    <a:lnTo>
                      <a:pt x="48" y="304"/>
                    </a:lnTo>
                    <a:lnTo>
                      <a:pt x="46" y="306"/>
                    </a:lnTo>
                    <a:lnTo>
                      <a:pt x="46" y="306"/>
                    </a:lnTo>
                    <a:lnTo>
                      <a:pt x="34" y="308"/>
                    </a:lnTo>
                    <a:lnTo>
                      <a:pt x="34" y="3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2" name="Freeform 573"/>
              <p:cNvSpPr>
                <a:spLocks noEditPoints="1"/>
              </p:cNvSpPr>
              <p:nvPr/>
            </p:nvSpPr>
            <p:spPr bwMode="auto">
              <a:xfrm>
                <a:off x="3047" y="1339"/>
                <a:ext cx="192" cy="312"/>
              </a:xfrm>
              <a:custGeom>
                <a:avLst/>
                <a:gdLst>
                  <a:gd name="T0" fmla="*/ 170 w 192"/>
                  <a:gd name="T1" fmla="*/ 20 h 312"/>
                  <a:gd name="T2" fmla="*/ 184 w 192"/>
                  <a:gd name="T3" fmla="*/ 54 h 312"/>
                  <a:gd name="T4" fmla="*/ 162 w 192"/>
                  <a:gd name="T5" fmla="*/ 86 h 312"/>
                  <a:gd name="T6" fmla="*/ 138 w 192"/>
                  <a:gd name="T7" fmla="*/ 128 h 312"/>
                  <a:gd name="T8" fmla="*/ 94 w 192"/>
                  <a:gd name="T9" fmla="*/ 164 h 312"/>
                  <a:gd name="T10" fmla="*/ 114 w 192"/>
                  <a:gd name="T11" fmla="*/ 216 h 312"/>
                  <a:gd name="T12" fmla="*/ 84 w 192"/>
                  <a:gd name="T13" fmla="*/ 254 h 312"/>
                  <a:gd name="T14" fmla="*/ 64 w 192"/>
                  <a:gd name="T15" fmla="*/ 294 h 312"/>
                  <a:gd name="T16" fmla="*/ 32 w 192"/>
                  <a:gd name="T17" fmla="*/ 294 h 312"/>
                  <a:gd name="T18" fmla="*/ 12 w 192"/>
                  <a:gd name="T19" fmla="*/ 250 h 312"/>
                  <a:gd name="T20" fmla="*/ 24 w 192"/>
                  <a:gd name="T21" fmla="*/ 208 h 312"/>
                  <a:gd name="T22" fmla="*/ 28 w 192"/>
                  <a:gd name="T23" fmla="*/ 178 h 312"/>
                  <a:gd name="T24" fmla="*/ 32 w 192"/>
                  <a:gd name="T25" fmla="*/ 124 h 312"/>
                  <a:gd name="T26" fmla="*/ 54 w 192"/>
                  <a:gd name="T27" fmla="*/ 88 h 312"/>
                  <a:gd name="T28" fmla="*/ 80 w 192"/>
                  <a:gd name="T29" fmla="*/ 52 h 312"/>
                  <a:gd name="T30" fmla="*/ 106 w 192"/>
                  <a:gd name="T31" fmla="*/ 16 h 312"/>
                  <a:gd name="T32" fmla="*/ 130 w 192"/>
                  <a:gd name="T33" fmla="*/ 6 h 312"/>
                  <a:gd name="T34" fmla="*/ 138 w 192"/>
                  <a:gd name="T35" fmla="*/ 0 h 312"/>
                  <a:gd name="T36" fmla="*/ 126 w 192"/>
                  <a:gd name="T37" fmla="*/ 6 h 312"/>
                  <a:gd name="T38" fmla="*/ 122 w 192"/>
                  <a:gd name="T39" fmla="*/ 14 h 312"/>
                  <a:gd name="T40" fmla="*/ 118 w 192"/>
                  <a:gd name="T41" fmla="*/ 10 h 312"/>
                  <a:gd name="T42" fmla="*/ 104 w 192"/>
                  <a:gd name="T43" fmla="*/ 12 h 312"/>
                  <a:gd name="T44" fmla="*/ 90 w 192"/>
                  <a:gd name="T45" fmla="*/ 24 h 312"/>
                  <a:gd name="T46" fmla="*/ 76 w 192"/>
                  <a:gd name="T47" fmla="*/ 42 h 312"/>
                  <a:gd name="T48" fmla="*/ 66 w 192"/>
                  <a:gd name="T49" fmla="*/ 62 h 312"/>
                  <a:gd name="T50" fmla="*/ 52 w 192"/>
                  <a:gd name="T51" fmla="*/ 74 h 312"/>
                  <a:gd name="T52" fmla="*/ 40 w 192"/>
                  <a:gd name="T53" fmla="*/ 100 h 312"/>
                  <a:gd name="T54" fmla="*/ 30 w 192"/>
                  <a:gd name="T55" fmla="*/ 120 h 312"/>
                  <a:gd name="T56" fmla="*/ 14 w 192"/>
                  <a:gd name="T57" fmla="*/ 128 h 312"/>
                  <a:gd name="T58" fmla="*/ 16 w 192"/>
                  <a:gd name="T59" fmla="*/ 176 h 312"/>
                  <a:gd name="T60" fmla="*/ 18 w 192"/>
                  <a:gd name="T61" fmla="*/ 186 h 312"/>
                  <a:gd name="T62" fmla="*/ 14 w 192"/>
                  <a:gd name="T63" fmla="*/ 192 h 312"/>
                  <a:gd name="T64" fmla="*/ 14 w 192"/>
                  <a:gd name="T65" fmla="*/ 214 h 312"/>
                  <a:gd name="T66" fmla="*/ 2 w 192"/>
                  <a:gd name="T67" fmla="*/ 228 h 312"/>
                  <a:gd name="T68" fmla="*/ 0 w 192"/>
                  <a:gd name="T69" fmla="*/ 234 h 312"/>
                  <a:gd name="T70" fmla="*/ 14 w 192"/>
                  <a:gd name="T71" fmla="*/ 266 h 312"/>
                  <a:gd name="T72" fmla="*/ 24 w 192"/>
                  <a:gd name="T73" fmla="*/ 290 h 312"/>
                  <a:gd name="T74" fmla="*/ 34 w 192"/>
                  <a:gd name="T75" fmla="*/ 310 h 312"/>
                  <a:gd name="T76" fmla="*/ 48 w 192"/>
                  <a:gd name="T77" fmla="*/ 310 h 312"/>
                  <a:gd name="T78" fmla="*/ 64 w 192"/>
                  <a:gd name="T79" fmla="*/ 298 h 312"/>
                  <a:gd name="T80" fmla="*/ 76 w 192"/>
                  <a:gd name="T81" fmla="*/ 292 h 312"/>
                  <a:gd name="T82" fmla="*/ 84 w 192"/>
                  <a:gd name="T83" fmla="*/ 278 h 312"/>
                  <a:gd name="T84" fmla="*/ 88 w 192"/>
                  <a:gd name="T85" fmla="*/ 254 h 312"/>
                  <a:gd name="T86" fmla="*/ 114 w 192"/>
                  <a:gd name="T87" fmla="*/ 230 h 312"/>
                  <a:gd name="T88" fmla="*/ 116 w 192"/>
                  <a:gd name="T89" fmla="*/ 214 h 312"/>
                  <a:gd name="T90" fmla="*/ 96 w 192"/>
                  <a:gd name="T91" fmla="*/ 196 h 312"/>
                  <a:gd name="T92" fmla="*/ 112 w 192"/>
                  <a:gd name="T93" fmla="*/ 144 h 312"/>
                  <a:gd name="T94" fmla="*/ 140 w 192"/>
                  <a:gd name="T95" fmla="*/ 132 h 312"/>
                  <a:gd name="T96" fmla="*/ 152 w 192"/>
                  <a:gd name="T97" fmla="*/ 118 h 312"/>
                  <a:gd name="T98" fmla="*/ 164 w 192"/>
                  <a:gd name="T99" fmla="*/ 88 h 312"/>
                  <a:gd name="T100" fmla="*/ 192 w 192"/>
                  <a:gd name="T101" fmla="*/ 84 h 312"/>
                  <a:gd name="T102" fmla="*/ 188 w 192"/>
                  <a:gd name="T103" fmla="*/ 56 h 312"/>
                  <a:gd name="T104" fmla="*/ 182 w 192"/>
                  <a:gd name="T105" fmla="*/ 48 h 312"/>
                  <a:gd name="T106" fmla="*/ 182 w 192"/>
                  <a:gd name="T107" fmla="*/ 34 h 312"/>
                  <a:gd name="T108" fmla="*/ 174 w 192"/>
                  <a:gd name="T109" fmla="*/ 18 h 312"/>
                  <a:gd name="T110" fmla="*/ 142 w 192"/>
                  <a:gd name="T111"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12">
                    <a:moveTo>
                      <a:pt x="140" y="4"/>
                    </a:moveTo>
                    <a:lnTo>
                      <a:pt x="150" y="14"/>
                    </a:lnTo>
                    <a:lnTo>
                      <a:pt x="158" y="20"/>
                    </a:lnTo>
                    <a:lnTo>
                      <a:pt x="170" y="20"/>
                    </a:lnTo>
                    <a:lnTo>
                      <a:pt x="178" y="34"/>
                    </a:lnTo>
                    <a:lnTo>
                      <a:pt x="178" y="40"/>
                    </a:lnTo>
                    <a:lnTo>
                      <a:pt x="176" y="52"/>
                    </a:lnTo>
                    <a:lnTo>
                      <a:pt x="184" y="54"/>
                    </a:lnTo>
                    <a:lnTo>
                      <a:pt x="178" y="70"/>
                    </a:lnTo>
                    <a:lnTo>
                      <a:pt x="188" y="82"/>
                    </a:lnTo>
                    <a:lnTo>
                      <a:pt x="172" y="84"/>
                    </a:lnTo>
                    <a:lnTo>
                      <a:pt x="162" y="86"/>
                    </a:lnTo>
                    <a:lnTo>
                      <a:pt x="150" y="94"/>
                    </a:lnTo>
                    <a:lnTo>
                      <a:pt x="146" y="106"/>
                    </a:lnTo>
                    <a:lnTo>
                      <a:pt x="148" y="116"/>
                    </a:lnTo>
                    <a:lnTo>
                      <a:pt x="138" y="128"/>
                    </a:lnTo>
                    <a:lnTo>
                      <a:pt x="124" y="138"/>
                    </a:lnTo>
                    <a:lnTo>
                      <a:pt x="110" y="140"/>
                    </a:lnTo>
                    <a:lnTo>
                      <a:pt x="100" y="154"/>
                    </a:lnTo>
                    <a:lnTo>
                      <a:pt x="94" y="164"/>
                    </a:lnTo>
                    <a:lnTo>
                      <a:pt x="90" y="178"/>
                    </a:lnTo>
                    <a:lnTo>
                      <a:pt x="92" y="198"/>
                    </a:lnTo>
                    <a:lnTo>
                      <a:pt x="104" y="204"/>
                    </a:lnTo>
                    <a:lnTo>
                      <a:pt x="114" y="216"/>
                    </a:lnTo>
                    <a:lnTo>
                      <a:pt x="112" y="226"/>
                    </a:lnTo>
                    <a:lnTo>
                      <a:pt x="100" y="234"/>
                    </a:lnTo>
                    <a:lnTo>
                      <a:pt x="84" y="242"/>
                    </a:lnTo>
                    <a:lnTo>
                      <a:pt x="84" y="254"/>
                    </a:lnTo>
                    <a:lnTo>
                      <a:pt x="84" y="266"/>
                    </a:lnTo>
                    <a:lnTo>
                      <a:pt x="80" y="276"/>
                    </a:lnTo>
                    <a:lnTo>
                      <a:pt x="74" y="288"/>
                    </a:lnTo>
                    <a:lnTo>
                      <a:pt x="64" y="294"/>
                    </a:lnTo>
                    <a:lnTo>
                      <a:pt x="52" y="294"/>
                    </a:lnTo>
                    <a:lnTo>
                      <a:pt x="48" y="306"/>
                    </a:lnTo>
                    <a:lnTo>
                      <a:pt x="36" y="308"/>
                    </a:lnTo>
                    <a:lnTo>
                      <a:pt x="32" y="294"/>
                    </a:lnTo>
                    <a:lnTo>
                      <a:pt x="28" y="288"/>
                    </a:lnTo>
                    <a:lnTo>
                      <a:pt x="28" y="280"/>
                    </a:lnTo>
                    <a:lnTo>
                      <a:pt x="18" y="264"/>
                    </a:lnTo>
                    <a:lnTo>
                      <a:pt x="12" y="250"/>
                    </a:lnTo>
                    <a:lnTo>
                      <a:pt x="2" y="232"/>
                    </a:lnTo>
                    <a:lnTo>
                      <a:pt x="18" y="230"/>
                    </a:lnTo>
                    <a:lnTo>
                      <a:pt x="18" y="216"/>
                    </a:lnTo>
                    <a:lnTo>
                      <a:pt x="24" y="208"/>
                    </a:lnTo>
                    <a:lnTo>
                      <a:pt x="28" y="198"/>
                    </a:lnTo>
                    <a:lnTo>
                      <a:pt x="18" y="190"/>
                    </a:lnTo>
                    <a:lnTo>
                      <a:pt x="30" y="190"/>
                    </a:lnTo>
                    <a:lnTo>
                      <a:pt x="28" y="178"/>
                    </a:lnTo>
                    <a:lnTo>
                      <a:pt x="18" y="174"/>
                    </a:lnTo>
                    <a:lnTo>
                      <a:pt x="18" y="156"/>
                    </a:lnTo>
                    <a:lnTo>
                      <a:pt x="18" y="128"/>
                    </a:lnTo>
                    <a:lnTo>
                      <a:pt x="32" y="124"/>
                    </a:lnTo>
                    <a:lnTo>
                      <a:pt x="46" y="120"/>
                    </a:lnTo>
                    <a:lnTo>
                      <a:pt x="50" y="116"/>
                    </a:lnTo>
                    <a:lnTo>
                      <a:pt x="44" y="104"/>
                    </a:lnTo>
                    <a:lnTo>
                      <a:pt x="54" y="88"/>
                    </a:lnTo>
                    <a:lnTo>
                      <a:pt x="54" y="76"/>
                    </a:lnTo>
                    <a:lnTo>
                      <a:pt x="68" y="72"/>
                    </a:lnTo>
                    <a:lnTo>
                      <a:pt x="70" y="62"/>
                    </a:lnTo>
                    <a:lnTo>
                      <a:pt x="80" y="52"/>
                    </a:lnTo>
                    <a:lnTo>
                      <a:pt x="80" y="42"/>
                    </a:lnTo>
                    <a:lnTo>
                      <a:pt x="90" y="28"/>
                    </a:lnTo>
                    <a:lnTo>
                      <a:pt x="106" y="26"/>
                    </a:lnTo>
                    <a:lnTo>
                      <a:pt x="106" y="16"/>
                    </a:lnTo>
                    <a:lnTo>
                      <a:pt x="118" y="14"/>
                    </a:lnTo>
                    <a:lnTo>
                      <a:pt x="118" y="20"/>
                    </a:lnTo>
                    <a:lnTo>
                      <a:pt x="130" y="20"/>
                    </a:lnTo>
                    <a:lnTo>
                      <a:pt x="130" y="6"/>
                    </a:lnTo>
                    <a:lnTo>
                      <a:pt x="140" y="4"/>
                    </a:lnTo>
                    <a:close/>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3" name="Freeform 574"/>
              <p:cNvSpPr>
                <a:spLocks/>
              </p:cNvSpPr>
              <p:nvPr/>
            </p:nvSpPr>
            <p:spPr bwMode="auto">
              <a:xfrm>
                <a:off x="3049" y="1343"/>
                <a:ext cx="186" cy="304"/>
              </a:xfrm>
              <a:custGeom>
                <a:avLst/>
                <a:gdLst>
                  <a:gd name="T0" fmla="*/ 148 w 186"/>
                  <a:gd name="T1" fmla="*/ 10 h 304"/>
                  <a:gd name="T2" fmla="*/ 168 w 186"/>
                  <a:gd name="T3" fmla="*/ 16 h 304"/>
                  <a:gd name="T4" fmla="*/ 176 w 186"/>
                  <a:gd name="T5" fmla="*/ 36 h 304"/>
                  <a:gd name="T6" fmla="*/ 182 w 186"/>
                  <a:gd name="T7" fmla="*/ 50 h 304"/>
                  <a:gd name="T8" fmla="*/ 186 w 186"/>
                  <a:gd name="T9" fmla="*/ 78 h 304"/>
                  <a:gd name="T10" fmla="*/ 160 w 186"/>
                  <a:gd name="T11" fmla="*/ 82 h 304"/>
                  <a:gd name="T12" fmla="*/ 144 w 186"/>
                  <a:gd name="T13" fmla="*/ 102 h 304"/>
                  <a:gd name="T14" fmla="*/ 136 w 186"/>
                  <a:gd name="T15" fmla="*/ 124 h 304"/>
                  <a:gd name="T16" fmla="*/ 108 w 186"/>
                  <a:gd name="T17" fmla="*/ 136 h 304"/>
                  <a:gd name="T18" fmla="*/ 92 w 186"/>
                  <a:gd name="T19" fmla="*/ 160 h 304"/>
                  <a:gd name="T20" fmla="*/ 90 w 186"/>
                  <a:gd name="T21" fmla="*/ 194 h 304"/>
                  <a:gd name="T22" fmla="*/ 112 w 186"/>
                  <a:gd name="T23" fmla="*/ 212 h 304"/>
                  <a:gd name="T24" fmla="*/ 98 w 186"/>
                  <a:gd name="T25" fmla="*/ 230 h 304"/>
                  <a:gd name="T26" fmla="*/ 82 w 186"/>
                  <a:gd name="T27" fmla="*/ 250 h 304"/>
                  <a:gd name="T28" fmla="*/ 78 w 186"/>
                  <a:gd name="T29" fmla="*/ 272 h 304"/>
                  <a:gd name="T30" fmla="*/ 62 w 186"/>
                  <a:gd name="T31" fmla="*/ 290 h 304"/>
                  <a:gd name="T32" fmla="*/ 46 w 186"/>
                  <a:gd name="T33" fmla="*/ 302 h 304"/>
                  <a:gd name="T34" fmla="*/ 30 w 186"/>
                  <a:gd name="T35" fmla="*/ 290 h 304"/>
                  <a:gd name="T36" fmla="*/ 26 w 186"/>
                  <a:gd name="T37" fmla="*/ 276 h 304"/>
                  <a:gd name="T38" fmla="*/ 10 w 186"/>
                  <a:gd name="T39" fmla="*/ 246 h 304"/>
                  <a:gd name="T40" fmla="*/ 16 w 186"/>
                  <a:gd name="T41" fmla="*/ 226 h 304"/>
                  <a:gd name="T42" fmla="*/ 22 w 186"/>
                  <a:gd name="T43" fmla="*/ 204 h 304"/>
                  <a:gd name="T44" fmla="*/ 16 w 186"/>
                  <a:gd name="T45" fmla="*/ 186 h 304"/>
                  <a:gd name="T46" fmla="*/ 26 w 186"/>
                  <a:gd name="T47" fmla="*/ 174 h 304"/>
                  <a:gd name="T48" fmla="*/ 16 w 186"/>
                  <a:gd name="T49" fmla="*/ 152 h 304"/>
                  <a:gd name="T50" fmla="*/ 30 w 186"/>
                  <a:gd name="T51" fmla="*/ 120 h 304"/>
                  <a:gd name="T52" fmla="*/ 48 w 186"/>
                  <a:gd name="T53" fmla="*/ 112 h 304"/>
                  <a:gd name="T54" fmla="*/ 52 w 186"/>
                  <a:gd name="T55" fmla="*/ 84 h 304"/>
                  <a:gd name="T56" fmla="*/ 66 w 186"/>
                  <a:gd name="T57" fmla="*/ 68 h 304"/>
                  <a:gd name="T58" fmla="*/ 78 w 186"/>
                  <a:gd name="T59" fmla="*/ 48 h 304"/>
                  <a:gd name="T60" fmla="*/ 88 w 186"/>
                  <a:gd name="T61" fmla="*/ 24 h 304"/>
                  <a:gd name="T62" fmla="*/ 104 w 186"/>
                  <a:gd name="T63" fmla="*/ 12 h 304"/>
                  <a:gd name="T64" fmla="*/ 116 w 186"/>
                  <a:gd name="T65" fmla="*/ 16 h 304"/>
                  <a:gd name="T66" fmla="*/ 128 w 186"/>
                  <a:gd name="T67"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6" h="304">
                    <a:moveTo>
                      <a:pt x="138" y="0"/>
                    </a:moveTo>
                    <a:lnTo>
                      <a:pt x="148" y="10"/>
                    </a:lnTo>
                    <a:lnTo>
                      <a:pt x="156" y="16"/>
                    </a:lnTo>
                    <a:lnTo>
                      <a:pt x="168" y="16"/>
                    </a:lnTo>
                    <a:lnTo>
                      <a:pt x="176" y="30"/>
                    </a:lnTo>
                    <a:lnTo>
                      <a:pt x="176" y="36"/>
                    </a:lnTo>
                    <a:lnTo>
                      <a:pt x="174" y="48"/>
                    </a:lnTo>
                    <a:lnTo>
                      <a:pt x="182" y="50"/>
                    </a:lnTo>
                    <a:lnTo>
                      <a:pt x="176" y="66"/>
                    </a:lnTo>
                    <a:lnTo>
                      <a:pt x="186" y="78"/>
                    </a:lnTo>
                    <a:lnTo>
                      <a:pt x="170" y="80"/>
                    </a:lnTo>
                    <a:lnTo>
                      <a:pt x="160" y="82"/>
                    </a:lnTo>
                    <a:lnTo>
                      <a:pt x="148" y="90"/>
                    </a:lnTo>
                    <a:lnTo>
                      <a:pt x="144" y="102"/>
                    </a:lnTo>
                    <a:lnTo>
                      <a:pt x="146" y="112"/>
                    </a:lnTo>
                    <a:lnTo>
                      <a:pt x="136" y="124"/>
                    </a:lnTo>
                    <a:lnTo>
                      <a:pt x="122" y="134"/>
                    </a:lnTo>
                    <a:lnTo>
                      <a:pt x="108" y="136"/>
                    </a:lnTo>
                    <a:lnTo>
                      <a:pt x="98" y="150"/>
                    </a:lnTo>
                    <a:lnTo>
                      <a:pt x="92" y="160"/>
                    </a:lnTo>
                    <a:lnTo>
                      <a:pt x="88" y="174"/>
                    </a:lnTo>
                    <a:lnTo>
                      <a:pt x="90" y="194"/>
                    </a:lnTo>
                    <a:lnTo>
                      <a:pt x="102" y="200"/>
                    </a:lnTo>
                    <a:lnTo>
                      <a:pt x="112" y="212"/>
                    </a:lnTo>
                    <a:lnTo>
                      <a:pt x="110" y="222"/>
                    </a:lnTo>
                    <a:lnTo>
                      <a:pt x="98" y="230"/>
                    </a:lnTo>
                    <a:lnTo>
                      <a:pt x="82" y="238"/>
                    </a:lnTo>
                    <a:lnTo>
                      <a:pt x="82" y="250"/>
                    </a:lnTo>
                    <a:lnTo>
                      <a:pt x="82" y="262"/>
                    </a:lnTo>
                    <a:lnTo>
                      <a:pt x="78" y="272"/>
                    </a:lnTo>
                    <a:lnTo>
                      <a:pt x="72" y="284"/>
                    </a:lnTo>
                    <a:lnTo>
                      <a:pt x="62" y="290"/>
                    </a:lnTo>
                    <a:lnTo>
                      <a:pt x="50" y="290"/>
                    </a:lnTo>
                    <a:lnTo>
                      <a:pt x="46" y="302"/>
                    </a:lnTo>
                    <a:lnTo>
                      <a:pt x="34" y="304"/>
                    </a:lnTo>
                    <a:lnTo>
                      <a:pt x="30" y="290"/>
                    </a:lnTo>
                    <a:lnTo>
                      <a:pt x="26" y="284"/>
                    </a:lnTo>
                    <a:lnTo>
                      <a:pt x="26" y="276"/>
                    </a:lnTo>
                    <a:lnTo>
                      <a:pt x="16" y="260"/>
                    </a:lnTo>
                    <a:lnTo>
                      <a:pt x="10" y="246"/>
                    </a:lnTo>
                    <a:lnTo>
                      <a:pt x="0" y="228"/>
                    </a:lnTo>
                    <a:lnTo>
                      <a:pt x="16" y="226"/>
                    </a:lnTo>
                    <a:lnTo>
                      <a:pt x="16" y="212"/>
                    </a:lnTo>
                    <a:lnTo>
                      <a:pt x="22" y="204"/>
                    </a:lnTo>
                    <a:lnTo>
                      <a:pt x="26" y="194"/>
                    </a:lnTo>
                    <a:lnTo>
                      <a:pt x="16" y="186"/>
                    </a:lnTo>
                    <a:lnTo>
                      <a:pt x="28" y="186"/>
                    </a:lnTo>
                    <a:lnTo>
                      <a:pt x="26" y="174"/>
                    </a:lnTo>
                    <a:lnTo>
                      <a:pt x="16" y="170"/>
                    </a:lnTo>
                    <a:lnTo>
                      <a:pt x="16" y="152"/>
                    </a:lnTo>
                    <a:lnTo>
                      <a:pt x="16" y="124"/>
                    </a:lnTo>
                    <a:lnTo>
                      <a:pt x="30" y="120"/>
                    </a:lnTo>
                    <a:lnTo>
                      <a:pt x="44" y="116"/>
                    </a:lnTo>
                    <a:lnTo>
                      <a:pt x="48" y="112"/>
                    </a:lnTo>
                    <a:lnTo>
                      <a:pt x="42" y="100"/>
                    </a:lnTo>
                    <a:lnTo>
                      <a:pt x="52" y="84"/>
                    </a:lnTo>
                    <a:lnTo>
                      <a:pt x="52" y="72"/>
                    </a:lnTo>
                    <a:lnTo>
                      <a:pt x="66" y="68"/>
                    </a:lnTo>
                    <a:lnTo>
                      <a:pt x="68" y="58"/>
                    </a:lnTo>
                    <a:lnTo>
                      <a:pt x="78" y="48"/>
                    </a:lnTo>
                    <a:lnTo>
                      <a:pt x="78" y="38"/>
                    </a:lnTo>
                    <a:lnTo>
                      <a:pt x="88" y="24"/>
                    </a:lnTo>
                    <a:lnTo>
                      <a:pt x="104" y="22"/>
                    </a:lnTo>
                    <a:lnTo>
                      <a:pt x="104" y="12"/>
                    </a:lnTo>
                    <a:lnTo>
                      <a:pt x="116" y="10"/>
                    </a:lnTo>
                    <a:lnTo>
                      <a:pt x="116" y="16"/>
                    </a:lnTo>
                    <a:lnTo>
                      <a:pt x="128" y="16"/>
                    </a:lnTo>
                    <a:lnTo>
                      <a:pt x="128" y="2"/>
                    </a:lnTo>
                    <a:lnTo>
                      <a:pt x="1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4" name="Freeform 575"/>
              <p:cNvSpPr>
                <a:spLocks/>
              </p:cNvSpPr>
              <p:nvPr/>
            </p:nvSpPr>
            <p:spPr bwMode="auto">
              <a:xfrm>
                <a:off x="3047" y="1339"/>
                <a:ext cx="192" cy="312"/>
              </a:xfrm>
              <a:custGeom>
                <a:avLst/>
                <a:gdLst>
                  <a:gd name="T0" fmla="*/ 138 w 192"/>
                  <a:gd name="T1" fmla="*/ 0 h 312"/>
                  <a:gd name="T2" fmla="*/ 128 w 192"/>
                  <a:gd name="T3" fmla="*/ 4 h 312"/>
                  <a:gd name="T4" fmla="*/ 122 w 192"/>
                  <a:gd name="T5" fmla="*/ 16 h 312"/>
                  <a:gd name="T6" fmla="*/ 122 w 192"/>
                  <a:gd name="T7" fmla="*/ 10 h 312"/>
                  <a:gd name="T8" fmla="*/ 118 w 192"/>
                  <a:gd name="T9" fmla="*/ 10 h 312"/>
                  <a:gd name="T10" fmla="*/ 106 w 192"/>
                  <a:gd name="T11" fmla="*/ 12 h 312"/>
                  <a:gd name="T12" fmla="*/ 102 w 192"/>
                  <a:gd name="T13" fmla="*/ 22 h 312"/>
                  <a:gd name="T14" fmla="*/ 88 w 192"/>
                  <a:gd name="T15" fmla="*/ 26 h 312"/>
                  <a:gd name="T16" fmla="*/ 76 w 192"/>
                  <a:gd name="T17" fmla="*/ 42 h 312"/>
                  <a:gd name="T18" fmla="*/ 66 w 192"/>
                  <a:gd name="T19" fmla="*/ 58 h 312"/>
                  <a:gd name="T20" fmla="*/ 54 w 192"/>
                  <a:gd name="T21" fmla="*/ 72 h 312"/>
                  <a:gd name="T22" fmla="*/ 50 w 192"/>
                  <a:gd name="T23" fmla="*/ 76 h 312"/>
                  <a:gd name="T24" fmla="*/ 40 w 192"/>
                  <a:gd name="T25" fmla="*/ 100 h 312"/>
                  <a:gd name="T26" fmla="*/ 44 w 192"/>
                  <a:gd name="T27" fmla="*/ 116 h 312"/>
                  <a:gd name="T28" fmla="*/ 16 w 192"/>
                  <a:gd name="T29" fmla="*/ 124 h 312"/>
                  <a:gd name="T30" fmla="*/ 14 w 192"/>
                  <a:gd name="T31" fmla="*/ 156 h 312"/>
                  <a:gd name="T32" fmla="*/ 16 w 192"/>
                  <a:gd name="T33" fmla="*/ 176 h 312"/>
                  <a:gd name="T34" fmla="*/ 18 w 192"/>
                  <a:gd name="T35" fmla="*/ 186 h 312"/>
                  <a:gd name="T36" fmla="*/ 14 w 192"/>
                  <a:gd name="T37" fmla="*/ 190 h 312"/>
                  <a:gd name="T38" fmla="*/ 16 w 192"/>
                  <a:gd name="T39" fmla="*/ 194 h 312"/>
                  <a:gd name="T40" fmla="*/ 14 w 192"/>
                  <a:gd name="T41" fmla="*/ 214 h 312"/>
                  <a:gd name="T42" fmla="*/ 14 w 192"/>
                  <a:gd name="T43" fmla="*/ 226 h 312"/>
                  <a:gd name="T44" fmla="*/ 0 w 192"/>
                  <a:gd name="T45" fmla="*/ 230 h 312"/>
                  <a:gd name="T46" fmla="*/ 8 w 192"/>
                  <a:gd name="T47" fmla="*/ 252 h 312"/>
                  <a:gd name="T48" fmla="*/ 14 w 192"/>
                  <a:gd name="T49" fmla="*/ 266 h 312"/>
                  <a:gd name="T50" fmla="*/ 24 w 192"/>
                  <a:gd name="T51" fmla="*/ 288 h 312"/>
                  <a:gd name="T52" fmla="*/ 32 w 192"/>
                  <a:gd name="T53" fmla="*/ 308 h 312"/>
                  <a:gd name="T54" fmla="*/ 36 w 192"/>
                  <a:gd name="T55" fmla="*/ 312 h 312"/>
                  <a:gd name="T56" fmla="*/ 48 w 192"/>
                  <a:gd name="T57" fmla="*/ 310 h 312"/>
                  <a:gd name="T58" fmla="*/ 54 w 192"/>
                  <a:gd name="T59" fmla="*/ 298 h 312"/>
                  <a:gd name="T60" fmla="*/ 66 w 192"/>
                  <a:gd name="T61" fmla="*/ 296 h 312"/>
                  <a:gd name="T62" fmla="*/ 78 w 192"/>
                  <a:gd name="T63" fmla="*/ 290 h 312"/>
                  <a:gd name="T64" fmla="*/ 84 w 192"/>
                  <a:gd name="T65" fmla="*/ 278 h 312"/>
                  <a:gd name="T66" fmla="*/ 88 w 192"/>
                  <a:gd name="T67" fmla="*/ 266 h 312"/>
                  <a:gd name="T68" fmla="*/ 102 w 192"/>
                  <a:gd name="T69" fmla="*/ 238 h 312"/>
                  <a:gd name="T70" fmla="*/ 116 w 192"/>
                  <a:gd name="T71" fmla="*/ 228 h 312"/>
                  <a:gd name="T72" fmla="*/ 116 w 192"/>
                  <a:gd name="T73" fmla="*/ 214 h 312"/>
                  <a:gd name="T74" fmla="*/ 106 w 192"/>
                  <a:gd name="T75" fmla="*/ 200 h 312"/>
                  <a:gd name="T76" fmla="*/ 98 w 192"/>
                  <a:gd name="T77" fmla="*/ 166 h 312"/>
                  <a:gd name="T78" fmla="*/ 124 w 192"/>
                  <a:gd name="T79" fmla="*/ 142 h 312"/>
                  <a:gd name="T80" fmla="*/ 140 w 192"/>
                  <a:gd name="T81" fmla="*/ 132 h 312"/>
                  <a:gd name="T82" fmla="*/ 152 w 192"/>
                  <a:gd name="T83" fmla="*/ 118 h 312"/>
                  <a:gd name="T84" fmla="*/ 150 w 192"/>
                  <a:gd name="T85" fmla="*/ 106 h 312"/>
                  <a:gd name="T86" fmla="*/ 172 w 192"/>
                  <a:gd name="T87" fmla="*/ 88 h 312"/>
                  <a:gd name="T88" fmla="*/ 192 w 192"/>
                  <a:gd name="T89" fmla="*/ 84 h 312"/>
                  <a:gd name="T90" fmla="*/ 184 w 192"/>
                  <a:gd name="T91" fmla="*/ 68 h 312"/>
                  <a:gd name="T92" fmla="*/ 188 w 192"/>
                  <a:gd name="T93" fmla="*/ 54 h 312"/>
                  <a:gd name="T94" fmla="*/ 182 w 192"/>
                  <a:gd name="T95" fmla="*/ 40 h 312"/>
                  <a:gd name="T96" fmla="*/ 182 w 192"/>
                  <a:gd name="T97" fmla="*/ 34 h 312"/>
                  <a:gd name="T98" fmla="*/ 174 w 192"/>
                  <a:gd name="T99" fmla="*/ 18 h 312"/>
                  <a:gd name="T100" fmla="*/ 160 w 192"/>
                  <a:gd name="T101" fmla="*/ 16 h 312"/>
                  <a:gd name="T102" fmla="*/ 142 w 192"/>
                  <a:gd name="T103"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2" h="312">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5" name="Freeform 576"/>
              <p:cNvSpPr>
                <a:spLocks/>
              </p:cNvSpPr>
              <p:nvPr/>
            </p:nvSpPr>
            <p:spPr bwMode="auto">
              <a:xfrm>
                <a:off x="2959" y="1291"/>
                <a:ext cx="372" cy="302"/>
              </a:xfrm>
              <a:custGeom>
                <a:avLst/>
                <a:gdLst>
                  <a:gd name="T0" fmla="*/ 10 w 372"/>
                  <a:gd name="T1" fmla="*/ 288 h 302"/>
                  <a:gd name="T2" fmla="*/ 8 w 372"/>
                  <a:gd name="T3" fmla="*/ 278 h 302"/>
                  <a:gd name="T4" fmla="*/ 6 w 372"/>
                  <a:gd name="T5" fmla="*/ 272 h 302"/>
                  <a:gd name="T6" fmla="*/ 4 w 372"/>
                  <a:gd name="T7" fmla="*/ 260 h 302"/>
                  <a:gd name="T8" fmla="*/ 4 w 372"/>
                  <a:gd name="T9" fmla="*/ 242 h 302"/>
                  <a:gd name="T10" fmla="*/ 4 w 372"/>
                  <a:gd name="T11" fmla="*/ 212 h 302"/>
                  <a:gd name="T12" fmla="*/ 56 w 372"/>
                  <a:gd name="T13" fmla="*/ 184 h 302"/>
                  <a:gd name="T14" fmla="*/ 86 w 372"/>
                  <a:gd name="T15" fmla="*/ 178 h 302"/>
                  <a:gd name="T16" fmla="*/ 76 w 372"/>
                  <a:gd name="T17" fmla="*/ 184 h 302"/>
                  <a:gd name="T18" fmla="*/ 66 w 372"/>
                  <a:gd name="T19" fmla="*/ 180 h 302"/>
                  <a:gd name="T20" fmla="*/ 114 w 372"/>
                  <a:gd name="T21" fmla="*/ 124 h 302"/>
                  <a:gd name="T22" fmla="*/ 122 w 372"/>
                  <a:gd name="T23" fmla="*/ 110 h 302"/>
                  <a:gd name="T24" fmla="*/ 156 w 372"/>
                  <a:gd name="T25" fmla="*/ 76 h 302"/>
                  <a:gd name="T26" fmla="*/ 160 w 372"/>
                  <a:gd name="T27" fmla="*/ 72 h 302"/>
                  <a:gd name="T28" fmla="*/ 144 w 372"/>
                  <a:gd name="T29" fmla="*/ 66 h 302"/>
                  <a:gd name="T30" fmla="*/ 148 w 372"/>
                  <a:gd name="T31" fmla="*/ 54 h 302"/>
                  <a:gd name="T32" fmla="*/ 160 w 372"/>
                  <a:gd name="T33" fmla="*/ 50 h 302"/>
                  <a:gd name="T34" fmla="*/ 174 w 372"/>
                  <a:gd name="T35" fmla="*/ 52 h 302"/>
                  <a:gd name="T36" fmla="*/ 178 w 372"/>
                  <a:gd name="T37" fmla="*/ 40 h 302"/>
                  <a:gd name="T38" fmla="*/ 202 w 372"/>
                  <a:gd name="T39" fmla="*/ 28 h 302"/>
                  <a:gd name="T40" fmla="*/ 216 w 372"/>
                  <a:gd name="T41" fmla="*/ 28 h 302"/>
                  <a:gd name="T42" fmla="*/ 232 w 372"/>
                  <a:gd name="T43" fmla="*/ 28 h 302"/>
                  <a:gd name="T44" fmla="*/ 246 w 372"/>
                  <a:gd name="T45" fmla="*/ 22 h 302"/>
                  <a:gd name="T46" fmla="*/ 258 w 372"/>
                  <a:gd name="T47" fmla="*/ 22 h 302"/>
                  <a:gd name="T48" fmla="*/ 264 w 372"/>
                  <a:gd name="T49" fmla="*/ 16 h 302"/>
                  <a:gd name="T50" fmla="*/ 296 w 372"/>
                  <a:gd name="T51" fmla="*/ 0 h 302"/>
                  <a:gd name="T52" fmla="*/ 306 w 372"/>
                  <a:gd name="T53" fmla="*/ 6 h 302"/>
                  <a:gd name="T54" fmla="*/ 308 w 372"/>
                  <a:gd name="T55" fmla="*/ 10 h 302"/>
                  <a:gd name="T56" fmla="*/ 310 w 372"/>
                  <a:gd name="T57" fmla="*/ 8 h 302"/>
                  <a:gd name="T58" fmla="*/ 324 w 372"/>
                  <a:gd name="T59" fmla="*/ 4 h 302"/>
                  <a:gd name="T60" fmla="*/ 338 w 372"/>
                  <a:gd name="T61" fmla="*/ 6 h 302"/>
                  <a:gd name="T62" fmla="*/ 348 w 372"/>
                  <a:gd name="T63" fmla="*/ 8 h 302"/>
                  <a:gd name="T64" fmla="*/ 372 w 372"/>
                  <a:gd name="T65" fmla="*/ 20 h 302"/>
                  <a:gd name="T66" fmla="*/ 362 w 372"/>
                  <a:gd name="T67" fmla="*/ 32 h 302"/>
                  <a:gd name="T68" fmla="*/ 360 w 372"/>
                  <a:gd name="T69" fmla="*/ 40 h 302"/>
                  <a:gd name="T70" fmla="*/ 350 w 372"/>
                  <a:gd name="T71" fmla="*/ 50 h 302"/>
                  <a:gd name="T72" fmla="*/ 320 w 372"/>
                  <a:gd name="T73" fmla="*/ 30 h 302"/>
                  <a:gd name="T74" fmla="*/ 298 w 372"/>
                  <a:gd name="T75" fmla="*/ 56 h 302"/>
                  <a:gd name="T76" fmla="*/ 274 w 372"/>
                  <a:gd name="T77" fmla="*/ 66 h 302"/>
                  <a:gd name="T78" fmla="*/ 236 w 372"/>
                  <a:gd name="T79" fmla="*/ 50 h 302"/>
                  <a:gd name="T80" fmla="*/ 220 w 372"/>
                  <a:gd name="T81" fmla="*/ 70 h 302"/>
                  <a:gd name="T82" fmla="*/ 204 w 372"/>
                  <a:gd name="T83" fmla="*/ 70 h 302"/>
                  <a:gd name="T84" fmla="*/ 192 w 372"/>
                  <a:gd name="T85" fmla="*/ 78 h 302"/>
                  <a:gd name="T86" fmla="*/ 166 w 372"/>
                  <a:gd name="T87" fmla="*/ 104 h 302"/>
                  <a:gd name="T88" fmla="*/ 142 w 372"/>
                  <a:gd name="T89" fmla="*/ 126 h 302"/>
                  <a:gd name="T90" fmla="*/ 136 w 372"/>
                  <a:gd name="T91" fmla="*/ 164 h 302"/>
                  <a:gd name="T92" fmla="*/ 132 w 372"/>
                  <a:gd name="T93" fmla="*/ 170 h 302"/>
                  <a:gd name="T94" fmla="*/ 116 w 372"/>
                  <a:gd name="T95" fmla="*/ 226 h 302"/>
                  <a:gd name="T96" fmla="*/ 116 w 372"/>
                  <a:gd name="T97" fmla="*/ 238 h 302"/>
                  <a:gd name="T98" fmla="*/ 112 w 372"/>
                  <a:gd name="T99" fmla="*/ 256 h 302"/>
                  <a:gd name="T100" fmla="*/ 104 w 372"/>
                  <a:gd name="T101" fmla="*/ 276 h 302"/>
                  <a:gd name="T102" fmla="*/ 86 w 372"/>
                  <a:gd name="T103" fmla="*/ 280 h 302"/>
                  <a:gd name="T104" fmla="*/ 76 w 372"/>
                  <a:gd name="T105" fmla="*/ 278 h 302"/>
                  <a:gd name="T106" fmla="*/ 40 w 372"/>
                  <a:gd name="T107" fmla="*/ 302 h 302"/>
                  <a:gd name="T108" fmla="*/ 38 w 372"/>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2" h="302">
                    <a:moveTo>
                      <a:pt x="38" y="302"/>
                    </a:moveTo>
                    <a:lnTo>
                      <a:pt x="22" y="298"/>
                    </a:lnTo>
                    <a:lnTo>
                      <a:pt x="22" y="298"/>
                    </a:lnTo>
                    <a:lnTo>
                      <a:pt x="22" y="298"/>
                    </a:lnTo>
                    <a:lnTo>
                      <a:pt x="10" y="288"/>
                    </a:lnTo>
                    <a:lnTo>
                      <a:pt x="10" y="288"/>
                    </a:lnTo>
                    <a:lnTo>
                      <a:pt x="10" y="288"/>
                    </a:lnTo>
                    <a:lnTo>
                      <a:pt x="8" y="280"/>
                    </a:lnTo>
                    <a:lnTo>
                      <a:pt x="8" y="280"/>
                    </a:lnTo>
                    <a:lnTo>
                      <a:pt x="8" y="278"/>
                    </a:lnTo>
                    <a:lnTo>
                      <a:pt x="16" y="270"/>
                    </a:lnTo>
                    <a:lnTo>
                      <a:pt x="14" y="270"/>
                    </a:lnTo>
                    <a:lnTo>
                      <a:pt x="8" y="272"/>
                    </a:lnTo>
                    <a:lnTo>
                      <a:pt x="8" y="272"/>
                    </a:lnTo>
                    <a:lnTo>
                      <a:pt x="6" y="272"/>
                    </a:lnTo>
                    <a:lnTo>
                      <a:pt x="6" y="272"/>
                    </a:lnTo>
                    <a:lnTo>
                      <a:pt x="4" y="270"/>
                    </a:lnTo>
                    <a:lnTo>
                      <a:pt x="2" y="262"/>
                    </a:lnTo>
                    <a:lnTo>
                      <a:pt x="2" y="262"/>
                    </a:lnTo>
                    <a:lnTo>
                      <a:pt x="4" y="260"/>
                    </a:lnTo>
                    <a:lnTo>
                      <a:pt x="14" y="254"/>
                    </a:lnTo>
                    <a:lnTo>
                      <a:pt x="8" y="250"/>
                    </a:lnTo>
                    <a:lnTo>
                      <a:pt x="8" y="250"/>
                    </a:lnTo>
                    <a:lnTo>
                      <a:pt x="6" y="250"/>
                    </a:lnTo>
                    <a:lnTo>
                      <a:pt x="4" y="242"/>
                    </a:lnTo>
                    <a:lnTo>
                      <a:pt x="0" y="222"/>
                    </a:lnTo>
                    <a:lnTo>
                      <a:pt x="0" y="222"/>
                    </a:lnTo>
                    <a:lnTo>
                      <a:pt x="0" y="222"/>
                    </a:lnTo>
                    <a:lnTo>
                      <a:pt x="4" y="212"/>
                    </a:lnTo>
                    <a:lnTo>
                      <a:pt x="4" y="212"/>
                    </a:lnTo>
                    <a:lnTo>
                      <a:pt x="4" y="212"/>
                    </a:lnTo>
                    <a:lnTo>
                      <a:pt x="24" y="202"/>
                    </a:lnTo>
                    <a:lnTo>
                      <a:pt x="38" y="198"/>
                    </a:lnTo>
                    <a:lnTo>
                      <a:pt x="50" y="194"/>
                    </a:lnTo>
                    <a:lnTo>
                      <a:pt x="56" y="184"/>
                    </a:lnTo>
                    <a:lnTo>
                      <a:pt x="56" y="184"/>
                    </a:lnTo>
                    <a:lnTo>
                      <a:pt x="56" y="182"/>
                    </a:lnTo>
                    <a:lnTo>
                      <a:pt x="64" y="182"/>
                    </a:lnTo>
                    <a:lnTo>
                      <a:pt x="76" y="184"/>
                    </a:lnTo>
                    <a:lnTo>
                      <a:pt x="86" y="178"/>
                    </a:lnTo>
                    <a:lnTo>
                      <a:pt x="86" y="176"/>
                    </a:lnTo>
                    <a:lnTo>
                      <a:pt x="78" y="182"/>
                    </a:lnTo>
                    <a:lnTo>
                      <a:pt x="78" y="182"/>
                    </a:lnTo>
                    <a:lnTo>
                      <a:pt x="76" y="184"/>
                    </a:lnTo>
                    <a:lnTo>
                      <a:pt x="76" y="184"/>
                    </a:lnTo>
                    <a:lnTo>
                      <a:pt x="76" y="184"/>
                    </a:lnTo>
                    <a:lnTo>
                      <a:pt x="68" y="182"/>
                    </a:lnTo>
                    <a:lnTo>
                      <a:pt x="68" y="182"/>
                    </a:lnTo>
                    <a:lnTo>
                      <a:pt x="66" y="180"/>
                    </a:lnTo>
                    <a:lnTo>
                      <a:pt x="66" y="180"/>
                    </a:lnTo>
                    <a:lnTo>
                      <a:pt x="66" y="178"/>
                    </a:lnTo>
                    <a:lnTo>
                      <a:pt x="82" y="162"/>
                    </a:lnTo>
                    <a:lnTo>
                      <a:pt x="92" y="158"/>
                    </a:lnTo>
                    <a:lnTo>
                      <a:pt x="102" y="146"/>
                    </a:lnTo>
                    <a:lnTo>
                      <a:pt x="114" y="124"/>
                    </a:lnTo>
                    <a:lnTo>
                      <a:pt x="114" y="124"/>
                    </a:lnTo>
                    <a:lnTo>
                      <a:pt x="114" y="124"/>
                    </a:lnTo>
                    <a:lnTo>
                      <a:pt x="122" y="118"/>
                    </a:lnTo>
                    <a:lnTo>
                      <a:pt x="122" y="110"/>
                    </a:lnTo>
                    <a:lnTo>
                      <a:pt x="122" y="110"/>
                    </a:lnTo>
                    <a:lnTo>
                      <a:pt x="124" y="108"/>
                    </a:lnTo>
                    <a:lnTo>
                      <a:pt x="142" y="94"/>
                    </a:lnTo>
                    <a:lnTo>
                      <a:pt x="150" y="88"/>
                    </a:lnTo>
                    <a:lnTo>
                      <a:pt x="156" y="76"/>
                    </a:lnTo>
                    <a:lnTo>
                      <a:pt x="156" y="76"/>
                    </a:lnTo>
                    <a:lnTo>
                      <a:pt x="158" y="76"/>
                    </a:lnTo>
                    <a:lnTo>
                      <a:pt x="164" y="76"/>
                    </a:lnTo>
                    <a:lnTo>
                      <a:pt x="164" y="70"/>
                    </a:lnTo>
                    <a:lnTo>
                      <a:pt x="160" y="72"/>
                    </a:lnTo>
                    <a:lnTo>
                      <a:pt x="160" y="72"/>
                    </a:lnTo>
                    <a:lnTo>
                      <a:pt x="158" y="72"/>
                    </a:lnTo>
                    <a:lnTo>
                      <a:pt x="148" y="72"/>
                    </a:lnTo>
                    <a:lnTo>
                      <a:pt x="148" y="72"/>
                    </a:lnTo>
                    <a:lnTo>
                      <a:pt x="146" y="72"/>
                    </a:lnTo>
                    <a:lnTo>
                      <a:pt x="144" y="66"/>
                    </a:lnTo>
                    <a:lnTo>
                      <a:pt x="144" y="66"/>
                    </a:lnTo>
                    <a:lnTo>
                      <a:pt x="144" y="64"/>
                    </a:lnTo>
                    <a:lnTo>
                      <a:pt x="148" y="56"/>
                    </a:lnTo>
                    <a:lnTo>
                      <a:pt x="148" y="56"/>
                    </a:lnTo>
                    <a:lnTo>
                      <a:pt x="148" y="54"/>
                    </a:lnTo>
                    <a:lnTo>
                      <a:pt x="158" y="50"/>
                    </a:lnTo>
                    <a:lnTo>
                      <a:pt x="158" y="50"/>
                    </a:lnTo>
                    <a:lnTo>
                      <a:pt x="158" y="50"/>
                    </a:lnTo>
                    <a:lnTo>
                      <a:pt x="158" y="50"/>
                    </a:lnTo>
                    <a:lnTo>
                      <a:pt x="160" y="50"/>
                    </a:lnTo>
                    <a:lnTo>
                      <a:pt x="166" y="56"/>
                    </a:lnTo>
                    <a:lnTo>
                      <a:pt x="180" y="60"/>
                    </a:lnTo>
                    <a:lnTo>
                      <a:pt x="182" y="56"/>
                    </a:lnTo>
                    <a:lnTo>
                      <a:pt x="174" y="52"/>
                    </a:lnTo>
                    <a:lnTo>
                      <a:pt x="174" y="52"/>
                    </a:lnTo>
                    <a:lnTo>
                      <a:pt x="172" y="50"/>
                    </a:lnTo>
                    <a:lnTo>
                      <a:pt x="172" y="50"/>
                    </a:lnTo>
                    <a:lnTo>
                      <a:pt x="172" y="48"/>
                    </a:lnTo>
                    <a:lnTo>
                      <a:pt x="178" y="40"/>
                    </a:lnTo>
                    <a:lnTo>
                      <a:pt x="178" y="40"/>
                    </a:lnTo>
                    <a:lnTo>
                      <a:pt x="180" y="38"/>
                    </a:lnTo>
                    <a:lnTo>
                      <a:pt x="180" y="38"/>
                    </a:lnTo>
                    <a:lnTo>
                      <a:pt x="180" y="38"/>
                    </a:lnTo>
                    <a:lnTo>
                      <a:pt x="196" y="42"/>
                    </a:lnTo>
                    <a:lnTo>
                      <a:pt x="202" y="28"/>
                    </a:lnTo>
                    <a:lnTo>
                      <a:pt x="202" y="28"/>
                    </a:lnTo>
                    <a:lnTo>
                      <a:pt x="204" y="26"/>
                    </a:lnTo>
                    <a:lnTo>
                      <a:pt x="214" y="26"/>
                    </a:lnTo>
                    <a:lnTo>
                      <a:pt x="214" y="26"/>
                    </a:lnTo>
                    <a:lnTo>
                      <a:pt x="216" y="28"/>
                    </a:lnTo>
                    <a:lnTo>
                      <a:pt x="220" y="34"/>
                    </a:lnTo>
                    <a:lnTo>
                      <a:pt x="232" y="28"/>
                    </a:lnTo>
                    <a:lnTo>
                      <a:pt x="232" y="28"/>
                    </a:lnTo>
                    <a:lnTo>
                      <a:pt x="232" y="28"/>
                    </a:lnTo>
                    <a:lnTo>
                      <a:pt x="232" y="28"/>
                    </a:lnTo>
                    <a:lnTo>
                      <a:pt x="234" y="28"/>
                    </a:lnTo>
                    <a:lnTo>
                      <a:pt x="240" y="32"/>
                    </a:lnTo>
                    <a:lnTo>
                      <a:pt x="244" y="24"/>
                    </a:lnTo>
                    <a:lnTo>
                      <a:pt x="244" y="24"/>
                    </a:lnTo>
                    <a:lnTo>
                      <a:pt x="246" y="22"/>
                    </a:lnTo>
                    <a:lnTo>
                      <a:pt x="246" y="22"/>
                    </a:lnTo>
                    <a:lnTo>
                      <a:pt x="258" y="22"/>
                    </a:lnTo>
                    <a:lnTo>
                      <a:pt x="258" y="22"/>
                    </a:lnTo>
                    <a:lnTo>
                      <a:pt x="258" y="22"/>
                    </a:lnTo>
                    <a:lnTo>
                      <a:pt x="258" y="22"/>
                    </a:lnTo>
                    <a:lnTo>
                      <a:pt x="260" y="24"/>
                    </a:lnTo>
                    <a:lnTo>
                      <a:pt x="260" y="30"/>
                    </a:lnTo>
                    <a:lnTo>
                      <a:pt x="262" y="32"/>
                    </a:lnTo>
                    <a:lnTo>
                      <a:pt x="264" y="16"/>
                    </a:lnTo>
                    <a:lnTo>
                      <a:pt x="264" y="16"/>
                    </a:lnTo>
                    <a:lnTo>
                      <a:pt x="266" y="14"/>
                    </a:lnTo>
                    <a:lnTo>
                      <a:pt x="278" y="14"/>
                    </a:lnTo>
                    <a:lnTo>
                      <a:pt x="296" y="0"/>
                    </a:lnTo>
                    <a:lnTo>
                      <a:pt x="296" y="0"/>
                    </a:lnTo>
                    <a:lnTo>
                      <a:pt x="296" y="0"/>
                    </a:lnTo>
                    <a:lnTo>
                      <a:pt x="296" y="0"/>
                    </a:lnTo>
                    <a:lnTo>
                      <a:pt x="298" y="0"/>
                    </a:lnTo>
                    <a:lnTo>
                      <a:pt x="304" y="4"/>
                    </a:lnTo>
                    <a:lnTo>
                      <a:pt x="304" y="4"/>
                    </a:lnTo>
                    <a:lnTo>
                      <a:pt x="306" y="6"/>
                    </a:lnTo>
                    <a:lnTo>
                      <a:pt x="306" y="6"/>
                    </a:lnTo>
                    <a:lnTo>
                      <a:pt x="306" y="6"/>
                    </a:lnTo>
                    <a:lnTo>
                      <a:pt x="290" y="22"/>
                    </a:lnTo>
                    <a:lnTo>
                      <a:pt x="290" y="26"/>
                    </a:lnTo>
                    <a:lnTo>
                      <a:pt x="308" y="10"/>
                    </a:lnTo>
                    <a:lnTo>
                      <a:pt x="308" y="10"/>
                    </a:lnTo>
                    <a:lnTo>
                      <a:pt x="310" y="8"/>
                    </a:lnTo>
                    <a:lnTo>
                      <a:pt x="310" y="8"/>
                    </a:lnTo>
                    <a:lnTo>
                      <a:pt x="310" y="8"/>
                    </a:lnTo>
                    <a:lnTo>
                      <a:pt x="310" y="8"/>
                    </a:lnTo>
                    <a:lnTo>
                      <a:pt x="312" y="10"/>
                    </a:lnTo>
                    <a:lnTo>
                      <a:pt x="312" y="16"/>
                    </a:lnTo>
                    <a:lnTo>
                      <a:pt x="322" y="4"/>
                    </a:lnTo>
                    <a:lnTo>
                      <a:pt x="322" y="4"/>
                    </a:lnTo>
                    <a:lnTo>
                      <a:pt x="324" y="4"/>
                    </a:lnTo>
                    <a:lnTo>
                      <a:pt x="324" y="4"/>
                    </a:lnTo>
                    <a:lnTo>
                      <a:pt x="336" y="6"/>
                    </a:lnTo>
                    <a:lnTo>
                      <a:pt x="336" y="6"/>
                    </a:lnTo>
                    <a:lnTo>
                      <a:pt x="338" y="6"/>
                    </a:lnTo>
                    <a:lnTo>
                      <a:pt x="338" y="6"/>
                    </a:lnTo>
                    <a:lnTo>
                      <a:pt x="338" y="8"/>
                    </a:lnTo>
                    <a:lnTo>
                      <a:pt x="336" y="16"/>
                    </a:lnTo>
                    <a:lnTo>
                      <a:pt x="348" y="10"/>
                    </a:lnTo>
                    <a:lnTo>
                      <a:pt x="348" y="10"/>
                    </a:lnTo>
                    <a:lnTo>
                      <a:pt x="348" y="8"/>
                    </a:lnTo>
                    <a:lnTo>
                      <a:pt x="348" y="8"/>
                    </a:lnTo>
                    <a:lnTo>
                      <a:pt x="350" y="8"/>
                    </a:lnTo>
                    <a:lnTo>
                      <a:pt x="372" y="18"/>
                    </a:lnTo>
                    <a:lnTo>
                      <a:pt x="372" y="18"/>
                    </a:lnTo>
                    <a:lnTo>
                      <a:pt x="372" y="20"/>
                    </a:lnTo>
                    <a:lnTo>
                      <a:pt x="372" y="20"/>
                    </a:lnTo>
                    <a:lnTo>
                      <a:pt x="372" y="20"/>
                    </a:lnTo>
                    <a:lnTo>
                      <a:pt x="364" y="32"/>
                    </a:lnTo>
                    <a:lnTo>
                      <a:pt x="364" y="32"/>
                    </a:lnTo>
                    <a:lnTo>
                      <a:pt x="362" y="32"/>
                    </a:lnTo>
                    <a:lnTo>
                      <a:pt x="362" y="32"/>
                    </a:lnTo>
                    <a:lnTo>
                      <a:pt x="350" y="32"/>
                    </a:lnTo>
                    <a:lnTo>
                      <a:pt x="360" y="40"/>
                    </a:lnTo>
                    <a:lnTo>
                      <a:pt x="360" y="40"/>
                    </a:lnTo>
                    <a:lnTo>
                      <a:pt x="360" y="40"/>
                    </a:lnTo>
                    <a:lnTo>
                      <a:pt x="360" y="46"/>
                    </a:lnTo>
                    <a:lnTo>
                      <a:pt x="360" y="46"/>
                    </a:lnTo>
                    <a:lnTo>
                      <a:pt x="358" y="48"/>
                    </a:lnTo>
                    <a:lnTo>
                      <a:pt x="350" y="50"/>
                    </a:lnTo>
                    <a:lnTo>
                      <a:pt x="350" y="50"/>
                    </a:lnTo>
                    <a:lnTo>
                      <a:pt x="348" y="50"/>
                    </a:lnTo>
                    <a:lnTo>
                      <a:pt x="348" y="50"/>
                    </a:lnTo>
                    <a:lnTo>
                      <a:pt x="348" y="48"/>
                    </a:lnTo>
                    <a:lnTo>
                      <a:pt x="338" y="38"/>
                    </a:lnTo>
                    <a:lnTo>
                      <a:pt x="320" y="30"/>
                    </a:lnTo>
                    <a:lnTo>
                      <a:pt x="304" y="40"/>
                    </a:lnTo>
                    <a:lnTo>
                      <a:pt x="302" y="42"/>
                    </a:lnTo>
                    <a:lnTo>
                      <a:pt x="298" y="56"/>
                    </a:lnTo>
                    <a:lnTo>
                      <a:pt x="298" y="56"/>
                    </a:lnTo>
                    <a:lnTo>
                      <a:pt x="298" y="56"/>
                    </a:lnTo>
                    <a:lnTo>
                      <a:pt x="288" y="66"/>
                    </a:lnTo>
                    <a:lnTo>
                      <a:pt x="288" y="66"/>
                    </a:lnTo>
                    <a:lnTo>
                      <a:pt x="286" y="68"/>
                    </a:lnTo>
                    <a:lnTo>
                      <a:pt x="286" y="68"/>
                    </a:lnTo>
                    <a:lnTo>
                      <a:pt x="274" y="66"/>
                    </a:lnTo>
                    <a:lnTo>
                      <a:pt x="248" y="64"/>
                    </a:lnTo>
                    <a:lnTo>
                      <a:pt x="248" y="64"/>
                    </a:lnTo>
                    <a:lnTo>
                      <a:pt x="246" y="64"/>
                    </a:lnTo>
                    <a:lnTo>
                      <a:pt x="240" y="54"/>
                    </a:lnTo>
                    <a:lnTo>
                      <a:pt x="236" y="50"/>
                    </a:lnTo>
                    <a:lnTo>
                      <a:pt x="228" y="56"/>
                    </a:lnTo>
                    <a:lnTo>
                      <a:pt x="228" y="56"/>
                    </a:lnTo>
                    <a:lnTo>
                      <a:pt x="228" y="56"/>
                    </a:lnTo>
                    <a:lnTo>
                      <a:pt x="220" y="58"/>
                    </a:lnTo>
                    <a:lnTo>
                      <a:pt x="220" y="70"/>
                    </a:lnTo>
                    <a:lnTo>
                      <a:pt x="220" y="70"/>
                    </a:lnTo>
                    <a:lnTo>
                      <a:pt x="218" y="72"/>
                    </a:lnTo>
                    <a:lnTo>
                      <a:pt x="206" y="72"/>
                    </a:lnTo>
                    <a:lnTo>
                      <a:pt x="206" y="72"/>
                    </a:lnTo>
                    <a:lnTo>
                      <a:pt x="204" y="70"/>
                    </a:lnTo>
                    <a:lnTo>
                      <a:pt x="204" y="66"/>
                    </a:lnTo>
                    <a:lnTo>
                      <a:pt x="194" y="68"/>
                    </a:lnTo>
                    <a:lnTo>
                      <a:pt x="194" y="76"/>
                    </a:lnTo>
                    <a:lnTo>
                      <a:pt x="194" y="76"/>
                    </a:lnTo>
                    <a:lnTo>
                      <a:pt x="192" y="78"/>
                    </a:lnTo>
                    <a:lnTo>
                      <a:pt x="178" y="80"/>
                    </a:lnTo>
                    <a:lnTo>
                      <a:pt x="168" y="92"/>
                    </a:lnTo>
                    <a:lnTo>
                      <a:pt x="168" y="102"/>
                    </a:lnTo>
                    <a:lnTo>
                      <a:pt x="168" y="102"/>
                    </a:lnTo>
                    <a:lnTo>
                      <a:pt x="166" y="104"/>
                    </a:lnTo>
                    <a:lnTo>
                      <a:pt x="156" y="112"/>
                    </a:lnTo>
                    <a:lnTo>
                      <a:pt x="156" y="122"/>
                    </a:lnTo>
                    <a:lnTo>
                      <a:pt x="156" y="122"/>
                    </a:lnTo>
                    <a:lnTo>
                      <a:pt x="154" y="124"/>
                    </a:lnTo>
                    <a:lnTo>
                      <a:pt x="142" y="126"/>
                    </a:lnTo>
                    <a:lnTo>
                      <a:pt x="140" y="138"/>
                    </a:lnTo>
                    <a:lnTo>
                      <a:pt x="140" y="138"/>
                    </a:lnTo>
                    <a:lnTo>
                      <a:pt x="140" y="138"/>
                    </a:lnTo>
                    <a:lnTo>
                      <a:pt x="132" y="152"/>
                    </a:lnTo>
                    <a:lnTo>
                      <a:pt x="136" y="164"/>
                    </a:lnTo>
                    <a:lnTo>
                      <a:pt x="136" y="164"/>
                    </a:lnTo>
                    <a:lnTo>
                      <a:pt x="136" y="166"/>
                    </a:lnTo>
                    <a:lnTo>
                      <a:pt x="132" y="168"/>
                    </a:lnTo>
                    <a:lnTo>
                      <a:pt x="132" y="168"/>
                    </a:lnTo>
                    <a:lnTo>
                      <a:pt x="132" y="170"/>
                    </a:lnTo>
                    <a:lnTo>
                      <a:pt x="104" y="178"/>
                    </a:lnTo>
                    <a:lnTo>
                      <a:pt x="104" y="218"/>
                    </a:lnTo>
                    <a:lnTo>
                      <a:pt x="114" y="224"/>
                    </a:lnTo>
                    <a:lnTo>
                      <a:pt x="114" y="224"/>
                    </a:lnTo>
                    <a:lnTo>
                      <a:pt x="116" y="226"/>
                    </a:lnTo>
                    <a:lnTo>
                      <a:pt x="118" y="236"/>
                    </a:lnTo>
                    <a:lnTo>
                      <a:pt x="118" y="236"/>
                    </a:lnTo>
                    <a:lnTo>
                      <a:pt x="116" y="238"/>
                    </a:lnTo>
                    <a:lnTo>
                      <a:pt x="116" y="238"/>
                    </a:lnTo>
                    <a:lnTo>
                      <a:pt x="116" y="238"/>
                    </a:lnTo>
                    <a:lnTo>
                      <a:pt x="108" y="240"/>
                    </a:lnTo>
                    <a:lnTo>
                      <a:pt x="114" y="244"/>
                    </a:lnTo>
                    <a:lnTo>
                      <a:pt x="114" y="244"/>
                    </a:lnTo>
                    <a:lnTo>
                      <a:pt x="116" y="246"/>
                    </a:lnTo>
                    <a:lnTo>
                      <a:pt x="112" y="256"/>
                    </a:lnTo>
                    <a:lnTo>
                      <a:pt x="112" y="256"/>
                    </a:lnTo>
                    <a:lnTo>
                      <a:pt x="112" y="256"/>
                    </a:lnTo>
                    <a:lnTo>
                      <a:pt x="104" y="264"/>
                    </a:lnTo>
                    <a:lnTo>
                      <a:pt x="104" y="276"/>
                    </a:lnTo>
                    <a:lnTo>
                      <a:pt x="104" y="276"/>
                    </a:lnTo>
                    <a:lnTo>
                      <a:pt x="104" y="278"/>
                    </a:lnTo>
                    <a:lnTo>
                      <a:pt x="104" y="278"/>
                    </a:lnTo>
                    <a:lnTo>
                      <a:pt x="88" y="280"/>
                    </a:lnTo>
                    <a:lnTo>
                      <a:pt x="88" y="280"/>
                    </a:lnTo>
                    <a:lnTo>
                      <a:pt x="86" y="280"/>
                    </a:lnTo>
                    <a:lnTo>
                      <a:pt x="82" y="276"/>
                    </a:lnTo>
                    <a:lnTo>
                      <a:pt x="82" y="276"/>
                    </a:lnTo>
                    <a:lnTo>
                      <a:pt x="82" y="276"/>
                    </a:lnTo>
                    <a:lnTo>
                      <a:pt x="80" y="270"/>
                    </a:lnTo>
                    <a:lnTo>
                      <a:pt x="76" y="278"/>
                    </a:lnTo>
                    <a:lnTo>
                      <a:pt x="76" y="278"/>
                    </a:lnTo>
                    <a:lnTo>
                      <a:pt x="76" y="278"/>
                    </a:lnTo>
                    <a:lnTo>
                      <a:pt x="68" y="282"/>
                    </a:lnTo>
                    <a:lnTo>
                      <a:pt x="58" y="292"/>
                    </a:lnTo>
                    <a:lnTo>
                      <a:pt x="40" y="302"/>
                    </a:lnTo>
                    <a:lnTo>
                      <a:pt x="40" y="302"/>
                    </a:lnTo>
                    <a:lnTo>
                      <a:pt x="40" y="302"/>
                    </a:lnTo>
                    <a:lnTo>
                      <a:pt x="40" y="302"/>
                    </a:lnTo>
                    <a:lnTo>
                      <a:pt x="38" y="302"/>
                    </a:lnTo>
                    <a:lnTo>
                      <a:pt x="38"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6" name="Freeform 577"/>
              <p:cNvSpPr>
                <a:spLocks noEditPoints="1"/>
              </p:cNvSpPr>
              <p:nvPr/>
            </p:nvSpPr>
            <p:spPr bwMode="auto">
              <a:xfrm>
                <a:off x="2957" y="1289"/>
                <a:ext cx="376" cy="306"/>
              </a:xfrm>
              <a:custGeom>
                <a:avLst/>
                <a:gdLst>
                  <a:gd name="T0" fmla="*/ 326 w 376"/>
                  <a:gd name="T1" fmla="*/ 8 h 306"/>
                  <a:gd name="T2" fmla="*/ 360 w 376"/>
                  <a:gd name="T3" fmla="*/ 42 h 306"/>
                  <a:gd name="T4" fmla="*/ 298 w 376"/>
                  <a:gd name="T5" fmla="*/ 56 h 306"/>
                  <a:gd name="T6" fmla="*/ 220 w 376"/>
                  <a:gd name="T7" fmla="*/ 58 h 306"/>
                  <a:gd name="T8" fmla="*/ 168 w 376"/>
                  <a:gd name="T9" fmla="*/ 94 h 306"/>
                  <a:gd name="T10" fmla="*/ 138 w 376"/>
                  <a:gd name="T11" fmla="*/ 166 h 306"/>
                  <a:gd name="T12" fmla="*/ 116 w 376"/>
                  <a:gd name="T13" fmla="*/ 246 h 306"/>
                  <a:gd name="T14" fmla="*/ 76 w 376"/>
                  <a:gd name="T15" fmla="*/ 278 h 306"/>
                  <a:gd name="T16" fmla="*/ 20 w 376"/>
                  <a:gd name="T17" fmla="*/ 274 h 306"/>
                  <a:gd name="T18" fmla="*/ 4 w 376"/>
                  <a:gd name="T19" fmla="*/ 224 h 306"/>
                  <a:gd name="T20" fmla="*/ 78 w 376"/>
                  <a:gd name="T21" fmla="*/ 188 h 306"/>
                  <a:gd name="T22" fmla="*/ 104 w 376"/>
                  <a:gd name="T23" fmla="*/ 148 h 306"/>
                  <a:gd name="T24" fmla="*/ 168 w 376"/>
                  <a:gd name="T25" fmla="*/ 80 h 306"/>
                  <a:gd name="T26" fmla="*/ 168 w 376"/>
                  <a:gd name="T27" fmla="*/ 60 h 306"/>
                  <a:gd name="T28" fmla="*/ 216 w 376"/>
                  <a:gd name="T29" fmla="*/ 30 h 306"/>
                  <a:gd name="T30" fmla="*/ 264 w 376"/>
                  <a:gd name="T31" fmla="*/ 36 h 306"/>
                  <a:gd name="T32" fmla="*/ 280 w 376"/>
                  <a:gd name="T33" fmla="*/ 14 h 306"/>
                  <a:gd name="T34" fmla="*/ 262 w 376"/>
                  <a:gd name="T35" fmla="*/ 22 h 306"/>
                  <a:gd name="T36" fmla="*/ 244 w 376"/>
                  <a:gd name="T37" fmla="*/ 26 h 306"/>
                  <a:gd name="T38" fmla="*/ 222 w 376"/>
                  <a:gd name="T39" fmla="*/ 34 h 306"/>
                  <a:gd name="T40" fmla="*/ 202 w 376"/>
                  <a:gd name="T41" fmla="*/ 28 h 306"/>
                  <a:gd name="T42" fmla="*/ 174 w 376"/>
                  <a:gd name="T43" fmla="*/ 50 h 306"/>
                  <a:gd name="T44" fmla="*/ 170 w 376"/>
                  <a:gd name="T45" fmla="*/ 56 h 306"/>
                  <a:gd name="T46" fmla="*/ 150 w 376"/>
                  <a:gd name="T47" fmla="*/ 56 h 306"/>
                  <a:gd name="T48" fmla="*/ 148 w 376"/>
                  <a:gd name="T49" fmla="*/ 76 h 306"/>
                  <a:gd name="T50" fmla="*/ 142 w 376"/>
                  <a:gd name="T51" fmla="*/ 94 h 306"/>
                  <a:gd name="T52" fmla="*/ 116 w 376"/>
                  <a:gd name="T53" fmla="*/ 124 h 306"/>
                  <a:gd name="T54" fmla="*/ 66 w 376"/>
                  <a:gd name="T55" fmla="*/ 178 h 306"/>
                  <a:gd name="T56" fmla="*/ 56 w 376"/>
                  <a:gd name="T57" fmla="*/ 186 h 306"/>
                  <a:gd name="T58" fmla="*/ 6 w 376"/>
                  <a:gd name="T59" fmla="*/ 212 h 306"/>
                  <a:gd name="T60" fmla="*/ 4 w 376"/>
                  <a:gd name="T61" fmla="*/ 246 h 306"/>
                  <a:gd name="T62" fmla="*/ 4 w 376"/>
                  <a:gd name="T63" fmla="*/ 264 h 306"/>
                  <a:gd name="T64" fmla="*/ 10 w 376"/>
                  <a:gd name="T65" fmla="*/ 276 h 306"/>
                  <a:gd name="T66" fmla="*/ 12 w 376"/>
                  <a:gd name="T67" fmla="*/ 292 h 306"/>
                  <a:gd name="T68" fmla="*/ 42 w 376"/>
                  <a:gd name="T69" fmla="*/ 306 h 306"/>
                  <a:gd name="T70" fmla="*/ 78 w 376"/>
                  <a:gd name="T71" fmla="*/ 282 h 306"/>
                  <a:gd name="T72" fmla="*/ 86 w 376"/>
                  <a:gd name="T73" fmla="*/ 284 h 306"/>
                  <a:gd name="T74" fmla="*/ 108 w 376"/>
                  <a:gd name="T75" fmla="*/ 278 h 306"/>
                  <a:gd name="T76" fmla="*/ 120 w 376"/>
                  <a:gd name="T77" fmla="*/ 246 h 306"/>
                  <a:gd name="T78" fmla="*/ 122 w 376"/>
                  <a:gd name="T79" fmla="*/ 238 h 306"/>
                  <a:gd name="T80" fmla="*/ 134 w 376"/>
                  <a:gd name="T81" fmla="*/ 174 h 306"/>
                  <a:gd name="T82" fmla="*/ 144 w 376"/>
                  <a:gd name="T83" fmla="*/ 142 h 306"/>
                  <a:gd name="T84" fmla="*/ 160 w 376"/>
                  <a:gd name="T85" fmla="*/ 124 h 306"/>
                  <a:gd name="T86" fmla="*/ 196 w 376"/>
                  <a:gd name="T87" fmla="*/ 82 h 306"/>
                  <a:gd name="T88" fmla="*/ 204 w 376"/>
                  <a:gd name="T89" fmla="*/ 72 h 306"/>
                  <a:gd name="T90" fmla="*/ 224 w 376"/>
                  <a:gd name="T91" fmla="*/ 62 h 306"/>
                  <a:gd name="T92" fmla="*/ 248 w 376"/>
                  <a:gd name="T93" fmla="*/ 66 h 306"/>
                  <a:gd name="T94" fmla="*/ 290 w 376"/>
                  <a:gd name="T95" fmla="*/ 70 h 306"/>
                  <a:gd name="T96" fmla="*/ 340 w 376"/>
                  <a:gd name="T97" fmla="*/ 40 h 306"/>
                  <a:gd name="T98" fmla="*/ 360 w 376"/>
                  <a:gd name="T99" fmla="*/ 52 h 306"/>
                  <a:gd name="T100" fmla="*/ 364 w 376"/>
                  <a:gd name="T101" fmla="*/ 36 h 306"/>
                  <a:gd name="T102" fmla="*/ 376 w 376"/>
                  <a:gd name="T103" fmla="*/ 20 h 306"/>
                  <a:gd name="T104" fmla="*/ 350 w 376"/>
                  <a:gd name="T105" fmla="*/ 10 h 306"/>
                  <a:gd name="T106" fmla="*/ 326 w 376"/>
                  <a:gd name="T107" fmla="*/ 4 h 306"/>
                  <a:gd name="T108" fmla="*/ 316 w 376"/>
                  <a:gd name="T109" fmla="*/ 12 h 306"/>
                  <a:gd name="T110" fmla="*/ 310 w 376"/>
                  <a:gd name="T111" fmla="*/ 10 h 306"/>
                  <a:gd name="T112" fmla="*/ 298 w 376"/>
                  <a:gd name="T113"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06">
                    <a:moveTo>
                      <a:pt x="298" y="4"/>
                    </a:moveTo>
                    <a:lnTo>
                      <a:pt x="306" y="8"/>
                    </a:lnTo>
                    <a:lnTo>
                      <a:pt x="290" y="24"/>
                    </a:lnTo>
                    <a:lnTo>
                      <a:pt x="290" y="32"/>
                    </a:lnTo>
                    <a:lnTo>
                      <a:pt x="312" y="12"/>
                    </a:lnTo>
                    <a:lnTo>
                      <a:pt x="312" y="24"/>
                    </a:lnTo>
                    <a:lnTo>
                      <a:pt x="326" y="8"/>
                    </a:lnTo>
                    <a:lnTo>
                      <a:pt x="338" y="10"/>
                    </a:lnTo>
                    <a:lnTo>
                      <a:pt x="334" y="22"/>
                    </a:lnTo>
                    <a:lnTo>
                      <a:pt x="350" y="12"/>
                    </a:lnTo>
                    <a:lnTo>
                      <a:pt x="372" y="22"/>
                    </a:lnTo>
                    <a:lnTo>
                      <a:pt x="364" y="32"/>
                    </a:lnTo>
                    <a:lnTo>
                      <a:pt x="346" y="30"/>
                    </a:lnTo>
                    <a:lnTo>
                      <a:pt x="360" y="42"/>
                    </a:lnTo>
                    <a:lnTo>
                      <a:pt x="360" y="48"/>
                    </a:lnTo>
                    <a:lnTo>
                      <a:pt x="350" y="50"/>
                    </a:lnTo>
                    <a:lnTo>
                      <a:pt x="342" y="38"/>
                    </a:lnTo>
                    <a:lnTo>
                      <a:pt x="322" y="30"/>
                    </a:lnTo>
                    <a:lnTo>
                      <a:pt x="304" y="40"/>
                    </a:lnTo>
                    <a:lnTo>
                      <a:pt x="302" y="42"/>
                    </a:lnTo>
                    <a:lnTo>
                      <a:pt x="298" y="56"/>
                    </a:lnTo>
                    <a:lnTo>
                      <a:pt x="288" y="68"/>
                    </a:lnTo>
                    <a:lnTo>
                      <a:pt x="276" y="66"/>
                    </a:lnTo>
                    <a:lnTo>
                      <a:pt x="250" y="64"/>
                    </a:lnTo>
                    <a:lnTo>
                      <a:pt x="244" y="56"/>
                    </a:lnTo>
                    <a:lnTo>
                      <a:pt x="238" y="50"/>
                    </a:lnTo>
                    <a:lnTo>
                      <a:pt x="228" y="56"/>
                    </a:lnTo>
                    <a:lnTo>
                      <a:pt x="220" y="58"/>
                    </a:lnTo>
                    <a:lnTo>
                      <a:pt x="220" y="72"/>
                    </a:lnTo>
                    <a:lnTo>
                      <a:pt x="208" y="72"/>
                    </a:lnTo>
                    <a:lnTo>
                      <a:pt x="208" y="66"/>
                    </a:lnTo>
                    <a:lnTo>
                      <a:pt x="194" y="68"/>
                    </a:lnTo>
                    <a:lnTo>
                      <a:pt x="194" y="78"/>
                    </a:lnTo>
                    <a:lnTo>
                      <a:pt x="178" y="80"/>
                    </a:lnTo>
                    <a:lnTo>
                      <a:pt x="168" y="94"/>
                    </a:lnTo>
                    <a:lnTo>
                      <a:pt x="168" y="104"/>
                    </a:lnTo>
                    <a:lnTo>
                      <a:pt x="156" y="114"/>
                    </a:lnTo>
                    <a:lnTo>
                      <a:pt x="156" y="124"/>
                    </a:lnTo>
                    <a:lnTo>
                      <a:pt x="142" y="128"/>
                    </a:lnTo>
                    <a:lnTo>
                      <a:pt x="140" y="140"/>
                    </a:lnTo>
                    <a:lnTo>
                      <a:pt x="132" y="154"/>
                    </a:lnTo>
                    <a:lnTo>
                      <a:pt x="138" y="166"/>
                    </a:lnTo>
                    <a:lnTo>
                      <a:pt x="134" y="170"/>
                    </a:lnTo>
                    <a:lnTo>
                      <a:pt x="104" y="178"/>
                    </a:lnTo>
                    <a:lnTo>
                      <a:pt x="104" y="222"/>
                    </a:lnTo>
                    <a:lnTo>
                      <a:pt x="116" y="228"/>
                    </a:lnTo>
                    <a:lnTo>
                      <a:pt x="118" y="238"/>
                    </a:lnTo>
                    <a:lnTo>
                      <a:pt x="104" y="240"/>
                    </a:lnTo>
                    <a:lnTo>
                      <a:pt x="116" y="246"/>
                    </a:lnTo>
                    <a:lnTo>
                      <a:pt x="112" y="258"/>
                    </a:lnTo>
                    <a:lnTo>
                      <a:pt x="104" y="264"/>
                    </a:lnTo>
                    <a:lnTo>
                      <a:pt x="104" y="278"/>
                    </a:lnTo>
                    <a:lnTo>
                      <a:pt x="90" y="280"/>
                    </a:lnTo>
                    <a:lnTo>
                      <a:pt x="86" y="276"/>
                    </a:lnTo>
                    <a:lnTo>
                      <a:pt x="82" y="268"/>
                    </a:lnTo>
                    <a:lnTo>
                      <a:pt x="76" y="278"/>
                    </a:lnTo>
                    <a:lnTo>
                      <a:pt x="70" y="282"/>
                    </a:lnTo>
                    <a:lnTo>
                      <a:pt x="58" y="292"/>
                    </a:lnTo>
                    <a:lnTo>
                      <a:pt x="42" y="302"/>
                    </a:lnTo>
                    <a:lnTo>
                      <a:pt x="24" y="298"/>
                    </a:lnTo>
                    <a:lnTo>
                      <a:pt x="14" y="290"/>
                    </a:lnTo>
                    <a:lnTo>
                      <a:pt x="12" y="282"/>
                    </a:lnTo>
                    <a:lnTo>
                      <a:pt x="20" y="274"/>
                    </a:lnTo>
                    <a:lnTo>
                      <a:pt x="18" y="270"/>
                    </a:lnTo>
                    <a:lnTo>
                      <a:pt x="8" y="272"/>
                    </a:lnTo>
                    <a:lnTo>
                      <a:pt x="6" y="264"/>
                    </a:lnTo>
                    <a:lnTo>
                      <a:pt x="20" y="256"/>
                    </a:lnTo>
                    <a:lnTo>
                      <a:pt x="10" y="250"/>
                    </a:lnTo>
                    <a:lnTo>
                      <a:pt x="6" y="244"/>
                    </a:lnTo>
                    <a:lnTo>
                      <a:pt x="4" y="224"/>
                    </a:lnTo>
                    <a:lnTo>
                      <a:pt x="6" y="216"/>
                    </a:lnTo>
                    <a:lnTo>
                      <a:pt x="26" y="206"/>
                    </a:lnTo>
                    <a:lnTo>
                      <a:pt x="42" y="202"/>
                    </a:lnTo>
                    <a:lnTo>
                      <a:pt x="54" y="198"/>
                    </a:lnTo>
                    <a:lnTo>
                      <a:pt x="58" y="186"/>
                    </a:lnTo>
                    <a:lnTo>
                      <a:pt x="66" y="186"/>
                    </a:lnTo>
                    <a:lnTo>
                      <a:pt x="78" y="188"/>
                    </a:lnTo>
                    <a:lnTo>
                      <a:pt x="92" y="182"/>
                    </a:lnTo>
                    <a:lnTo>
                      <a:pt x="88" y="174"/>
                    </a:lnTo>
                    <a:lnTo>
                      <a:pt x="78" y="184"/>
                    </a:lnTo>
                    <a:lnTo>
                      <a:pt x="70" y="182"/>
                    </a:lnTo>
                    <a:lnTo>
                      <a:pt x="86" y="166"/>
                    </a:lnTo>
                    <a:lnTo>
                      <a:pt x="96" y="160"/>
                    </a:lnTo>
                    <a:lnTo>
                      <a:pt x="104" y="148"/>
                    </a:lnTo>
                    <a:lnTo>
                      <a:pt x="118" y="128"/>
                    </a:lnTo>
                    <a:lnTo>
                      <a:pt x="126" y="122"/>
                    </a:lnTo>
                    <a:lnTo>
                      <a:pt x="126" y="112"/>
                    </a:lnTo>
                    <a:lnTo>
                      <a:pt x="144" y="98"/>
                    </a:lnTo>
                    <a:lnTo>
                      <a:pt x="154" y="92"/>
                    </a:lnTo>
                    <a:lnTo>
                      <a:pt x="160" y="80"/>
                    </a:lnTo>
                    <a:lnTo>
                      <a:pt x="168" y="80"/>
                    </a:lnTo>
                    <a:lnTo>
                      <a:pt x="170" y="68"/>
                    </a:lnTo>
                    <a:lnTo>
                      <a:pt x="160" y="72"/>
                    </a:lnTo>
                    <a:lnTo>
                      <a:pt x="150" y="72"/>
                    </a:lnTo>
                    <a:lnTo>
                      <a:pt x="148" y="68"/>
                    </a:lnTo>
                    <a:lnTo>
                      <a:pt x="152" y="58"/>
                    </a:lnTo>
                    <a:lnTo>
                      <a:pt x="160" y="54"/>
                    </a:lnTo>
                    <a:lnTo>
                      <a:pt x="168" y="60"/>
                    </a:lnTo>
                    <a:lnTo>
                      <a:pt x="184" y="64"/>
                    </a:lnTo>
                    <a:lnTo>
                      <a:pt x="186" y="56"/>
                    </a:lnTo>
                    <a:lnTo>
                      <a:pt x="176" y="52"/>
                    </a:lnTo>
                    <a:lnTo>
                      <a:pt x="182" y="42"/>
                    </a:lnTo>
                    <a:lnTo>
                      <a:pt x="198" y="46"/>
                    </a:lnTo>
                    <a:lnTo>
                      <a:pt x="206" y="30"/>
                    </a:lnTo>
                    <a:lnTo>
                      <a:pt x="216" y="30"/>
                    </a:lnTo>
                    <a:lnTo>
                      <a:pt x="222" y="40"/>
                    </a:lnTo>
                    <a:lnTo>
                      <a:pt x="234" y="32"/>
                    </a:lnTo>
                    <a:lnTo>
                      <a:pt x="244" y="38"/>
                    </a:lnTo>
                    <a:lnTo>
                      <a:pt x="248" y="26"/>
                    </a:lnTo>
                    <a:lnTo>
                      <a:pt x="260" y="26"/>
                    </a:lnTo>
                    <a:lnTo>
                      <a:pt x="260" y="34"/>
                    </a:lnTo>
                    <a:lnTo>
                      <a:pt x="264" y="36"/>
                    </a:lnTo>
                    <a:lnTo>
                      <a:pt x="268" y="18"/>
                    </a:lnTo>
                    <a:lnTo>
                      <a:pt x="280" y="18"/>
                    </a:lnTo>
                    <a:lnTo>
                      <a:pt x="298" y="4"/>
                    </a:lnTo>
                    <a:close/>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7" name="Freeform 578"/>
              <p:cNvSpPr>
                <a:spLocks/>
              </p:cNvSpPr>
              <p:nvPr/>
            </p:nvSpPr>
            <p:spPr bwMode="auto">
              <a:xfrm>
                <a:off x="2961" y="1293"/>
                <a:ext cx="368" cy="298"/>
              </a:xfrm>
              <a:custGeom>
                <a:avLst/>
                <a:gdLst>
                  <a:gd name="T0" fmla="*/ 302 w 368"/>
                  <a:gd name="T1" fmla="*/ 4 h 298"/>
                  <a:gd name="T2" fmla="*/ 286 w 368"/>
                  <a:gd name="T3" fmla="*/ 28 h 298"/>
                  <a:gd name="T4" fmla="*/ 308 w 368"/>
                  <a:gd name="T5" fmla="*/ 20 h 298"/>
                  <a:gd name="T6" fmla="*/ 334 w 368"/>
                  <a:gd name="T7" fmla="*/ 6 h 298"/>
                  <a:gd name="T8" fmla="*/ 346 w 368"/>
                  <a:gd name="T9" fmla="*/ 8 h 298"/>
                  <a:gd name="T10" fmla="*/ 360 w 368"/>
                  <a:gd name="T11" fmla="*/ 28 h 298"/>
                  <a:gd name="T12" fmla="*/ 356 w 368"/>
                  <a:gd name="T13" fmla="*/ 38 h 298"/>
                  <a:gd name="T14" fmla="*/ 346 w 368"/>
                  <a:gd name="T15" fmla="*/ 46 h 298"/>
                  <a:gd name="T16" fmla="*/ 318 w 368"/>
                  <a:gd name="T17" fmla="*/ 26 h 298"/>
                  <a:gd name="T18" fmla="*/ 298 w 368"/>
                  <a:gd name="T19" fmla="*/ 38 h 298"/>
                  <a:gd name="T20" fmla="*/ 284 w 368"/>
                  <a:gd name="T21" fmla="*/ 64 h 298"/>
                  <a:gd name="T22" fmla="*/ 246 w 368"/>
                  <a:gd name="T23" fmla="*/ 60 h 298"/>
                  <a:gd name="T24" fmla="*/ 234 w 368"/>
                  <a:gd name="T25" fmla="*/ 46 h 298"/>
                  <a:gd name="T26" fmla="*/ 216 w 368"/>
                  <a:gd name="T27" fmla="*/ 54 h 298"/>
                  <a:gd name="T28" fmla="*/ 204 w 368"/>
                  <a:gd name="T29" fmla="*/ 68 h 298"/>
                  <a:gd name="T30" fmla="*/ 190 w 368"/>
                  <a:gd name="T31" fmla="*/ 64 h 298"/>
                  <a:gd name="T32" fmla="*/ 174 w 368"/>
                  <a:gd name="T33" fmla="*/ 76 h 298"/>
                  <a:gd name="T34" fmla="*/ 164 w 368"/>
                  <a:gd name="T35" fmla="*/ 100 h 298"/>
                  <a:gd name="T36" fmla="*/ 152 w 368"/>
                  <a:gd name="T37" fmla="*/ 120 h 298"/>
                  <a:gd name="T38" fmla="*/ 136 w 368"/>
                  <a:gd name="T39" fmla="*/ 136 h 298"/>
                  <a:gd name="T40" fmla="*/ 134 w 368"/>
                  <a:gd name="T41" fmla="*/ 162 h 298"/>
                  <a:gd name="T42" fmla="*/ 100 w 368"/>
                  <a:gd name="T43" fmla="*/ 174 h 298"/>
                  <a:gd name="T44" fmla="*/ 112 w 368"/>
                  <a:gd name="T45" fmla="*/ 224 h 298"/>
                  <a:gd name="T46" fmla="*/ 100 w 368"/>
                  <a:gd name="T47" fmla="*/ 236 h 298"/>
                  <a:gd name="T48" fmla="*/ 108 w 368"/>
                  <a:gd name="T49" fmla="*/ 254 h 298"/>
                  <a:gd name="T50" fmla="*/ 100 w 368"/>
                  <a:gd name="T51" fmla="*/ 274 h 298"/>
                  <a:gd name="T52" fmla="*/ 82 w 368"/>
                  <a:gd name="T53" fmla="*/ 272 h 298"/>
                  <a:gd name="T54" fmla="*/ 72 w 368"/>
                  <a:gd name="T55" fmla="*/ 274 h 298"/>
                  <a:gd name="T56" fmla="*/ 54 w 368"/>
                  <a:gd name="T57" fmla="*/ 288 h 298"/>
                  <a:gd name="T58" fmla="*/ 20 w 368"/>
                  <a:gd name="T59" fmla="*/ 294 h 298"/>
                  <a:gd name="T60" fmla="*/ 8 w 368"/>
                  <a:gd name="T61" fmla="*/ 278 h 298"/>
                  <a:gd name="T62" fmla="*/ 14 w 368"/>
                  <a:gd name="T63" fmla="*/ 266 h 298"/>
                  <a:gd name="T64" fmla="*/ 2 w 368"/>
                  <a:gd name="T65" fmla="*/ 260 h 298"/>
                  <a:gd name="T66" fmla="*/ 6 w 368"/>
                  <a:gd name="T67" fmla="*/ 246 h 298"/>
                  <a:gd name="T68" fmla="*/ 0 w 368"/>
                  <a:gd name="T69" fmla="*/ 220 h 298"/>
                  <a:gd name="T70" fmla="*/ 22 w 368"/>
                  <a:gd name="T71" fmla="*/ 202 h 298"/>
                  <a:gd name="T72" fmla="*/ 50 w 368"/>
                  <a:gd name="T73" fmla="*/ 194 h 298"/>
                  <a:gd name="T74" fmla="*/ 62 w 368"/>
                  <a:gd name="T75" fmla="*/ 182 h 298"/>
                  <a:gd name="T76" fmla="*/ 88 w 368"/>
                  <a:gd name="T77" fmla="*/ 178 h 298"/>
                  <a:gd name="T78" fmla="*/ 74 w 368"/>
                  <a:gd name="T79" fmla="*/ 180 h 298"/>
                  <a:gd name="T80" fmla="*/ 82 w 368"/>
                  <a:gd name="T81" fmla="*/ 162 h 298"/>
                  <a:gd name="T82" fmla="*/ 100 w 368"/>
                  <a:gd name="T83" fmla="*/ 144 h 298"/>
                  <a:gd name="T84" fmla="*/ 122 w 368"/>
                  <a:gd name="T85" fmla="*/ 118 h 298"/>
                  <a:gd name="T86" fmla="*/ 140 w 368"/>
                  <a:gd name="T87" fmla="*/ 94 h 298"/>
                  <a:gd name="T88" fmla="*/ 156 w 368"/>
                  <a:gd name="T89" fmla="*/ 76 h 298"/>
                  <a:gd name="T90" fmla="*/ 166 w 368"/>
                  <a:gd name="T91" fmla="*/ 64 h 298"/>
                  <a:gd name="T92" fmla="*/ 146 w 368"/>
                  <a:gd name="T93" fmla="*/ 68 h 298"/>
                  <a:gd name="T94" fmla="*/ 148 w 368"/>
                  <a:gd name="T95" fmla="*/ 54 h 298"/>
                  <a:gd name="T96" fmla="*/ 164 w 368"/>
                  <a:gd name="T97" fmla="*/ 56 h 298"/>
                  <a:gd name="T98" fmla="*/ 182 w 368"/>
                  <a:gd name="T99" fmla="*/ 52 h 298"/>
                  <a:gd name="T100" fmla="*/ 178 w 368"/>
                  <a:gd name="T101" fmla="*/ 38 h 298"/>
                  <a:gd name="T102" fmla="*/ 202 w 368"/>
                  <a:gd name="T103" fmla="*/ 26 h 298"/>
                  <a:gd name="T104" fmla="*/ 218 w 368"/>
                  <a:gd name="T105" fmla="*/ 36 h 298"/>
                  <a:gd name="T106" fmla="*/ 240 w 368"/>
                  <a:gd name="T107" fmla="*/ 34 h 298"/>
                  <a:gd name="T108" fmla="*/ 256 w 368"/>
                  <a:gd name="T109" fmla="*/ 22 h 298"/>
                  <a:gd name="T110" fmla="*/ 260 w 368"/>
                  <a:gd name="T111" fmla="*/ 32 h 298"/>
                  <a:gd name="T112" fmla="*/ 276 w 368"/>
                  <a:gd name="T113" fmla="*/ 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298">
                    <a:moveTo>
                      <a:pt x="294" y="0"/>
                    </a:moveTo>
                    <a:lnTo>
                      <a:pt x="302" y="4"/>
                    </a:lnTo>
                    <a:lnTo>
                      <a:pt x="286" y="20"/>
                    </a:lnTo>
                    <a:lnTo>
                      <a:pt x="286" y="28"/>
                    </a:lnTo>
                    <a:lnTo>
                      <a:pt x="308" y="8"/>
                    </a:lnTo>
                    <a:lnTo>
                      <a:pt x="308" y="20"/>
                    </a:lnTo>
                    <a:lnTo>
                      <a:pt x="322" y="4"/>
                    </a:lnTo>
                    <a:lnTo>
                      <a:pt x="334" y="6"/>
                    </a:lnTo>
                    <a:lnTo>
                      <a:pt x="330" y="18"/>
                    </a:lnTo>
                    <a:lnTo>
                      <a:pt x="346" y="8"/>
                    </a:lnTo>
                    <a:lnTo>
                      <a:pt x="368" y="18"/>
                    </a:lnTo>
                    <a:lnTo>
                      <a:pt x="360" y="28"/>
                    </a:lnTo>
                    <a:lnTo>
                      <a:pt x="342" y="26"/>
                    </a:lnTo>
                    <a:lnTo>
                      <a:pt x="356" y="38"/>
                    </a:lnTo>
                    <a:lnTo>
                      <a:pt x="356" y="44"/>
                    </a:lnTo>
                    <a:lnTo>
                      <a:pt x="346" y="46"/>
                    </a:lnTo>
                    <a:lnTo>
                      <a:pt x="338" y="34"/>
                    </a:lnTo>
                    <a:lnTo>
                      <a:pt x="318" y="26"/>
                    </a:lnTo>
                    <a:lnTo>
                      <a:pt x="300" y="36"/>
                    </a:lnTo>
                    <a:lnTo>
                      <a:pt x="298" y="38"/>
                    </a:lnTo>
                    <a:lnTo>
                      <a:pt x="294" y="52"/>
                    </a:lnTo>
                    <a:lnTo>
                      <a:pt x="284" y="64"/>
                    </a:lnTo>
                    <a:lnTo>
                      <a:pt x="272" y="62"/>
                    </a:lnTo>
                    <a:lnTo>
                      <a:pt x="246" y="60"/>
                    </a:lnTo>
                    <a:lnTo>
                      <a:pt x="240" y="52"/>
                    </a:lnTo>
                    <a:lnTo>
                      <a:pt x="234" y="46"/>
                    </a:lnTo>
                    <a:lnTo>
                      <a:pt x="224" y="52"/>
                    </a:lnTo>
                    <a:lnTo>
                      <a:pt x="216" y="54"/>
                    </a:lnTo>
                    <a:lnTo>
                      <a:pt x="216" y="68"/>
                    </a:lnTo>
                    <a:lnTo>
                      <a:pt x="204" y="68"/>
                    </a:lnTo>
                    <a:lnTo>
                      <a:pt x="204" y="62"/>
                    </a:lnTo>
                    <a:lnTo>
                      <a:pt x="190" y="64"/>
                    </a:lnTo>
                    <a:lnTo>
                      <a:pt x="190" y="74"/>
                    </a:lnTo>
                    <a:lnTo>
                      <a:pt x="174" y="76"/>
                    </a:lnTo>
                    <a:lnTo>
                      <a:pt x="164" y="90"/>
                    </a:lnTo>
                    <a:lnTo>
                      <a:pt x="164" y="100"/>
                    </a:lnTo>
                    <a:lnTo>
                      <a:pt x="152" y="110"/>
                    </a:lnTo>
                    <a:lnTo>
                      <a:pt x="152" y="120"/>
                    </a:lnTo>
                    <a:lnTo>
                      <a:pt x="138" y="124"/>
                    </a:lnTo>
                    <a:lnTo>
                      <a:pt x="136" y="136"/>
                    </a:lnTo>
                    <a:lnTo>
                      <a:pt x="128" y="150"/>
                    </a:lnTo>
                    <a:lnTo>
                      <a:pt x="134" y="162"/>
                    </a:lnTo>
                    <a:lnTo>
                      <a:pt x="130" y="166"/>
                    </a:lnTo>
                    <a:lnTo>
                      <a:pt x="100" y="174"/>
                    </a:lnTo>
                    <a:lnTo>
                      <a:pt x="100" y="218"/>
                    </a:lnTo>
                    <a:lnTo>
                      <a:pt x="112" y="224"/>
                    </a:lnTo>
                    <a:lnTo>
                      <a:pt x="114" y="234"/>
                    </a:lnTo>
                    <a:lnTo>
                      <a:pt x="100" y="236"/>
                    </a:lnTo>
                    <a:lnTo>
                      <a:pt x="112" y="242"/>
                    </a:lnTo>
                    <a:lnTo>
                      <a:pt x="108" y="254"/>
                    </a:lnTo>
                    <a:lnTo>
                      <a:pt x="100" y="260"/>
                    </a:lnTo>
                    <a:lnTo>
                      <a:pt x="100" y="274"/>
                    </a:lnTo>
                    <a:lnTo>
                      <a:pt x="86" y="276"/>
                    </a:lnTo>
                    <a:lnTo>
                      <a:pt x="82" y="272"/>
                    </a:lnTo>
                    <a:lnTo>
                      <a:pt x="78" y="264"/>
                    </a:lnTo>
                    <a:lnTo>
                      <a:pt x="72" y="274"/>
                    </a:lnTo>
                    <a:lnTo>
                      <a:pt x="66" y="278"/>
                    </a:lnTo>
                    <a:lnTo>
                      <a:pt x="54" y="288"/>
                    </a:lnTo>
                    <a:lnTo>
                      <a:pt x="38" y="298"/>
                    </a:lnTo>
                    <a:lnTo>
                      <a:pt x="20" y="294"/>
                    </a:lnTo>
                    <a:lnTo>
                      <a:pt x="10" y="286"/>
                    </a:lnTo>
                    <a:lnTo>
                      <a:pt x="8" y="278"/>
                    </a:lnTo>
                    <a:lnTo>
                      <a:pt x="16" y="270"/>
                    </a:lnTo>
                    <a:lnTo>
                      <a:pt x="14" y="266"/>
                    </a:lnTo>
                    <a:lnTo>
                      <a:pt x="4" y="268"/>
                    </a:lnTo>
                    <a:lnTo>
                      <a:pt x="2" y="260"/>
                    </a:lnTo>
                    <a:lnTo>
                      <a:pt x="16" y="252"/>
                    </a:lnTo>
                    <a:lnTo>
                      <a:pt x="6" y="246"/>
                    </a:lnTo>
                    <a:lnTo>
                      <a:pt x="2" y="240"/>
                    </a:lnTo>
                    <a:lnTo>
                      <a:pt x="0" y="220"/>
                    </a:lnTo>
                    <a:lnTo>
                      <a:pt x="2" y="212"/>
                    </a:lnTo>
                    <a:lnTo>
                      <a:pt x="22" y="202"/>
                    </a:lnTo>
                    <a:lnTo>
                      <a:pt x="38" y="198"/>
                    </a:lnTo>
                    <a:lnTo>
                      <a:pt x="50" y="194"/>
                    </a:lnTo>
                    <a:lnTo>
                      <a:pt x="54" y="182"/>
                    </a:lnTo>
                    <a:lnTo>
                      <a:pt x="62" y="182"/>
                    </a:lnTo>
                    <a:lnTo>
                      <a:pt x="74" y="184"/>
                    </a:lnTo>
                    <a:lnTo>
                      <a:pt x="88" y="178"/>
                    </a:lnTo>
                    <a:lnTo>
                      <a:pt x="84" y="170"/>
                    </a:lnTo>
                    <a:lnTo>
                      <a:pt x="74" y="180"/>
                    </a:lnTo>
                    <a:lnTo>
                      <a:pt x="66" y="178"/>
                    </a:lnTo>
                    <a:lnTo>
                      <a:pt x="82" y="162"/>
                    </a:lnTo>
                    <a:lnTo>
                      <a:pt x="92" y="156"/>
                    </a:lnTo>
                    <a:lnTo>
                      <a:pt x="100" y="144"/>
                    </a:lnTo>
                    <a:lnTo>
                      <a:pt x="114" y="124"/>
                    </a:lnTo>
                    <a:lnTo>
                      <a:pt x="122" y="118"/>
                    </a:lnTo>
                    <a:lnTo>
                      <a:pt x="122" y="108"/>
                    </a:lnTo>
                    <a:lnTo>
                      <a:pt x="140" y="94"/>
                    </a:lnTo>
                    <a:lnTo>
                      <a:pt x="150" y="88"/>
                    </a:lnTo>
                    <a:lnTo>
                      <a:pt x="156" y="76"/>
                    </a:lnTo>
                    <a:lnTo>
                      <a:pt x="164" y="76"/>
                    </a:lnTo>
                    <a:lnTo>
                      <a:pt x="166" y="64"/>
                    </a:lnTo>
                    <a:lnTo>
                      <a:pt x="156" y="68"/>
                    </a:lnTo>
                    <a:lnTo>
                      <a:pt x="146" y="68"/>
                    </a:lnTo>
                    <a:lnTo>
                      <a:pt x="144" y="64"/>
                    </a:lnTo>
                    <a:lnTo>
                      <a:pt x="148" y="54"/>
                    </a:lnTo>
                    <a:lnTo>
                      <a:pt x="156" y="50"/>
                    </a:lnTo>
                    <a:lnTo>
                      <a:pt x="164" y="56"/>
                    </a:lnTo>
                    <a:lnTo>
                      <a:pt x="180" y="60"/>
                    </a:lnTo>
                    <a:lnTo>
                      <a:pt x="182" y="52"/>
                    </a:lnTo>
                    <a:lnTo>
                      <a:pt x="172" y="48"/>
                    </a:lnTo>
                    <a:lnTo>
                      <a:pt x="178" y="38"/>
                    </a:lnTo>
                    <a:lnTo>
                      <a:pt x="194" y="42"/>
                    </a:lnTo>
                    <a:lnTo>
                      <a:pt x="202" y="26"/>
                    </a:lnTo>
                    <a:lnTo>
                      <a:pt x="212" y="26"/>
                    </a:lnTo>
                    <a:lnTo>
                      <a:pt x="218" y="36"/>
                    </a:lnTo>
                    <a:lnTo>
                      <a:pt x="230" y="28"/>
                    </a:lnTo>
                    <a:lnTo>
                      <a:pt x="240" y="34"/>
                    </a:lnTo>
                    <a:lnTo>
                      <a:pt x="244" y="22"/>
                    </a:lnTo>
                    <a:lnTo>
                      <a:pt x="256" y="22"/>
                    </a:lnTo>
                    <a:lnTo>
                      <a:pt x="256" y="30"/>
                    </a:lnTo>
                    <a:lnTo>
                      <a:pt x="260" y="32"/>
                    </a:lnTo>
                    <a:lnTo>
                      <a:pt x="264" y="14"/>
                    </a:lnTo>
                    <a:lnTo>
                      <a:pt x="276" y="14"/>
                    </a:lnTo>
                    <a:lnTo>
                      <a:pt x="2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8" name="Freeform 579"/>
              <p:cNvSpPr>
                <a:spLocks/>
              </p:cNvSpPr>
              <p:nvPr/>
            </p:nvSpPr>
            <p:spPr bwMode="auto">
              <a:xfrm>
                <a:off x="2957" y="1289"/>
                <a:ext cx="376" cy="306"/>
              </a:xfrm>
              <a:custGeom>
                <a:avLst/>
                <a:gdLst>
                  <a:gd name="T0" fmla="*/ 268 w 376"/>
                  <a:gd name="T1" fmla="*/ 14 h 306"/>
                  <a:gd name="T2" fmla="*/ 264 w 376"/>
                  <a:gd name="T3" fmla="*/ 24 h 306"/>
                  <a:gd name="T4" fmla="*/ 258 w 376"/>
                  <a:gd name="T5" fmla="*/ 22 h 306"/>
                  <a:gd name="T6" fmla="*/ 236 w 376"/>
                  <a:gd name="T7" fmla="*/ 28 h 306"/>
                  <a:gd name="T8" fmla="*/ 222 w 376"/>
                  <a:gd name="T9" fmla="*/ 34 h 306"/>
                  <a:gd name="T10" fmla="*/ 206 w 376"/>
                  <a:gd name="T11" fmla="*/ 26 h 306"/>
                  <a:gd name="T12" fmla="*/ 182 w 376"/>
                  <a:gd name="T13" fmla="*/ 38 h 306"/>
                  <a:gd name="T14" fmla="*/ 174 w 376"/>
                  <a:gd name="T15" fmla="*/ 50 h 306"/>
                  <a:gd name="T16" fmla="*/ 180 w 376"/>
                  <a:gd name="T17" fmla="*/ 60 h 306"/>
                  <a:gd name="T18" fmla="*/ 160 w 376"/>
                  <a:gd name="T19" fmla="*/ 50 h 306"/>
                  <a:gd name="T20" fmla="*/ 144 w 376"/>
                  <a:gd name="T21" fmla="*/ 66 h 306"/>
                  <a:gd name="T22" fmla="*/ 148 w 376"/>
                  <a:gd name="T23" fmla="*/ 76 h 306"/>
                  <a:gd name="T24" fmla="*/ 150 w 376"/>
                  <a:gd name="T25" fmla="*/ 90 h 306"/>
                  <a:gd name="T26" fmla="*/ 124 w 376"/>
                  <a:gd name="T27" fmla="*/ 108 h 306"/>
                  <a:gd name="T28" fmla="*/ 114 w 376"/>
                  <a:gd name="T29" fmla="*/ 126 h 306"/>
                  <a:gd name="T30" fmla="*/ 84 w 376"/>
                  <a:gd name="T31" fmla="*/ 164 h 306"/>
                  <a:gd name="T32" fmla="*/ 66 w 376"/>
                  <a:gd name="T33" fmla="*/ 182 h 306"/>
                  <a:gd name="T34" fmla="*/ 40 w 376"/>
                  <a:gd name="T35" fmla="*/ 200 h 306"/>
                  <a:gd name="T36" fmla="*/ 6 w 376"/>
                  <a:gd name="T37" fmla="*/ 212 h 306"/>
                  <a:gd name="T38" fmla="*/ 2 w 376"/>
                  <a:gd name="T39" fmla="*/ 244 h 306"/>
                  <a:gd name="T40" fmla="*/ 8 w 376"/>
                  <a:gd name="T41" fmla="*/ 254 h 306"/>
                  <a:gd name="T42" fmla="*/ 2 w 376"/>
                  <a:gd name="T43" fmla="*/ 266 h 306"/>
                  <a:gd name="T44" fmla="*/ 8 w 376"/>
                  <a:gd name="T45" fmla="*/ 276 h 306"/>
                  <a:gd name="T46" fmla="*/ 8 w 376"/>
                  <a:gd name="T47" fmla="*/ 282 h 306"/>
                  <a:gd name="T48" fmla="*/ 22 w 376"/>
                  <a:gd name="T49" fmla="*/ 300 h 306"/>
                  <a:gd name="T50" fmla="*/ 42 w 376"/>
                  <a:gd name="T51" fmla="*/ 306 h 306"/>
                  <a:gd name="T52" fmla="*/ 72 w 376"/>
                  <a:gd name="T53" fmla="*/ 286 h 306"/>
                  <a:gd name="T54" fmla="*/ 82 w 376"/>
                  <a:gd name="T55" fmla="*/ 278 h 306"/>
                  <a:gd name="T56" fmla="*/ 90 w 376"/>
                  <a:gd name="T57" fmla="*/ 284 h 306"/>
                  <a:gd name="T58" fmla="*/ 108 w 376"/>
                  <a:gd name="T59" fmla="*/ 282 h 306"/>
                  <a:gd name="T60" fmla="*/ 116 w 376"/>
                  <a:gd name="T61" fmla="*/ 258 h 306"/>
                  <a:gd name="T62" fmla="*/ 116 w 376"/>
                  <a:gd name="T63" fmla="*/ 242 h 306"/>
                  <a:gd name="T64" fmla="*/ 122 w 376"/>
                  <a:gd name="T65" fmla="*/ 238 h 306"/>
                  <a:gd name="T66" fmla="*/ 108 w 376"/>
                  <a:gd name="T67" fmla="*/ 182 h 306"/>
                  <a:gd name="T68" fmla="*/ 140 w 376"/>
                  <a:gd name="T69" fmla="*/ 168 h 306"/>
                  <a:gd name="T70" fmla="*/ 144 w 376"/>
                  <a:gd name="T71" fmla="*/ 142 h 306"/>
                  <a:gd name="T72" fmla="*/ 158 w 376"/>
                  <a:gd name="T73" fmla="*/ 126 h 306"/>
                  <a:gd name="T74" fmla="*/ 172 w 376"/>
                  <a:gd name="T75" fmla="*/ 104 h 306"/>
                  <a:gd name="T76" fmla="*/ 198 w 376"/>
                  <a:gd name="T77" fmla="*/ 80 h 306"/>
                  <a:gd name="T78" fmla="*/ 204 w 376"/>
                  <a:gd name="T79" fmla="*/ 72 h 306"/>
                  <a:gd name="T80" fmla="*/ 222 w 376"/>
                  <a:gd name="T81" fmla="*/ 76 h 306"/>
                  <a:gd name="T82" fmla="*/ 232 w 376"/>
                  <a:gd name="T83" fmla="*/ 60 h 306"/>
                  <a:gd name="T84" fmla="*/ 250 w 376"/>
                  <a:gd name="T85" fmla="*/ 68 h 306"/>
                  <a:gd name="T86" fmla="*/ 288 w 376"/>
                  <a:gd name="T87" fmla="*/ 72 h 306"/>
                  <a:gd name="T88" fmla="*/ 306 w 376"/>
                  <a:gd name="T89" fmla="*/ 44 h 306"/>
                  <a:gd name="T90" fmla="*/ 348 w 376"/>
                  <a:gd name="T91" fmla="*/ 52 h 306"/>
                  <a:gd name="T92" fmla="*/ 360 w 376"/>
                  <a:gd name="T93" fmla="*/ 52 h 306"/>
                  <a:gd name="T94" fmla="*/ 362 w 376"/>
                  <a:gd name="T95" fmla="*/ 40 h 306"/>
                  <a:gd name="T96" fmla="*/ 364 w 376"/>
                  <a:gd name="T97" fmla="*/ 36 h 306"/>
                  <a:gd name="T98" fmla="*/ 376 w 376"/>
                  <a:gd name="T99" fmla="*/ 20 h 306"/>
                  <a:gd name="T100" fmla="*/ 350 w 376"/>
                  <a:gd name="T101" fmla="*/ 8 h 306"/>
                  <a:gd name="T102" fmla="*/ 342 w 376"/>
                  <a:gd name="T103" fmla="*/ 8 h 306"/>
                  <a:gd name="T104" fmla="*/ 326 w 376"/>
                  <a:gd name="T105" fmla="*/ 4 h 306"/>
                  <a:gd name="T106" fmla="*/ 316 w 376"/>
                  <a:gd name="T107" fmla="*/ 12 h 306"/>
                  <a:gd name="T108" fmla="*/ 312 w 376"/>
                  <a:gd name="T109" fmla="*/ 8 h 306"/>
                  <a:gd name="T110" fmla="*/ 308 w 376"/>
                  <a:gd name="T111" fmla="*/ 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306">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9" name="Freeform 580"/>
              <p:cNvSpPr>
                <a:spLocks/>
              </p:cNvSpPr>
              <p:nvPr/>
            </p:nvSpPr>
            <p:spPr bwMode="auto">
              <a:xfrm>
                <a:off x="3227" y="1561"/>
                <a:ext cx="66" cy="42"/>
              </a:xfrm>
              <a:custGeom>
                <a:avLst/>
                <a:gdLst>
                  <a:gd name="T0" fmla="*/ 48 w 66"/>
                  <a:gd name="T1" fmla="*/ 42 h 42"/>
                  <a:gd name="T2" fmla="*/ 36 w 66"/>
                  <a:gd name="T3" fmla="*/ 38 h 42"/>
                  <a:gd name="T4" fmla="*/ 26 w 66"/>
                  <a:gd name="T5" fmla="*/ 36 h 42"/>
                  <a:gd name="T6" fmla="*/ 16 w 66"/>
                  <a:gd name="T7" fmla="*/ 36 h 42"/>
                  <a:gd name="T8" fmla="*/ 16 w 66"/>
                  <a:gd name="T9" fmla="*/ 36 h 42"/>
                  <a:gd name="T10" fmla="*/ 14 w 66"/>
                  <a:gd name="T11" fmla="*/ 34 h 42"/>
                  <a:gd name="T12" fmla="*/ 12 w 66"/>
                  <a:gd name="T13" fmla="*/ 30 h 42"/>
                  <a:gd name="T14" fmla="*/ 8 w 66"/>
                  <a:gd name="T15" fmla="*/ 30 h 42"/>
                  <a:gd name="T16" fmla="*/ 8 w 66"/>
                  <a:gd name="T17" fmla="*/ 30 h 42"/>
                  <a:gd name="T18" fmla="*/ 6 w 66"/>
                  <a:gd name="T19" fmla="*/ 30 h 42"/>
                  <a:gd name="T20" fmla="*/ 0 w 66"/>
                  <a:gd name="T21" fmla="*/ 20 h 42"/>
                  <a:gd name="T22" fmla="*/ 0 w 66"/>
                  <a:gd name="T23" fmla="*/ 20 h 42"/>
                  <a:gd name="T24" fmla="*/ 0 w 66"/>
                  <a:gd name="T25" fmla="*/ 18 h 42"/>
                  <a:gd name="T26" fmla="*/ 2 w 66"/>
                  <a:gd name="T27" fmla="*/ 8 h 42"/>
                  <a:gd name="T28" fmla="*/ 2 w 66"/>
                  <a:gd name="T29" fmla="*/ 8 h 42"/>
                  <a:gd name="T30" fmla="*/ 4 w 66"/>
                  <a:gd name="T31" fmla="*/ 6 h 42"/>
                  <a:gd name="T32" fmla="*/ 18 w 66"/>
                  <a:gd name="T33" fmla="*/ 2 h 42"/>
                  <a:gd name="T34" fmla="*/ 36 w 66"/>
                  <a:gd name="T35" fmla="*/ 0 h 42"/>
                  <a:gd name="T36" fmla="*/ 36 w 66"/>
                  <a:gd name="T37" fmla="*/ 0 h 42"/>
                  <a:gd name="T38" fmla="*/ 36 w 66"/>
                  <a:gd name="T39" fmla="*/ 0 h 42"/>
                  <a:gd name="T40" fmla="*/ 36 w 66"/>
                  <a:gd name="T41" fmla="*/ 0 h 42"/>
                  <a:gd name="T42" fmla="*/ 38 w 66"/>
                  <a:gd name="T43" fmla="*/ 0 h 42"/>
                  <a:gd name="T44" fmla="*/ 50 w 66"/>
                  <a:gd name="T45" fmla="*/ 4 h 42"/>
                  <a:gd name="T46" fmla="*/ 50 w 66"/>
                  <a:gd name="T47" fmla="*/ 4 h 42"/>
                  <a:gd name="T48" fmla="*/ 64 w 66"/>
                  <a:gd name="T49" fmla="*/ 2 h 42"/>
                  <a:gd name="T50" fmla="*/ 64 w 66"/>
                  <a:gd name="T51" fmla="*/ 2 h 42"/>
                  <a:gd name="T52" fmla="*/ 64 w 66"/>
                  <a:gd name="T53" fmla="*/ 4 h 42"/>
                  <a:gd name="T54" fmla="*/ 64 w 66"/>
                  <a:gd name="T55" fmla="*/ 4 h 42"/>
                  <a:gd name="T56" fmla="*/ 66 w 66"/>
                  <a:gd name="T57" fmla="*/ 6 h 42"/>
                  <a:gd name="T58" fmla="*/ 60 w 66"/>
                  <a:gd name="T59" fmla="*/ 16 h 42"/>
                  <a:gd name="T60" fmla="*/ 60 w 66"/>
                  <a:gd name="T61" fmla="*/ 30 h 42"/>
                  <a:gd name="T62" fmla="*/ 58 w 66"/>
                  <a:gd name="T63" fmla="*/ 40 h 42"/>
                  <a:gd name="T64" fmla="*/ 58 w 66"/>
                  <a:gd name="T65" fmla="*/ 40 h 42"/>
                  <a:gd name="T66" fmla="*/ 56 w 66"/>
                  <a:gd name="T67" fmla="*/ 42 h 42"/>
                  <a:gd name="T68" fmla="*/ 48 w 66"/>
                  <a:gd name="T6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42">
                    <a:moveTo>
                      <a:pt x="48" y="42"/>
                    </a:moveTo>
                    <a:lnTo>
                      <a:pt x="36" y="38"/>
                    </a:lnTo>
                    <a:lnTo>
                      <a:pt x="26" y="36"/>
                    </a:lnTo>
                    <a:lnTo>
                      <a:pt x="16" y="36"/>
                    </a:lnTo>
                    <a:lnTo>
                      <a:pt x="16" y="36"/>
                    </a:lnTo>
                    <a:lnTo>
                      <a:pt x="14" y="34"/>
                    </a:lnTo>
                    <a:lnTo>
                      <a:pt x="12" y="30"/>
                    </a:lnTo>
                    <a:lnTo>
                      <a:pt x="8" y="30"/>
                    </a:lnTo>
                    <a:lnTo>
                      <a:pt x="8" y="30"/>
                    </a:lnTo>
                    <a:lnTo>
                      <a:pt x="6" y="30"/>
                    </a:lnTo>
                    <a:lnTo>
                      <a:pt x="0" y="20"/>
                    </a:lnTo>
                    <a:lnTo>
                      <a:pt x="0" y="20"/>
                    </a:lnTo>
                    <a:lnTo>
                      <a:pt x="0" y="18"/>
                    </a:lnTo>
                    <a:lnTo>
                      <a:pt x="2" y="8"/>
                    </a:lnTo>
                    <a:lnTo>
                      <a:pt x="2" y="8"/>
                    </a:lnTo>
                    <a:lnTo>
                      <a:pt x="4" y="6"/>
                    </a:lnTo>
                    <a:lnTo>
                      <a:pt x="18" y="2"/>
                    </a:lnTo>
                    <a:lnTo>
                      <a:pt x="36" y="0"/>
                    </a:lnTo>
                    <a:lnTo>
                      <a:pt x="36" y="0"/>
                    </a:lnTo>
                    <a:lnTo>
                      <a:pt x="36" y="0"/>
                    </a:lnTo>
                    <a:lnTo>
                      <a:pt x="36" y="0"/>
                    </a:lnTo>
                    <a:lnTo>
                      <a:pt x="38" y="0"/>
                    </a:lnTo>
                    <a:lnTo>
                      <a:pt x="50" y="4"/>
                    </a:lnTo>
                    <a:lnTo>
                      <a:pt x="50" y="4"/>
                    </a:lnTo>
                    <a:lnTo>
                      <a:pt x="64" y="2"/>
                    </a:lnTo>
                    <a:lnTo>
                      <a:pt x="64" y="2"/>
                    </a:lnTo>
                    <a:lnTo>
                      <a:pt x="64" y="4"/>
                    </a:lnTo>
                    <a:lnTo>
                      <a:pt x="64" y="4"/>
                    </a:lnTo>
                    <a:lnTo>
                      <a:pt x="66" y="6"/>
                    </a:lnTo>
                    <a:lnTo>
                      <a:pt x="60" y="16"/>
                    </a:lnTo>
                    <a:lnTo>
                      <a:pt x="60" y="30"/>
                    </a:lnTo>
                    <a:lnTo>
                      <a:pt x="58" y="40"/>
                    </a:lnTo>
                    <a:lnTo>
                      <a:pt x="58" y="40"/>
                    </a:lnTo>
                    <a:lnTo>
                      <a:pt x="56" y="42"/>
                    </a:lnTo>
                    <a:lnTo>
                      <a:pt x="48"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0" name="Freeform 581"/>
              <p:cNvSpPr>
                <a:spLocks noEditPoints="1"/>
              </p:cNvSpPr>
              <p:nvPr/>
            </p:nvSpPr>
            <p:spPr bwMode="auto">
              <a:xfrm>
                <a:off x="3225" y="1559"/>
                <a:ext cx="68" cy="46"/>
              </a:xfrm>
              <a:custGeom>
                <a:avLst/>
                <a:gdLst>
                  <a:gd name="T0" fmla="*/ 38 w 68"/>
                  <a:gd name="T1" fmla="*/ 4 h 46"/>
                  <a:gd name="T2" fmla="*/ 52 w 68"/>
                  <a:gd name="T3" fmla="*/ 8 h 46"/>
                  <a:gd name="T4" fmla="*/ 66 w 68"/>
                  <a:gd name="T5" fmla="*/ 6 h 46"/>
                  <a:gd name="T6" fmla="*/ 60 w 68"/>
                  <a:gd name="T7" fmla="*/ 18 h 46"/>
                  <a:gd name="T8" fmla="*/ 60 w 68"/>
                  <a:gd name="T9" fmla="*/ 32 h 46"/>
                  <a:gd name="T10" fmla="*/ 58 w 68"/>
                  <a:gd name="T11" fmla="*/ 42 h 46"/>
                  <a:gd name="T12" fmla="*/ 50 w 68"/>
                  <a:gd name="T13" fmla="*/ 42 h 46"/>
                  <a:gd name="T14" fmla="*/ 38 w 68"/>
                  <a:gd name="T15" fmla="*/ 40 h 46"/>
                  <a:gd name="T16" fmla="*/ 28 w 68"/>
                  <a:gd name="T17" fmla="*/ 36 h 46"/>
                  <a:gd name="T18" fmla="*/ 18 w 68"/>
                  <a:gd name="T19" fmla="*/ 36 h 46"/>
                  <a:gd name="T20" fmla="*/ 16 w 68"/>
                  <a:gd name="T21" fmla="*/ 30 h 46"/>
                  <a:gd name="T22" fmla="*/ 10 w 68"/>
                  <a:gd name="T23" fmla="*/ 30 h 46"/>
                  <a:gd name="T24" fmla="*/ 4 w 68"/>
                  <a:gd name="T25" fmla="*/ 22 h 46"/>
                  <a:gd name="T26" fmla="*/ 6 w 68"/>
                  <a:gd name="T27" fmla="*/ 10 h 46"/>
                  <a:gd name="T28" fmla="*/ 20 w 68"/>
                  <a:gd name="T29" fmla="*/ 6 h 46"/>
                  <a:gd name="T30" fmla="*/ 38 w 68"/>
                  <a:gd name="T31" fmla="*/ 4 h 46"/>
                  <a:gd name="T32" fmla="*/ 38 w 68"/>
                  <a:gd name="T33" fmla="*/ 0 h 46"/>
                  <a:gd name="T34" fmla="*/ 38 w 68"/>
                  <a:gd name="T35" fmla="*/ 0 h 46"/>
                  <a:gd name="T36" fmla="*/ 38 w 68"/>
                  <a:gd name="T37" fmla="*/ 0 h 46"/>
                  <a:gd name="T38" fmla="*/ 18 w 68"/>
                  <a:gd name="T39" fmla="*/ 2 h 46"/>
                  <a:gd name="T40" fmla="*/ 4 w 68"/>
                  <a:gd name="T41" fmla="*/ 6 h 46"/>
                  <a:gd name="T42" fmla="*/ 4 w 68"/>
                  <a:gd name="T43" fmla="*/ 6 h 46"/>
                  <a:gd name="T44" fmla="*/ 2 w 68"/>
                  <a:gd name="T45" fmla="*/ 8 h 46"/>
                  <a:gd name="T46" fmla="*/ 2 w 68"/>
                  <a:gd name="T47" fmla="*/ 10 h 46"/>
                  <a:gd name="T48" fmla="*/ 0 w 68"/>
                  <a:gd name="T49" fmla="*/ 20 h 46"/>
                  <a:gd name="T50" fmla="*/ 0 w 68"/>
                  <a:gd name="T51" fmla="*/ 20 h 46"/>
                  <a:gd name="T52" fmla="*/ 0 w 68"/>
                  <a:gd name="T53" fmla="*/ 24 h 46"/>
                  <a:gd name="T54" fmla="*/ 6 w 68"/>
                  <a:gd name="T55" fmla="*/ 32 h 46"/>
                  <a:gd name="T56" fmla="*/ 6 w 68"/>
                  <a:gd name="T57" fmla="*/ 32 h 46"/>
                  <a:gd name="T58" fmla="*/ 10 w 68"/>
                  <a:gd name="T59" fmla="*/ 34 h 46"/>
                  <a:gd name="T60" fmla="*/ 14 w 68"/>
                  <a:gd name="T61" fmla="*/ 34 h 46"/>
                  <a:gd name="T62" fmla="*/ 14 w 68"/>
                  <a:gd name="T63" fmla="*/ 36 h 46"/>
                  <a:gd name="T64" fmla="*/ 14 w 68"/>
                  <a:gd name="T65" fmla="*/ 36 h 46"/>
                  <a:gd name="T66" fmla="*/ 16 w 68"/>
                  <a:gd name="T67" fmla="*/ 38 h 46"/>
                  <a:gd name="T68" fmla="*/ 18 w 68"/>
                  <a:gd name="T69" fmla="*/ 40 h 46"/>
                  <a:gd name="T70" fmla="*/ 28 w 68"/>
                  <a:gd name="T71" fmla="*/ 40 h 46"/>
                  <a:gd name="T72" fmla="*/ 38 w 68"/>
                  <a:gd name="T73" fmla="*/ 42 h 46"/>
                  <a:gd name="T74" fmla="*/ 48 w 68"/>
                  <a:gd name="T75" fmla="*/ 46 h 46"/>
                  <a:gd name="T76" fmla="*/ 48 w 68"/>
                  <a:gd name="T77" fmla="*/ 46 h 46"/>
                  <a:gd name="T78" fmla="*/ 50 w 68"/>
                  <a:gd name="T79" fmla="*/ 46 h 46"/>
                  <a:gd name="T80" fmla="*/ 58 w 68"/>
                  <a:gd name="T81" fmla="*/ 46 h 46"/>
                  <a:gd name="T82" fmla="*/ 58 w 68"/>
                  <a:gd name="T83" fmla="*/ 46 h 46"/>
                  <a:gd name="T84" fmla="*/ 60 w 68"/>
                  <a:gd name="T85" fmla="*/ 46 h 46"/>
                  <a:gd name="T86" fmla="*/ 62 w 68"/>
                  <a:gd name="T87" fmla="*/ 44 h 46"/>
                  <a:gd name="T88" fmla="*/ 64 w 68"/>
                  <a:gd name="T89" fmla="*/ 32 h 46"/>
                  <a:gd name="T90" fmla="*/ 64 w 68"/>
                  <a:gd name="T91" fmla="*/ 32 h 46"/>
                  <a:gd name="T92" fmla="*/ 64 w 68"/>
                  <a:gd name="T93" fmla="*/ 32 h 46"/>
                  <a:gd name="T94" fmla="*/ 64 w 68"/>
                  <a:gd name="T95" fmla="*/ 18 h 46"/>
                  <a:gd name="T96" fmla="*/ 68 w 68"/>
                  <a:gd name="T97" fmla="*/ 8 h 46"/>
                  <a:gd name="T98" fmla="*/ 68 w 68"/>
                  <a:gd name="T99" fmla="*/ 8 h 46"/>
                  <a:gd name="T100" fmla="*/ 68 w 68"/>
                  <a:gd name="T101" fmla="*/ 4 h 46"/>
                  <a:gd name="T102" fmla="*/ 68 w 68"/>
                  <a:gd name="T103" fmla="*/ 4 h 46"/>
                  <a:gd name="T104" fmla="*/ 66 w 68"/>
                  <a:gd name="T105" fmla="*/ 2 h 46"/>
                  <a:gd name="T106" fmla="*/ 66 w 68"/>
                  <a:gd name="T107" fmla="*/ 2 h 46"/>
                  <a:gd name="T108" fmla="*/ 64 w 68"/>
                  <a:gd name="T109" fmla="*/ 2 h 46"/>
                  <a:gd name="T110" fmla="*/ 52 w 68"/>
                  <a:gd name="T111" fmla="*/ 4 h 46"/>
                  <a:gd name="T112" fmla="*/ 40 w 68"/>
                  <a:gd name="T113" fmla="*/ 0 h 46"/>
                  <a:gd name="T114" fmla="*/ 40 w 68"/>
                  <a:gd name="T115" fmla="*/ 0 h 46"/>
                  <a:gd name="T116" fmla="*/ 38 w 68"/>
                  <a:gd name="T117" fmla="*/ 0 h 46"/>
                  <a:gd name="T118" fmla="*/ 38 w 68"/>
                  <a:gd name="T1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 h="46">
                    <a:moveTo>
                      <a:pt x="38" y="4"/>
                    </a:moveTo>
                    <a:lnTo>
                      <a:pt x="52" y="8"/>
                    </a:lnTo>
                    <a:lnTo>
                      <a:pt x="66" y="6"/>
                    </a:lnTo>
                    <a:lnTo>
                      <a:pt x="60" y="18"/>
                    </a:lnTo>
                    <a:lnTo>
                      <a:pt x="60" y="32"/>
                    </a:lnTo>
                    <a:lnTo>
                      <a:pt x="58" y="42"/>
                    </a:lnTo>
                    <a:lnTo>
                      <a:pt x="50" y="42"/>
                    </a:lnTo>
                    <a:lnTo>
                      <a:pt x="38" y="40"/>
                    </a:lnTo>
                    <a:lnTo>
                      <a:pt x="28" y="36"/>
                    </a:lnTo>
                    <a:lnTo>
                      <a:pt x="18" y="36"/>
                    </a:lnTo>
                    <a:lnTo>
                      <a:pt x="16" y="30"/>
                    </a:lnTo>
                    <a:lnTo>
                      <a:pt x="10" y="30"/>
                    </a:lnTo>
                    <a:lnTo>
                      <a:pt x="4" y="22"/>
                    </a:lnTo>
                    <a:lnTo>
                      <a:pt x="6" y="10"/>
                    </a:lnTo>
                    <a:lnTo>
                      <a:pt x="20" y="6"/>
                    </a:lnTo>
                    <a:lnTo>
                      <a:pt x="38" y="4"/>
                    </a:lnTo>
                    <a:close/>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1" name="Freeform 582"/>
              <p:cNvSpPr>
                <a:spLocks/>
              </p:cNvSpPr>
              <p:nvPr/>
            </p:nvSpPr>
            <p:spPr bwMode="auto">
              <a:xfrm>
                <a:off x="3229" y="1563"/>
                <a:ext cx="62" cy="38"/>
              </a:xfrm>
              <a:custGeom>
                <a:avLst/>
                <a:gdLst>
                  <a:gd name="T0" fmla="*/ 34 w 62"/>
                  <a:gd name="T1" fmla="*/ 0 h 38"/>
                  <a:gd name="T2" fmla="*/ 48 w 62"/>
                  <a:gd name="T3" fmla="*/ 4 h 38"/>
                  <a:gd name="T4" fmla="*/ 62 w 62"/>
                  <a:gd name="T5" fmla="*/ 2 h 38"/>
                  <a:gd name="T6" fmla="*/ 56 w 62"/>
                  <a:gd name="T7" fmla="*/ 14 h 38"/>
                  <a:gd name="T8" fmla="*/ 56 w 62"/>
                  <a:gd name="T9" fmla="*/ 28 h 38"/>
                  <a:gd name="T10" fmla="*/ 54 w 62"/>
                  <a:gd name="T11" fmla="*/ 38 h 38"/>
                  <a:gd name="T12" fmla="*/ 46 w 62"/>
                  <a:gd name="T13" fmla="*/ 38 h 38"/>
                  <a:gd name="T14" fmla="*/ 34 w 62"/>
                  <a:gd name="T15" fmla="*/ 36 h 38"/>
                  <a:gd name="T16" fmla="*/ 24 w 62"/>
                  <a:gd name="T17" fmla="*/ 32 h 38"/>
                  <a:gd name="T18" fmla="*/ 14 w 62"/>
                  <a:gd name="T19" fmla="*/ 32 h 38"/>
                  <a:gd name="T20" fmla="*/ 12 w 62"/>
                  <a:gd name="T21" fmla="*/ 26 h 38"/>
                  <a:gd name="T22" fmla="*/ 6 w 62"/>
                  <a:gd name="T23" fmla="*/ 26 h 38"/>
                  <a:gd name="T24" fmla="*/ 0 w 62"/>
                  <a:gd name="T25" fmla="*/ 18 h 38"/>
                  <a:gd name="T26" fmla="*/ 2 w 62"/>
                  <a:gd name="T27" fmla="*/ 6 h 38"/>
                  <a:gd name="T28" fmla="*/ 16 w 62"/>
                  <a:gd name="T29" fmla="*/ 2 h 38"/>
                  <a:gd name="T30" fmla="*/ 34 w 62"/>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38">
                    <a:moveTo>
                      <a:pt x="34" y="0"/>
                    </a:moveTo>
                    <a:lnTo>
                      <a:pt x="48" y="4"/>
                    </a:lnTo>
                    <a:lnTo>
                      <a:pt x="62" y="2"/>
                    </a:lnTo>
                    <a:lnTo>
                      <a:pt x="56" y="14"/>
                    </a:lnTo>
                    <a:lnTo>
                      <a:pt x="56" y="28"/>
                    </a:lnTo>
                    <a:lnTo>
                      <a:pt x="54" y="38"/>
                    </a:lnTo>
                    <a:lnTo>
                      <a:pt x="46" y="38"/>
                    </a:lnTo>
                    <a:lnTo>
                      <a:pt x="34" y="36"/>
                    </a:lnTo>
                    <a:lnTo>
                      <a:pt x="24" y="32"/>
                    </a:lnTo>
                    <a:lnTo>
                      <a:pt x="14" y="32"/>
                    </a:lnTo>
                    <a:lnTo>
                      <a:pt x="12" y="26"/>
                    </a:lnTo>
                    <a:lnTo>
                      <a:pt x="6" y="26"/>
                    </a:lnTo>
                    <a:lnTo>
                      <a:pt x="0" y="18"/>
                    </a:lnTo>
                    <a:lnTo>
                      <a:pt x="2" y="6"/>
                    </a:lnTo>
                    <a:lnTo>
                      <a:pt x="16" y="2"/>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2" name="Freeform 583"/>
              <p:cNvSpPr>
                <a:spLocks/>
              </p:cNvSpPr>
              <p:nvPr/>
            </p:nvSpPr>
            <p:spPr bwMode="auto">
              <a:xfrm>
                <a:off x="3225" y="1559"/>
                <a:ext cx="68" cy="46"/>
              </a:xfrm>
              <a:custGeom>
                <a:avLst/>
                <a:gdLst>
                  <a:gd name="T0" fmla="*/ 38 w 68"/>
                  <a:gd name="T1" fmla="*/ 0 h 46"/>
                  <a:gd name="T2" fmla="*/ 38 w 68"/>
                  <a:gd name="T3" fmla="*/ 0 h 46"/>
                  <a:gd name="T4" fmla="*/ 38 w 68"/>
                  <a:gd name="T5" fmla="*/ 0 h 46"/>
                  <a:gd name="T6" fmla="*/ 18 w 68"/>
                  <a:gd name="T7" fmla="*/ 2 h 46"/>
                  <a:gd name="T8" fmla="*/ 4 w 68"/>
                  <a:gd name="T9" fmla="*/ 6 h 46"/>
                  <a:gd name="T10" fmla="*/ 4 w 68"/>
                  <a:gd name="T11" fmla="*/ 6 h 46"/>
                  <a:gd name="T12" fmla="*/ 2 w 68"/>
                  <a:gd name="T13" fmla="*/ 8 h 46"/>
                  <a:gd name="T14" fmla="*/ 2 w 68"/>
                  <a:gd name="T15" fmla="*/ 10 h 46"/>
                  <a:gd name="T16" fmla="*/ 0 w 68"/>
                  <a:gd name="T17" fmla="*/ 20 h 46"/>
                  <a:gd name="T18" fmla="*/ 0 w 68"/>
                  <a:gd name="T19" fmla="*/ 20 h 46"/>
                  <a:gd name="T20" fmla="*/ 0 w 68"/>
                  <a:gd name="T21" fmla="*/ 24 h 46"/>
                  <a:gd name="T22" fmla="*/ 6 w 68"/>
                  <a:gd name="T23" fmla="*/ 32 h 46"/>
                  <a:gd name="T24" fmla="*/ 6 w 68"/>
                  <a:gd name="T25" fmla="*/ 32 h 46"/>
                  <a:gd name="T26" fmla="*/ 10 w 68"/>
                  <a:gd name="T27" fmla="*/ 34 h 46"/>
                  <a:gd name="T28" fmla="*/ 14 w 68"/>
                  <a:gd name="T29" fmla="*/ 34 h 46"/>
                  <a:gd name="T30" fmla="*/ 14 w 68"/>
                  <a:gd name="T31" fmla="*/ 36 h 46"/>
                  <a:gd name="T32" fmla="*/ 14 w 68"/>
                  <a:gd name="T33" fmla="*/ 36 h 46"/>
                  <a:gd name="T34" fmla="*/ 16 w 68"/>
                  <a:gd name="T35" fmla="*/ 38 h 46"/>
                  <a:gd name="T36" fmla="*/ 18 w 68"/>
                  <a:gd name="T37" fmla="*/ 40 h 46"/>
                  <a:gd name="T38" fmla="*/ 28 w 68"/>
                  <a:gd name="T39" fmla="*/ 40 h 46"/>
                  <a:gd name="T40" fmla="*/ 38 w 68"/>
                  <a:gd name="T41" fmla="*/ 42 h 46"/>
                  <a:gd name="T42" fmla="*/ 48 w 68"/>
                  <a:gd name="T43" fmla="*/ 46 h 46"/>
                  <a:gd name="T44" fmla="*/ 48 w 68"/>
                  <a:gd name="T45" fmla="*/ 46 h 46"/>
                  <a:gd name="T46" fmla="*/ 50 w 68"/>
                  <a:gd name="T47" fmla="*/ 46 h 46"/>
                  <a:gd name="T48" fmla="*/ 58 w 68"/>
                  <a:gd name="T49" fmla="*/ 46 h 46"/>
                  <a:gd name="T50" fmla="*/ 58 w 68"/>
                  <a:gd name="T51" fmla="*/ 46 h 46"/>
                  <a:gd name="T52" fmla="*/ 60 w 68"/>
                  <a:gd name="T53" fmla="*/ 46 h 46"/>
                  <a:gd name="T54" fmla="*/ 62 w 68"/>
                  <a:gd name="T55" fmla="*/ 44 h 46"/>
                  <a:gd name="T56" fmla="*/ 64 w 68"/>
                  <a:gd name="T57" fmla="*/ 32 h 46"/>
                  <a:gd name="T58" fmla="*/ 64 w 68"/>
                  <a:gd name="T59" fmla="*/ 32 h 46"/>
                  <a:gd name="T60" fmla="*/ 64 w 68"/>
                  <a:gd name="T61" fmla="*/ 32 h 46"/>
                  <a:gd name="T62" fmla="*/ 64 w 68"/>
                  <a:gd name="T63" fmla="*/ 18 h 46"/>
                  <a:gd name="T64" fmla="*/ 68 w 68"/>
                  <a:gd name="T65" fmla="*/ 8 h 46"/>
                  <a:gd name="T66" fmla="*/ 68 w 68"/>
                  <a:gd name="T67" fmla="*/ 8 h 46"/>
                  <a:gd name="T68" fmla="*/ 68 w 68"/>
                  <a:gd name="T69" fmla="*/ 4 h 46"/>
                  <a:gd name="T70" fmla="*/ 68 w 68"/>
                  <a:gd name="T71" fmla="*/ 4 h 46"/>
                  <a:gd name="T72" fmla="*/ 66 w 68"/>
                  <a:gd name="T73" fmla="*/ 2 h 46"/>
                  <a:gd name="T74" fmla="*/ 66 w 68"/>
                  <a:gd name="T75" fmla="*/ 2 h 46"/>
                  <a:gd name="T76" fmla="*/ 64 w 68"/>
                  <a:gd name="T77" fmla="*/ 2 h 46"/>
                  <a:gd name="T78" fmla="*/ 52 w 68"/>
                  <a:gd name="T79" fmla="*/ 4 h 46"/>
                  <a:gd name="T80" fmla="*/ 40 w 68"/>
                  <a:gd name="T81" fmla="*/ 0 h 46"/>
                  <a:gd name="T82" fmla="*/ 40 w 68"/>
                  <a:gd name="T83" fmla="*/ 0 h 46"/>
                  <a:gd name="T84" fmla="*/ 38 w 68"/>
                  <a:gd name="T85" fmla="*/ 0 h 46"/>
                  <a:gd name="T86" fmla="*/ 38 w 68"/>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6">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3" name="Freeform 584"/>
              <p:cNvSpPr>
                <a:spLocks/>
              </p:cNvSpPr>
              <p:nvPr/>
            </p:nvSpPr>
            <p:spPr bwMode="auto">
              <a:xfrm>
                <a:off x="3187" y="1589"/>
                <a:ext cx="110" cy="54"/>
              </a:xfrm>
              <a:custGeom>
                <a:avLst/>
                <a:gdLst>
                  <a:gd name="T0" fmla="*/ 86 w 110"/>
                  <a:gd name="T1" fmla="*/ 54 h 54"/>
                  <a:gd name="T2" fmla="*/ 86 w 110"/>
                  <a:gd name="T3" fmla="*/ 54 h 54"/>
                  <a:gd name="T4" fmla="*/ 84 w 110"/>
                  <a:gd name="T5" fmla="*/ 54 h 54"/>
                  <a:gd name="T6" fmla="*/ 58 w 110"/>
                  <a:gd name="T7" fmla="*/ 38 h 54"/>
                  <a:gd name="T8" fmla="*/ 12 w 110"/>
                  <a:gd name="T9" fmla="*/ 38 h 54"/>
                  <a:gd name="T10" fmla="*/ 4 w 110"/>
                  <a:gd name="T11" fmla="*/ 40 h 54"/>
                  <a:gd name="T12" fmla="*/ 4 w 110"/>
                  <a:gd name="T13" fmla="*/ 40 h 54"/>
                  <a:gd name="T14" fmla="*/ 2 w 110"/>
                  <a:gd name="T15" fmla="*/ 40 h 54"/>
                  <a:gd name="T16" fmla="*/ 2 w 110"/>
                  <a:gd name="T17" fmla="*/ 40 h 54"/>
                  <a:gd name="T18" fmla="*/ 2 w 110"/>
                  <a:gd name="T19" fmla="*/ 40 h 54"/>
                  <a:gd name="T20" fmla="*/ 2 w 110"/>
                  <a:gd name="T21" fmla="*/ 40 h 54"/>
                  <a:gd name="T22" fmla="*/ 0 w 110"/>
                  <a:gd name="T23" fmla="*/ 38 h 54"/>
                  <a:gd name="T24" fmla="*/ 0 w 110"/>
                  <a:gd name="T25" fmla="*/ 30 h 54"/>
                  <a:gd name="T26" fmla="*/ 0 w 110"/>
                  <a:gd name="T27" fmla="*/ 30 h 54"/>
                  <a:gd name="T28" fmla="*/ 2 w 110"/>
                  <a:gd name="T29" fmla="*/ 28 h 54"/>
                  <a:gd name="T30" fmla="*/ 8 w 110"/>
                  <a:gd name="T31" fmla="*/ 18 h 54"/>
                  <a:gd name="T32" fmla="*/ 14 w 110"/>
                  <a:gd name="T33" fmla="*/ 10 h 54"/>
                  <a:gd name="T34" fmla="*/ 14 w 110"/>
                  <a:gd name="T35" fmla="*/ 10 h 54"/>
                  <a:gd name="T36" fmla="*/ 16 w 110"/>
                  <a:gd name="T37" fmla="*/ 8 h 54"/>
                  <a:gd name="T38" fmla="*/ 16 w 110"/>
                  <a:gd name="T39" fmla="*/ 8 h 54"/>
                  <a:gd name="T40" fmla="*/ 16 w 110"/>
                  <a:gd name="T41" fmla="*/ 8 h 54"/>
                  <a:gd name="T42" fmla="*/ 26 w 110"/>
                  <a:gd name="T43" fmla="*/ 10 h 54"/>
                  <a:gd name="T44" fmla="*/ 36 w 110"/>
                  <a:gd name="T45" fmla="*/ 16 h 54"/>
                  <a:gd name="T46" fmla="*/ 44 w 110"/>
                  <a:gd name="T47" fmla="*/ 22 h 54"/>
                  <a:gd name="T48" fmla="*/ 50 w 110"/>
                  <a:gd name="T49" fmla="*/ 18 h 54"/>
                  <a:gd name="T50" fmla="*/ 52 w 110"/>
                  <a:gd name="T51" fmla="*/ 8 h 54"/>
                  <a:gd name="T52" fmla="*/ 52 w 110"/>
                  <a:gd name="T53" fmla="*/ 2 h 54"/>
                  <a:gd name="T54" fmla="*/ 52 w 110"/>
                  <a:gd name="T55" fmla="*/ 2 h 54"/>
                  <a:gd name="T56" fmla="*/ 54 w 110"/>
                  <a:gd name="T57" fmla="*/ 0 h 54"/>
                  <a:gd name="T58" fmla="*/ 64 w 110"/>
                  <a:gd name="T59" fmla="*/ 0 h 54"/>
                  <a:gd name="T60" fmla="*/ 76 w 110"/>
                  <a:gd name="T61" fmla="*/ 4 h 54"/>
                  <a:gd name="T62" fmla="*/ 84 w 110"/>
                  <a:gd name="T63" fmla="*/ 6 h 54"/>
                  <a:gd name="T64" fmla="*/ 96 w 110"/>
                  <a:gd name="T65" fmla="*/ 6 h 54"/>
                  <a:gd name="T66" fmla="*/ 96 w 110"/>
                  <a:gd name="T67" fmla="*/ 6 h 54"/>
                  <a:gd name="T68" fmla="*/ 98 w 110"/>
                  <a:gd name="T69" fmla="*/ 8 h 54"/>
                  <a:gd name="T70" fmla="*/ 104 w 110"/>
                  <a:gd name="T71" fmla="*/ 20 h 54"/>
                  <a:gd name="T72" fmla="*/ 108 w 110"/>
                  <a:gd name="T73" fmla="*/ 34 h 54"/>
                  <a:gd name="T74" fmla="*/ 110 w 110"/>
                  <a:gd name="T75" fmla="*/ 40 h 54"/>
                  <a:gd name="T76" fmla="*/ 110 w 110"/>
                  <a:gd name="T77" fmla="*/ 40 h 54"/>
                  <a:gd name="T78" fmla="*/ 110 w 110"/>
                  <a:gd name="T79" fmla="*/ 42 h 54"/>
                  <a:gd name="T80" fmla="*/ 100 w 110"/>
                  <a:gd name="T81" fmla="*/ 50 h 54"/>
                  <a:gd name="T82" fmla="*/ 86 w 110"/>
                  <a:gd name="T83" fmla="*/ 54 h 54"/>
                  <a:gd name="T84" fmla="*/ 86 w 110"/>
                  <a:gd name="T85" fmla="*/ 54 h 54"/>
                  <a:gd name="T86" fmla="*/ 86 w 110"/>
                  <a:gd name="T87" fmla="*/ 54 h 54"/>
                  <a:gd name="T88" fmla="*/ 86 w 110"/>
                  <a:gd name="T8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54">
                    <a:moveTo>
                      <a:pt x="86" y="54"/>
                    </a:moveTo>
                    <a:lnTo>
                      <a:pt x="86" y="54"/>
                    </a:lnTo>
                    <a:lnTo>
                      <a:pt x="84" y="54"/>
                    </a:lnTo>
                    <a:lnTo>
                      <a:pt x="58" y="38"/>
                    </a:lnTo>
                    <a:lnTo>
                      <a:pt x="12" y="38"/>
                    </a:lnTo>
                    <a:lnTo>
                      <a:pt x="4" y="40"/>
                    </a:lnTo>
                    <a:lnTo>
                      <a:pt x="4" y="40"/>
                    </a:lnTo>
                    <a:lnTo>
                      <a:pt x="2" y="40"/>
                    </a:lnTo>
                    <a:lnTo>
                      <a:pt x="2" y="40"/>
                    </a:lnTo>
                    <a:lnTo>
                      <a:pt x="2" y="40"/>
                    </a:lnTo>
                    <a:lnTo>
                      <a:pt x="2" y="40"/>
                    </a:lnTo>
                    <a:lnTo>
                      <a:pt x="0" y="38"/>
                    </a:lnTo>
                    <a:lnTo>
                      <a:pt x="0" y="30"/>
                    </a:lnTo>
                    <a:lnTo>
                      <a:pt x="0" y="30"/>
                    </a:lnTo>
                    <a:lnTo>
                      <a:pt x="2" y="28"/>
                    </a:lnTo>
                    <a:lnTo>
                      <a:pt x="8" y="18"/>
                    </a:lnTo>
                    <a:lnTo>
                      <a:pt x="14" y="10"/>
                    </a:lnTo>
                    <a:lnTo>
                      <a:pt x="14" y="10"/>
                    </a:lnTo>
                    <a:lnTo>
                      <a:pt x="16" y="8"/>
                    </a:lnTo>
                    <a:lnTo>
                      <a:pt x="16" y="8"/>
                    </a:lnTo>
                    <a:lnTo>
                      <a:pt x="16" y="8"/>
                    </a:lnTo>
                    <a:lnTo>
                      <a:pt x="26" y="10"/>
                    </a:lnTo>
                    <a:lnTo>
                      <a:pt x="36" y="16"/>
                    </a:lnTo>
                    <a:lnTo>
                      <a:pt x="44" y="22"/>
                    </a:lnTo>
                    <a:lnTo>
                      <a:pt x="50" y="18"/>
                    </a:lnTo>
                    <a:lnTo>
                      <a:pt x="52" y="8"/>
                    </a:lnTo>
                    <a:lnTo>
                      <a:pt x="52" y="2"/>
                    </a:lnTo>
                    <a:lnTo>
                      <a:pt x="52" y="2"/>
                    </a:lnTo>
                    <a:lnTo>
                      <a:pt x="54" y="0"/>
                    </a:lnTo>
                    <a:lnTo>
                      <a:pt x="64" y="0"/>
                    </a:lnTo>
                    <a:lnTo>
                      <a:pt x="76" y="4"/>
                    </a:lnTo>
                    <a:lnTo>
                      <a:pt x="84" y="6"/>
                    </a:lnTo>
                    <a:lnTo>
                      <a:pt x="96" y="6"/>
                    </a:lnTo>
                    <a:lnTo>
                      <a:pt x="96" y="6"/>
                    </a:lnTo>
                    <a:lnTo>
                      <a:pt x="98" y="8"/>
                    </a:lnTo>
                    <a:lnTo>
                      <a:pt x="104" y="20"/>
                    </a:lnTo>
                    <a:lnTo>
                      <a:pt x="108" y="34"/>
                    </a:lnTo>
                    <a:lnTo>
                      <a:pt x="110" y="40"/>
                    </a:lnTo>
                    <a:lnTo>
                      <a:pt x="110" y="40"/>
                    </a:lnTo>
                    <a:lnTo>
                      <a:pt x="110" y="42"/>
                    </a:lnTo>
                    <a:lnTo>
                      <a:pt x="100" y="50"/>
                    </a:lnTo>
                    <a:lnTo>
                      <a:pt x="86" y="54"/>
                    </a:lnTo>
                    <a:lnTo>
                      <a:pt x="86" y="54"/>
                    </a:lnTo>
                    <a:lnTo>
                      <a:pt x="86" y="54"/>
                    </a:lnTo>
                    <a:lnTo>
                      <a:pt x="8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4" name="Freeform 585"/>
              <p:cNvSpPr>
                <a:spLocks noEditPoints="1"/>
              </p:cNvSpPr>
              <p:nvPr/>
            </p:nvSpPr>
            <p:spPr bwMode="auto">
              <a:xfrm>
                <a:off x="3185" y="1587"/>
                <a:ext cx="114" cy="58"/>
              </a:xfrm>
              <a:custGeom>
                <a:avLst/>
                <a:gdLst>
                  <a:gd name="T0" fmla="*/ 78 w 114"/>
                  <a:gd name="T1" fmla="*/ 8 h 58"/>
                  <a:gd name="T2" fmla="*/ 98 w 114"/>
                  <a:gd name="T3" fmla="*/ 10 h 58"/>
                  <a:gd name="T4" fmla="*/ 104 w 114"/>
                  <a:gd name="T5" fmla="*/ 22 h 58"/>
                  <a:gd name="T6" fmla="*/ 110 w 114"/>
                  <a:gd name="T7" fmla="*/ 42 h 58"/>
                  <a:gd name="T8" fmla="*/ 88 w 114"/>
                  <a:gd name="T9" fmla="*/ 54 h 58"/>
                  <a:gd name="T10" fmla="*/ 14 w 114"/>
                  <a:gd name="T11" fmla="*/ 38 h 58"/>
                  <a:gd name="T12" fmla="*/ 4 w 114"/>
                  <a:gd name="T13" fmla="*/ 32 h 58"/>
                  <a:gd name="T14" fmla="*/ 18 w 114"/>
                  <a:gd name="T15" fmla="*/ 12 h 58"/>
                  <a:gd name="T16" fmla="*/ 38 w 114"/>
                  <a:gd name="T17" fmla="*/ 20 h 58"/>
                  <a:gd name="T18" fmla="*/ 54 w 114"/>
                  <a:gd name="T19" fmla="*/ 20 h 58"/>
                  <a:gd name="T20" fmla="*/ 56 w 114"/>
                  <a:gd name="T21" fmla="*/ 4 h 58"/>
                  <a:gd name="T22" fmla="*/ 66 w 114"/>
                  <a:gd name="T23" fmla="*/ 0 h 58"/>
                  <a:gd name="T24" fmla="*/ 56 w 114"/>
                  <a:gd name="T25" fmla="*/ 0 h 58"/>
                  <a:gd name="T26" fmla="*/ 52 w 114"/>
                  <a:gd name="T27" fmla="*/ 4 h 58"/>
                  <a:gd name="T28" fmla="*/ 50 w 114"/>
                  <a:gd name="T29" fmla="*/ 18 h 58"/>
                  <a:gd name="T30" fmla="*/ 40 w 114"/>
                  <a:gd name="T31" fmla="*/ 16 h 58"/>
                  <a:gd name="T32" fmla="*/ 30 w 114"/>
                  <a:gd name="T33" fmla="*/ 12 h 58"/>
                  <a:gd name="T34" fmla="*/ 18 w 114"/>
                  <a:gd name="T35" fmla="*/ 8 h 58"/>
                  <a:gd name="T36" fmla="*/ 18 w 114"/>
                  <a:gd name="T37" fmla="*/ 8 h 58"/>
                  <a:gd name="T38" fmla="*/ 14 w 114"/>
                  <a:gd name="T39" fmla="*/ 10 h 58"/>
                  <a:gd name="T40" fmla="*/ 2 w 114"/>
                  <a:gd name="T41" fmla="*/ 28 h 58"/>
                  <a:gd name="T42" fmla="*/ 0 w 114"/>
                  <a:gd name="T43" fmla="*/ 32 h 58"/>
                  <a:gd name="T44" fmla="*/ 0 w 114"/>
                  <a:gd name="T45" fmla="*/ 40 h 58"/>
                  <a:gd name="T46" fmla="*/ 2 w 114"/>
                  <a:gd name="T47" fmla="*/ 44 h 58"/>
                  <a:gd name="T48" fmla="*/ 4 w 114"/>
                  <a:gd name="T49" fmla="*/ 44 h 58"/>
                  <a:gd name="T50" fmla="*/ 14 w 114"/>
                  <a:gd name="T51" fmla="*/ 42 h 58"/>
                  <a:gd name="T52" fmla="*/ 84 w 114"/>
                  <a:gd name="T53" fmla="*/ 58 h 58"/>
                  <a:gd name="T54" fmla="*/ 88 w 114"/>
                  <a:gd name="T55" fmla="*/ 58 h 58"/>
                  <a:gd name="T56" fmla="*/ 88 w 114"/>
                  <a:gd name="T57" fmla="*/ 58 h 58"/>
                  <a:gd name="T58" fmla="*/ 102 w 114"/>
                  <a:gd name="T59" fmla="*/ 54 h 58"/>
                  <a:gd name="T60" fmla="*/ 114 w 114"/>
                  <a:gd name="T61" fmla="*/ 46 h 58"/>
                  <a:gd name="T62" fmla="*/ 114 w 114"/>
                  <a:gd name="T63" fmla="*/ 44 h 58"/>
                  <a:gd name="T64" fmla="*/ 112 w 114"/>
                  <a:gd name="T65" fmla="*/ 36 h 58"/>
                  <a:gd name="T66" fmla="*/ 108 w 114"/>
                  <a:gd name="T67" fmla="*/ 22 h 58"/>
                  <a:gd name="T68" fmla="*/ 104 w 114"/>
                  <a:gd name="T69" fmla="*/ 12 h 58"/>
                  <a:gd name="T70" fmla="*/ 102 w 114"/>
                  <a:gd name="T71" fmla="*/ 10 h 58"/>
                  <a:gd name="T72" fmla="*/ 86 w 114"/>
                  <a:gd name="T73" fmla="*/ 6 h 58"/>
                  <a:gd name="T74" fmla="*/ 68 w 114"/>
                  <a:gd name="T75" fmla="*/ 0 h 58"/>
                  <a:gd name="T76" fmla="*/ 66 w 114"/>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58">
                    <a:moveTo>
                      <a:pt x="66" y="4"/>
                    </a:moveTo>
                    <a:lnTo>
                      <a:pt x="78" y="8"/>
                    </a:lnTo>
                    <a:lnTo>
                      <a:pt x="86" y="8"/>
                    </a:lnTo>
                    <a:lnTo>
                      <a:pt x="98" y="10"/>
                    </a:lnTo>
                    <a:lnTo>
                      <a:pt x="100" y="14"/>
                    </a:lnTo>
                    <a:lnTo>
                      <a:pt x="104" y="22"/>
                    </a:lnTo>
                    <a:lnTo>
                      <a:pt x="108" y="38"/>
                    </a:lnTo>
                    <a:lnTo>
                      <a:pt x="110" y="42"/>
                    </a:lnTo>
                    <a:lnTo>
                      <a:pt x="100" y="50"/>
                    </a:lnTo>
                    <a:lnTo>
                      <a:pt x="88" y="54"/>
                    </a:lnTo>
                    <a:lnTo>
                      <a:pt x="62" y="38"/>
                    </a:lnTo>
                    <a:lnTo>
                      <a:pt x="14" y="38"/>
                    </a:lnTo>
                    <a:lnTo>
                      <a:pt x="4" y="40"/>
                    </a:lnTo>
                    <a:lnTo>
                      <a:pt x="4" y="32"/>
                    </a:lnTo>
                    <a:lnTo>
                      <a:pt x="12" y="22"/>
                    </a:lnTo>
                    <a:lnTo>
                      <a:pt x="18" y="12"/>
                    </a:lnTo>
                    <a:lnTo>
                      <a:pt x="28" y="14"/>
                    </a:lnTo>
                    <a:lnTo>
                      <a:pt x="38" y="20"/>
                    </a:lnTo>
                    <a:lnTo>
                      <a:pt x="46" y="26"/>
                    </a:lnTo>
                    <a:lnTo>
                      <a:pt x="54" y="20"/>
                    </a:lnTo>
                    <a:lnTo>
                      <a:pt x="56" y="10"/>
                    </a:lnTo>
                    <a:lnTo>
                      <a:pt x="56" y="4"/>
                    </a:lnTo>
                    <a:lnTo>
                      <a:pt x="66" y="4"/>
                    </a:lnTo>
                    <a:close/>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5" name="Freeform 586"/>
              <p:cNvSpPr>
                <a:spLocks/>
              </p:cNvSpPr>
              <p:nvPr/>
            </p:nvSpPr>
            <p:spPr bwMode="auto">
              <a:xfrm>
                <a:off x="3189" y="1591"/>
                <a:ext cx="106" cy="50"/>
              </a:xfrm>
              <a:custGeom>
                <a:avLst/>
                <a:gdLst>
                  <a:gd name="T0" fmla="*/ 62 w 106"/>
                  <a:gd name="T1" fmla="*/ 0 h 50"/>
                  <a:gd name="T2" fmla="*/ 74 w 106"/>
                  <a:gd name="T3" fmla="*/ 4 h 50"/>
                  <a:gd name="T4" fmla="*/ 82 w 106"/>
                  <a:gd name="T5" fmla="*/ 4 h 50"/>
                  <a:gd name="T6" fmla="*/ 94 w 106"/>
                  <a:gd name="T7" fmla="*/ 6 h 50"/>
                  <a:gd name="T8" fmla="*/ 96 w 106"/>
                  <a:gd name="T9" fmla="*/ 10 h 50"/>
                  <a:gd name="T10" fmla="*/ 100 w 106"/>
                  <a:gd name="T11" fmla="*/ 18 h 50"/>
                  <a:gd name="T12" fmla="*/ 104 w 106"/>
                  <a:gd name="T13" fmla="*/ 34 h 50"/>
                  <a:gd name="T14" fmla="*/ 106 w 106"/>
                  <a:gd name="T15" fmla="*/ 38 h 50"/>
                  <a:gd name="T16" fmla="*/ 96 w 106"/>
                  <a:gd name="T17" fmla="*/ 46 h 50"/>
                  <a:gd name="T18" fmla="*/ 84 w 106"/>
                  <a:gd name="T19" fmla="*/ 50 h 50"/>
                  <a:gd name="T20" fmla="*/ 58 w 106"/>
                  <a:gd name="T21" fmla="*/ 34 h 50"/>
                  <a:gd name="T22" fmla="*/ 10 w 106"/>
                  <a:gd name="T23" fmla="*/ 34 h 50"/>
                  <a:gd name="T24" fmla="*/ 0 w 106"/>
                  <a:gd name="T25" fmla="*/ 36 h 50"/>
                  <a:gd name="T26" fmla="*/ 0 w 106"/>
                  <a:gd name="T27" fmla="*/ 28 h 50"/>
                  <a:gd name="T28" fmla="*/ 8 w 106"/>
                  <a:gd name="T29" fmla="*/ 18 h 50"/>
                  <a:gd name="T30" fmla="*/ 14 w 106"/>
                  <a:gd name="T31" fmla="*/ 8 h 50"/>
                  <a:gd name="T32" fmla="*/ 24 w 106"/>
                  <a:gd name="T33" fmla="*/ 10 h 50"/>
                  <a:gd name="T34" fmla="*/ 34 w 106"/>
                  <a:gd name="T35" fmla="*/ 16 h 50"/>
                  <a:gd name="T36" fmla="*/ 42 w 106"/>
                  <a:gd name="T37" fmla="*/ 22 h 50"/>
                  <a:gd name="T38" fmla="*/ 50 w 106"/>
                  <a:gd name="T39" fmla="*/ 16 h 50"/>
                  <a:gd name="T40" fmla="*/ 52 w 106"/>
                  <a:gd name="T41" fmla="*/ 6 h 50"/>
                  <a:gd name="T42" fmla="*/ 52 w 106"/>
                  <a:gd name="T43" fmla="*/ 0 h 50"/>
                  <a:gd name="T44" fmla="*/ 62 w 10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50">
                    <a:moveTo>
                      <a:pt x="62" y="0"/>
                    </a:moveTo>
                    <a:lnTo>
                      <a:pt x="74" y="4"/>
                    </a:lnTo>
                    <a:lnTo>
                      <a:pt x="82" y="4"/>
                    </a:lnTo>
                    <a:lnTo>
                      <a:pt x="94" y="6"/>
                    </a:lnTo>
                    <a:lnTo>
                      <a:pt x="96" y="10"/>
                    </a:lnTo>
                    <a:lnTo>
                      <a:pt x="100" y="18"/>
                    </a:lnTo>
                    <a:lnTo>
                      <a:pt x="104" y="34"/>
                    </a:lnTo>
                    <a:lnTo>
                      <a:pt x="106" y="38"/>
                    </a:lnTo>
                    <a:lnTo>
                      <a:pt x="96" y="46"/>
                    </a:lnTo>
                    <a:lnTo>
                      <a:pt x="84" y="50"/>
                    </a:lnTo>
                    <a:lnTo>
                      <a:pt x="58" y="34"/>
                    </a:lnTo>
                    <a:lnTo>
                      <a:pt x="10" y="34"/>
                    </a:lnTo>
                    <a:lnTo>
                      <a:pt x="0" y="36"/>
                    </a:lnTo>
                    <a:lnTo>
                      <a:pt x="0" y="28"/>
                    </a:lnTo>
                    <a:lnTo>
                      <a:pt x="8" y="18"/>
                    </a:lnTo>
                    <a:lnTo>
                      <a:pt x="14" y="8"/>
                    </a:lnTo>
                    <a:lnTo>
                      <a:pt x="24" y="10"/>
                    </a:lnTo>
                    <a:lnTo>
                      <a:pt x="34" y="16"/>
                    </a:lnTo>
                    <a:lnTo>
                      <a:pt x="42" y="22"/>
                    </a:lnTo>
                    <a:lnTo>
                      <a:pt x="50" y="16"/>
                    </a:lnTo>
                    <a:lnTo>
                      <a:pt x="52" y="6"/>
                    </a:lnTo>
                    <a:lnTo>
                      <a:pt x="5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6" name="Freeform 587"/>
              <p:cNvSpPr>
                <a:spLocks/>
              </p:cNvSpPr>
              <p:nvPr/>
            </p:nvSpPr>
            <p:spPr bwMode="auto">
              <a:xfrm>
                <a:off x="3185" y="1587"/>
                <a:ext cx="114" cy="58"/>
              </a:xfrm>
              <a:custGeom>
                <a:avLst/>
                <a:gdLst>
                  <a:gd name="T0" fmla="*/ 66 w 114"/>
                  <a:gd name="T1" fmla="*/ 0 h 58"/>
                  <a:gd name="T2" fmla="*/ 56 w 114"/>
                  <a:gd name="T3" fmla="*/ 0 h 58"/>
                  <a:gd name="T4" fmla="*/ 56 w 114"/>
                  <a:gd name="T5" fmla="*/ 0 h 58"/>
                  <a:gd name="T6" fmla="*/ 54 w 114"/>
                  <a:gd name="T7" fmla="*/ 0 h 58"/>
                  <a:gd name="T8" fmla="*/ 52 w 114"/>
                  <a:gd name="T9" fmla="*/ 4 h 58"/>
                  <a:gd name="T10" fmla="*/ 52 w 114"/>
                  <a:gd name="T11" fmla="*/ 10 h 58"/>
                  <a:gd name="T12" fmla="*/ 50 w 114"/>
                  <a:gd name="T13" fmla="*/ 18 h 58"/>
                  <a:gd name="T14" fmla="*/ 46 w 114"/>
                  <a:gd name="T15" fmla="*/ 20 h 58"/>
                  <a:gd name="T16" fmla="*/ 40 w 114"/>
                  <a:gd name="T17" fmla="*/ 16 h 58"/>
                  <a:gd name="T18" fmla="*/ 30 w 114"/>
                  <a:gd name="T19" fmla="*/ 12 h 58"/>
                  <a:gd name="T20" fmla="*/ 30 w 114"/>
                  <a:gd name="T21" fmla="*/ 12 h 58"/>
                  <a:gd name="T22" fmla="*/ 30 w 114"/>
                  <a:gd name="T23" fmla="*/ 10 h 58"/>
                  <a:gd name="T24" fmla="*/ 18 w 114"/>
                  <a:gd name="T25" fmla="*/ 8 h 58"/>
                  <a:gd name="T26" fmla="*/ 18 w 114"/>
                  <a:gd name="T27" fmla="*/ 8 h 58"/>
                  <a:gd name="T28" fmla="*/ 18 w 114"/>
                  <a:gd name="T29" fmla="*/ 8 h 58"/>
                  <a:gd name="T30" fmla="*/ 18 w 114"/>
                  <a:gd name="T31" fmla="*/ 8 h 58"/>
                  <a:gd name="T32" fmla="*/ 14 w 114"/>
                  <a:gd name="T33" fmla="*/ 10 h 58"/>
                  <a:gd name="T34" fmla="*/ 8 w 114"/>
                  <a:gd name="T35" fmla="*/ 20 h 58"/>
                  <a:gd name="T36" fmla="*/ 2 w 114"/>
                  <a:gd name="T37" fmla="*/ 28 h 58"/>
                  <a:gd name="T38" fmla="*/ 2 w 114"/>
                  <a:gd name="T39" fmla="*/ 28 h 58"/>
                  <a:gd name="T40" fmla="*/ 0 w 114"/>
                  <a:gd name="T41" fmla="*/ 32 h 58"/>
                  <a:gd name="T42" fmla="*/ 0 w 114"/>
                  <a:gd name="T43" fmla="*/ 40 h 58"/>
                  <a:gd name="T44" fmla="*/ 0 w 114"/>
                  <a:gd name="T45" fmla="*/ 40 h 58"/>
                  <a:gd name="T46" fmla="*/ 2 w 114"/>
                  <a:gd name="T47" fmla="*/ 44 h 58"/>
                  <a:gd name="T48" fmla="*/ 2 w 114"/>
                  <a:gd name="T49" fmla="*/ 44 h 58"/>
                  <a:gd name="T50" fmla="*/ 4 w 114"/>
                  <a:gd name="T51" fmla="*/ 44 h 58"/>
                  <a:gd name="T52" fmla="*/ 4 w 114"/>
                  <a:gd name="T53" fmla="*/ 44 h 58"/>
                  <a:gd name="T54" fmla="*/ 6 w 114"/>
                  <a:gd name="T55" fmla="*/ 44 h 58"/>
                  <a:gd name="T56" fmla="*/ 14 w 114"/>
                  <a:gd name="T57" fmla="*/ 42 h 58"/>
                  <a:gd name="T58" fmla="*/ 60 w 114"/>
                  <a:gd name="T59" fmla="*/ 42 h 58"/>
                  <a:gd name="T60" fmla="*/ 84 w 114"/>
                  <a:gd name="T61" fmla="*/ 58 h 58"/>
                  <a:gd name="T62" fmla="*/ 84 w 114"/>
                  <a:gd name="T63" fmla="*/ 58 h 58"/>
                  <a:gd name="T64" fmla="*/ 88 w 114"/>
                  <a:gd name="T65" fmla="*/ 58 h 58"/>
                  <a:gd name="T66" fmla="*/ 88 w 114"/>
                  <a:gd name="T67" fmla="*/ 58 h 58"/>
                  <a:gd name="T68" fmla="*/ 88 w 114"/>
                  <a:gd name="T69" fmla="*/ 58 h 58"/>
                  <a:gd name="T70" fmla="*/ 102 w 114"/>
                  <a:gd name="T71" fmla="*/ 54 h 58"/>
                  <a:gd name="T72" fmla="*/ 102 w 114"/>
                  <a:gd name="T73" fmla="*/ 54 h 58"/>
                  <a:gd name="T74" fmla="*/ 102 w 114"/>
                  <a:gd name="T75" fmla="*/ 54 h 58"/>
                  <a:gd name="T76" fmla="*/ 114 w 114"/>
                  <a:gd name="T77" fmla="*/ 46 h 58"/>
                  <a:gd name="T78" fmla="*/ 114 w 114"/>
                  <a:gd name="T79" fmla="*/ 46 h 58"/>
                  <a:gd name="T80" fmla="*/ 114 w 114"/>
                  <a:gd name="T81" fmla="*/ 44 h 58"/>
                  <a:gd name="T82" fmla="*/ 114 w 114"/>
                  <a:gd name="T83" fmla="*/ 40 h 58"/>
                  <a:gd name="T84" fmla="*/ 112 w 114"/>
                  <a:gd name="T85" fmla="*/ 36 h 58"/>
                  <a:gd name="T86" fmla="*/ 108 w 114"/>
                  <a:gd name="T87" fmla="*/ 22 h 58"/>
                  <a:gd name="T88" fmla="*/ 108 w 114"/>
                  <a:gd name="T89" fmla="*/ 22 h 58"/>
                  <a:gd name="T90" fmla="*/ 108 w 114"/>
                  <a:gd name="T91" fmla="*/ 20 h 58"/>
                  <a:gd name="T92" fmla="*/ 104 w 114"/>
                  <a:gd name="T93" fmla="*/ 12 h 58"/>
                  <a:gd name="T94" fmla="*/ 102 w 114"/>
                  <a:gd name="T95" fmla="*/ 10 h 58"/>
                  <a:gd name="T96" fmla="*/ 102 w 114"/>
                  <a:gd name="T97" fmla="*/ 10 h 58"/>
                  <a:gd name="T98" fmla="*/ 98 w 114"/>
                  <a:gd name="T99" fmla="*/ 6 h 58"/>
                  <a:gd name="T100" fmla="*/ 86 w 114"/>
                  <a:gd name="T101" fmla="*/ 6 h 58"/>
                  <a:gd name="T102" fmla="*/ 78 w 114"/>
                  <a:gd name="T103" fmla="*/ 4 h 58"/>
                  <a:gd name="T104" fmla="*/ 68 w 114"/>
                  <a:gd name="T105" fmla="*/ 0 h 58"/>
                  <a:gd name="T106" fmla="*/ 68 w 114"/>
                  <a:gd name="T107" fmla="*/ 0 h 58"/>
                  <a:gd name="T108" fmla="*/ 66 w 114"/>
                  <a:gd name="T109" fmla="*/ 0 h 58"/>
                  <a:gd name="T110" fmla="*/ 66 w 114"/>
                  <a:gd name="T11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58">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7" name="Freeform 588"/>
              <p:cNvSpPr>
                <a:spLocks/>
              </p:cNvSpPr>
              <p:nvPr/>
            </p:nvSpPr>
            <p:spPr bwMode="auto">
              <a:xfrm>
                <a:off x="3187" y="1623"/>
                <a:ext cx="88" cy="54"/>
              </a:xfrm>
              <a:custGeom>
                <a:avLst/>
                <a:gdLst>
                  <a:gd name="T0" fmla="*/ 38 w 88"/>
                  <a:gd name="T1" fmla="*/ 54 h 54"/>
                  <a:gd name="T2" fmla="*/ 38 w 88"/>
                  <a:gd name="T3" fmla="*/ 54 h 54"/>
                  <a:gd name="T4" fmla="*/ 36 w 88"/>
                  <a:gd name="T5" fmla="*/ 52 h 54"/>
                  <a:gd name="T6" fmla="*/ 28 w 88"/>
                  <a:gd name="T7" fmla="*/ 44 h 54"/>
                  <a:gd name="T8" fmla="*/ 28 w 88"/>
                  <a:gd name="T9" fmla="*/ 44 h 54"/>
                  <a:gd name="T10" fmla="*/ 26 w 88"/>
                  <a:gd name="T11" fmla="*/ 42 h 54"/>
                  <a:gd name="T12" fmla="*/ 28 w 88"/>
                  <a:gd name="T13" fmla="*/ 34 h 54"/>
                  <a:gd name="T14" fmla="*/ 20 w 88"/>
                  <a:gd name="T15" fmla="*/ 30 h 54"/>
                  <a:gd name="T16" fmla="*/ 6 w 88"/>
                  <a:gd name="T17" fmla="*/ 28 h 54"/>
                  <a:gd name="T18" fmla="*/ 6 w 88"/>
                  <a:gd name="T19" fmla="*/ 28 h 54"/>
                  <a:gd name="T20" fmla="*/ 4 w 88"/>
                  <a:gd name="T21" fmla="*/ 26 h 54"/>
                  <a:gd name="T22" fmla="*/ 0 w 88"/>
                  <a:gd name="T23" fmla="*/ 6 h 54"/>
                  <a:gd name="T24" fmla="*/ 0 w 88"/>
                  <a:gd name="T25" fmla="*/ 6 h 54"/>
                  <a:gd name="T26" fmla="*/ 2 w 88"/>
                  <a:gd name="T27" fmla="*/ 2 h 54"/>
                  <a:gd name="T28" fmla="*/ 12 w 88"/>
                  <a:gd name="T29" fmla="*/ 0 h 54"/>
                  <a:gd name="T30" fmla="*/ 12 w 88"/>
                  <a:gd name="T31" fmla="*/ 0 h 54"/>
                  <a:gd name="T32" fmla="*/ 60 w 88"/>
                  <a:gd name="T33" fmla="*/ 0 h 54"/>
                  <a:gd name="T34" fmla="*/ 60 w 88"/>
                  <a:gd name="T35" fmla="*/ 0 h 54"/>
                  <a:gd name="T36" fmla="*/ 62 w 88"/>
                  <a:gd name="T37" fmla="*/ 0 h 54"/>
                  <a:gd name="T38" fmla="*/ 88 w 88"/>
                  <a:gd name="T39" fmla="*/ 16 h 54"/>
                  <a:gd name="T40" fmla="*/ 88 w 88"/>
                  <a:gd name="T41" fmla="*/ 16 h 54"/>
                  <a:gd name="T42" fmla="*/ 88 w 88"/>
                  <a:gd name="T43" fmla="*/ 18 h 54"/>
                  <a:gd name="T44" fmla="*/ 88 w 88"/>
                  <a:gd name="T45" fmla="*/ 30 h 54"/>
                  <a:gd name="T46" fmla="*/ 88 w 88"/>
                  <a:gd name="T47" fmla="*/ 30 h 54"/>
                  <a:gd name="T48" fmla="*/ 88 w 88"/>
                  <a:gd name="T49" fmla="*/ 30 h 54"/>
                  <a:gd name="T50" fmla="*/ 76 w 88"/>
                  <a:gd name="T51" fmla="*/ 34 h 54"/>
                  <a:gd name="T52" fmla="*/ 74 w 88"/>
                  <a:gd name="T53" fmla="*/ 48 h 54"/>
                  <a:gd name="T54" fmla="*/ 74 w 88"/>
                  <a:gd name="T55" fmla="*/ 48 h 54"/>
                  <a:gd name="T56" fmla="*/ 72 w 88"/>
                  <a:gd name="T57" fmla="*/ 50 h 54"/>
                  <a:gd name="T58" fmla="*/ 56 w 88"/>
                  <a:gd name="T59" fmla="*/ 52 h 54"/>
                  <a:gd name="T60" fmla="*/ 56 w 88"/>
                  <a:gd name="T61" fmla="*/ 52 h 54"/>
                  <a:gd name="T62" fmla="*/ 38 w 88"/>
                  <a:gd name="T63" fmla="*/ 54 h 54"/>
                  <a:gd name="T64" fmla="*/ 38 w 88"/>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54">
                    <a:moveTo>
                      <a:pt x="38" y="54"/>
                    </a:moveTo>
                    <a:lnTo>
                      <a:pt x="38" y="54"/>
                    </a:lnTo>
                    <a:lnTo>
                      <a:pt x="36" y="52"/>
                    </a:lnTo>
                    <a:lnTo>
                      <a:pt x="28" y="44"/>
                    </a:lnTo>
                    <a:lnTo>
                      <a:pt x="28" y="44"/>
                    </a:lnTo>
                    <a:lnTo>
                      <a:pt x="26" y="42"/>
                    </a:lnTo>
                    <a:lnTo>
                      <a:pt x="28" y="34"/>
                    </a:lnTo>
                    <a:lnTo>
                      <a:pt x="20" y="30"/>
                    </a:lnTo>
                    <a:lnTo>
                      <a:pt x="6" y="28"/>
                    </a:lnTo>
                    <a:lnTo>
                      <a:pt x="6" y="28"/>
                    </a:lnTo>
                    <a:lnTo>
                      <a:pt x="4" y="26"/>
                    </a:lnTo>
                    <a:lnTo>
                      <a:pt x="0" y="6"/>
                    </a:lnTo>
                    <a:lnTo>
                      <a:pt x="0" y="6"/>
                    </a:lnTo>
                    <a:lnTo>
                      <a:pt x="2" y="2"/>
                    </a:lnTo>
                    <a:lnTo>
                      <a:pt x="12" y="0"/>
                    </a:lnTo>
                    <a:lnTo>
                      <a:pt x="12" y="0"/>
                    </a:lnTo>
                    <a:lnTo>
                      <a:pt x="60" y="0"/>
                    </a:lnTo>
                    <a:lnTo>
                      <a:pt x="60" y="0"/>
                    </a:lnTo>
                    <a:lnTo>
                      <a:pt x="62" y="0"/>
                    </a:lnTo>
                    <a:lnTo>
                      <a:pt x="88" y="16"/>
                    </a:lnTo>
                    <a:lnTo>
                      <a:pt x="88" y="16"/>
                    </a:lnTo>
                    <a:lnTo>
                      <a:pt x="88" y="18"/>
                    </a:lnTo>
                    <a:lnTo>
                      <a:pt x="88" y="30"/>
                    </a:lnTo>
                    <a:lnTo>
                      <a:pt x="88" y="30"/>
                    </a:lnTo>
                    <a:lnTo>
                      <a:pt x="88" y="30"/>
                    </a:lnTo>
                    <a:lnTo>
                      <a:pt x="76" y="34"/>
                    </a:lnTo>
                    <a:lnTo>
                      <a:pt x="74" y="48"/>
                    </a:lnTo>
                    <a:lnTo>
                      <a:pt x="74" y="48"/>
                    </a:lnTo>
                    <a:lnTo>
                      <a:pt x="72" y="50"/>
                    </a:lnTo>
                    <a:lnTo>
                      <a:pt x="56" y="52"/>
                    </a:lnTo>
                    <a:lnTo>
                      <a:pt x="56" y="52"/>
                    </a:lnTo>
                    <a:lnTo>
                      <a:pt x="38" y="54"/>
                    </a:lnTo>
                    <a:lnTo>
                      <a:pt x="38"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8" name="Freeform 589"/>
              <p:cNvSpPr>
                <a:spLocks noEditPoints="1"/>
              </p:cNvSpPr>
              <p:nvPr/>
            </p:nvSpPr>
            <p:spPr bwMode="auto">
              <a:xfrm>
                <a:off x="3185" y="1621"/>
                <a:ext cx="92" cy="58"/>
              </a:xfrm>
              <a:custGeom>
                <a:avLst/>
                <a:gdLst>
                  <a:gd name="T0" fmla="*/ 62 w 92"/>
                  <a:gd name="T1" fmla="*/ 4 h 58"/>
                  <a:gd name="T2" fmla="*/ 88 w 92"/>
                  <a:gd name="T3" fmla="*/ 20 h 58"/>
                  <a:gd name="T4" fmla="*/ 88 w 92"/>
                  <a:gd name="T5" fmla="*/ 32 h 58"/>
                  <a:gd name="T6" fmla="*/ 76 w 92"/>
                  <a:gd name="T7" fmla="*/ 34 h 58"/>
                  <a:gd name="T8" fmla="*/ 74 w 92"/>
                  <a:gd name="T9" fmla="*/ 50 h 58"/>
                  <a:gd name="T10" fmla="*/ 58 w 92"/>
                  <a:gd name="T11" fmla="*/ 52 h 58"/>
                  <a:gd name="T12" fmla="*/ 40 w 92"/>
                  <a:gd name="T13" fmla="*/ 54 h 58"/>
                  <a:gd name="T14" fmla="*/ 30 w 92"/>
                  <a:gd name="T15" fmla="*/ 44 h 58"/>
                  <a:gd name="T16" fmla="*/ 32 w 92"/>
                  <a:gd name="T17" fmla="*/ 34 h 58"/>
                  <a:gd name="T18" fmla="*/ 24 w 92"/>
                  <a:gd name="T19" fmla="*/ 32 h 58"/>
                  <a:gd name="T20" fmla="*/ 8 w 92"/>
                  <a:gd name="T21" fmla="*/ 28 h 58"/>
                  <a:gd name="T22" fmla="*/ 4 w 92"/>
                  <a:gd name="T23" fmla="*/ 6 h 58"/>
                  <a:gd name="T24" fmla="*/ 14 w 92"/>
                  <a:gd name="T25" fmla="*/ 4 h 58"/>
                  <a:gd name="T26" fmla="*/ 62 w 92"/>
                  <a:gd name="T27" fmla="*/ 4 h 58"/>
                  <a:gd name="T28" fmla="*/ 62 w 92"/>
                  <a:gd name="T29" fmla="*/ 0 h 58"/>
                  <a:gd name="T30" fmla="*/ 62 w 92"/>
                  <a:gd name="T31" fmla="*/ 0 h 58"/>
                  <a:gd name="T32" fmla="*/ 62 w 92"/>
                  <a:gd name="T33" fmla="*/ 0 h 58"/>
                  <a:gd name="T34" fmla="*/ 14 w 92"/>
                  <a:gd name="T35" fmla="*/ 0 h 58"/>
                  <a:gd name="T36" fmla="*/ 14 w 92"/>
                  <a:gd name="T37" fmla="*/ 0 h 58"/>
                  <a:gd name="T38" fmla="*/ 14 w 92"/>
                  <a:gd name="T39" fmla="*/ 0 h 58"/>
                  <a:gd name="T40" fmla="*/ 4 w 92"/>
                  <a:gd name="T41" fmla="*/ 2 h 58"/>
                  <a:gd name="T42" fmla="*/ 4 w 92"/>
                  <a:gd name="T43" fmla="*/ 2 h 58"/>
                  <a:gd name="T44" fmla="*/ 2 w 92"/>
                  <a:gd name="T45" fmla="*/ 4 h 58"/>
                  <a:gd name="T46" fmla="*/ 0 w 92"/>
                  <a:gd name="T47" fmla="*/ 8 h 58"/>
                  <a:gd name="T48" fmla="*/ 4 w 92"/>
                  <a:gd name="T49" fmla="*/ 28 h 58"/>
                  <a:gd name="T50" fmla="*/ 4 w 92"/>
                  <a:gd name="T51" fmla="*/ 28 h 58"/>
                  <a:gd name="T52" fmla="*/ 6 w 92"/>
                  <a:gd name="T53" fmla="*/ 30 h 58"/>
                  <a:gd name="T54" fmla="*/ 8 w 92"/>
                  <a:gd name="T55" fmla="*/ 32 h 58"/>
                  <a:gd name="T56" fmla="*/ 22 w 92"/>
                  <a:gd name="T57" fmla="*/ 34 h 58"/>
                  <a:gd name="T58" fmla="*/ 28 w 92"/>
                  <a:gd name="T59" fmla="*/ 38 h 58"/>
                  <a:gd name="T60" fmla="*/ 26 w 92"/>
                  <a:gd name="T61" fmla="*/ 44 h 58"/>
                  <a:gd name="T62" fmla="*/ 26 w 92"/>
                  <a:gd name="T63" fmla="*/ 44 h 58"/>
                  <a:gd name="T64" fmla="*/ 28 w 92"/>
                  <a:gd name="T65" fmla="*/ 46 h 58"/>
                  <a:gd name="T66" fmla="*/ 38 w 92"/>
                  <a:gd name="T67" fmla="*/ 56 h 58"/>
                  <a:gd name="T68" fmla="*/ 38 w 92"/>
                  <a:gd name="T69" fmla="*/ 56 h 58"/>
                  <a:gd name="T70" fmla="*/ 40 w 92"/>
                  <a:gd name="T71" fmla="*/ 58 h 58"/>
                  <a:gd name="T72" fmla="*/ 40 w 92"/>
                  <a:gd name="T73" fmla="*/ 58 h 58"/>
                  <a:gd name="T74" fmla="*/ 40 w 92"/>
                  <a:gd name="T75" fmla="*/ 58 h 58"/>
                  <a:gd name="T76" fmla="*/ 60 w 92"/>
                  <a:gd name="T77" fmla="*/ 56 h 58"/>
                  <a:gd name="T78" fmla="*/ 74 w 92"/>
                  <a:gd name="T79" fmla="*/ 54 h 58"/>
                  <a:gd name="T80" fmla="*/ 74 w 92"/>
                  <a:gd name="T81" fmla="*/ 54 h 58"/>
                  <a:gd name="T82" fmla="*/ 76 w 92"/>
                  <a:gd name="T83" fmla="*/ 52 h 58"/>
                  <a:gd name="T84" fmla="*/ 78 w 92"/>
                  <a:gd name="T85" fmla="*/ 50 h 58"/>
                  <a:gd name="T86" fmla="*/ 80 w 92"/>
                  <a:gd name="T87" fmla="*/ 38 h 58"/>
                  <a:gd name="T88" fmla="*/ 90 w 92"/>
                  <a:gd name="T89" fmla="*/ 34 h 58"/>
                  <a:gd name="T90" fmla="*/ 90 w 92"/>
                  <a:gd name="T91" fmla="*/ 34 h 58"/>
                  <a:gd name="T92" fmla="*/ 92 w 92"/>
                  <a:gd name="T93" fmla="*/ 34 h 58"/>
                  <a:gd name="T94" fmla="*/ 92 w 92"/>
                  <a:gd name="T95" fmla="*/ 32 h 58"/>
                  <a:gd name="T96" fmla="*/ 92 w 92"/>
                  <a:gd name="T97" fmla="*/ 20 h 58"/>
                  <a:gd name="T98" fmla="*/ 92 w 92"/>
                  <a:gd name="T99" fmla="*/ 20 h 58"/>
                  <a:gd name="T100" fmla="*/ 90 w 92"/>
                  <a:gd name="T101" fmla="*/ 16 h 58"/>
                  <a:gd name="T102" fmla="*/ 64 w 92"/>
                  <a:gd name="T103" fmla="*/ 0 h 58"/>
                  <a:gd name="T104" fmla="*/ 64 w 92"/>
                  <a:gd name="T105" fmla="*/ 0 h 58"/>
                  <a:gd name="T106" fmla="*/ 62 w 92"/>
                  <a:gd name="T107" fmla="*/ 0 h 58"/>
                  <a:gd name="T108" fmla="*/ 62 w 92"/>
                  <a:gd name="T10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58">
                    <a:moveTo>
                      <a:pt x="62" y="4"/>
                    </a:moveTo>
                    <a:lnTo>
                      <a:pt x="88" y="20"/>
                    </a:lnTo>
                    <a:lnTo>
                      <a:pt x="88" y="32"/>
                    </a:lnTo>
                    <a:lnTo>
                      <a:pt x="76" y="34"/>
                    </a:lnTo>
                    <a:lnTo>
                      <a:pt x="74" y="50"/>
                    </a:lnTo>
                    <a:lnTo>
                      <a:pt x="58" y="52"/>
                    </a:lnTo>
                    <a:lnTo>
                      <a:pt x="40" y="54"/>
                    </a:lnTo>
                    <a:lnTo>
                      <a:pt x="30" y="44"/>
                    </a:lnTo>
                    <a:lnTo>
                      <a:pt x="32" y="34"/>
                    </a:lnTo>
                    <a:lnTo>
                      <a:pt x="24" y="32"/>
                    </a:lnTo>
                    <a:lnTo>
                      <a:pt x="8" y="28"/>
                    </a:lnTo>
                    <a:lnTo>
                      <a:pt x="4" y="6"/>
                    </a:lnTo>
                    <a:lnTo>
                      <a:pt x="14" y="4"/>
                    </a:lnTo>
                    <a:lnTo>
                      <a:pt x="62" y="4"/>
                    </a:lnTo>
                    <a:close/>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9" name="Freeform 590"/>
              <p:cNvSpPr>
                <a:spLocks/>
              </p:cNvSpPr>
              <p:nvPr/>
            </p:nvSpPr>
            <p:spPr bwMode="auto">
              <a:xfrm>
                <a:off x="3189" y="1625"/>
                <a:ext cx="84" cy="50"/>
              </a:xfrm>
              <a:custGeom>
                <a:avLst/>
                <a:gdLst>
                  <a:gd name="T0" fmla="*/ 58 w 84"/>
                  <a:gd name="T1" fmla="*/ 0 h 50"/>
                  <a:gd name="T2" fmla="*/ 84 w 84"/>
                  <a:gd name="T3" fmla="*/ 16 h 50"/>
                  <a:gd name="T4" fmla="*/ 84 w 84"/>
                  <a:gd name="T5" fmla="*/ 28 h 50"/>
                  <a:gd name="T6" fmla="*/ 72 w 84"/>
                  <a:gd name="T7" fmla="*/ 30 h 50"/>
                  <a:gd name="T8" fmla="*/ 70 w 84"/>
                  <a:gd name="T9" fmla="*/ 46 h 50"/>
                  <a:gd name="T10" fmla="*/ 54 w 84"/>
                  <a:gd name="T11" fmla="*/ 48 h 50"/>
                  <a:gd name="T12" fmla="*/ 36 w 84"/>
                  <a:gd name="T13" fmla="*/ 50 h 50"/>
                  <a:gd name="T14" fmla="*/ 26 w 84"/>
                  <a:gd name="T15" fmla="*/ 40 h 50"/>
                  <a:gd name="T16" fmla="*/ 28 w 84"/>
                  <a:gd name="T17" fmla="*/ 30 h 50"/>
                  <a:gd name="T18" fmla="*/ 20 w 84"/>
                  <a:gd name="T19" fmla="*/ 28 h 50"/>
                  <a:gd name="T20" fmla="*/ 4 w 84"/>
                  <a:gd name="T21" fmla="*/ 24 h 50"/>
                  <a:gd name="T22" fmla="*/ 0 w 84"/>
                  <a:gd name="T23" fmla="*/ 2 h 50"/>
                  <a:gd name="T24" fmla="*/ 10 w 84"/>
                  <a:gd name="T25" fmla="*/ 0 h 50"/>
                  <a:gd name="T26" fmla="*/ 58 w 84"/>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0">
                    <a:moveTo>
                      <a:pt x="58" y="0"/>
                    </a:moveTo>
                    <a:lnTo>
                      <a:pt x="84" y="16"/>
                    </a:lnTo>
                    <a:lnTo>
                      <a:pt x="84" y="28"/>
                    </a:lnTo>
                    <a:lnTo>
                      <a:pt x="72" y="30"/>
                    </a:lnTo>
                    <a:lnTo>
                      <a:pt x="70" y="46"/>
                    </a:lnTo>
                    <a:lnTo>
                      <a:pt x="54" y="48"/>
                    </a:lnTo>
                    <a:lnTo>
                      <a:pt x="36" y="50"/>
                    </a:lnTo>
                    <a:lnTo>
                      <a:pt x="26" y="40"/>
                    </a:lnTo>
                    <a:lnTo>
                      <a:pt x="28" y="30"/>
                    </a:lnTo>
                    <a:lnTo>
                      <a:pt x="20" y="28"/>
                    </a:lnTo>
                    <a:lnTo>
                      <a:pt x="4" y="24"/>
                    </a:lnTo>
                    <a:lnTo>
                      <a:pt x="0" y="2"/>
                    </a:lnTo>
                    <a:lnTo>
                      <a:pt x="10"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0" name="Freeform 591"/>
              <p:cNvSpPr>
                <a:spLocks/>
              </p:cNvSpPr>
              <p:nvPr/>
            </p:nvSpPr>
            <p:spPr bwMode="auto">
              <a:xfrm>
                <a:off x="3185" y="1621"/>
                <a:ext cx="92" cy="58"/>
              </a:xfrm>
              <a:custGeom>
                <a:avLst/>
                <a:gdLst>
                  <a:gd name="T0" fmla="*/ 62 w 92"/>
                  <a:gd name="T1" fmla="*/ 0 h 58"/>
                  <a:gd name="T2" fmla="*/ 62 w 92"/>
                  <a:gd name="T3" fmla="*/ 0 h 58"/>
                  <a:gd name="T4" fmla="*/ 62 w 92"/>
                  <a:gd name="T5" fmla="*/ 0 h 58"/>
                  <a:gd name="T6" fmla="*/ 14 w 92"/>
                  <a:gd name="T7" fmla="*/ 0 h 58"/>
                  <a:gd name="T8" fmla="*/ 14 w 92"/>
                  <a:gd name="T9" fmla="*/ 0 h 58"/>
                  <a:gd name="T10" fmla="*/ 14 w 92"/>
                  <a:gd name="T11" fmla="*/ 0 h 58"/>
                  <a:gd name="T12" fmla="*/ 4 w 92"/>
                  <a:gd name="T13" fmla="*/ 2 h 58"/>
                  <a:gd name="T14" fmla="*/ 4 w 92"/>
                  <a:gd name="T15" fmla="*/ 2 h 58"/>
                  <a:gd name="T16" fmla="*/ 2 w 92"/>
                  <a:gd name="T17" fmla="*/ 4 h 58"/>
                  <a:gd name="T18" fmla="*/ 0 w 92"/>
                  <a:gd name="T19" fmla="*/ 8 h 58"/>
                  <a:gd name="T20" fmla="*/ 4 w 92"/>
                  <a:gd name="T21" fmla="*/ 28 h 58"/>
                  <a:gd name="T22" fmla="*/ 4 w 92"/>
                  <a:gd name="T23" fmla="*/ 28 h 58"/>
                  <a:gd name="T24" fmla="*/ 6 w 92"/>
                  <a:gd name="T25" fmla="*/ 30 h 58"/>
                  <a:gd name="T26" fmla="*/ 8 w 92"/>
                  <a:gd name="T27" fmla="*/ 32 h 58"/>
                  <a:gd name="T28" fmla="*/ 22 w 92"/>
                  <a:gd name="T29" fmla="*/ 34 h 58"/>
                  <a:gd name="T30" fmla="*/ 28 w 92"/>
                  <a:gd name="T31" fmla="*/ 38 h 58"/>
                  <a:gd name="T32" fmla="*/ 26 w 92"/>
                  <a:gd name="T33" fmla="*/ 44 h 58"/>
                  <a:gd name="T34" fmla="*/ 26 w 92"/>
                  <a:gd name="T35" fmla="*/ 44 h 58"/>
                  <a:gd name="T36" fmla="*/ 28 w 92"/>
                  <a:gd name="T37" fmla="*/ 46 h 58"/>
                  <a:gd name="T38" fmla="*/ 38 w 92"/>
                  <a:gd name="T39" fmla="*/ 56 h 58"/>
                  <a:gd name="T40" fmla="*/ 38 w 92"/>
                  <a:gd name="T41" fmla="*/ 56 h 58"/>
                  <a:gd name="T42" fmla="*/ 40 w 92"/>
                  <a:gd name="T43" fmla="*/ 58 h 58"/>
                  <a:gd name="T44" fmla="*/ 40 w 92"/>
                  <a:gd name="T45" fmla="*/ 58 h 58"/>
                  <a:gd name="T46" fmla="*/ 40 w 92"/>
                  <a:gd name="T47" fmla="*/ 58 h 58"/>
                  <a:gd name="T48" fmla="*/ 60 w 92"/>
                  <a:gd name="T49" fmla="*/ 56 h 58"/>
                  <a:gd name="T50" fmla="*/ 74 w 92"/>
                  <a:gd name="T51" fmla="*/ 54 h 58"/>
                  <a:gd name="T52" fmla="*/ 74 w 92"/>
                  <a:gd name="T53" fmla="*/ 54 h 58"/>
                  <a:gd name="T54" fmla="*/ 76 w 92"/>
                  <a:gd name="T55" fmla="*/ 52 h 58"/>
                  <a:gd name="T56" fmla="*/ 78 w 92"/>
                  <a:gd name="T57" fmla="*/ 50 h 58"/>
                  <a:gd name="T58" fmla="*/ 80 w 92"/>
                  <a:gd name="T59" fmla="*/ 38 h 58"/>
                  <a:gd name="T60" fmla="*/ 90 w 92"/>
                  <a:gd name="T61" fmla="*/ 34 h 58"/>
                  <a:gd name="T62" fmla="*/ 90 w 92"/>
                  <a:gd name="T63" fmla="*/ 34 h 58"/>
                  <a:gd name="T64" fmla="*/ 92 w 92"/>
                  <a:gd name="T65" fmla="*/ 34 h 58"/>
                  <a:gd name="T66" fmla="*/ 92 w 92"/>
                  <a:gd name="T67" fmla="*/ 32 h 58"/>
                  <a:gd name="T68" fmla="*/ 92 w 92"/>
                  <a:gd name="T69" fmla="*/ 20 h 58"/>
                  <a:gd name="T70" fmla="*/ 92 w 92"/>
                  <a:gd name="T71" fmla="*/ 20 h 58"/>
                  <a:gd name="T72" fmla="*/ 90 w 92"/>
                  <a:gd name="T73" fmla="*/ 16 h 58"/>
                  <a:gd name="T74" fmla="*/ 64 w 92"/>
                  <a:gd name="T75" fmla="*/ 0 h 58"/>
                  <a:gd name="T76" fmla="*/ 64 w 92"/>
                  <a:gd name="T77" fmla="*/ 0 h 58"/>
                  <a:gd name="T78" fmla="*/ 62 w 92"/>
                  <a:gd name="T79" fmla="*/ 0 h 58"/>
                  <a:gd name="T80" fmla="*/ 62 w 9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58">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1" name="Freeform 592"/>
              <p:cNvSpPr>
                <a:spLocks/>
              </p:cNvSpPr>
              <p:nvPr/>
            </p:nvSpPr>
            <p:spPr bwMode="auto">
              <a:xfrm>
                <a:off x="3221" y="1627"/>
                <a:ext cx="138" cy="100"/>
              </a:xfrm>
              <a:custGeom>
                <a:avLst/>
                <a:gdLst>
                  <a:gd name="T0" fmla="*/ 86 w 138"/>
                  <a:gd name="T1" fmla="*/ 98 h 100"/>
                  <a:gd name="T2" fmla="*/ 84 w 138"/>
                  <a:gd name="T3" fmla="*/ 92 h 100"/>
                  <a:gd name="T4" fmla="*/ 42 w 138"/>
                  <a:gd name="T5" fmla="*/ 90 h 100"/>
                  <a:gd name="T6" fmla="*/ 10 w 138"/>
                  <a:gd name="T7" fmla="*/ 96 h 100"/>
                  <a:gd name="T8" fmla="*/ 8 w 138"/>
                  <a:gd name="T9" fmla="*/ 96 h 100"/>
                  <a:gd name="T10" fmla="*/ 6 w 138"/>
                  <a:gd name="T11" fmla="*/ 96 h 100"/>
                  <a:gd name="T12" fmla="*/ 6 w 138"/>
                  <a:gd name="T13" fmla="*/ 94 h 100"/>
                  <a:gd name="T14" fmla="*/ 2 w 138"/>
                  <a:gd name="T15" fmla="*/ 80 h 100"/>
                  <a:gd name="T16" fmla="*/ 0 w 138"/>
                  <a:gd name="T17" fmla="*/ 78 h 100"/>
                  <a:gd name="T18" fmla="*/ 2 w 138"/>
                  <a:gd name="T19" fmla="*/ 72 h 100"/>
                  <a:gd name="T20" fmla="*/ 10 w 138"/>
                  <a:gd name="T21" fmla="*/ 70 h 100"/>
                  <a:gd name="T22" fmla="*/ 6 w 138"/>
                  <a:gd name="T23" fmla="*/ 58 h 100"/>
                  <a:gd name="T24" fmla="*/ 6 w 138"/>
                  <a:gd name="T25" fmla="*/ 58 h 100"/>
                  <a:gd name="T26" fmla="*/ 2 w 138"/>
                  <a:gd name="T27" fmla="*/ 46 h 100"/>
                  <a:gd name="T28" fmla="*/ 2 w 138"/>
                  <a:gd name="T29" fmla="*/ 44 h 100"/>
                  <a:gd name="T30" fmla="*/ 24 w 138"/>
                  <a:gd name="T31" fmla="*/ 40 h 100"/>
                  <a:gd name="T32" fmla="*/ 36 w 138"/>
                  <a:gd name="T33" fmla="*/ 28 h 100"/>
                  <a:gd name="T34" fmla="*/ 38 w 138"/>
                  <a:gd name="T35" fmla="*/ 26 h 100"/>
                  <a:gd name="T36" fmla="*/ 48 w 138"/>
                  <a:gd name="T37" fmla="*/ 14 h 100"/>
                  <a:gd name="T38" fmla="*/ 50 w 138"/>
                  <a:gd name="T39" fmla="*/ 12 h 100"/>
                  <a:gd name="T40" fmla="*/ 72 w 138"/>
                  <a:gd name="T41" fmla="*/ 0 h 100"/>
                  <a:gd name="T42" fmla="*/ 74 w 138"/>
                  <a:gd name="T43" fmla="*/ 0 h 100"/>
                  <a:gd name="T44" fmla="*/ 74 w 138"/>
                  <a:gd name="T45" fmla="*/ 0 h 100"/>
                  <a:gd name="T46" fmla="*/ 90 w 138"/>
                  <a:gd name="T47" fmla="*/ 4 h 100"/>
                  <a:gd name="T48" fmla="*/ 92 w 138"/>
                  <a:gd name="T49" fmla="*/ 10 h 100"/>
                  <a:gd name="T50" fmla="*/ 108 w 138"/>
                  <a:gd name="T51" fmla="*/ 12 h 100"/>
                  <a:gd name="T52" fmla="*/ 114 w 138"/>
                  <a:gd name="T53" fmla="*/ 32 h 100"/>
                  <a:gd name="T54" fmla="*/ 138 w 138"/>
                  <a:gd name="T55" fmla="*/ 58 h 100"/>
                  <a:gd name="T56" fmla="*/ 136 w 138"/>
                  <a:gd name="T57" fmla="*/ 64 h 100"/>
                  <a:gd name="T58" fmla="*/ 134 w 138"/>
                  <a:gd name="T59" fmla="*/ 64 h 100"/>
                  <a:gd name="T60" fmla="*/ 120 w 138"/>
                  <a:gd name="T61" fmla="*/ 80 h 100"/>
                  <a:gd name="T62" fmla="*/ 118 w 138"/>
                  <a:gd name="T63" fmla="*/ 82 h 100"/>
                  <a:gd name="T64" fmla="*/ 106 w 138"/>
                  <a:gd name="T65" fmla="*/ 98 h 100"/>
                  <a:gd name="T66" fmla="*/ 104 w 138"/>
                  <a:gd name="T67" fmla="*/ 100 h 100"/>
                  <a:gd name="T68" fmla="*/ 86 w 138"/>
                  <a:gd name="T69"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100">
                    <a:moveTo>
                      <a:pt x="86" y="98"/>
                    </a:moveTo>
                    <a:lnTo>
                      <a:pt x="86" y="98"/>
                    </a:lnTo>
                    <a:lnTo>
                      <a:pt x="84" y="96"/>
                    </a:lnTo>
                    <a:lnTo>
                      <a:pt x="84" y="92"/>
                    </a:lnTo>
                    <a:lnTo>
                      <a:pt x="60" y="92"/>
                    </a:lnTo>
                    <a:lnTo>
                      <a:pt x="42" y="90"/>
                    </a:lnTo>
                    <a:lnTo>
                      <a:pt x="18" y="84"/>
                    </a:lnTo>
                    <a:lnTo>
                      <a:pt x="10" y="96"/>
                    </a:lnTo>
                    <a:lnTo>
                      <a:pt x="10" y="96"/>
                    </a:lnTo>
                    <a:lnTo>
                      <a:pt x="8" y="96"/>
                    </a:lnTo>
                    <a:lnTo>
                      <a:pt x="8" y="96"/>
                    </a:lnTo>
                    <a:lnTo>
                      <a:pt x="6" y="96"/>
                    </a:lnTo>
                    <a:lnTo>
                      <a:pt x="6" y="96"/>
                    </a:lnTo>
                    <a:lnTo>
                      <a:pt x="6" y="94"/>
                    </a:lnTo>
                    <a:lnTo>
                      <a:pt x="6" y="82"/>
                    </a:lnTo>
                    <a:lnTo>
                      <a:pt x="2" y="80"/>
                    </a:lnTo>
                    <a:lnTo>
                      <a:pt x="2" y="80"/>
                    </a:lnTo>
                    <a:lnTo>
                      <a:pt x="0" y="78"/>
                    </a:lnTo>
                    <a:lnTo>
                      <a:pt x="2" y="72"/>
                    </a:lnTo>
                    <a:lnTo>
                      <a:pt x="2" y="72"/>
                    </a:lnTo>
                    <a:lnTo>
                      <a:pt x="4" y="70"/>
                    </a:lnTo>
                    <a:lnTo>
                      <a:pt x="10" y="70"/>
                    </a:lnTo>
                    <a:lnTo>
                      <a:pt x="10" y="62"/>
                    </a:lnTo>
                    <a:lnTo>
                      <a:pt x="6" y="58"/>
                    </a:lnTo>
                    <a:lnTo>
                      <a:pt x="6" y="58"/>
                    </a:lnTo>
                    <a:lnTo>
                      <a:pt x="6" y="58"/>
                    </a:lnTo>
                    <a:lnTo>
                      <a:pt x="2" y="46"/>
                    </a:lnTo>
                    <a:lnTo>
                      <a:pt x="2" y="46"/>
                    </a:lnTo>
                    <a:lnTo>
                      <a:pt x="2" y="44"/>
                    </a:lnTo>
                    <a:lnTo>
                      <a:pt x="2" y="44"/>
                    </a:lnTo>
                    <a:lnTo>
                      <a:pt x="4" y="44"/>
                    </a:lnTo>
                    <a:lnTo>
                      <a:pt x="24" y="40"/>
                    </a:lnTo>
                    <a:lnTo>
                      <a:pt x="34" y="40"/>
                    </a:lnTo>
                    <a:lnTo>
                      <a:pt x="36" y="28"/>
                    </a:lnTo>
                    <a:lnTo>
                      <a:pt x="36" y="28"/>
                    </a:lnTo>
                    <a:lnTo>
                      <a:pt x="38" y="26"/>
                    </a:lnTo>
                    <a:lnTo>
                      <a:pt x="48" y="22"/>
                    </a:lnTo>
                    <a:lnTo>
                      <a:pt x="48" y="14"/>
                    </a:lnTo>
                    <a:lnTo>
                      <a:pt x="48" y="14"/>
                    </a:lnTo>
                    <a:lnTo>
                      <a:pt x="50" y="12"/>
                    </a:lnTo>
                    <a:lnTo>
                      <a:pt x="62" y="8"/>
                    </a:lnTo>
                    <a:lnTo>
                      <a:pt x="72" y="0"/>
                    </a:lnTo>
                    <a:lnTo>
                      <a:pt x="72" y="0"/>
                    </a:lnTo>
                    <a:lnTo>
                      <a:pt x="74" y="0"/>
                    </a:lnTo>
                    <a:lnTo>
                      <a:pt x="74" y="0"/>
                    </a:lnTo>
                    <a:lnTo>
                      <a:pt x="74" y="0"/>
                    </a:lnTo>
                    <a:lnTo>
                      <a:pt x="90" y="4"/>
                    </a:lnTo>
                    <a:lnTo>
                      <a:pt x="90" y="4"/>
                    </a:lnTo>
                    <a:lnTo>
                      <a:pt x="92" y="6"/>
                    </a:lnTo>
                    <a:lnTo>
                      <a:pt x="92" y="10"/>
                    </a:lnTo>
                    <a:lnTo>
                      <a:pt x="108" y="12"/>
                    </a:lnTo>
                    <a:lnTo>
                      <a:pt x="108" y="12"/>
                    </a:lnTo>
                    <a:lnTo>
                      <a:pt x="110" y="14"/>
                    </a:lnTo>
                    <a:lnTo>
                      <a:pt x="114" y="32"/>
                    </a:lnTo>
                    <a:lnTo>
                      <a:pt x="138" y="58"/>
                    </a:lnTo>
                    <a:lnTo>
                      <a:pt x="138" y="58"/>
                    </a:lnTo>
                    <a:lnTo>
                      <a:pt x="138" y="62"/>
                    </a:lnTo>
                    <a:lnTo>
                      <a:pt x="136" y="64"/>
                    </a:lnTo>
                    <a:lnTo>
                      <a:pt x="136" y="64"/>
                    </a:lnTo>
                    <a:lnTo>
                      <a:pt x="134" y="64"/>
                    </a:lnTo>
                    <a:lnTo>
                      <a:pt x="120" y="64"/>
                    </a:lnTo>
                    <a:lnTo>
                      <a:pt x="120" y="80"/>
                    </a:lnTo>
                    <a:lnTo>
                      <a:pt x="120" y="80"/>
                    </a:lnTo>
                    <a:lnTo>
                      <a:pt x="118" y="82"/>
                    </a:lnTo>
                    <a:lnTo>
                      <a:pt x="110" y="84"/>
                    </a:lnTo>
                    <a:lnTo>
                      <a:pt x="106" y="98"/>
                    </a:lnTo>
                    <a:lnTo>
                      <a:pt x="106" y="98"/>
                    </a:lnTo>
                    <a:lnTo>
                      <a:pt x="104" y="100"/>
                    </a:lnTo>
                    <a:lnTo>
                      <a:pt x="104" y="100"/>
                    </a:lnTo>
                    <a:lnTo>
                      <a:pt x="86" y="98"/>
                    </a:lnTo>
                    <a:lnTo>
                      <a:pt x="8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2" name="Freeform 593"/>
              <p:cNvSpPr>
                <a:spLocks noEditPoints="1"/>
              </p:cNvSpPr>
              <p:nvPr/>
            </p:nvSpPr>
            <p:spPr bwMode="auto">
              <a:xfrm>
                <a:off x="3219" y="1625"/>
                <a:ext cx="142" cy="104"/>
              </a:xfrm>
              <a:custGeom>
                <a:avLst/>
                <a:gdLst>
                  <a:gd name="T0" fmla="*/ 92 w 142"/>
                  <a:gd name="T1" fmla="*/ 8 h 104"/>
                  <a:gd name="T2" fmla="*/ 110 w 142"/>
                  <a:gd name="T3" fmla="*/ 16 h 104"/>
                  <a:gd name="T4" fmla="*/ 138 w 142"/>
                  <a:gd name="T5" fmla="*/ 62 h 104"/>
                  <a:gd name="T6" fmla="*/ 120 w 142"/>
                  <a:gd name="T7" fmla="*/ 64 h 104"/>
                  <a:gd name="T8" fmla="*/ 110 w 142"/>
                  <a:gd name="T9" fmla="*/ 84 h 104"/>
                  <a:gd name="T10" fmla="*/ 88 w 142"/>
                  <a:gd name="T11" fmla="*/ 98 h 104"/>
                  <a:gd name="T12" fmla="*/ 62 w 142"/>
                  <a:gd name="T13" fmla="*/ 92 h 104"/>
                  <a:gd name="T14" fmla="*/ 18 w 142"/>
                  <a:gd name="T15" fmla="*/ 84 h 104"/>
                  <a:gd name="T16" fmla="*/ 10 w 142"/>
                  <a:gd name="T17" fmla="*/ 84 h 104"/>
                  <a:gd name="T18" fmla="*/ 6 w 142"/>
                  <a:gd name="T19" fmla="*/ 74 h 104"/>
                  <a:gd name="T20" fmla="*/ 14 w 142"/>
                  <a:gd name="T21" fmla="*/ 62 h 104"/>
                  <a:gd name="T22" fmla="*/ 6 w 142"/>
                  <a:gd name="T23" fmla="*/ 48 h 104"/>
                  <a:gd name="T24" fmla="*/ 38 w 142"/>
                  <a:gd name="T25" fmla="*/ 44 h 104"/>
                  <a:gd name="T26" fmla="*/ 52 w 142"/>
                  <a:gd name="T27" fmla="*/ 26 h 104"/>
                  <a:gd name="T28" fmla="*/ 66 w 142"/>
                  <a:gd name="T29" fmla="*/ 12 h 104"/>
                  <a:gd name="T30" fmla="*/ 76 w 142"/>
                  <a:gd name="T31" fmla="*/ 0 h 104"/>
                  <a:gd name="T32" fmla="*/ 74 w 142"/>
                  <a:gd name="T33" fmla="*/ 2 h 104"/>
                  <a:gd name="T34" fmla="*/ 52 w 142"/>
                  <a:gd name="T35" fmla="*/ 12 h 104"/>
                  <a:gd name="T36" fmla="*/ 50 w 142"/>
                  <a:gd name="T37" fmla="*/ 14 h 104"/>
                  <a:gd name="T38" fmla="*/ 48 w 142"/>
                  <a:gd name="T39" fmla="*/ 24 h 104"/>
                  <a:gd name="T40" fmla="*/ 38 w 142"/>
                  <a:gd name="T41" fmla="*/ 26 h 104"/>
                  <a:gd name="T42" fmla="*/ 36 w 142"/>
                  <a:gd name="T43" fmla="*/ 30 h 104"/>
                  <a:gd name="T44" fmla="*/ 26 w 142"/>
                  <a:gd name="T45" fmla="*/ 40 h 104"/>
                  <a:gd name="T46" fmla="*/ 24 w 142"/>
                  <a:gd name="T47" fmla="*/ 40 h 104"/>
                  <a:gd name="T48" fmla="*/ 6 w 142"/>
                  <a:gd name="T49" fmla="*/ 44 h 104"/>
                  <a:gd name="T50" fmla="*/ 2 w 142"/>
                  <a:gd name="T51" fmla="*/ 46 h 104"/>
                  <a:gd name="T52" fmla="*/ 6 w 142"/>
                  <a:gd name="T53" fmla="*/ 60 h 104"/>
                  <a:gd name="T54" fmla="*/ 6 w 142"/>
                  <a:gd name="T55" fmla="*/ 62 h 104"/>
                  <a:gd name="T56" fmla="*/ 10 w 142"/>
                  <a:gd name="T57" fmla="*/ 70 h 104"/>
                  <a:gd name="T58" fmla="*/ 6 w 142"/>
                  <a:gd name="T59" fmla="*/ 70 h 104"/>
                  <a:gd name="T60" fmla="*/ 2 w 142"/>
                  <a:gd name="T61" fmla="*/ 74 h 104"/>
                  <a:gd name="T62" fmla="*/ 0 w 142"/>
                  <a:gd name="T63" fmla="*/ 78 h 104"/>
                  <a:gd name="T64" fmla="*/ 2 w 142"/>
                  <a:gd name="T65" fmla="*/ 84 h 104"/>
                  <a:gd name="T66" fmla="*/ 6 w 142"/>
                  <a:gd name="T67" fmla="*/ 96 h 104"/>
                  <a:gd name="T68" fmla="*/ 6 w 142"/>
                  <a:gd name="T69" fmla="*/ 98 h 104"/>
                  <a:gd name="T70" fmla="*/ 8 w 142"/>
                  <a:gd name="T71" fmla="*/ 100 h 104"/>
                  <a:gd name="T72" fmla="*/ 10 w 142"/>
                  <a:gd name="T73" fmla="*/ 100 h 104"/>
                  <a:gd name="T74" fmla="*/ 20 w 142"/>
                  <a:gd name="T75" fmla="*/ 88 h 104"/>
                  <a:gd name="T76" fmla="*/ 60 w 142"/>
                  <a:gd name="T77" fmla="*/ 96 h 104"/>
                  <a:gd name="T78" fmla="*/ 62 w 142"/>
                  <a:gd name="T79" fmla="*/ 96 h 104"/>
                  <a:gd name="T80" fmla="*/ 84 w 142"/>
                  <a:gd name="T81" fmla="*/ 100 h 104"/>
                  <a:gd name="T82" fmla="*/ 86 w 142"/>
                  <a:gd name="T83" fmla="*/ 102 h 104"/>
                  <a:gd name="T84" fmla="*/ 106 w 142"/>
                  <a:gd name="T85" fmla="*/ 104 h 104"/>
                  <a:gd name="T86" fmla="*/ 106 w 142"/>
                  <a:gd name="T87" fmla="*/ 104 h 104"/>
                  <a:gd name="T88" fmla="*/ 108 w 142"/>
                  <a:gd name="T89" fmla="*/ 104 h 104"/>
                  <a:gd name="T90" fmla="*/ 114 w 142"/>
                  <a:gd name="T91" fmla="*/ 88 h 104"/>
                  <a:gd name="T92" fmla="*/ 122 w 142"/>
                  <a:gd name="T93" fmla="*/ 86 h 104"/>
                  <a:gd name="T94" fmla="*/ 124 w 142"/>
                  <a:gd name="T95" fmla="*/ 82 h 104"/>
                  <a:gd name="T96" fmla="*/ 136 w 142"/>
                  <a:gd name="T97" fmla="*/ 68 h 104"/>
                  <a:gd name="T98" fmla="*/ 140 w 142"/>
                  <a:gd name="T99" fmla="*/ 66 h 104"/>
                  <a:gd name="T100" fmla="*/ 142 w 142"/>
                  <a:gd name="T101" fmla="*/ 66 h 104"/>
                  <a:gd name="T102" fmla="*/ 142 w 142"/>
                  <a:gd name="T103" fmla="*/ 60 h 104"/>
                  <a:gd name="T104" fmla="*/ 114 w 142"/>
                  <a:gd name="T105" fmla="*/ 14 h 104"/>
                  <a:gd name="T106" fmla="*/ 112 w 142"/>
                  <a:gd name="T107" fmla="*/ 12 h 104"/>
                  <a:gd name="T108" fmla="*/ 96 w 142"/>
                  <a:gd name="T109" fmla="*/ 10 h 104"/>
                  <a:gd name="T110" fmla="*/ 96 w 142"/>
                  <a:gd name="T111" fmla="*/ 8 h 104"/>
                  <a:gd name="T112" fmla="*/ 92 w 142"/>
                  <a:gd name="T113" fmla="*/ 4 h 104"/>
                  <a:gd name="T114" fmla="*/ 76 w 142"/>
                  <a:gd name="T115" fmla="*/ 0 h 104"/>
                  <a:gd name="T116" fmla="*/ 76 w 142"/>
                  <a:gd name="T1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104">
                    <a:moveTo>
                      <a:pt x="76" y="4"/>
                    </a:moveTo>
                    <a:lnTo>
                      <a:pt x="92" y="8"/>
                    </a:lnTo>
                    <a:lnTo>
                      <a:pt x="92" y="14"/>
                    </a:lnTo>
                    <a:lnTo>
                      <a:pt x="110" y="16"/>
                    </a:lnTo>
                    <a:lnTo>
                      <a:pt x="114" y="36"/>
                    </a:lnTo>
                    <a:lnTo>
                      <a:pt x="138" y="62"/>
                    </a:lnTo>
                    <a:lnTo>
                      <a:pt x="136" y="64"/>
                    </a:lnTo>
                    <a:lnTo>
                      <a:pt x="120" y="64"/>
                    </a:lnTo>
                    <a:lnTo>
                      <a:pt x="120" y="82"/>
                    </a:lnTo>
                    <a:lnTo>
                      <a:pt x="110" y="84"/>
                    </a:lnTo>
                    <a:lnTo>
                      <a:pt x="106" y="100"/>
                    </a:lnTo>
                    <a:lnTo>
                      <a:pt x="88" y="98"/>
                    </a:lnTo>
                    <a:lnTo>
                      <a:pt x="86" y="92"/>
                    </a:lnTo>
                    <a:lnTo>
                      <a:pt x="62" y="92"/>
                    </a:lnTo>
                    <a:lnTo>
                      <a:pt x="46" y="90"/>
                    </a:lnTo>
                    <a:lnTo>
                      <a:pt x="18" y="84"/>
                    </a:lnTo>
                    <a:lnTo>
                      <a:pt x="10" y="96"/>
                    </a:lnTo>
                    <a:lnTo>
                      <a:pt x="10" y="84"/>
                    </a:lnTo>
                    <a:lnTo>
                      <a:pt x="4" y="80"/>
                    </a:lnTo>
                    <a:lnTo>
                      <a:pt x="6" y="74"/>
                    </a:lnTo>
                    <a:lnTo>
                      <a:pt x="14" y="74"/>
                    </a:lnTo>
                    <a:lnTo>
                      <a:pt x="14" y="62"/>
                    </a:lnTo>
                    <a:lnTo>
                      <a:pt x="10" y="58"/>
                    </a:lnTo>
                    <a:lnTo>
                      <a:pt x="6" y="48"/>
                    </a:lnTo>
                    <a:lnTo>
                      <a:pt x="26" y="44"/>
                    </a:lnTo>
                    <a:lnTo>
                      <a:pt x="38" y="44"/>
                    </a:lnTo>
                    <a:lnTo>
                      <a:pt x="40" y="30"/>
                    </a:lnTo>
                    <a:lnTo>
                      <a:pt x="52" y="26"/>
                    </a:lnTo>
                    <a:lnTo>
                      <a:pt x="52" y="16"/>
                    </a:lnTo>
                    <a:lnTo>
                      <a:pt x="66" y="12"/>
                    </a:lnTo>
                    <a:lnTo>
                      <a:pt x="76" y="4"/>
                    </a:lnTo>
                    <a:close/>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3" name="Freeform 594"/>
              <p:cNvSpPr>
                <a:spLocks/>
              </p:cNvSpPr>
              <p:nvPr/>
            </p:nvSpPr>
            <p:spPr bwMode="auto">
              <a:xfrm>
                <a:off x="3223" y="1629"/>
                <a:ext cx="134" cy="96"/>
              </a:xfrm>
              <a:custGeom>
                <a:avLst/>
                <a:gdLst>
                  <a:gd name="T0" fmla="*/ 72 w 134"/>
                  <a:gd name="T1" fmla="*/ 0 h 96"/>
                  <a:gd name="T2" fmla="*/ 88 w 134"/>
                  <a:gd name="T3" fmla="*/ 4 h 96"/>
                  <a:gd name="T4" fmla="*/ 88 w 134"/>
                  <a:gd name="T5" fmla="*/ 10 h 96"/>
                  <a:gd name="T6" fmla="*/ 106 w 134"/>
                  <a:gd name="T7" fmla="*/ 12 h 96"/>
                  <a:gd name="T8" fmla="*/ 110 w 134"/>
                  <a:gd name="T9" fmla="*/ 32 h 96"/>
                  <a:gd name="T10" fmla="*/ 134 w 134"/>
                  <a:gd name="T11" fmla="*/ 58 h 96"/>
                  <a:gd name="T12" fmla="*/ 132 w 134"/>
                  <a:gd name="T13" fmla="*/ 60 h 96"/>
                  <a:gd name="T14" fmla="*/ 116 w 134"/>
                  <a:gd name="T15" fmla="*/ 60 h 96"/>
                  <a:gd name="T16" fmla="*/ 116 w 134"/>
                  <a:gd name="T17" fmla="*/ 78 h 96"/>
                  <a:gd name="T18" fmla="*/ 106 w 134"/>
                  <a:gd name="T19" fmla="*/ 80 h 96"/>
                  <a:gd name="T20" fmla="*/ 102 w 134"/>
                  <a:gd name="T21" fmla="*/ 96 h 96"/>
                  <a:gd name="T22" fmla="*/ 84 w 134"/>
                  <a:gd name="T23" fmla="*/ 94 h 96"/>
                  <a:gd name="T24" fmla="*/ 82 w 134"/>
                  <a:gd name="T25" fmla="*/ 88 h 96"/>
                  <a:gd name="T26" fmla="*/ 58 w 134"/>
                  <a:gd name="T27" fmla="*/ 88 h 96"/>
                  <a:gd name="T28" fmla="*/ 42 w 134"/>
                  <a:gd name="T29" fmla="*/ 86 h 96"/>
                  <a:gd name="T30" fmla="*/ 14 w 134"/>
                  <a:gd name="T31" fmla="*/ 80 h 96"/>
                  <a:gd name="T32" fmla="*/ 6 w 134"/>
                  <a:gd name="T33" fmla="*/ 92 h 96"/>
                  <a:gd name="T34" fmla="*/ 6 w 134"/>
                  <a:gd name="T35" fmla="*/ 80 h 96"/>
                  <a:gd name="T36" fmla="*/ 0 w 134"/>
                  <a:gd name="T37" fmla="*/ 76 h 96"/>
                  <a:gd name="T38" fmla="*/ 2 w 134"/>
                  <a:gd name="T39" fmla="*/ 70 h 96"/>
                  <a:gd name="T40" fmla="*/ 10 w 134"/>
                  <a:gd name="T41" fmla="*/ 70 h 96"/>
                  <a:gd name="T42" fmla="*/ 10 w 134"/>
                  <a:gd name="T43" fmla="*/ 58 h 96"/>
                  <a:gd name="T44" fmla="*/ 6 w 134"/>
                  <a:gd name="T45" fmla="*/ 54 h 96"/>
                  <a:gd name="T46" fmla="*/ 2 w 134"/>
                  <a:gd name="T47" fmla="*/ 44 h 96"/>
                  <a:gd name="T48" fmla="*/ 22 w 134"/>
                  <a:gd name="T49" fmla="*/ 40 h 96"/>
                  <a:gd name="T50" fmla="*/ 34 w 134"/>
                  <a:gd name="T51" fmla="*/ 40 h 96"/>
                  <a:gd name="T52" fmla="*/ 36 w 134"/>
                  <a:gd name="T53" fmla="*/ 26 h 96"/>
                  <a:gd name="T54" fmla="*/ 48 w 134"/>
                  <a:gd name="T55" fmla="*/ 22 h 96"/>
                  <a:gd name="T56" fmla="*/ 48 w 134"/>
                  <a:gd name="T57" fmla="*/ 12 h 96"/>
                  <a:gd name="T58" fmla="*/ 62 w 134"/>
                  <a:gd name="T59" fmla="*/ 8 h 96"/>
                  <a:gd name="T60" fmla="*/ 72 w 134"/>
                  <a:gd name="T6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4" h="96">
                    <a:moveTo>
                      <a:pt x="72" y="0"/>
                    </a:moveTo>
                    <a:lnTo>
                      <a:pt x="88" y="4"/>
                    </a:lnTo>
                    <a:lnTo>
                      <a:pt x="88" y="10"/>
                    </a:lnTo>
                    <a:lnTo>
                      <a:pt x="106" y="12"/>
                    </a:lnTo>
                    <a:lnTo>
                      <a:pt x="110" y="32"/>
                    </a:lnTo>
                    <a:lnTo>
                      <a:pt x="134" y="58"/>
                    </a:lnTo>
                    <a:lnTo>
                      <a:pt x="132" y="60"/>
                    </a:lnTo>
                    <a:lnTo>
                      <a:pt x="116" y="60"/>
                    </a:lnTo>
                    <a:lnTo>
                      <a:pt x="116" y="78"/>
                    </a:lnTo>
                    <a:lnTo>
                      <a:pt x="106" y="80"/>
                    </a:lnTo>
                    <a:lnTo>
                      <a:pt x="102" y="96"/>
                    </a:lnTo>
                    <a:lnTo>
                      <a:pt x="84" y="94"/>
                    </a:lnTo>
                    <a:lnTo>
                      <a:pt x="82" y="88"/>
                    </a:lnTo>
                    <a:lnTo>
                      <a:pt x="58" y="88"/>
                    </a:lnTo>
                    <a:lnTo>
                      <a:pt x="42" y="86"/>
                    </a:lnTo>
                    <a:lnTo>
                      <a:pt x="14" y="80"/>
                    </a:lnTo>
                    <a:lnTo>
                      <a:pt x="6" y="92"/>
                    </a:lnTo>
                    <a:lnTo>
                      <a:pt x="6" y="80"/>
                    </a:lnTo>
                    <a:lnTo>
                      <a:pt x="0" y="76"/>
                    </a:lnTo>
                    <a:lnTo>
                      <a:pt x="2" y="70"/>
                    </a:lnTo>
                    <a:lnTo>
                      <a:pt x="10" y="70"/>
                    </a:lnTo>
                    <a:lnTo>
                      <a:pt x="10" y="58"/>
                    </a:lnTo>
                    <a:lnTo>
                      <a:pt x="6" y="54"/>
                    </a:lnTo>
                    <a:lnTo>
                      <a:pt x="2" y="44"/>
                    </a:lnTo>
                    <a:lnTo>
                      <a:pt x="22" y="40"/>
                    </a:lnTo>
                    <a:lnTo>
                      <a:pt x="34" y="40"/>
                    </a:lnTo>
                    <a:lnTo>
                      <a:pt x="36" y="26"/>
                    </a:lnTo>
                    <a:lnTo>
                      <a:pt x="48" y="22"/>
                    </a:lnTo>
                    <a:lnTo>
                      <a:pt x="48" y="12"/>
                    </a:lnTo>
                    <a:lnTo>
                      <a:pt x="62"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4" name="Freeform 595"/>
              <p:cNvSpPr>
                <a:spLocks/>
              </p:cNvSpPr>
              <p:nvPr/>
            </p:nvSpPr>
            <p:spPr bwMode="auto">
              <a:xfrm>
                <a:off x="3219" y="1625"/>
                <a:ext cx="142" cy="104"/>
              </a:xfrm>
              <a:custGeom>
                <a:avLst/>
                <a:gdLst>
                  <a:gd name="T0" fmla="*/ 76 w 142"/>
                  <a:gd name="T1" fmla="*/ 0 h 104"/>
                  <a:gd name="T2" fmla="*/ 64 w 142"/>
                  <a:gd name="T3" fmla="*/ 8 h 104"/>
                  <a:gd name="T4" fmla="*/ 52 w 142"/>
                  <a:gd name="T5" fmla="*/ 12 h 104"/>
                  <a:gd name="T6" fmla="*/ 48 w 142"/>
                  <a:gd name="T7" fmla="*/ 16 h 104"/>
                  <a:gd name="T8" fmla="*/ 38 w 142"/>
                  <a:gd name="T9" fmla="*/ 26 h 104"/>
                  <a:gd name="T10" fmla="*/ 36 w 142"/>
                  <a:gd name="T11" fmla="*/ 28 h 104"/>
                  <a:gd name="T12" fmla="*/ 34 w 142"/>
                  <a:gd name="T13" fmla="*/ 40 h 104"/>
                  <a:gd name="T14" fmla="*/ 26 w 142"/>
                  <a:gd name="T15" fmla="*/ 40 h 104"/>
                  <a:gd name="T16" fmla="*/ 6 w 142"/>
                  <a:gd name="T17" fmla="*/ 44 h 104"/>
                  <a:gd name="T18" fmla="*/ 2 w 142"/>
                  <a:gd name="T19" fmla="*/ 46 h 104"/>
                  <a:gd name="T20" fmla="*/ 2 w 142"/>
                  <a:gd name="T21" fmla="*/ 50 h 104"/>
                  <a:gd name="T22" fmla="*/ 6 w 142"/>
                  <a:gd name="T23" fmla="*/ 60 h 104"/>
                  <a:gd name="T24" fmla="*/ 10 w 142"/>
                  <a:gd name="T25" fmla="*/ 64 h 104"/>
                  <a:gd name="T26" fmla="*/ 6 w 142"/>
                  <a:gd name="T27" fmla="*/ 70 h 104"/>
                  <a:gd name="T28" fmla="*/ 4 w 142"/>
                  <a:gd name="T29" fmla="*/ 72 h 104"/>
                  <a:gd name="T30" fmla="*/ 0 w 142"/>
                  <a:gd name="T31" fmla="*/ 78 h 104"/>
                  <a:gd name="T32" fmla="*/ 0 w 142"/>
                  <a:gd name="T33" fmla="*/ 82 h 104"/>
                  <a:gd name="T34" fmla="*/ 6 w 142"/>
                  <a:gd name="T35" fmla="*/ 86 h 104"/>
                  <a:gd name="T36" fmla="*/ 6 w 142"/>
                  <a:gd name="T37" fmla="*/ 96 h 104"/>
                  <a:gd name="T38" fmla="*/ 8 w 142"/>
                  <a:gd name="T39" fmla="*/ 100 h 104"/>
                  <a:gd name="T40" fmla="*/ 10 w 142"/>
                  <a:gd name="T41" fmla="*/ 100 h 104"/>
                  <a:gd name="T42" fmla="*/ 12 w 142"/>
                  <a:gd name="T43" fmla="*/ 98 h 104"/>
                  <a:gd name="T44" fmla="*/ 44 w 142"/>
                  <a:gd name="T45" fmla="*/ 94 h 104"/>
                  <a:gd name="T46" fmla="*/ 60 w 142"/>
                  <a:gd name="T47" fmla="*/ 96 h 104"/>
                  <a:gd name="T48" fmla="*/ 84 w 142"/>
                  <a:gd name="T49" fmla="*/ 96 h 104"/>
                  <a:gd name="T50" fmla="*/ 84 w 142"/>
                  <a:gd name="T51" fmla="*/ 100 h 104"/>
                  <a:gd name="T52" fmla="*/ 88 w 142"/>
                  <a:gd name="T53" fmla="*/ 102 h 104"/>
                  <a:gd name="T54" fmla="*/ 106 w 142"/>
                  <a:gd name="T55" fmla="*/ 104 h 104"/>
                  <a:gd name="T56" fmla="*/ 106 w 142"/>
                  <a:gd name="T57" fmla="*/ 104 h 104"/>
                  <a:gd name="T58" fmla="*/ 110 w 142"/>
                  <a:gd name="T59" fmla="*/ 100 h 104"/>
                  <a:gd name="T60" fmla="*/ 122 w 142"/>
                  <a:gd name="T61" fmla="*/ 86 h 104"/>
                  <a:gd name="T62" fmla="*/ 124 w 142"/>
                  <a:gd name="T63" fmla="*/ 84 h 104"/>
                  <a:gd name="T64" fmla="*/ 124 w 142"/>
                  <a:gd name="T65" fmla="*/ 68 h 104"/>
                  <a:gd name="T66" fmla="*/ 136 w 142"/>
                  <a:gd name="T67" fmla="*/ 68 h 104"/>
                  <a:gd name="T68" fmla="*/ 142 w 142"/>
                  <a:gd name="T69" fmla="*/ 66 h 104"/>
                  <a:gd name="T70" fmla="*/ 142 w 142"/>
                  <a:gd name="T71" fmla="*/ 62 h 104"/>
                  <a:gd name="T72" fmla="*/ 118 w 142"/>
                  <a:gd name="T73" fmla="*/ 34 h 104"/>
                  <a:gd name="T74" fmla="*/ 114 w 142"/>
                  <a:gd name="T75" fmla="*/ 14 h 104"/>
                  <a:gd name="T76" fmla="*/ 110 w 142"/>
                  <a:gd name="T77" fmla="*/ 12 h 104"/>
                  <a:gd name="T78" fmla="*/ 96 w 142"/>
                  <a:gd name="T79" fmla="*/ 8 h 104"/>
                  <a:gd name="T80" fmla="*/ 96 w 142"/>
                  <a:gd name="T81" fmla="*/ 6 h 104"/>
                  <a:gd name="T82" fmla="*/ 76 w 142"/>
                  <a:gd name="T83" fmla="*/ 0 h 104"/>
                  <a:gd name="T84" fmla="*/ 76 w 142"/>
                  <a:gd name="T8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04">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5" name="Freeform 596"/>
              <p:cNvSpPr>
                <a:spLocks/>
              </p:cNvSpPr>
              <p:nvPr/>
            </p:nvSpPr>
            <p:spPr bwMode="auto">
              <a:xfrm>
                <a:off x="2773" y="1651"/>
                <a:ext cx="38" cy="20"/>
              </a:xfrm>
              <a:custGeom>
                <a:avLst/>
                <a:gdLst>
                  <a:gd name="T0" fmla="*/ 22 w 38"/>
                  <a:gd name="T1" fmla="*/ 20 h 20"/>
                  <a:gd name="T2" fmla="*/ 22 w 38"/>
                  <a:gd name="T3" fmla="*/ 20 h 20"/>
                  <a:gd name="T4" fmla="*/ 20 w 38"/>
                  <a:gd name="T5" fmla="*/ 20 h 20"/>
                  <a:gd name="T6" fmla="*/ 16 w 38"/>
                  <a:gd name="T7" fmla="*/ 16 h 20"/>
                  <a:gd name="T8" fmla="*/ 10 w 38"/>
                  <a:gd name="T9" fmla="*/ 18 h 20"/>
                  <a:gd name="T10" fmla="*/ 10 w 38"/>
                  <a:gd name="T11" fmla="*/ 18 h 20"/>
                  <a:gd name="T12" fmla="*/ 10 w 38"/>
                  <a:gd name="T13" fmla="*/ 18 h 20"/>
                  <a:gd name="T14" fmla="*/ 10 w 38"/>
                  <a:gd name="T15" fmla="*/ 18 h 20"/>
                  <a:gd name="T16" fmla="*/ 8 w 38"/>
                  <a:gd name="T17" fmla="*/ 18 h 20"/>
                  <a:gd name="T18" fmla="*/ 2 w 38"/>
                  <a:gd name="T19" fmla="*/ 16 h 20"/>
                  <a:gd name="T20" fmla="*/ 2 w 38"/>
                  <a:gd name="T21" fmla="*/ 16 h 20"/>
                  <a:gd name="T22" fmla="*/ 0 w 38"/>
                  <a:gd name="T23" fmla="*/ 14 h 20"/>
                  <a:gd name="T24" fmla="*/ 0 w 38"/>
                  <a:gd name="T25" fmla="*/ 14 h 20"/>
                  <a:gd name="T26" fmla="*/ 0 w 38"/>
                  <a:gd name="T27" fmla="*/ 12 h 20"/>
                  <a:gd name="T28" fmla="*/ 4 w 38"/>
                  <a:gd name="T29" fmla="*/ 6 h 20"/>
                  <a:gd name="T30" fmla="*/ 4 w 38"/>
                  <a:gd name="T31" fmla="*/ 6 h 20"/>
                  <a:gd name="T32" fmla="*/ 4 w 38"/>
                  <a:gd name="T33" fmla="*/ 6 h 20"/>
                  <a:gd name="T34" fmla="*/ 12 w 38"/>
                  <a:gd name="T35" fmla="*/ 0 h 20"/>
                  <a:gd name="T36" fmla="*/ 12 w 38"/>
                  <a:gd name="T37" fmla="*/ 0 h 20"/>
                  <a:gd name="T38" fmla="*/ 14 w 38"/>
                  <a:gd name="T39" fmla="*/ 0 h 20"/>
                  <a:gd name="T40" fmla="*/ 14 w 38"/>
                  <a:gd name="T41" fmla="*/ 0 h 20"/>
                  <a:gd name="T42" fmla="*/ 30 w 38"/>
                  <a:gd name="T43" fmla="*/ 0 h 20"/>
                  <a:gd name="T44" fmla="*/ 30 w 38"/>
                  <a:gd name="T45" fmla="*/ 0 h 20"/>
                  <a:gd name="T46" fmla="*/ 30 w 38"/>
                  <a:gd name="T47" fmla="*/ 2 h 20"/>
                  <a:gd name="T48" fmla="*/ 34 w 38"/>
                  <a:gd name="T49" fmla="*/ 6 h 20"/>
                  <a:gd name="T50" fmla="*/ 38 w 38"/>
                  <a:gd name="T51" fmla="*/ 12 h 20"/>
                  <a:gd name="T52" fmla="*/ 38 w 38"/>
                  <a:gd name="T53" fmla="*/ 12 h 20"/>
                  <a:gd name="T54" fmla="*/ 38 w 38"/>
                  <a:gd name="T55" fmla="*/ 14 h 20"/>
                  <a:gd name="T56" fmla="*/ 34 w 38"/>
                  <a:gd name="T57" fmla="*/ 18 h 20"/>
                  <a:gd name="T58" fmla="*/ 34 w 38"/>
                  <a:gd name="T59" fmla="*/ 18 h 20"/>
                  <a:gd name="T60" fmla="*/ 32 w 38"/>
                  <a:gd name="T61" fmla="*/ 20 h 20"/>
                  <a:gd name="T62" fmla="*/ 22 w 3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20">
                    <a:moveTo>
                      <a:pt x="22" y="20"/>
                    </a:moveTo>
                    <a:lnTo>
                      <a:pt x="22" y="20"/>
                    </a:lnTo>
                    <a:lnTo>
                      <a:pt x="20" y="20"/>
                    </a:lnTo>
                    <a:lnTo>
                      <a:pt x="16" y="16"/>
                    </a:lnTo>
                    <a:lnTo>
                      <a:pt x="10" y="18"/>
                    </a:lnTo>
                    <a:lnTo>
                      <a:pt x="10" y="18"/>
                    </a:lnTo>
                    <a:lnTo>
                      <a:pt x="10" y="18"/>
                    </a:lnTo>
                    <a:lnTo>
                      <a:pt x="10" y="18"/>
                    </a:lnTo>
                    <a:lnTo>
                      <a:pt x="8" y="18"/>
                    </a:lnTo>
                    <a:lnTo>
                      <a:pt x="2" y="16"/>
                    </a:lnTo>
                    <a:lnTo>
                      <a:pt x="2" y="16"/>
                    </a:lnTo>
                    <a:lnTo>
                      <a:pt x="0" y="14"/>
                    </a:lnTo>
                    <a:lnTo>
                      <a:pt x="0" y="14"/>
                    </a:lnTo>
                    <a:lnTo>
                      <a:pt x="0" y="12"/>
                    </a:lnTo>
                    <a:lnTo>
                      <a:pt x="4" y="6"/>
                    </a:lnTo>
                    <a:lnTo>
                      <a:pt x="4" y="6"/>
                    </a:lnTo>
                    <a:lnTo>
                      <a:pt x="4" y="6"/>
                    </a:lnTo>
                    <a:lnTo>
                      <a:pt x="12" y="0"/>
                    </a:lnTo>
                    <a:lnTo>
                      <a:pt x="12" y="0"/>
                    </a:lnTo>
                    <a:lnTo>
                      <a:pt x="14" y="0"/>
                    </a:lnTo>
                    <a:lnTo>
                      <a:pt x="14" y="0"/>
                    </a:lnTo>
                    <a:lnTo>
                      <a:pt x="30" y="0"/>
                    </a:lnTo>
                    <a:lnTo>
                      <a:pt x="30" y="0"/>
                    </a:lnTo>
                    <a:lnTo>
                      <a:pt x="30" y="2"/>
                    </a:lnTo>
                    <a:lnTo>
                      <a:pt x="34" y="6"/>
                    </a:lnTo>
                    <a:lnTo>
                      <a:pt x="38" y="12"/>
                    </a:lnTo>
                    <a:lnTo>
                      <a:pt x="38" y="12"/>
                    </a:lnTo>
                    <a:lnTo>
                      <a:pt x="38" y="14"/>
                    </a:lnTo>
                    <a:lnTo>
                      <a:pt x="34" y="18"/>
                    </a:lnTo>
                    <a:lnTo>
                      <a:pt x="34" y="18"/>
                    </a:lnTo>
                    <a:lnTo>
                      <a:pt x="3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6" name="Freeform 597"/>
              <p:cNvSpPr>
                <a:spLocks noEditPoints="1"/>
              </p:cNvSpPr>
              <p:nvPr/>
            </p:nvSpPr>
            <p:spPr bwMode="auto">
              <a:xfrm>
                <a:off x="2771" y="1649"/>
                <a:ext cx="42" cy="24"/>
              </a:xfrm>
              <a:custGeom>
                <a:avLst/>
                <a:gdLst>
                  <a:gd name="T0" fmla="*/ 16 w 42"/>
                  <a:gd name="T1" fmla="*/ 4 h 24"/>
                  <a:gd name="T2" fmla="*/ 32 w 42"/>
                  <a:gd name="T3" fmla="*/ 4 h 24"/>
                  <a:gd name="T4" fmla="*/ 34 w 42"/>
                  <a:gd name="T5" fmla="*/ 8 h 24"/>
                  <a:gd name="T6" fmla="*/ 38 w 42"/>
                  <a:gd name="T7" fmla="*/ 14 h 24"/>
                  <a:gd name="T8" fmla="*/ 34 w 42"/>
                  <a:gd name="T9" fmla="*/ 20 h 24"/>
                  <a:gd name="T10" fmla="*/ 24 w 42"/>
                  <a:gd name="T11" fmla="*/ 20 h 24"/>
                  <a:gd name="T12" fmla="*/ 18 w 42"/>
                  <a:gd name="T13" fmla="*/ 16 h 24"/>
                  <a:gd name="T14" fmla="*/ 12 w 42"/>
                  <a:gd name="T15" fmla="*/ 18 h 24"/>
                  <a:gd name="T16" fmla="*/ 4 w 42"/>
                  <a:gd name="T17" fmla="*/ 16 h 24"/>
                  <a:gd name="T18" fmla="*/ 8 w 42"/>
                  <a:gd name="T19" fmla="*/ 8 h 24"/>
                  <a:gd name="T20" fmla="*/ 16 w 42"/>
                  <a:gd name="T21" fmla="*/ 4 h 24"/>
                  <a:gd name="T22" fmla="*/ 16 w 42"/>
                  <a:gd name="T23" fmla="*/ 0 h 24"/>
                  <a:gd name="T24" fmla="*/ 16 w 42"/>
                  <a:gd name="T25" fmla="*/ 0 h 24"/>
                  <a:gd name="T26" fmla="*/ 12 w 42"/>
                  <a:gd name="T27" fmla="*/ 0 h 24"/>
                  <a:gd name="T28" fmla="*/ 6 w 42"/>
                  <a:gd name="T29" fmla="*/ 6 h 24"/>
                  <a:gd name="T30" fmla="*/ 6 w 42"/>
                  <a:gd name="T31" fmla="*/ 6 h 24"/>
                  <a:gd name="T32" fmla="*/ 4 w 42"/>
                  <a:gd name="T33" fmla="*/ 6 h 24"/>
                  <a:gd name="T34" fmla="*/ 2 w 42"/>
                  <a:gd name="T35" fmla="*/ 14 h 24"/>
                  <a:gd name="T36" fmla="*/ 2 w 42"/>
                  <a:gd name="T37" fmla="*/ 14 h 24"/>
                  <a:gd name="T38" fmla="*/ 0 w 42"/>
                  <a:gd name="T39" fmla="*/ 18 h 24"/>
                  <a:gd name="T40" fmla="*/ 0 w 42"/>
                  <a:gd name="T41" fmla="*/ 18 h 24"/>
                  <a:gd name="T42" fmla="*/ 4 w 42"/>
                  <a:gd name="T43" fmla="*/ 20 h 24"/>
                  <a:gd name="T44" fmla="*/ 10 w 42"/>
                  <a:gd name="T45" fmla="*/ 22 h 24"/>
                  <a:gd name="T46" fmla="*/ 10 w 42"/>
                  <a:gd name="T47" fmla="*/ 22 h 24"/>
                  <a:gd name="T48" fmla="*/ 12 w 42"/>
                  <a:gd name="T49" fmla="*/ 22 h 24"/>
                  <a:gd name="T50" fmla="*/ 12 w 42"/>
                  <a:gd name="T51" fmla="*/ 22 h 24"/>
                  <a:gd name="T52" fmla="*/ 14 w 42"/>
                  <a:gd name="T53" fmla="*/ 22 h 24"/>
                  <a:gd name="T54" fmla="*/ 18 w 42"/>
                  <a:gd name="T55" fmla="*/ 20 h 24"/>
                  <a:gd name="T56" fmla="*/ 22 w 42"/>
                  <a:gd name="T57" fmla="*/ 24 h 24"/>
                  <a:gd name="T58" fmla="*/ 22 w 42"/>
                  <a:gd name="T59" fmla="*/ 24 h 24"/>
                  <a:gd name="T60" fmla="*/ 24 w 42"/>
                  <a:gd name="T61" fmla="*/ 24 h 24"/>
                  <a:gd name="T62" fmla="*/ 34 w 42"/>
                  <a:gd name="T63" fmla="*/ 24 h 24"/>
                  <a:gd name="T64" fmla="*/ 34 w 42"/>
                  <a:gd name="T65" fmla="*/ 24 h 24"/>
                  <a:gd name="T66" fmla="*/ 38 w 42"/>
                  <a:gd name="T67" fmla="*/ 22 h 24"/>
                  <a:gd name="T68" fmla="*/ 42 w 42"/>
                  <a:gd name="T69" fmla="*/ 16 h 24"/>
                  <a:gd name="T70" fmla="*/ 42 w 42"/>
                  <a:gd name="T71" fmla="*/ 16 h 24"/>
                  <a:gd name="T72" fmla="*/ 42 w 42"/>
                  <a:gd name="T73" fmla="*/ 14 h 24"/>
                  <a:gd name="T74" fmla="*/ 42 w 42"/>
                  <a:gd name="T75" fmla="*/ 12 h 24"/>
                  <a:gd name="T76" fmla="*/ 38 w 42"/>
                  <a:gd name="T77" fmla="*/ 6 h 24"/>
                  <a:gd name="T78" fmla="*/ 38 w 42"/>
                  <a:gd name="T79" fmla="*/ 6 h 24"/>
                  <a:gd name="T80" fmla="*/ 38 w 42"/>
                  <a:gd name="T81" fmla="*/ 6 h 24"/>
                  <a:gd name="T82" fmla="*/ 34 w 42"/>
                  <a:gd name="T83" fmla="*/ 2 h 24"/>
                  <a:gd name="T84" fmla="*/ 34 w 42"/>
                  <a:gd name="T85" fmla="*/ 2 h 24"/>
                  <a:gd name="T86" fmla="*/ 32 w 42"/>
                  <a:gd name="T87" fmla="*/ 0 h 24"/>
                  <a:gd name="T88" fmla="*/ 16 w 42"/>
                  <a:gd name="T89" fmla="*/ 0 h 24"/>
                  <a:gd name="T90" fmla="*/ 16 w 42"/>
                  <a:gd name="T91" fmla="*/ 0 h 24"/>
                  <a:gd name="T92" fmla="*/ 16 w 42"/>
                  <a:gd name="T93" fmla="*/ 0 h 24"/>
                  <a:gd name="T94" fmla="*/ 16 w 42"/>
                  <a:gd name="T9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24">
                    <a:moveTo>
                      <a:pt x="16" y="4"/>
                    </a:moveTo>
                    <a:lnTo>
                      <a:pt x="32" y="4"/>
                    </a:lnTo>
                    <a:lnTo>
                      <a:pt x="34" y="8"/>
                    </a:lnTo>
                    <a:lnTo>
                      <a:pt x="38" y="14"/>
                    </a:lnTo>
                    <a:lnTo>
                      <a:pt x="34" y="20"/>
                    </a:lnTo>
                    <a:lnTo>
                      <a:pt x="24" y="20"/>
                    </a:lnTo>
                    <a:lnTo>
                      <a:pt x="18" y="16"/>
                    </a:lnTo>
                    <a:lnTo>
                      <a:pt x="12" y="18"/>
                    </a:lnTo>
                    <a:lnTo>
                      <a:pt x="4" y="16"/>
                    </a:lnTo>
                    <a:lnTo>
                      <a:pt x="8" y="8"/>
                    </a:lnTo>
                    <a:lnTo>
                      <a:pt x="16" y="4"/>
                    </a:lnTo>
                    <a:close/>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7" name="Freeform 598"/>
              <p:cNvSpPr>
                <a:spLocks/>
              </p:cNvSpPr>
              <p:nvPr/>
            </p:nvSpPr>
            <p:spPr bwMode="auto">
              <a:xfrm>
                <a:off x="2775" y="1653"/>
                <a:ext cx="34" cy="16"/>
              </a:xfrm>
              <a:custGeom>
                <a:avLst/>
                <a:gdLst>
                  <a:gd name="T0" fmla="*/ 12 w 34"/>
                  <a:gd name="T1" fmla="*/ 0 h 16"/>
                  <a:gd name="T2" fmla="*/ 28 w 34"/>
                  <a:gd name="T3" fmla="*/ 0 h 16"/>
                  <a:gd name="T4" fmla="*/ 30 w 34"/>
                  <a:gd name="T5" fmla="*/ 4 h 16"/>
                  <a:gd name="T6" fmla="*/ 34 w 34"/>
                  <a:gd name="T7" fmla="*/ 10 h 16"/>
                  <a:gd name="T8" fmla="*/ 30 w 34"/>
                  <a:gd name="T9" fmla="*/ 16 h 16"/>
                  <a:gd name="T10" fmla="*/ 20 w 34"/>
                  <a:gd name="T11" fmla="*/ 16 h 16"/>
                  <a:gd name="T12" fmla="*/ 14 w 34"/>
                  <a:gd name="T13" fmla="*/ 12 h 16"/>
                  <a:gd name="T14" fmla="*/ 8 w 34"/>
                  <a:gd name="T15" fmla="*/ 14 h 16"/>
                  <a:gd name="T16" fmla="*/ 0 w 34"/>
                  <a:gd name="T17" fmla="*/ 12 h 16"/>
                  <a:gd name="T18" fmla="*/ 4 w 34"/>
                  <a:gd name="T19" fmla="*/ 4 h 16"/>
                  <a:gd name="T20" fmla="*/ 12 w 34"/>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6">
                    <a:moveTo>
                      <a:pt x="12" y="0"/>
                    </a:moveTo>
                    <a:lnTo>
                      <a:pt x="28" y="0"/>
                    </a:lnTo>
                    <a:lnTo>
                      <a:pt x="30" y="4"/>
                    </a:lnTo>
                    <a:lnTo>
                      <a:pt x="34" y="10"/>
                    </a:lnTo>
                    <a:lnTo>
                      <a:pt x="30" y="16"/>
                    </a:lnTo>
                    <a:lnTo>
                      <a:pt x="20" y="16"/>
                    </a:lnTo>
                    <a:lnTo>
                      <a:pt x="14" y="12"/>
                    </a:lnTo>
                    <a:lnTo>
                      <a:pt x="8" y="14"/>
                    </a:lnTo>
                    <a:lnTo>
                      <a:pt x="0" y="12"/>
                    </a:lnTo>
                    <a:lnTo>
                      <a:pt x="4"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8" name="Freeform 599"/>
              <p:cNvSpPr>
                <a:spLocks/>
              </p:cNvSpPr>
              <p:nvPr/>
            </p:nvSpPr>
            <p:spPr bwMode="auto">
              <a:xfrm>
                <a:off x="2771" y="1649"/>
                <a:ext cx="42" cy="24"/>
              </a:xfrm>
              <a:custGeom>
                <a:avLst/>
                <a:gdLst>
                  <a:gd name="T0" fmla="*/ 16 w 42"/>
                  <a:gd name="T1" fmla="*/ 0 h 24"/>
                  <a:gd name="T2" fmla="*/ 16 w 42"/>
                  <a:gd name="T3" fmla="*/ 0 h 24"/>
                  <a:gd name="T4" fmla="*/ 12 w 42"/>
                  <a:gd name="T5" fmla="*/ 0 h 24"/>
                  <a:gd name="T6" fmla="*/ 6 w 42"/>
                  <a:gd name="T7" fmla="*/ 6 h 24"/>
                  <a:gd name="T8" fmla="*/ 6 w 42"/>
                  <a:gd name="T9" fmla="*/ 6 h 24"/>
                  <a:gd name="T10" fmla="*/ 4 w 42"/>
                  <a:gd name="T11" fmla="*/ 6 h 24"/>
                  <a:gd name="T12" fmla="*/ 2 w 42"/>
                  <a:gd name="T13" fmla="*/ 14 h 24"/>
                  <a:gd name="T14" fmla="*/ 2 w 42"/>
                  <a:gd name="T15" fmla="*/ 14 h 24"/>
                  <a:gd name="T16" fmla="*/ 0 w 42"/>
                  <a:gd name="T17" fmla="*/ 18 h 24"/>
                  <a:gd name="T18" fmla="*/ 0 w 42"/>
                  <a:gd name="T19" fmla="*/ 18 h 24"/>
                  <a:gd name="T20" fmla="*/ 4 w 42"/>
                  <a:gd name="T21" fmla="*/ 20 h 24"/>
                  <a:gd name="T22" fmla="*/ 10 w 42"/>
                  <a:gd name="T23" fmla="*/ 22 h 24"/>
                  <a:gd name="T24" fmla="*/ 10 w 42"/>
                  <a:gd name="T25" fmla="*/ 22 h 24"/>
                  <a:gd name="T26" fmla="*/ 12 w 42"/>
                  <a:gd name="T27" fmla="*/ 22 h 24"/>
                  <a:gd name="T28" fmla="*/ 12 w 42"/>
                  <a:gd name="T29" fmla="*/ 22 h 24"/>
                  <a:gd name="T30" fmla="*/ 14 w 42"/>
                  <a:gd name="T31" fmla="*/ 22 h 24"/>
                  <a:gd name="T32" fmla="*/ 18 w 42"/>
                  <a:gd name="T33" fmla="*/ 20 h 24"/>
                  <a:gd name="T34" fmla="*/ 22 w 42"/>
                  <a:gd name="T35" fmla="*/ 24 h 24"/>
                  <a:gd name="T36" fmla="*/ 22 w 42"/>
                  <a:gd name="T37" fmla="*/ 24 h 24"/>
                  <a:gd name="T38" fmla="*/ 24 w 42"/>
                  <a:gd name="T39" fmla="*/ 24 h 24"/>
                  <a:gd name="T40" fmla="*/ 34 w 42"/>
                  <a:gd name="T41" fmla="*/ 24 h 24"/>
                  <a:gd name="T42" fmla="*/ 34 w 42"/>
                  <a:gd name="T43" fmla="*/ 24 h 24"/>
                  <a:gd name="T44" fmla="*/ 38 w 42"/>
                  <a:gd name="T45" fmla="*/ 22 h 24"/>
                  <a:gd name="T46" fmla="*/ 42 w 42"/>
                  <a:gd name="T47" fmla="*/ 16 h 24"/>
                  <a:gd name="T48" fmla="*/ 42 w 42"/>
                  <a:gd name="T49" fmla="*/ 16 h 24"/>
                  <a:gd name="T50" fmla="*/ 42 w 42"/>
                  <a:gd name="T51" fmla="*/ 14 h 24"/>
                  <a:gd name="T52" fmla="*/ 42 w 42"/>
                  <a:gd name="T53" fmla="*/ 12 h 24"/>
                  <a:gd name="T54" fmla="*/ 38 w 42"/>
                  <a:gd name="T55" fmla="*/ 6 h 24"/>
                  <a:gd name="T56" fmla="*/ 38 w 42"/>
                  <a:gd name="T57" fmla="*/ 6 h 24"/>
                  <a:gd name="T58" fmla="*/ 38 w 42"/>
                  <a:gd name="T59" fmla="*/ 6 h 24"/>
                  <a:gd name="T60" fmla="*/ 34 w 42"/>
                  <a:gd name="T61" fmla="*/ 2 h 24"/>
                  <a:gd name="T62" fmla="*/ 34 w 42"/>
                  <a:gd name="T63" fmla="*/ 2 h 24"/>
                  <a:gd name="T64" fmla="*/ 32 w 42"/>
                  <a:gd name="T65" fmla="*/ 0 h 24"/>
                  <a:gd name="T66" fmla="*/ 16 w 42"/>
                  <a:gd name="T67" fmla="*/ 0 h 24"/>
                  <a:gd name="T68" fmla="*/ 16 w 42"/>
                  <a:gd name="T69" fmla="*/ 0 h 24"/>
                  <a:gd name="T70" fmla="*/ 16 w 42"/>
                  <a:gd name="T71" fmla="*/ 0 h 24"/>
                  <a:gd name="T72" fmla="*/ 16 w 42"/>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24">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9" name="Freeform 600"/>
              <p:cNvSpPr>
                <a:spLocks/>
              </p:cNvSpPr>
              <p:nvPr/>
            </p:nvSpPr>
            <p:spPr bwMode="auto">
              <a:xfrm>
                <a:off x="2741" y="1661"/>
                <a:ext cx="64" cy="60"/>
              </a:xfrm>
              <a:custGeom>
                <a:avLst/>
                <a:gdLst>
                  <a:gd name="T0" fmla="*/ 18 w 64"/>
                  <a:gd name="T1" fmla="*/ 60 h 60"/>
                  <a:gd name="T2" fmla="*/ 18 w 64"/>
                  <a:gd name="T3" fmla="*/ 60 h 60"/>
                  <a:gd name="T4" fmla="*/ 18 w 64"/>
                  <a:gd name="T5" fmla="*/ 60 h 60"/>
                  <a:gd name="T6" fmla="*/ 8 w 64"/>
                  <a:gd name="T7" fmla="*/ 56 h 60"/>
                  <a:gd name="T8" fmla="*/ 8 w 64"/>
                  <a:gd name="T9" fmla="*/ 56 h 60"/>
                  <a:gd name="T10" fmla="*/ 8 w 64"/>
                  <a:gd name="T11" fmla="*/ 56 h 60"/>
                  <a:gd name="T12" fmla="*/ 0 w 64"/>
                  <a:gd name="T13" fmla="*/ 46 h 60"/>
                  <a:gd name="T14" fmla="*/ 0 w 64"/>
                  <a:gd name="T15" fmla="*/ 46 h 60"/>
                  <a:gd name="T16" fmla="*/ 0 w 64"/>
                  <a:gd name="T17" fmla="*/ 46 h 60"/>
                  <a:gd name="T18" fmla="*/ 0 w 64"/>
                  <a:gd name="T19" fmla="*/ 46 h 60"/>
                  <a:gd name="T20" fmla="*/ 0 w 64"/>
                  <a:gd name="T21" fmla="*/ 44 h 60"/>
                  <a:gd name="T22" fmla="*/ 8 w 64"/>
                  <a:gd name="T23" fmla="*/ 38 h 60"/>
                  <a:gd name="T24" fmla="*/ 10 w 64"/>
                  <a:gd name="T25" fmla="*/ 30 h 60"/>
                  <a:gd name="T26" fmla="*/ 10 w 64"/>
                  <a:gd name="T27" fmla="*/ 30 h 60"/>
                  <a:gd name="T28" fmla="*/ 12 w 64"/>
                  <a:gd name="T29" fmla="*/ 28 h 60"/>
                  <a:gd name="T30" fmla="*/ 16 w 64"/>
                  <a:gd name="T31" fmla="*/ 26 h 60"/>
                  <a:gd name="T32" fmla="*/ 14 w 64"/>
                  <a:gd name="T33" fmla="*/ 24 h 60"/>
                  <a:gd name="T34" fmla="*/ 6 w 64"/>
                  <a:gd name="T35" fmla="*/ 26 h 60"/>
                  <a:gd name="T36" fmla="*/ 6 w 64"/>
                  <a:gd name="T37" fmla="*/ 26 h 60"/>
                  <a:gd name="T38" fmla="*/ 4 w 64"/>
                  <a:gd name="T39" fmla="*/ 26 h 60"/>
                  <a:gd name="T40" fmla="*/ 4 w 64"/>
                  <a:gd name="T41" fmla="*/ 26 h 60"/>
                  <a:gd name="T42" fmla="*/ 2 w 64"/>
                  <a:gd name="T43" fmla="*/ 24 h 60"/>
                  <a:gd name="T44" fmla="*/ 2 w 64"/>
                  <a:gd name="T45" fmla="*/ 18 h 60"/>
                  <a:gd name="T46" fmla="*/ 2 w 64"/>
                  <a:gd name="T47" fmla="*/ 18 h 60"/>
                  <a:gd name="T48" fmla="*/ 2 w 64"/>
                  <a:gd name="T49" fmla="*/ 16 h 60"/>
                  <a:gd name="T50" fmla="*/ 4 w 64"/>
                  <a:gd name="T51" fmla="*/ 12 h 60"/>
                  <a:gd name="T52" fmla="*/ 2 w 64"/>
                  <a:gd name="T53" fmla="*/ 8 h 60"/>
                  <a:gd name="T54" fmla="*/ 2 w 64"/>
                  <a:gd name="T55" fmla="*/ 8 h 60"/>
                  <a:gd name="T56" fmla="*/ 4 w 64"/>
                  <a:gd name="T57" fmla="*/ 6 h 60"/>
                  <a:gd name="T58" fmla="*/ 10 w 64"/>
                  <a:gd name="T59" fmla="*/ 0 h 60"/>
                  <a:gd name="T60" fmla="*/ 10 w 64"/>
                  <a:gd name="T61" fmla="*/ 0 h 60"/>
                  <a:gd name="T62" fmla="*/ 10 w 64"/>
                  <a:gd name="T63" fmla="*/ 0 h 60"/>
                  <a:gd name="T64" fmla="*/ 10 w 64"/>
                  <a:gd name="T65" fmla="*/ 0 h 60"/>
                  <a:gd name="T66" fmla="*/ 12 w 64"/>
                  <a:gd name="T67" fmla="*/ 0 h 60"/>
                  <a:gd name="T68" fmla="*/ 20 w 64"/>
                  <a:gd name="T69" fmla="*/ 4 h 60"/>
                  <a:gd name="T70" fmla="*/ 34 w 64"/>
                  <a:gd name="T71" fmla="*/ 0 h 60"/>
                  <a:gd name="T72" fmla="*/ 34 w 64"/>
                  <a:gd name="T73" fmla="*/ 0 h 60"/>
                  <a:gd name="T74" fmla="*/ 34 w 64"/>
                  <a:gd name="T75" fmla="*/ 0 h 60"/>
                  <a:gd name="T76" fmla="*/ 34 w 64"/>
                  <a:gd name="T77" fmla="*/ 0 h 60"/>
                  <a:gd name="T78" fmla="*/ 36 w 64"/>
                  <a:gd name="T79" fmla="*/ 0 h 60"/>
                  <a:gd name="T80" fmla="*/ 42 w 64"/>
                  <a:gd name="T81" fmla="*/ 4 h 60"/>
                  <a:gd name="T82" fmla="*/ 48 w 64"/>
                  <a:gd name="T83" fmla="*/ 0 h 60"/>
                  <a:gd name="T84" fmla="*/ 48 w 64"/>
                  <a:gd name="T85" fmla="*/ 0 h 60"/>
                  <a:gd name="T86" fmla="*/ 50 w 64"/>
                  <a:gd name="T87" fmla="*/ 0 h 60"/>
                  <a:gd name="T88" fmla="*/ 50 w 64"/>
                  <a:gd name="T89" fmla="*/ 0 h 60"/>
                  <a:gd name="T90" fmla="*/ 50 w 64"/>
                  <a:gd name="T91" fmla="*/ 0 h 60"/>
                  <a:gd name="T92" fmla="*/ 62 w 64"/>
                  <a:gd name="T93" fmla="*/ 12 h 60"/>
                  <a:gd name="T94" fmla="*/ 62 w 64"/>
                  <a:gd name="T95" fmla="*/ 12 h 60"/>
                  <a:gd name="T96" fmla="*/ 62 w 64"/>
                  <a:gd name="T97" fmla="*/ 12 h 60"/>
                  <a:gd name="T98" fmla="*/ 64 w 64"/>
                  <a:gd name="T99" fmla="*/ 26 h 60"/>
                  <a:gd name="T100" fmla="*/ 62 w 64"/>
                  <a:gd name="T101" fmla="*/ 42 h 60"/>
                  <a:gd name="T102" fmla="*/ 62 w 64"/>
                  <a:gd name="T103" fmla="*/ 42 h 60"/>
                  <a:gd name="T104" fmla="*/ 62 w 64"/>
                  <a:gd name="T105" fmla="*/ 44 h 60"/>
                  <a:gd name="T106" fmla="*/ 46 w 64"/>
                  <a:gd name="T107" fmla="*/ 48 h 60"/>
                  <a:gd name="T108" fmla="*/ 36 w 64"/>
                  <a:gd name="T109" fmla="*/ 52 h 60"/>
                  <a:gd name="T110" fmla="*/ 26 w 64"/>
                  <a:gd name="T111" fmla="*/ 56 h 60"/>
                  <a:gd name="T112" fmla="*/ 18 w 64"/>
                  <a:gd name="T113" fmla="*/ 60 h 60"/>
                  <a:gd name="T114" fmla="*/ 18 w 64"/>
                  <a:gd name="T115" fmla="*/ 60 h 60"/>
                  <a:gd name="T116" fmla="*/ 18 w 64"/>
                  <a:gd name="T117" fmla="*/ 60 h 60"/>
                  <a:gd name="T118" fmla="*/ 18 w 64"/>
                  <a:gd name="T1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60">
                    <a:moveTo>
                      <a:pt x="18" y="60"/>
                    </a:moveTo>
                    <a:lnTo>
                      <a:pt x="18" y="60"/>
                    </a:lnTo>
                    <a:lnTo>
                      <a:pt x="18" y="60"/>
                    </a:lnTo>
                    <a:lnTo>
                      <a:pt x="8" y="56"/>
                    </a:lnTo>
                    <a:lnTo>
                      <a:pt x="8" y="56"/>
                    </a:lnTo>
                    <a:lnTo>
                      <a:pt x="8" y="56"/>
                    </a:lnTo>
                    <a:lnTo>
                      <a:pt x="0" y="46"/>
                    </a:lnTo>
                    <a:lnTo>
                      <a:pt x="0" y="46"/>
                    </a:lnTo>
                    <a:lnTo>
                      <a:pt x="0" y="46"/>
                    </a:lnTo>
                    <a:lnTo>
                      <a:pt x="0" y="46"/>
                    </a:lnTo>
                    <a:lnTo>
                      <a:pt x="0" y="44"/>
                    </a:lnTo>
                    <a:lnTo>
                      <a:pt x="8" y="38"/>
                    </a:lnTo>
                    <a:lnTo>
                      <a:pt x="10" y="30"/>
                    </a:lnTo>
                    <a:lnTo>
                      <a:pt x="10" y="30"/>
                    </a:lnTo>
                    <a:lnTo>
                      <a:pt x="12" y="28"/>
                    </a:lnTo>
                    <a:lnTo>
                      <a:pt x="16" y="26"/>
                    </a:lnTo>
                    <a:lnTo>
                      <a:pt x="14" y="24"/>
                    </a:lnTo>
                    <a:lnTo>
                      <a:pt x="6" y="26"/>
                    </a:lnTo>
                    <a:lnTo>
                      <a:pt x="6" y="26"/>
                    </a:lnTo>
                    <a:lnTo>
                      <a:pt x="4" y="26"/>
                    </a:lnTo>
                    <a:lnTo>
                      <a:pt x="4" y="26"/>
                    </a:lnTo>
                    <a:lnTo>
                      <a:pt x="2" y="24"/>
                    </a:lnTo>
                    <a:lnTo>
                      <a:pt x="2" y="18"/>
                    </a:lnTo>
                    <a:lnTo>
                      <a:pt x="2" y="18"/>
                    </a:lnTo>
                    <a:lnTo>
                      <a:pt x="2" y="16"/>
                    </a:lnTo>
                    <a:lnTo>
                      <a:pt x="4" y="12"/>
                    </a:lnTo>
                    <a:lnTo>
                      <a:pt x="2" y="8"/>
                    </a:lnTo>
                    <a:lnTo>
                      <a:pt x="2" y="8"/>
                    </a:lnTo>
                    <a:lnTo>
                      <a:pt x="4" y="6"/>
                    </a:lnTo>
                    <a:lnTo>
                      <a:pt x="10" y="0"/>
                    </a:lnTo>
                    <a:lnTo>
                      <a:pt x="10" y="0"/>
                    </a:lnTo>
                    <a:lnTo>
                      <a:pt x="10" y="0"/>
                    </a:lnTo>
                    <a:lnTo>
                      <a:pt x="10" y="0"/>
                    </a:lnTo>
                    <a:lnTo>
                      <a:pt x="12" y="0"/>
                    </a:lnTo>
                    <a:lnTo>
                      <a:pt x="20" y="4"/>
                    </a:lnTo>
                    <a:lnTo>
                      <a:pt x="34" y="0"/>
                    </a:lnTo>
                    <a:lnTo>
                      <a:pt x="34" y="0"/>
                    </a:lnTo>
                    <a:lnTo>
                      <a:pt x="34" y="0"/>
                    </a:lnTo>
                    <a:lnTo>
                      <a:pt x="34" y="0"/>
                    </a:lnTo>
                    <a:lnTo>
                      <a:pt x="36" y="0"/>
                    </a:lnTo>
                    <a:lnTo>
                      <a:pt x="42" y="4"/>
                    </a:lnTo>
                    <a:lnTo>
                      <a:pt x="48" y="0"/>
                    </a:lnTo>
                    <a:lnTo>
                      <a:pt x="48" y="0"/>
                    </a:lnTo>
                    <a:lnTo>
                      <a:pt x="50" y="0"/>
                    </a:lnTo>
                    <a:lnTo>
                      <a:pt x="50" y="0"/>
                    </a:lnTo>
                    <a:lnTo>
                      <a:pt x="50" y="0"/>
                    </a:lnTo>
                    <a:lnTo>
                      <a:pt x="62" y="12"/>
                    </a:lnTo>
                    <a:lnTo>
                      <a:pt x="62" y="12"/>
                    </a:lnTo>
                    <a:lnTo>
                      <a:pt x="62" y="12"/>
                    </a:lnTo>
                    <a:lnTo>
                      <a:pt x="64" y="26"/>
                    </a:lnTo>
                    <a:lnTo>
                      <a:pt x="62" y="42"/>
                    </a:lnTo>
                    <a:lnTo>
                      <a:pt x="62" y="42"/>
                    </a:lnTo>
                    <a:lnTo>
                      <a:pt x="62" y="44"/>
                    </a:lnTo>
                    <a:lnTo>
                      <a:pt x="46" y="48"/>
                    </a:lnTo>
                    <a:lnTo>
                      <a:pt x="36" y="52"/>
                    </a:lnTo>
                    <a:lnTo>
                      <a:pt x="26" y="56"/>
                    </a:lnTo>
                    <a:lnTo>
                      <a:pt x="18" y="60"/>
                    </a:lnTo>
                    <a:lnTo>
                      <a:pt x="18"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0" name="Freeform 601"/>
              <p:cNvSpPr>
                <a:spLocks noEditPoints="1"/>
              </p:cNvSpPr>
              <p:nvPr/>
            </p:nvSpPr>
            <p:spPr bwMode="auto">
              <a:xfrm>
                <a:off x="2739" y="1659"/>
                <a:ext cx="68" cy="64"/>
              </a:xfrm>
              <a:custGeom>
                <a:avLst/>
                <a:gdLst>
                  <a:gd name="T0" fmla="*/ 58 w 68"/>
                  <a:gd name="T1" fmla="*/ 10 h 64"/>
                  <a:gd name="T2" fmla="*/ 64 w 68"/>
                  <a:gd name="T3" fmla="*/ 28 h 64"/>
                  <a:gd name="T4" fmla="*/ 48 w 68"/>
                  <a:gd name="T5" fmla="*/ 48 h 64"/>
                  <a:gd name="T6" fmla="*/ 28 w 68"/>
                  <a:gd name="T7" fmla="*/ 56 h 64"/>
                  <a:gd name="T8" fmla="*/ 10 w 68"/>
                  <a:gd name="T9" fmla="*/ 56 h 64"/>
                  <a:gd name="T10" fmla="*/ 12 w 68"/>
                  <a:gd name="T11" fmla="*/ 40 h 64"/>
                  <a:gd name="T12" fmla="*/ 22 w 68"/>
                  <a:gd name="T13" fmla="*/ 28 h 64"/>
                  <a:gd name="T14" fmla="*/ 6 w 68"/>
                  <a:gd name="T15" fmla="*/ 26 h 64"/>
                  <a:gd name="T16" fmla="*/ 8 w 68"/>
                  <a:gd name="T17" fmla="*/ 16 h 64"/>
                  <a:gd name="T18" fmla="*/ 12 w 68"/>
                  <a:gd name="T19" fmla="*/ 4 h 64"/>
                  <a:gd name="T20" fmla="*/ 30 w 68"/>
                  <a:gd name="T21" fmla="*/ 6 h 64"/>
                  <a:gd name="T22" fmla="*/ 44 w 68"/>
                  <a:gd name="T23" fmla="*/ 8 h 64"/>
                  <a:gd name="T24" fmla="*/ 12 w 68"/>
                  <a:gd name="T25" fmla="*/ 0 h 64"/>
                  <a:gd name="T26" fmla="*/ 10 w 68"/>
                  <a:gd name="T27" fmla="*/ 2 h 64"/>
                  <a:gd name="T28" fmla="*/ 4 w 68"/>
                  <a:gd name="T29" fmla="*/ 6 h 64"/>
                  <a:gd name="T30" fmla="*/ 4 w 68"/>
                  <a:gd name="T31" fmla="*/ 12 h 64"/>
                  <a:gd name="T32" fmla="*/ 2 w 68"/>
                  <a:gd name="T33" fmla="*/ 16 h 64"/>
                  <a:gd name="T34" fmla="*/ 2 w 68"/>
                  <a:gd name="T35" fmla="*/ 20 h 64"/>
                  <a:gd name="T36" fmla="*/ 2 w 68"/>
                  <a:gd name="T37" fmla="*/ 26 h 64"/>
                  <a:gd name="T38" fmla="*/ 6 w 68"/>
                  <a:gd name="T39" fmla="*/ 30 h 64"/>
                  <a:gd name="T40" fmla="*/ 8 w 68"/>
                  <a:gd name="T41" fmla="*/ 30 h 64"/>
                  <a:gd name="T42" fmla="*/ 10 w 68"/>
                  <a:gd name="T43" fmla="*/ 30 h 64"/>
                  <a:gd name="T44" fmla="*/ 8 w 68"/>
                  <a:gd name="T45" fmla="*/ 38 h 64"/>
                  <a:gd name="T46" fmla="*/ 0 w 68"/>
                  <a:gd name="T47" fmla="*/ 44 h 64"/>
                  <a:gd name="T48" fmla="*/ 0 w 68"/>
                  <a:gd name="T49" fmla="*/ 48 h 64"/>
                  <a:gd name="T50" fmla="*/ 8 w 68"/>
                  <a:gd name="T51" fmla="*/ 60 h 64"/>
                  <a:gd name="T52" fmla="*/ 10 w 68"/>
                  <a:gd name="T53" fmla="*/ 60 h 64"/>
                  <a:gd name="T54" fmla="*/ 18 w 68"/>
                  <a:gd name="T55" fmla="*/ 64 h 64"/>
                  <a:gd name="T56" fmla="*/ 20 w 68"/>
                  <a:gd name="T57" fmla="*/ 64 h 64"/>
                  <a:gd name="T58" fmla="*/ 30 w 68"/>
                  <a:gd name="T59" fmla="*/ 60 h 64"/>
                  <a:gd name="T60" fmla="*/ 50 w 68"/>
                  <a:gd name="T61" fmla="*/ 52 h 64"/>
                  <a:gd name="T62" fmla="*/ 64 w 68"/>
                  <a:gd name="T63" fmla="*/ 48 h 64"/>
                  <a:gd name="T64" fmla="*/ 66 w 68"/>
                  <a:gd name="T65" fmla="*/ 44 h 64"/>
                  <a:gd name="T66" fmla="*/ 68 w 68"/>
                  <a:gd name="T67" fmla="*/ 28 h 64"/>
                  <a:gd name="T68" fmla="*/ 66 w 68"/>
                  <a:gd name="T69" fmla="*/ 14 h 64"/>
                  <a:gd name="T70" fmla="*/ 66 w 68"/>
                  <a:gd name="T71" fmla="*/ 12 h 64"/>
                  <a:gd name="T72" fmla="*/ 54 w 68"/>
                  <a:gd name="T73" fmla="*/ 2 h 64"/>
                  <a:gd name="T74" fmla="*/ 52 w 68"/>
                  <a:gd name="T75" fmla="*/ 0 h 64"/>
                  <a:gd name="T76" fmla="*/ 50 w 68"/>
                  <a:gd name="T77" fmla="*/ 0 h 64"/>
                  <a:gd name="T78" fmla="*/ 38 w 68"/>
                  <a:gd name="T79" fmla="*/ 0 h 64"/>
                  <a:gd name="T80" fmla="*/ 36 w 68"/>
                  <a:gd name="T81" fmla="*/ 0 h 64"/>
                  <a:gd name="T82" fmla="*/ 36 w 68"/>
                  <a:gd name="T83" fmla="*/ 0 h 64"/>
                  <a:gd name="T84" fmla="*/ 22 w 68"/>
                  <a:gd name="T85" fmla="*/ 4 h 64"/>
                  <a:gd name="T86" fmla="*/ 14 w 68"/>
                  <a:gd name="T87" fmla="*/ 0 h 64"/>
                  <a:gd name="T88" fmla="*/ 12 w 68"/>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64">
                    <a:moveTo>
                      <a:pt x="52" y="4"/>
                    </a:moveTo>
                    <a:lnTo>
                      <a:pt x="58" y="10"/>
                    </a:lnTo>
                    <a:lnTo>
                      <a:pt x="62" y="16"/>
                    </a:lnTo>
                    <a:lnTo>
                      <a:pt x="64" y="28"/>
                    </a:lnTo>
                    <a:lnTo>
                      <a:pt x="62" y="44"/>
                    </a:lnTo>
                    <a:lnTo>
                      <a:pt x="48" y="48"/>
                    </a:lnTo>
                    <a:lnTo>
                      <a:pt x="36" y="52"/>
                    </a:lnTo>
                    <a:lnTo>
                      <a:pt x="28" y="56"/>
                    </a:lnTo>
                    <a:lnTo>
                      <a:pt x="20" y="60"/>
                    </a:lnTo>
                    <a:lnTo>
                      <a:pt x="10" y="56"/>
                    </a:lnTo>
                    <a:lnTo>
                      <a:pt x="4" y="48"/>
                    </a:lnTo>
                    <a:lnTo>
                      <a:pt x="12" y="40"/>
                    </a:lnTo>
                    <a:lnTo>
                      <a:pt x="14" y="32"/>
                    </a:lnTo>
                    <a:lnTo>
                      <a:pt x="22" y="28"/>
                    </a:lnTo>
                    <a:lnTo>
                      <a:pt x="16" y="24"/>
                    </a:lnTo>
                    <a:lnTo>
                      <a:pt x="6" y="26"/>
                    </a:lnTo>
                    <a:lnTo>
                      <a:pt x="4" y="18"/>
                    </a:lnTo>
                    <a:lnTo>
                      <a:pt x="8" y="16"/>
                    </a:lnTo>
                    <a:lnTo>
                      <a:pt x="6" y="10"/>
                    </a:lnTo>
                    <a:lnTo>
                      <a:pt x="12" y="4"/>
                    </a:lnTo>
                    <a:lnTo>
                      <a:pt x="22" y="8"/>
                    </a:lnTo>
                    <a:lnTo>
                      <a:pt x="30" y="6"/>
                    </a:lnTo>
                    <a:lnTo>
                      <a:pt x="36" y="4"/>
                    </a:lnTo>
                    <a:lnTo>
                      <a:pt x="44" y="8"/>
                    </a:lnTo>
                    <a:lnTo>
                      <a:pt x="52" y="4"/>
                    </a:lnTo>
                    <a:close/>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1" name="Freeform 602"/>
              <p:cNvSpPr>
                <a:spLocks/>
              </p:cNvSpPr>
              <p:nvPr/>
            </p:nvSpPr>
            <p:spPr bwMode="auto">
              <a:xfrm>
                <a:off x="2743" y="1663"/>
                <a:ext cx="60" cy="56"/>
              </a:xfrm>
              <a:custGeom>
                <a:avLst/>
                <a:gdLst>
                  <a:gd name="T0" fmla="*/ 48 w 60"/>
                  <a:gd name="T1" fmla="*/ 0 h 56"/>
                  <a:gd name="T2" fmla="*/ 54 w 60"/>
                  <a:gd name="T3" fmla="*/ 6 h 56"/>
                  <a:gd name="T4" fmla="*/ 58 w 60"/>
                  <a:gd name="T5" fmla="*/ 12 h 56"/>
                  <a:gd name="T6" fmla="*/ 60 w 60"/>
                  <a:gd name="T7" fmla="*/ 24 h 56"/>
                  <a:gd name="T8" fmla="*/ 58 w 60"/>
                  <a:gd name="T9" fmla="*/ 40 h 56"/>
                  <a:gd name="T10" fmla="*/ 44 w 60"/>
                  <a:gd name="T11" fmla="*/ 44 h 56"/>
                  <a:gd name="T12" fmla="*/ 32 w 60"/>
                  <a:gd name="T13" fmla="*/ 48 h 56"/>
                  <a:gd name="T14" fmla="*/ 24 w 60"/>
                  <a:gd name="T15" fmla="*/ 52 h 56"/>
                  <a:gd name="T16" fmla="*/ 16 w 60"/>
                  <a:gd name="T17" fmla="*/ 56 h 56"/>
                  <a:gd name="T18" fmla="*/ 6 w 60"/>
                  <a:gd name="T19" fmla="*/ 52 h 56"/>
                  <a:gd name="T20" fmla="*/ 0 w 60"/>
                  <a:gd name="T21" fmla="*/ 44 h 56"/>
                  <a:gd name="T22" fmla="*/ 8 w 60"/>
                  <a:gd name="T23" fmla="*/ 36 h 56"/>
                  <a:gd name="T24" fmla="*/ 10 w 60"/>
                  <a:gd name="T25" fmla="*/ 28 h 56"/>
                  <a:gd name="T26" fmla="*/ 18 w 60"/>
                  <a:gd name="T27" fmla="*/ 24 h 56"/>
                  <a:gd name="T28" fmla="*/ 12 w 60"/>
                  <a:gd name="T29" fmla="*/ 20 h 56"/>
                  <a:gd name="T30" fmla="*/ 2 w 60"/>
                  <a:gd name="T31" fmla="*/ 22 h 56"/>
                  <a:gd name="T32" fmla="*/ 0 w 60"/>
                  <a:gd name="T33" fmla="*/ 14 h 56"/>
                  <a:gd name="T34" fmla="*/ 4 w 60"/>
                  <a:gd name="T35" fmla="*/ 12 h 56"/>
                  <a:gd name="T36" fmla="*/ 2 w 60"/>
                  <a:gd name="T37" fmla="*/ 6 h 56"/>
                  <a:gd name="T38" fmla="*/ 8 w 60"/>
                  <a:gd name="T39" fmla="*/ 0 h 56"/>
                  <a:gd name="T40" fmla="*/ 18 w 60"/>
                  <a:gd name="T41" fmla="*/ 4 h 56"/>
                  <a:gd name="T42" fmla="*/ 26 w 60"/>
                  <a:gd name="T43" fmla="*/ 2 h 56"/>
                  <a:gd name="T44" fmla="*/ 32 w 60"/>
                  <a:gd name="T45" fmla="*/ 0 h 56"/>
                  <a:gd name="T46" fmla="*/ 40 w 60"/>
                  <a:gd name="T47" fmla="*/ 4 h 56"/>
                  <a:gd name="T48" fmla="*/ 48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48" y="0"/>
                    </a:moveTo>
                    <a:lnTo>
                      <a:pt x="54" y="6"/>
                    </a:lnTo>
                    <a:lnTo>
                      <a:pt x="58" y="12"/>
                    </a:lnTo>
                    <a:lnTo>
                      <a:pt x="60" y="24"/>
                    </a:lnTo>
                    <a:lnTo>
                      <a:pt x="58" y="40"/>
                    </a:lnTo>
                    <a:lnTo>
                      <a:pt x="44" y="44"/>
                    </a:lnTo>
                    <a:lnTo>
                      <a:pt x="32" y="48"/>
                    </a:lnTo>
                    <a:lnTo>
                      <a:pt x="24" y="52"/>
                    </a:lnTo>
                    <a:lnTo>
                      <a:pt x="16" y="56"/>
                    </a:lnTo>
                    <a:lnTo>
                      <a:pt x="6" y="52"/>
                    </a:lnTo>
                    <a:lnTo>
                      <a:pt x="0" y="44"/>
                    </a:lnTo>
                    <a:lnTo>
                      <a:pt x="8" y="36"/>
                    </a:lnTo>
                    <a:lnTo>
                      <a:pt x="10" y="28"/>
                    </a:lnTo>
                    <a:lnTo>
                      <a:pt x="18" y="24"/>
                    </a:lnTo>
                    <a:lnTo>
                      <a:pt x="12" y="20"/>
                    </a:lnTo>
                    <a:lnTo>
                      <a:pt x="2" y="22"/>
                    </a:lnTo>
                    <a:lnTo>
                      <a:pt x="0" y="14"/>
                    </a:lnTo>
                    <a:lnTo>
                      <a:pt x="4" y="12"/>
                    </a:lnTo>
                    <a:lnTo>
                      <a:pt x="2" y="6"/>
                    </a:lnTo>
                    <a:lnTo>
                      <a:pt x="8" y="0"/>
                    </a:lnTo>
                    <a:lnTo>
                      <a:pt x="18" y="4"/>
                    </a:lnTo>
                    <a:lnTo>
                      <a:pt x="26" y="2"/>
                    </a:lnTo>
                    <a:lnTo>
                      <a:pt x="32" y="0"/>
                    </a:lnTo>
                    <a:lnTo>
                      <a:pt x="40" y="4"/>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2" name="Freeform 603"/>
              <p:cNvSpPr>
                <a:spLocks/>
              </p:cNvSpPr>
              <p:nvPr/>
            </p:nvSpPr>
            <p:spPr bwMode="auto">
              <a:xfrm>
                <a:off x="2739" y="1659"/>
                <a:ext cx="68" cy="64"/>
              </a:xfrm>
              <a:custGeom>
                <a:avLst/>
                <a:gdLst>
                  <a:gd name="T0" fmla="*/ 12 w 68"/>
                  <a:gd name="T1" fmla="*/ 0 h 64"/>
                  <a:gd name="T2" fmla="*/ 4 w 68"/>
                  <a:gd name="T3" fmla="*/ 6 h 64"/>
                  <a:gd name="T4" fmla="*/ 2 w 68"/>
                  <a:gd name="T5" fmla="*/ 8 h 64"/>
                  <a:gd name="T6" fmla="*/ 4 w 68"/>
                  <a:gd name="T7" fmla="*/ 14 h 64"/>
                  <a:gd name="T8" fmla="*/ 2 w 68"/>
                  <a:gd name="T9" fmla="*/ 16 h 64"/>
                  <a:gd name="T10" fmla="*/ 2 w 68"/>
                  <a:gd name="T11" fmla="*/ 26 h 64"/>
                  <a:gd name="T12" fmla="*/ 4 w 68"/>
                  <a:gd name="T13" fmla="*/ 30 h 64"/>
                  <a:gd name="T14" fmla="*/ 6 w 68"/>
                  <a:gd name="T15" fmla="*/ 30 h 64"/>
                  <a:gd name="T16" fmla="*/ 10 w 68"/>
                  <a:gd name="T17" fmla="*/ 30 h 64"/>
                  <a:gd name="T18" fmla="*/ 10 w 68"/>
                  <a:gd name="T19" fmla="*/ 30 h 64"/>
                  <a:gd name="T20" fmla="*/ 0 w 68"/>
                  <a:gd name="T21" fmla="*/ 44 h 64"/>
                  <a:gd name="T22" fmla="*/ 0 w 68"/>
                  <a:gd name="T23" fmla="*/ 48 h 64"/>
                  <a:gd name="T24" fmla="*/ 0 w 68"/>
                  <a:gd name="T25" fmla="*/ 50 h 64"/>
                  <a:gd name="T26" fmla="*/ 8 w 68"/>
                  <a:gd name="T27" fmla="*/ 60 h 64"/>
                  <a:gd name="T28" fmla="*/ 18 w 68"/>
                  <a:gd name="T29" fmla="*/ 64 h 64"/>
                  <a:gd name="T30" fmla="*/ 20 w 68"/>
                  <a:gd name="T31" fmla="*/ 64 h 64"/>
                  <a:gd name="T32" fmla="*/ 22 w 68"/>
                  <a:gd name="T33" fmla="*/ 64 h 64"/>
                  <a:gd name="T34" fmla="*/ 38 w 68"/>
                  <a:gd name="T35" fmla="*/ 56 h 64"/>
                  <a:gd name="T36" fmla="*/ 64 w 68"/>
                  <a:gd name="T37" fmla="*/ 48 h 64"/>
                  <a:gd name="T38" fmla="*/ 66 w 68"/>
                  <a:gd name="T39" fmla="*/ 46 h 64"/>
                  <a:gd name="T40" fmla="*/ 68 w 68"/>
                  <a:gd name="T41" fmla="*/ 28 h 64"/>
                  <a:gd name="T42" fmla="*/ 68 w 68"/>
                  <a:gd name="T43" fmla="*/ 28 h 64"/>
                  <a:gd name="T44" fmla="*/ 66 w 68"/>
                  <a:gd name="T45" fmla="*/ 14 h 64"/>
                  <a:gd name="T46" fmla="*/ 60 w 68"/>
                  <a:gd name="T47" fmla="*/ 6 h 64"/>
                  <a:gd name="T48" fmla="*/ 54 w 68"/>
                  <a:gd name="T49" fmla="*/ 2 h 64"/>
                  <a:gd name="T50" fmla="*/ 52 w 68"/>
                  <a:gd name="T51" fmla="*/ 0 h 64"/>
                  <a:gd name="T52" fmla="*/ 44 w 68"/>
                  <a:gd name="T53" fmla="*/ 4 h 64"/>
                  <a:gd name="T54" fmla="*/ 38 w 68"/>
                  <a:gd name="T55" fmla="*/ 0 h 64"/>
                  <a:gd name="T56" fmla="*/ 36 w 68"/>
                  <a:gd name="T57" fmla="*/ 0 h 64"/>
                  <a:gd name="T58" fmla="*/ 28 w 68"/>
                  <a:gd name="T59" fmla="*/ 2 h 64"/>
                  <a:gd name="T60" fmla="*/ 14 w 68"/>
                  <a:gd name="T61" fmla="*/ 0 h 64"/>
                  <a:gd name="T62" fmla="*/ 12 w 68"/>
                  <a:gd name="T6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64">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3" name="Freeform 604"/>
              <p:cNvSpPr>
                <a:spLocks/>
              </p:cNvSpPr>
              <p:nvPr/>
            </p:nvSpPr>
            <p:spPr bwMode="auto">
              <a:xfrm>
                <a:off x="3015" y="1875"/>
                <a:ext cx="14" cy="26"/>
              </a:xfrm>
              <a:custGeom>
                <a:avLst/>
                <a:gdLst>
                  <a:gd name="T0" fmla="*/ 6 w 14"/>
                  <a:gd name="T1" fmla="*/ 26 h 26"/>
                  <a:gd name="T2" fmla="*/ 6 w 14"/>
                  <a:gd name="T3" fmla="*/ 26 h 26"/>
                  <a:gd name="T4" fmla="*/ 4 w 14"/>
                  <a:gd name="T5" fmla="*/ 26 h 26"/>
                  <a:gd name="T6" fmla="*/ 0 w 14"/>
                  <a:gd name="T7" fmla="*/ 22 h 26"/>
                  <a:gd name="T8" fmla="*/ 0 w 14"/>
                  <a:gd name="T9" fmla="*/ 22 h 26"/>
                  <a:gd name="T10" fmla="*/ 0 w 14"/>
                  <a:gd name="T11" fmla="*/ 20 h 26"/>
                  <a:gd name="T12" fmla="*/ 0 w 14"/>
                  <a:gd name="T13" fmla="*/ 6 h 26"/>
                  <a:gd name="T14" fmla="*/ 0 w 14"/>
                  <a:gd name="T15" fmla="*/ 6 h 26"/>
                  <a:gd name="T16" fmla="*/ 0 w 14"/>
                  <a:gd name="T17" fmla="*/ 6 h 26"/>
                  <a:gd name="T18" fmla="*/ 2 w 14"/>
                  <a:gd name="T19" fmla="*/ 2 h 26"/>
                  <a:gd name="T20" fmla="*/ 2 w 14"/>
                  <a:gd name="T21" fmla="*/ 2 h 26"/>
                  <a:gd name="T22" fmla="*/ 4 w 14"/>
                  <a:gd name="T23" fmla="*/ 2 h 26"/>
                  <a:gd name="T24" fmla="*/ 8 w 14"/>
                  <a:gd name="T25" fmla="*/ 0 h 26"/>
                  <a:gd name="T26" fmla="*/ 8 w 14"/>
                  <a:gd name="T27" fmla="*/ 0 h 26"/>
                  <a:gd name="T28" fmla="*/ 10 w 14"/>
                  <a:gd name="T29" fmla="*/ 0 h 26"/>
                  <a:gd name="T30" fmla="*/ 10 w 14"/>
                  <a:gd name="T31" fmla="*/ 0 h 26"/>
                  <a:gd name="T32" fmla="*/ 12 w 14"/>
                  <a:gd name="T33" fmla="*/ 0 h 26"/>
                  <a:gd name="T34" fmla="*/ 14 w 14"/>
                  <a:gd name="T35" fmla="*/ 10 h 26"/>
                  <a:gd name="T36" fmla="*/ 14 w 14"/>
                  <a:gd name="T37" fmla="*/ 10 h 26"/>
                  <a:gd name="T38" fmla="*/ 14 w 14"/>
                  <a:gd name="T39" fmla="*/ 10 h 26"/>
                  <a:gd name="T40" fmla="*/ 14 w 14"/>
                  <a:gd name="T41" fmla="*/ 10 h 26"/>
                  <a:gd name="T42" fmla="*/ 14 w 14"/>
                  <a:gd name="T43" fmla="*/ 12 h 26"/>
                  <a:gd name="T44" fmla="*/ 10 w 14"/>
                  <a:gd name="T45" fmla="*/ 14 h 26"/>
                  <a:gd name="T46" fmla="*/ 12 w 14"/>
                  <a:gd name="T47" fmla="*/ 16 h 26"/>
                  <a:gd name="T48" fmla="*/ 12 w 14"/>
                  <a:gd name="T49" fmla="*/ 16 h 26"/>
                  <a:gd name="T50" fmla="*/ 12 w 14"/>
                  <a:gd name="T51" fmla="*/ 18 h 26"/>
                  <a:gd name="T52" fmla="*/ 8 w 14"/>
                  <a:gd name="T53" fmla="*/ 24 h 26"/>
                  <a:gd name="T54" fmla="*/ 8 w 14"/>
                  <a:gd name="T55" fmla="*/ 24 h 26"/>
                  <a:gd name="T56" fmla="*/ 6 w 14"/>
                  <a:gd name="T57" fmla="*/ 26 h 26"/>
                  <a:gd name="T58" fmla="*/ 6 w 14"/>
                  <a:gd name="T59" fmla="*/ 26 h 26"/>
                  <a:gd name="T60" fmla="*/ 6 w 14"/>
                  <a:gd name="T61" fmla="*/ 26 h 26"/>
                  <a:gd name="T62" fmla="*/ 6 w 14"/>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26">
                    <a:moveTo>
                      <a:pt x="6" y="26"/>
                    </a:moveTo>
                    <a:lnTo>
                      <a:pt x="6" y="26"/>
                    </a:lnTo>
                    <a:lnTo>
                      <a:pt x="4" y="26"/>
                    </a:lnTo>
                    <a:lnTo>
                      <a:pt x="0" y="22"/>
                    </a:lnTo>
                    <a:lnTo>
                      <a:pt x="0" y="22"/>
                    </a:lnTo>
                    <a:lnTo>
                      <a:pt x="0" y="20"/>
                    </a:lnTo>
                    <a:lnTo>
                      <a:pt x="0" y="6"/>
                    </a:lnTo>
                    <a:lnTo>
                      <a:pt x="0" y="6"/>
                    </a:lnTo>
                    <a:lnTo>
                      <a:pt x="0" y="6"/>
                    </a:lnTo>
                    <a:lnTo>
                      <a:pt x="2" y="2"/>
                    </a:lnTo>
                    <a:lnTo>
                      <a:pt x="2" y="2"/>
                    </a:lnTo>
                    <a:lnTo>
                      <a:pt x="4" y="2"/>
                    </a:lnTo>
                    <a:lnTo>
                      <a:pt x="8" y="0"/>
                    </a:lnTo>
                    <a:lnTo>
                      <a:pt x="8" y="0"/>
                    </a:lnTo>
                    <a:lnTo>
                      <a:pt x="10" y="0"/>
                    </a:lnTo>
                    <a:lnTo>
                      <a:pt x="10" y="0"/>
                    </a:lnTo>
                    <a:lnTo>
                      <a:pt x="12" y="0"/>
                    </a:lnTo>
                    <a:lnTo>
                      <a:pt x="14" y="10"/>
                    </a:lnTo>
                    <a:lnTo>
                      <a:pt x="14" y="10"/>
                    </a:lnTo>
                    <a:lnTo>
                      <a:pt x="14" y="10"/>
                    </a:lnTo>
                    <a:lnTo>
                      <a:pt x="14" y="10"/>
                    </a:lnTo>
                    <a:lnTo>
                      <a:pt x="14" y="12"/>
                    </a:lnTo>
                    <a:lnTo>
                      <a:pt x="10" y="14"/>
                    </a:lnTo>
                    <a:lnTo>
                      <a:pt x="12" y="16"/>
                    </a:lnTo>
                    <a:lnTo>
                      <a:pt x="12" y="16"/>
                    </a:lnTo>
                    <a:lnTo>
                      <a:pt x="12" y="18"/>
                    </a:lnTo>
                    <a:lnTo>
                      <a:pt x="8" y="24"/>
                    </a:lnTo>
                    <a:lnTo>
                      <a:pt x="8" y="24"/>
                    </a:lnTo>
                    <a:lnTo>
                      <a:pt x="6" y="26"/>
                    </a:lnTo>
                    <a:lnTo>
                      <a:pt x="6" y="26"/>
                    </a:lnTo>
                    <a:lnTo>
                      <a:pt x="6" y="26"/>
                    </a:lnTo>
                    <a:lnTo>
                      <a:pt x="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4" name="Freeform 605"/>
              <p:cNvSpPr>
                <a:spLocks noEditPoints="1"/>
              </p:cNvSpPr>
              <p:nvPr/>
            </p:nvSpPr>
            <p:spPr bwMode="auto">
              <a:xfrm>
                <a:off x="3013" y="1873"/>
                <a:ext cx="18" cy="30"/>
              </a:xfrm>
              <a:custGeom>
                <a:avLst/>
                <a:gdLst>
                  <a:gd name="T0" fmla="*/ 12 w 18"/>
                  <a:gd name="T1" fmla="*/ 4 h 30"/>
                  <a:gd name="T2" fmla="*/ 14 w 18"/>
                  <a:gd name="T3" fmla="*/ 12 h 30"/>
                  <a:gd name="T4" fmla="*/ 10 w 18"/>
                  <a:gd name="T5" fmla="*/ 14 h 30"/>
                  <a:gd name="T6" fmla="*/ 12 w 18"/>
                  <a:gd name="T7" fmla="*/ 20 h 30"/>
                  <a:gd name="T8" fmla="*/ 8 w 18"/>
                  <a:gd name="T9" fmla="*/ 26 h 30"/>
                  <a:gd name="T10" fmla="*/ 4 w 18"/>
                  <a:gd name="T11" fmla="*/ 22 h 30"/>
                  <a:gd name="T12" fmla="*/ 4 w 18"/>
                  <a:gd name="T13" fmla="*/ 16 h 30"/>
                  <a:gd name="T14" fmla="*/ 4 w 18"/>
                  <a:gd name="T15" fmla="*/ 8 h 30"/>
                  <a:gd name="T16" fmla="*/ 6 w 18"/>
                  <a:gd name="T17" fmla="*/ 6 h 30"/>
                  <a:gd name="T18" fmla="*/ 12 w 18"/>
                  <a:gd name="T19" fmla="*/ 4 h 30"/>
                  <a:gd name="T20" fmla="*/ 12 w 18"/>
                  <a:gd name="T21" fmla="*/ 0 h 30"/>
                  <a:gd name="T22" fmla="*/ 12 w 18"/>
                  <a:gd name="T23" fmla="*/ 0 h 30"/>
                  <a:gd name="T24" fmla="*/ 10 w 18"/>
                  <a:gd name="T25" fmla="*/ 0 h 30"/>
                  <a:gd name="T26" fmla="*/ 6 w 18"/>
                  <a:gd name="T27" fmla="*/ 2 h 30"/>
                  <a:gd name="T28" fmla="*/ 6 w 18"/>
                  <a:gd name="T29" fmla="*/ 2 h 30"/>
                  <a:gd name="T30" fmla="*/ 4 w 18"/>
                  <a:gd name="T31" fmla="*/ 2 h 30"/>
                  <a:gd name="T32" fmla="*/ 0 w 18"/>
                  <a:gd name="T33" fmla="*/ 6 h 30"/>
                  <a:gd name="T34" fmla="*/ 0 w 18"/>
                  <a:gd name="T35" fmla="*/ 6 h 30"/>
                  <a:gd name="T36" fmla="*/ 0 w 18"/>
                  <a:gd name="T37" fmla="*/ 8 h 30"/>
                  <a:gd name="T38" fmla="*/ 0 w 18"/>
                  <a:gd name="T39" fmla="*/ 16 h 30"/>
                  <a:gd name="T40" fmla="*/ 0 w 18"/>
                  <a:gd name="T41" fmla="*/ 22 h 30"/>
                  <a:gd name="T42" fmla="*/ 0 w 18"/>
                  <a:gd name="T43" fmla="*/ 22 h 30"/>
                  <a:gd name="T44" fmla="*/ 0 w 18"/>
                  <a:gd name="T45" fmla="*/ 26 h 30"/>
                  <a:gd name="T46" fmla="*/ 6 w 18"/>
                  <a:gd name="T47" fmla="*/ 30 h 30"/>
                  <a:gd name="T48" fmla="*/ 6 w 18"/>
                  <a:gd name="T49" fmla="*/ 30 h 30"/>
                  <a:gd name="T50" fmla="*/ 8 w 18"/>
                  <a:gd name="T51" fmla="*/ 30 h 30"/>
                  <a:gd name="T52" fmla="*/ 8 w 18"/>
                  <a:gd name="T53" fmla="*/ 30 h 30"/>
                  <a:gd name="T54" fmla="*/ 10 w 18"/>
                  <a:gd name="T55" fmla="*/ 30 h 30"/>
                  <a:gd name="T56" fmla="*/ 10 w 18"/>
                  <a:gd name="T57" fmla="*/ 30 h 30"/>
                  <a:gd name="T58" fmla="*/ 12 w 18"/>
                  <a:gd name="T59" fmla="*/ 28 h 30"/>
                  <a:gd name="T60" fmla="*/ 14 w 18"/>
                  <a:gd name="T61" fmla="*/ 20 h 30"/>
                  <a:gd name="T62" fmla="*/ 14 w 18"/>
                  <a:gd name="T63" fmla="*/ 20 h 30"/>
                  <a:gd name="T64" fmla="*/ 16 w 18"/>
                  <a:gd name="T65" fmla="*/ 18 h 30"/>
                  <a:gd name="T66" fmla="*/ 14 w 18"/>
                  <a:gd name="T67" fmla="*/ 16 h 30"/>
                  <a:gd name="T68" fmla="*/ 16 w 18"/>
                  <a:gd name="T69" fmla="*/ 16 h 30"/>
                  <a:gd name="T70" fmla="*/ 16 w 18"/>
                  <a:gd name="T71" fmla="*/ 16 h 30"/>
                  <a:gd name="T72" fmla="*/ 18 w 18"/>
                  <a:gd name="T73" fmla="*/ 14 h 30"/>
                  <a:gd name="T74" fmla="*/ 18 w 18"/>
                  <a:gd name="T75" fmla="*/ 14 h 30"/>
                  <a:gd name="T76" fmla="*/ 18 w 18"/>
                  <a:gd name="T77" fmla="*/ 10 h 30"/>
                  <a:gd name="T78" fmla="*/ 14 w 18"/>
                  <a:gd name="T79" fmla="*/ 2 h 30"/>
                  <a:gd name="T80" fmla="*/ 14 w 18"/>
                  <a:gd name="T81" fmla="*/ 2 h 30"/>
                  <a:gd name="T82" fmla="*/ 14 w 18"/>
                  <a:gd name="T83" fmla="*/ 0 h 30"/>
                  <a:gd name="T84" fmla="*/ 12 w 18"/>
                  <a:gd name="T85" fmla="*/ 0 h 30"/>
                  <a:gd name="T86" fmla="*/ 12 w 18"/>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30">
                    <a:moveTo>
                      <a:pt x="12" y="4"/>
                    </a:moveTo>
                    <a:lnTo>
                      <a:pt x="14" y="12"/>
                    </a:lnTo>
                    <a:lnTo>
                      <a:pt x="10" y="14"/>
                    </a:lnTo>
                    <a:lnTo>
                      <a:pt x="12" y="20"/>
                    </a:lnTo>
                    <a:lnTo>
                      <a:pt x="8" y="26"/>
                    </a:lnTo>
                    <a:lnTo>
                      <a:pt x="4" y="22"/>
                    </a:lnTo>
                    <a:lnTo>
                      <a:pt x="4" y="16"/>
                    </a:lnTo>
                    <a:lnTo>
                      <a:pt x="4" y="8"/>
                    </a:lnTo>
                    <a:lnTo>
                      <a:pt x="6" y="6"/>
                    </a:lnTo>
                    <a:lnTo>
                      <a:pt x="12" y="4"/>
                    </a:lnTo>
                    <a:close/>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5" name="Freeform 606"/>
              <p:cNvSpPr>
                <a:spLocks/>
              </p:cNvSpPr>
              <p:nvPr/>
            </p:nvSpPr>
            <p:spPr bwMode="auto">
              <a:xfrm>
                <a:off x="3017" y="1877"/>
                <a:ext cx="10" cy="22"/>
              </a:xfrm>
              <a:custGeom>
                <a:avLst/>
                <a:gdLst>
                  <a:gd name="T0" fmla="*/ 8 w 10"/>
                  <a:gd name="T1" fmla="*/ 0 h 22"/>
                  <a:gd name="T2" fmla="*/ 10 w 10"/>
                  <a:gd name="T3" fmla="*/ 8 h 22"/>
                  <a:gd name="T4" fmla="*/ 6 w 10"/>
                  <a:gd name="T5" fmla="*/ 10 h 22"/>
                  <a:gd name="T6" fmla="*/ 8 w 10"/>
                  <a:gd name="T7" fmla="*/ 16 h 22"/>
                  <a:gd name="T8" fmla="*/ 4 w 10"/>
                  <a:gd name="T9" fmla="*/ 22 h 22"/>
                  <a:gd name="T10" fmla="*/ 0 w 10"/>
                  <a:gd name="T11" fmla="*/ 18 h 22"/>
                  <a:gd name="T12" fmla="*/ 0 w 10"/>
                  <a:gd name="T13" fmla="*/ 12 h 22"/>
                  <a:gd name="T14" fmla="*/ 0 w 10"/>
                  <a:gd name="T15" fmla="*/ 4 h 22"/>
                  <a:gd name="T16" fmla="*/ 2 w 10"/>
                  <a:gd name="T17" fmla="*/ 2 h 22"/>
                  <a:gd name="T18" fmla="*/ 8 w 10"/>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2">
                    <a:moveTo>
                      <a:pt x="8" y="0"/>
                    </a:moveTo>
                    <a:lnTo>
                      <a:pt x="10" y="8"/>
                    </a:lnTo>
                    <a:lnTo>
                      <a:pt x="6" y="10"/>
                    </a:lnTo>
                    <a:lnTo>
                      <a:pt x="8" y="16"/>
                    </a:lnTo>
                    <a:lnTo>
                      <a:pt x="4" y="22"/>
                    </a:lnTo>
                    <a:lnTo>
                      <a:pt x="0" y="18"/>
                    </a:lnTo>
                    <a:lnTo>
                      <a:pt x="0" y="12"/>
                    </a:lnTo>
                    <a:lnTo>
                      <a:pt x="0" y="4"/>
                    </a:lnTo>
                    <a:lnTo>
                      <a:pt x="2"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10" name="Group 808"/>
            <p:cNvGrpSpPr>
              <a:grpSpLocks/>
            </p:cNvGrpSpPr>
            <p:nvPr/>
          </p:nvGrpSpPr>
          <p:grpSpPr bwMode="auto">
            <a:xfrm>
              <a:off x="2923" y="991"/>
              <a:ext cx="2632" cy="1024"/>
              <a:chOff x="2923" y="991"/>
              <a:chExt cx="2632" cy="1024"/>
            </a:xfrm>
            <a:grpFill/>
          </p:grpSpPr>
          <p:sp>
            <p:nvSpPr>
              <p:cNvPr id="316" name="Freeform 608"/>
              <p:cNvSpPr>
                <a:spLocks/>
              </p:cNvSpPr>
              <p:nvPr/>
            </p:nvSpPr>
            <p:spPr bwMode="auto">
              <a:xfrm>
                <a:off x="3013" y="1873"/>
                <a:ext cx="18" cy="30"/>
              </a:xfrm>
              <a:custGeom>
                <a:avLst/>
                <a:gdLst>
                  <a:gd name="T0" fmla="*/ 12 w 18"/>
                  <a:gd name="T1" fmla="*/ 0 h 30"/>
                  <a:gd name="T2" fmla="*/ 12 w 18"/>
                  <a:gd name="T3" fmla="*/ 0 h 30"/>
                  <a:gd name="T4" fmla="*/ 10 w 18"/>
                  <a:gd name="T5" fmla="*/ 0 h 30"/>
                  <a:gd name="T6" fmla="*/ 6 w 18"/>
                  <a:gd name="T7" fmla="*/ 2 h 30"/>
                  <a:gd name="T8" fmla="*/ 6 w 18"/>
                  <a:gd name="T9" fmla="*/ 2 h 30"/>
                  <a:gd name="T10" fmla="*/ 4 w 18"/>
                  <a:gd name="T11" fmla="*/ 2 h 30"/>
                  <a:gd name="T12" fmla="*/ 0 w 18"/>
                  <a:gd name="T13" fmla="*/ 6 h 30"/>
                  <a:gd name="T14" fmla="*/ 0 w 18"/>
                  <a:gd name="T15" fmla="*/ 6 h 30"/>
                  <a:gd name="T16" fmla="*/ 0 w 18"/>
                  <a:gd name="T17" fmla="*/ 8 h 30"/>
                  <a:gd name="T18" fmla="*/ 0 w 18"/>
                  <a:gd name="T19" fmla="*/ 16 h 30"/>
                  <a:gd name="T20" fmla="*/ 0 w 18"/>
                  <a:gd name="T21" fmla="*/ 22 h 30"/>
                  <a:gd name="T22" fmla="*/ 0 w 18"/>
                  <a:gd name="T23" fmla="*/ 22 h 30"/>
                  <a:gd name="T24" fmla="*/ 0 w 18"/>
                  <a:gd name="T25" fmla="*/ 26 h 30"/>
                  <a:gd name="T26" fmla="*/ 6 w 18"/>
                  <a:gd name="T27" fmla="*/ 30 h 30"/>
                  <a:gd name="T28" fmla="*/ 6 w 18"/>
                  <a:gd name="T29" fmla="*/ 30 h 30"/>
                  <a:gd name="T30" fmla="*/ 8 w 18"/>
                  <a:gd name="T31" fmla="*/ 30 h 30"/>
                  <a:gd name="T32" fmla="*/ 8 w 18"/>
                  <a:gd name="T33" fmla="*/ 30 h 30"/>
                  <a:gd name="T34" fmla="*/ 10 w 18"/>
                  <a:gd name="T35" fmla="*/ 30 h 30"/>
                  <a:gd name="T36" fmla="*/ 10 w 18"/>
                  <a:gd name="T37" fmla="*/ 30 h 30"/>
                  <a:gd name="T38" fmla="*/ 12 w 18"/>
                  <a:gd name="T39" fmla="*/ 28 h 30"/>
                  <a:gd name="T40" fmla="*/ 14 w 18"/>
                  <a:gd name="T41" fmla="*/ 20 h 30"/>
                  <a:gd name="T42" fmla="*/ 14 w 18"/>
                  <a:gd name="T43" fmla="*/ 20 h 30"/>
                  <a:gd name="T44" fmla="*/ 16 w 18"/>
                  <a:gd name="T45" fmla="*/ 18 h 30"/>
                  <a:gd name="T46" fmla="*/ 14 w 18"/>
                  <a:gd name="T47" fmla="*/ 16 h 30"/>
                  <a:gd name="T48" fmla="*/ 16 w 18"/>
                  <a:gd name="T49" fmla="*/ 16 h 30"/>
                  <a:gd name="T50" fmla="*/ 16 w 18"/>
                  <a:gd name="T51" fmla="*/ 16 h 30"/>
                  <a:gd name="T52" fmla="*/ 18 w 18"/>
                  <a:gd name="T53" fmla="*/ 14 h 30"/>
                  <a:gd name="T54" fmla="*/ 18 w 18"/>
                  <a:gd name="T55" fmla="*/ 14 h 30"/>
                  <a:gd name="T56" fmla="*/ 18 w 18"/>
                  <a:gd name="T57" fmla="*/ 10 h 30"/>
                  <a:gd name="T58" fmla="*/ 14 w 18"/>
                  <a:gd name="T59" fmla="*/ 2 h 30"/>
                  <a:gd name="T60" fmla="*/ 14 w 18"/>
                  <a:gd name="T61" fmla="*/ 2 h 30"/>
                  <a:gd name="T62" fmla="*/ 14 w 18"/>
                  <a:gd name="T63" fmla="*/ 0 h 30"/>
                  <a:gd name="T64" fmla="*/ 12 w 18"/>
                  <a:gd name="T65" fmla="*/ 0 h 30"/>
                  <a:gd name="T66" fmla="*/ 12 w 18"/>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30">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7" name="Freeform 609"/>
              <p:cNvSpPr>
                <a:spLocks/>
              </p:cNvSpPr>
              <p:nvPr/>
            </p:nvSpPr>
            <p:spPr bwMode="auto">
              <a:xfrm>
                <a:off x="3009" y="1903"/>
                <a:ext cx="20" cy="42"/>
              </a:xfrm>
              <a:custGeom>
                <a:avLst/>
                <a:gdLst>
                  <a:gd name="T0" fmla="*/ 10 w 20"/>
                  <a:gd name="T1" fmla="*/ 42 h 42"/>
                  <a:gd name="T2" fmla="*/ 10 w 20"/>
                  <a:gd name="T3" fmla="*/ 42 h 42"/>
                  <a:gd name="T4" fmla="*/ 10 w 20"/>
                  <a:gd name="T5" fmla="*/ 42 h 42"/>
                  <a:gd name="T6" fmla="*/ 4 w 20"/>
                  <a:gd name="T7" fmla="*/ 40 h 42"/>
                  <a:gd name="T8" fmla="*/ 4 w 20"/>
                  <a:gd name="T9" fmla="*/ 40 h 42"/>
                  <a:gd name="T10" fmla="*/ 2 w 20"/>
                  <a:gd name="T11" fmla="*/ 38 h 42"/>
                  <a:gd name="T12" fmla="*/ 2 w 20"/>
                  <a:gd name="T13" fmla="*/ 18 h 42"/>
                  <a:gd name="T14" fmla="*/ 0 w 20"/>
                  <a:gd name="T15" fmla="*/ 16 h 42"/>
                  <a:gd name="T16" fmla="*/ 0 w 20"/>
                  <a:gd name="T17" fmla="*/ 16 h 42"/>
                  <a:gd name="T18" fmla="*/ 0 w 20"/>
                  <a:gd name="T19" fmla="*/ 14 h 42"/>
                  <a:gd name="T20" fmla="*/ 2 w 20"/>
                  <a:gd name="T21" fmla="*/ 6 h 42"/>
                  <a:gd name="T22" fmla="*/ 2 w 20"/>
                  <a:gd name="T23" fmla="*/ 6 h 42"/>
                  <a:gd name="T24" fmla="*/ 4 w 20"/>
                  <a:gd name="T25" fmla="*/ 4 h 42"/>
                  <a:gd name="T26" fmla="*/ 8 w 20"/>
                  <a:gd name="T27" fmla="*/ 4 h 42"/>
                  <a:gd name="T28" fmla="*/ 8 w 20"/>
                  <a:gd name="T29" fmla="*/ 0 h 42"/>
                  <a:gd name="T30" fmla="*/ 8 w 20"/>
                  <a:gd name="T31" fmla="*/ 0 h 42"/>
                  <a:gd name="T32" fmla="*/ 10 w 20"/>
                  <a:gd name="T33" fmla="*/ 0 h 42"/>
                  <a:gd name="T34" fmla="*/ 10 w 20"/>
                  <a:gd name="T35" fmla="*/ 0 h 42"/>
                  <a:gd name="T36" fmla="*/ 10 w 20"/>
                  <a:gd name="T37" fmla="*/ 0 h 42"/>
                  <a:gd name="T38" fmla="*/ 18 w 20"/>
                  <a:gd name="T39" fmla="*/ 2 h 42"/>
                  <a:gd name="T40" fmla="*/ 18 w 20"/>
                  <a:gd name="T41" fmla="*/ 2 h 42"/>
                  <a:gd name="T42" fmla="*/ 18 w 20"/>
                  <a:gd name="T43" fmla="*/ 2 h 42"/>
                  <a:gd name="T44" fmla="*/ 20 w 20"/>
                  <a:gd name="T45" fmla="*/ 6 h 42"/>
                  <a:gd name="T46" fmla="*/ 20 w 20"/>
                  <a:gd name="T47" fmla="*/ 6 h 42"/>
                  <a:gd name="T48" fmla="*/ 20 w 20"/>
                  <a:gd name="T49" fmla="*/ 8 h 42"/>
                  <a:gd name="T50" fmla="*/ 18 w 20"/>
                  <a:gd name="T51" fmla="*/ 16 h 42"/>
                  <a:gd name="T52" fmla="*/ 20 w 20"/>
                  <a:gd name="T53" fmla="*/ 30 h 42"/>
                  <a:gd name="T54" fmla="*/ 20 w 20"/>
                  <a:gd name="T55" fmla="*/ 30 h 42"/>
                  <a:gd name="T56" fmla="*/ 20 w 20"/>
                  <a:gd name="T57" fmla="*/ 32 h 42"/>
                  <a:gd name="T58" fmla="*/ 12 w 20"/>
                  <a:gd name="T59" fmla="*/ 42 h 42"/>
                  <a:gd name="T60" fmla="*/ 12 w 20"/>
                  <a:gd name="T61" fmla="*/ 42 h 42"/>
                  <a:gd name="T62" fmla="*/ 10 w 20"/>
                  <a:gd name="T63" fmla="*/ 42 h 42"/>
                  <a:gd name="T64" fmla="*/ 10 w 20"/>
                  <a:gd name="T6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2">
                    <a:moveTo>
                      <a:pt x="10" y="42"/>
                    </a:moveTo>
                    <a:lnTo>
                      <a:pt x="10" y="42"/>
                    </a:lnTo>
                    <a:lnTo>
                      <a:pt x="10" y="42"/>
                    </a:lnTo>
                    <a:lnTo>
                      <a:pt x="4" y="40"/>
                    </a:lnTo>
                    <a:lnTo>
                      <a:pt x="4" y="40"/>
                    </a:lnTo>
                    <a:lnTo>
                      <a:pt x="2" y="38"/>
                    </a:lnTo>
                    <a:lnTo>
                      <a:pt x="2" y="18"/>
                    </a:lnTo>
                    <a:lnTo>
                      <a:pt x="0" y="16"/>
                    </a:lnTo>
                    <a:lnTo>
                      <a:pt x="0" y="16"/>
                    </a:lnTo>
                    <a:lnTo>
                      <a:pt x="0" y="14"/>
                    </a:lnTo>
                    <a:lnTo>
                      <a:pt x="2" y="6"/>
                    </a:lnTo>
                    <a:lnTo>
                      <a:pt x="2" y="6"/>
                    </a:lnTo>
                    <a:lnTo>
                      <a:pt x="4" y="4"/>
                    </a:lnTo>
                    <a:lnTo>
                      <a:pt x="8" y="4"/>
                    </a:lnTo>
                    <a:lnTo>
                      <a:pt x="8" y="0"/>
                    </a:lnTo>
                    <a:lnTo>
                      <a:pt x="8" y="0"/>
                    </a:lnTo>
                    <a:lnTo>
                      <a:pt x="10" y="0"/>
                    </a:lnTo>
                    <a:lnTo>
                      <a:pt x="10" y="0"/>
                    </a:lnTo>
                    <a:lnTo>
                      <a:pt x="10" y="0"/>
                    </a:lnTo>
                    <a:lnTo>
                      <a:pt x="18" y="2"/>
                    </a:lnTo>
                    <a:lnTo>
                      <a:pt x="18" y="2"/>
                    </a:lnTo>
                    <a:lnTo>
                      <a:pt x="18" y="2"/>
                    </a:lnTo>
                    <a:lnTo>
                      <a:pt x="20" y="6"/>
                    </a:lnTo>
                    <a:lnTo>
                      <a:pt x="20" y="6"/>
                    </a:lnTo>
                    <a:lnTo>
                      <a:pt x="20" y="8"/>
                    </a:lnTo>
                    <a:lnTo>
                      <a:pt x="18" y="16"/>
                    </a:lnTo>
                    <a:lnTo>
                      <a:pt x="20" y="30"/>
                    </a:lnTo>
                    <a:lnTo>
                      <a:pt x="20" y="30"/>
                    </a:lnTo>
                    <a:lnTo>
                      <a:pt x="20" y="32"/>
                    </a:lnTo>
                    <a:lnTo>
                      <a:pt x="12" y="42"/>
                    </a:lnTo>
                    <a:lnTo>
                      <a:pt x="12" y="42"/>
                    </a:lnTo>
                    <a:lnTo>
                      <a:pt x="10" y="42"/>
                    </a:lnTo>
                    <a:lnTo>
                      <a:pt x="10"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8" name="Freeform 610"/>
              <p:cNvSpPr>
                <a:spLocks noEditPoints="1"/>
              </p:cNvSpPr>
              <p:nvPr/>
            </p:nvSpPr>
            <p:spPr bwMode="auto">
              <a:xfrm>
                <a:off x="3007" y="1901"/>
                <a:ext cx="24" cy="46"/>
              </a:xfrm>
              <a:custGeom>
                <a:avLst/>
                <a:gdLst>
                  <a:gd name="T0" fmla="*/ 12 w 24"/>
                  <a:gd name="T1" fmla="*/ 4 h 46"/>
                  <a:gd name="T2" fmla="*/ 18 w 24"/>
                  <a:gd name="T3" fmla="*/ 6 h 46"/>
                  <a:gd name="T4" fmla="*/ 20 w 24"/>
                  <a:gd name="T5" fmla="*/ 10 h 46"/>
                  <a:gd name="T6" fmla="*/ 18 w 24"/>
                  <a:gd name="T7" fmla="*/ 18 h 46"/>
                  <a:gd name="T8" fmla="*/ 20 w 24"/>
                  <a:gd name="T9" fmla="*/ 32 h 46"/>
                  <a:gd name="T10" fmla="*/ 16 w 24"/>
                  <a:gd name="T11" fmla="*/ 38 h 46"/>
                  <a:gd name="T12" fmla="*/ 12 w 24"/>
                  <a:gd name="T13" fmla="*/ 42 h 46"/>
                  <a:gd name="T14" fmla="*/ 6 w 24"/>
                  <a:gd name="T15" fmla="*/ 40 h 46"/>
                  <a:gd name="T16" fmla="*/ 6 w 24"/>
                  <a:gd name="T17" fmla="*/ 30 h 46"/>
                  <a:gd name="T18" fmla="*/ 6 w 24"/>
                  <a:gd name="T19" fmla="*/ 20 h 46"/>
                  <a:gd name="T20" fmla="*/ 4 w 24"/>
                  <a:gd name="T21" fmla="*/ 16 h 46"/>
                  <a:gd name="T22" fmla="*/ 6 w 24"/>
                  <a:gd name="T23" fmla="*/ 8 h 46"/>
                  <a:gd name="T24" fmla="*/ 10 w 24"/>
                  <a:gd name="T25" fmla="*/ 8 h 46"/>
                  <a:gd name="T26" fmla="*/ 12 w 24"/>
                  <a:gd name="T27" fmla="*/ 4 h 46"/>
                  <a:gd name="T28" fmla="*/ 12 w 24"/>
                  <a:gd name="T29" fmla="*/ 0 h 46"/>
                  <a:gd name="T30" fmla="*/ 12 w 24"/>
                  <a:gd name="T31" fmla="*/ 0 h 46"/>
                  <a:gd name="T32" fmla="*/ 10 w 24"/>
                  <a:gd name="T33" fmla="*/ 0 h 46"/>
                  <a:gd name="T34" fmla="*/ 8 w 24"/>
                  <a:gd name="T35" fmla="*/ 2 h 46"/>
                  <a:gd name="T36" fmla="*/ 8 w 24"/>
                  <a:gd name="T37" fmla="*/ 4 h 46"/>
                  <a:gd name="T38" fmla="*/ 6 w 24"/>
                  <a:gd name="T39" fmla="*/ 4 h 46"/>
                  <a:gd name="T40" fmla="*/ 6 w 24"/>
                  <a:gd name="T41" fmla="*/ 4 h 46"/>
                  <a:gd name="T42" fmla="*/ 2 w 24"/>
                  <a:gd name="T43" fmla="*/ 4 h 46"/>
                  <a:gd name="T44" fmla="*/ 2 w 24"/>
                  <a:gd name="T45" fmla="*/ 6 h 46"/>
                  <a:gd name="T46" fmla="*/ 0 w 24"/>
                  <a:gd name="T47" fmla="*/ 16 h 46"/>
                  <a:gd name="T48" fmla="*/ 0 w 24"/>
                  <a:gd name="T49" fmla="*/ 16 h 46"/>
                  <a:gd name="T50" fmla="*/ 0 w 24"/>
                  <a:gd name="T51" fmla="*/ 18 h 46"/>
                  <a:gd name="T52" fmla="*/ 2 w 24"/>
                  <a:gd name="T53" fmla="*/ 22 h 46"/>
                  <a:gd name="T54" fmla="*/ 2 w 24"/>
                  <a:gd name="T55" fmla="*/ 30 h 46"/>
                  <a:gd name="T56" fmla="*/ 2 w 24"/>
                  <a:gd name="T57" fmla="*/ 40 h 46"/>
                  <a:gd name="T58" fmla="*/ 2 w 24"/>
                  <a:gd name="T59" fmla="*/ 40 h 46"/>
                  <a:gd name="T60" fmla="*/ 4 w 24"/>
                  <a:gd name="T61" fmla="*/ 42 h 46"/>
                  <a:gd name="T62" fmla="*/ 6 w 24"/>
                  <a:gd name="T63" fmla="*/ 44 h 46"/>
                  <a:gd name="T64" fmla="*/ 10 w 24"/>
                  <a:gd name="T65" fmla="*/ 46 h 46"/>
                  <a:gd name="T66" fmla="*/ 10 w 24"/>
                  <a:gd name="T67" fmla="*/ 46 h 46"/>
                  <a:gd name="T68" fmla="*/ 12 w 24"/>
                  <a:gd name="T69" fmla="*/ 46 h 46"/>
                  <a:gd name="T70" fmla="*/ 12 w 24"/>
                  <a:gd name="T71" fmla="*/ 46 h 46"/>
                  <a:gd name="T72" fmla="*/ 16 w 24"/>
                  <a:gd name="T73" fmla="*/ 46 h 46"/>
                  <a:gd name="T74" fmla="*/ 18 w 24"/>
                  <a:gd name="T75" fmla="*/ 42 h 46"/>
                  <a:gd name="T76" fmla="*/ 24 w 24"/>
                  <a:gd name="T77" fmla="*/ 34 h 46"/>
                  <a:gd name="T78" fmla="*/ 24 w 24"/>
                  <a:gd name="T79" fmla="*/ 34 h 46"/>
                  <a:gd name="T80" fmla="*/ 24 w 24"/>
                  <a:gd name="T81" fmla="*/ 32 h 46"/>
                  <a:gd name="T82" fmla="*/ 22 w 24"/>
                  <a:gd name="T83" fmla="*/ 18 h 46"/>
                  <a:gd name="T84" fmla="*/ 24 w 24"/>
                  <a:gd name="T85" fmla="*/ 10 h 46"/>
                  <a:gd name="T86" fmla="*/ 24 w 24"/>
                  <a:gd name="T87" fmla="*/ 10 h 46"/>
                  <a:gd name="T88" fmla="*/ 24 w 24"/>
                  <a:gd name="T89" fmla="*/ 8 h 46"/>
                  <a:gd name="T90" fmla="*/ 22 w 24"/>
                  <a:gd name="T91" fmla="*/ 4 h 46"/>
                  <a:gd name="T92" fmla="*/ 22 w 24"/>
                  <a:gd name="T93" fmla="*/ 4 h 46"/>
                  <a:gd name="T94" fmla="*/ 20 w 24"/>
                  <a:gd name="T95" fmla="*/ 2 h 46"/>
                  <a:gd name="T96" fmla="*/ 14 w 24"/>
                  <a:gd name="T97" fmla="*/ 0 h 46"/>
                  <a:gd name="T98" fmla="*/ 14 w 24"/>
                  <a:gd name="T99" fmla="*/ 0 h 46"/>
                  <a:gd name="T100" fmla="*/ 12 w 24"/>
                  <a:gd name="T101" fmla="*/ 0 h 46"/>
                  <a:gd name="T102" fmla="*/ 12 w 24"/>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46">
                    <a:moveTo>
                      <a:pt x="12" y="4"/>
                    </a:moveTo>
                    <a:lnTo>
                      <a:pt x="18" y="6"/>
                    </a:lnTo>
                    <a:lnTo>
                      <a:pt x="20" y="10"/>
                    </a:lnTo>
                    <a:lnTo>
                      <a:pt x="18" y="18"/>
                    </a:lnTo>
                    <a:lnTo>
                      <a:pt x="20" y="32"/>
                    </a:lnTo>
                    <a:lnTo>
                      <a:pt x="16" y="38"/>
                    </a:lnTo>
                    <a:lnTo>
                      <a:pt x="12" y="42"/>
                    </a:lnTo>
                    <a:lnTo>
                      <a:pt x="6" y="40"/>
                    </a:lnTo>
                    <a:lnTo>
                      <a:pt x="6" y="30"/>
                    </a:lnTo>
                    <a:lnTo>
                      <a:pt x="6" y="20"/>
                    </a:lnTo>
                    <a:lnTo>
                      <a:pt x="4" y="16"/>
                    </a:lnTo>
                    <a:lnTo>
                      <a:pt x="6" y="8"/>
                    </a:lnTo>
                    <a:lnTo>
                      <a:pt x="10" y="8"/>
                    </a:lnTo>
                    <a:lnTo>
                      <a:pt x="12" y="4"/>
                    </a:lnTo>
                    <a:close/>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9" name="Freeform 611"/>
              <p:cNvSpPr>
                <a:spLocks/>
              </p:cNvSpPr>
              <p:nvPr/>
            </p:nvSpPr>
            <p:spPr bwMode="auto">
              <a:xfrm>
                <a:off x="3011" y="1905"/>
                <a:ext cx="16" cy="38"/>
              </a:xfrm>
              <a:custGeom>
                <a:avLst/>
                <a:gdLst>
                  <a:gd name="T0" fmla="*/ 8 w 16"/>
                  <a:gd name="T1" fmla="*/ 0 h 38"/>
                  <a:gd name="T2" fmla="*/ 14 w 16"/>
                  <a:gd name="T3" fmla="*/ 2 h 38"/>
                  <a:gd name="T4" fmla="*/ 16 w 16"/>
                  <a:gd name="T5" fmla="*/ 6 h 38"/>
                  <a:gd name="T6" fmla="*/ 14 w 16"/>
                  <a:gd name="T7" fmla="*/ 14 h 38"/>
                  <a:gd name="T8" fmla="*/ 16 w 16"/>
                  <a:gd name="T9" fmla="*/ 28 h 38"/>
                  <a:gd name="T10" fmla="*/ 12 w 16"/>
                  <a:gd name="T11" fmla="*/ 34 h 38"/>
                  <a:gd name="T12" fmla="*/ 8 w 16"/>
                  <a:gd name="T13" fmla="*/ 38 h 38"/>
                  <a:gd name="T14" fmla="*/ 2 w 16"/>
                  <a:gd name="T15" fmla="*/ 36 h 38"/>
                  <a:gd name="T16" fmla="*/ 2 w 16"/>
                  <a:gd name="T17" fmla="*/ 26 h 38"/>
                  <a:gd name="T18" fmla="*/ 2 w 16"/>
                  <a:gd name="T19" fmla="*/ 16 h 38"/>
                  <a:gd name="T20" fmla="*/ 0 w 16"/>
                  <a:gd name="T21" fmla="*/ 12 h 38"/>
                  <a:gd name="T22" fmla="*/ 2 w 16"/>
                  <a:gd name="T23" fmla="*/ 4 h 38"/>
                  <a:gd name="T24" fmla="*/ 6 w 16"/>
                  <a:gd name="T25" fmla="*/ 4 h 38"/>
                  <a:gd name="T26" fmla="*/ 8 w 16"/>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8">
                    <a:moveTo>
                      <a:pt x="8" y="0"/>
                    </a:moveTo>
                    <a:lnTo>
                      <a:pt x="14" y="2"/>
                    </a:lnTo>
                    <a:lnTo>
                      <a:pt x="16" y="6"/>
                    </a:lnTo>
                    <a:lnTo>
                      <a:pt x="14" y="14"/>
                    </a:lnTo>
                    <a:lnTo>
                      <a:pt x="16" y="28"/>
                    </a:lnTo>
                    <a:lnTo>
                      <a:pt x="12" y="34"/>
                    </a:lnTo>
                    <a:lnTo>
                      <a:pt x="8" y="38"/>
                    </a:lnTo>
                    <a:lnTo>
                      <a:pt x="2" y="36"/>
                    </a:lnTo>
                    <a:lnTo>
                      <a:pt x="2" y="26"/>
                    </a:lnTo>
                    <a:lnTo>
                      <a:pt x="2" y="16"/>
                    </a:lnTo>
                    <a:lnTo>
                      <a:pt x="0" y="12"/>
                    </a:lnTo>
                    <a:lnTo>
                      <a:pt x="2" y="4"/>
                    </a:lnTo>
                    <a:lnTo>
                      <a:pt x="6"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0" name="Freeform 612"/>
              <p:cNvSpPr>
                <a:spLocks/>
              </p:cNvSpPr>
              <p:nvPr/>
            </p:nvSpPr>
            <p:spPr bwMode="auto">
              <a:xfrm>
                <a:off x="3007" y="1901"/>
                <a:ext cx="24" cy="46"/>
              </a:xfrm>
              <a:custGeom>
                <a:avLst/>
                <a:gdLst>
                  <a:gd name="T0" fmla="*/ 12 w 24"/>
                  <a:gd name="T1" fmla="*/ 0 h 46"/>
                  <a:gd name="T2" fmla="*/ 12 w 24"/>
                  <a:gd name="T3" fmla="*/ 0 h 46"/>
                  <a:gd name="T4" fmla="*/ 10 w 24"/>
                  <a:gd name="T5" fmla="*/ 0 h 46"/>
                  <a:gd name="T6" fmla="*/ 8 w 24"/>
                  <a:gd name="T7" fmla="*/ 2 h 46"/>
                  <a:gd name="T8" fmla="*/ 8 w 24"/>
                  <a:gd name="T9" fmla="*/ 4 h 46"/>
                  <a:gd name="T10" fmla="*/ 6 w 24"/>
                  <a:gd name="T11" fmla="*/ 4 h 46"/>
                  <a:gd name="T12" fmla="*/ 6 w 24"/>
                  <a:gd name="T13" fmla="*/ 4 h 46"/>
                  <a:gd name="T14" fmla="*/ 2 w 24"/>
                  <a:gd name="T15" fmla="*/ 4 h 46"/>
                  <a:gd name="T16" fmla="*/ 2 w 24"/>
                  <a:gd name="T17" fmla="*/ 6 h 46"/>
                  <a:gd name="T18" fmla="*/ 0 w 24"/>
                  <a:gd name="T19" fmla="*/ 16 h 46"/>
                  <a:gd name="T20" fmla="*/ 0 w 24"/>
                  <a:gd name="T21" fmla="*/ 16 h 46"/>
                  <a:gd name="T22" fmla="*/ 0 w 24"/>
                  <a:gd name="T23" fmla="*/ 18 h 46"/>
                  <a:gd name="T24" fmla="*/ 2 w 24"/>
                  <a:gd name="T25" fmla="*/ 22 h 46"/>
                  <a:gd name="T26" fmla="*/ 2 w 24"/>
                  <a:gd name="T27" fmla="*/ 30 h 46"/>
                  <a:gd name="T28" fmla="*/ 2 w 24"/>
                  <a:gd name="T29" fmla="*/ 40 h 46"/>
                  <a:gd name="T30" fmla="*/ 2 w 24"/>
                  <a:gd name="T31" fmla="*/ 40 h 46"/>
                  <a:gd name="T32" fmla="*/ 4 w 24"/>
                  <a:gd name="T33" fmla="*/ 42 h 46"/>
                  <a:gd name="T34" fmla="*/ 6 w 24"/>
                  <a:gd name="T35" fmla="*/ 44 h 46"/>
                  <a:gd name="T36" fmla="*/ 10 w 24"/>
                  <a:gd name="T37" fmla="*/ 46 h 46"/>
                  <a:gd name="T38" fmla="*/ 10 w 24"/>
                  <a:gd name="T39" fmla="*/ 46 h 46"/>
                  <a:gd name="T40" fmla="*/ 12 w 24"/>
                  <a:gd name="T41" fmla="*/ 46 h 46"/>
                  <a:gd name="T42" fmla="*/ 12 w 24"/>
                  <a:gd name="T43" fmla="*/ 46 h 46"/>
                  <a:gd name="T44" fmla="*/ 16 w 24"/>
                  <a:gd name="T45" fmla="*/ 46 h 46"/>
                  <a:gd name="T46" fmla="*/ 18 w 24"/>
                  <a:gd name="T47" fmla="*/ 42 h 46"/>
                  <a:gd name="T48" fmla="*/ 24 w 24"/>
                  <a:gd name="T49" fmla="*/ 34 h 46"/>
                  <a:gd name="T50" fmla="*/ 24 w 24"/>
                  <a:gd name="T51" fmla="*/ 34 h 46"/>
                  <a:gd name="T52" fmla="*/ 24 w 24"/>
                  <a:gd name="T53" fmla="*/ 32 h 46"/>
                  <a:gd name="T54" fmla="*/ 22 w 24"/>
                  <a:gd name="T55" fmla="*/ 18 h 46"/>
                  <a:gd name="T56" fmla="*/ 24 w 24"/>
                  <a:gd name="T57" fmla="*/ 10 h 46"/>
                  <a:gd name="T58" fmla="*/ 24 w 24"/>
                  <a:gd name="T59" fmla="*/ 10 h 46"/>
                  <a:gd name="T60" fmla="*/ 24 w 24"/>
                  <a:gd name="T61" fmla="*/ 8 h 46"/>
                  <a:gd name="T62" fmla="*/ 22 w 24"/>
                  <a:gd name="T63" fmla="*/ 4 h 46"/>
                  <a:gd name="T64" fmla="*/ 22 w 24"/>
                  <a:gd name="T65" fmla="*/ 4 h 46"/>
                  <a:gd name="T66" fmla="*/ 20 w 24"/>
                  <a:gd name="T67" fmla="*/ 2 h 46"/>
                  <a:gd name="T68" fmla="*/ 14 w 24"/>
                  <a:gd name="T69" fmla="*/ 0 h 46"/>
                  <a:gd name="T70" fmla="*/ 14 w 24"/>
                  <a:gd name="T71" fmla="*/ 0 h 46"/>
                  <a:gd name="T72" fmla="*/ 12 w 24"/>
                  <a:gd name="T73" fmla="*/ 0 h 46"/>
                  <a:gd name="T74" fmla="*/ 12 w 24"/>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6">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1" name="Freeform 613"/>
              <p:cNvSpPr>
                <a:spLocks/>
              </p:cNvSpPr>
              <p:nvPr/>
            </p:nvSpPr>
            <p:spPr bwMode="auto">
              <a:xfrm>
                <a:off x="2925" y="1723"/>
                <a:ext cx="60" cy="38"/>
              </a:xfrm>
              <a:custGeom>
                <a:avLst/>
                <a:gdLst>
                  <a:gd name="T0" fmla="*/ 44 w 60"/>
                  <a:gd name="T1" fmla="*/ 38 h 38"/>
                  <a:gd name="T2" fmla="*/ 44 w 60"/>
                  <a:gd name="T3" fmla="*/ 38 h 38"/>
                  <a:gd name="T4" fmla="*/ 44 w 60"/>
                  <a:gd name="T5" fmla="*/ 38 h 38"/>
                  <a:gd name="T6" fmla="*/ 36 w 60"/>
                  <a:gd name="T7" fmla="*/ 34 h 38"/>
                  <a:gd name="T8" fmla="*/ 36 w 60"/>
                  <a:gd name="T9" fmla="*/ 34 h 38"/>
                  <a:gd name="T10" fmla="*/ 36 w 60"/>
                  <a:gd name="T11" fmla="*/ 34 h 38"/>
                  <a:gd name="T12" fmla="*/ 34 w 60"/>
                  <a:gd name="T13" fmla="*/ 30 h 38"/>
                  <a:gd name="T14" fmla="*/ 24 w 60"/>
                  <a:gd name="T15" fmla="*/ 26 h 38"/>
                  <a:gd name="T16" fmla="*/ 10 w 60"/>
                  <a:gd name="T17" fmla="*/ 16 h 38"/>
                  <a:gd name="T18" fmla="*/ 0 w 60"/>
                  <a:gd name="T19" fmla="*/ 8 h 38"/>
                  <a:gd name="T20" fmla="*/ 0 w 60"/>
                  <a:gd name="T21" fmla="*/ 8 h 38"/>
                  <a:gd name="T22" fmla="*/ 0 w 60"/>
                  <a:gd name="T23" fmla="*/ 6 h 38"/>
                  <a:gd name="T24" fmla="*/ 0 w 60"/>
                  <a:gd name="T25" fmla="*/ 6 h 38"/>
                  <a:gd name="T26" fmla="*/ 2 w 60"/>
                  <a:gd name="T27" fmla="*/ 6 h 38"/>
                  <a:gd name="T28" fmla="*/ 12 w 60"/>
                  <a:gd name="T29" fmla="*/ 2 h 38"/>
                  <a:gd name="T30" fmla="*/ 26 w 60"/>
                  <a:gd name="T31" fmla="*/ 2 h 38"/>
                  <a:gd name="T32" fmla="*/ 36 w 60"/>
                  <a:gd name="T33" fmla="*/ 0 h 38"/>
                  <a:gd name="T34" fmla="*/ 46 w 60"/>
                  <a:gd name="T35" fmla="*/ 2 h 38"/>
                  <a:gd name="T36" fmla="*/ 50 w 60"/>
                  <a:gd name="T37" fmla="*/ 4 h 38"/>
                  <a:gd name="T38" fmla="*/ 50 w 60"/>
                  <a:gd name="T39" fmla="*/ 4 h 38"/>
                  <a:gd name="T40" fmla="*/ 50 w 60"/>
                  <a:gd name="T41" fmla="*/ 4 h 38"/>
                  <a:gd name="T42" fmla="*/ 56 w 60"/>
                  <a:gd name="T43" fmla="*/ 12 h 38"/>
                  <a:gd name="T44" fmla="*/ 60 w 60"/>
                  <a:gd name="T45" fmla="*/ 18 h 38"/>
                  <a:gd name="T46" fmla="*/ 60 w 60"/>
                  <a:gd name="T47" fmla="*/ 18 h 38"/>
                  <a:gd name="T48" fmla="*/ 60 w 60"/>
                  <a:gd name="T49" fmla="*/ 20 h 38"/>
                  <a:gd name="T50" fmla="*/ 58 w 60"/>
                  <a:gd name="T51" fmla="*/ 26 h 38"/>
                  <a:gd name="T52" fmla="*/ 58 w 60"/>
                  <a:gd name="T53" fmla="*/ 26 h 38"/>
                  <a:gd name="T54" fmla="*/ 56 w 60"/>
                  <a:gd name="T55" fmla="*/ 28 h 38"/>
                  <a:gd name="T56" fmla="*/ 52 w 60"/>
                  <a:gd name="T57" fmla="*/ 28 h 38"/>
                  <a:gd name="T58" fmla="*/ 52 w 60"/>
                  <a:gd name="T59" fmla="*/ 36 h 38"/>
                  <a:gd name="T60" fmla="*/ 52 w 60"/>
                  <a:gd name="T61" fmla="*/ 36 h 38"/>
                  <a:gd name="T62" fmla="*/ 50 w 60"/>
                  <a:gd name="T63" fmla="*/ 38 h 38"/>
                  <a:gd name="T64" fmla="*/ 44 w 6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38">
                    <a:moveTo>
                      <a:pt x="44" y="38"/>
                    </a:moveTo>
                    <a:lnTo>
                      <a:pt x="44" y="38"/>
                    </a:lnTo>
                    <a:lnTo>
                      <a:pt x="44" y="38"/>
                    </a:lnTo>
                    <a:lnTo>
                      <a:pt x="36" y="34"/>
                    </a:lnTo>
                    <a:lnTo>
                      <a:pt x="36" y="34"/>
                    </a:lnTo>
                    <a:lnTo>
                      <a:pt x="36" y="34"/>
                    </a:lnTo>
                    <a:lnTo>
                      <a:pt x="34" y="30"/>
                    </a:lnTo>
                    <a:lnTo>
                      <a:pt x="24" y="26"/>
                    </a:lnTo>
                    <a:lnTo>
                      <a:pt x="10" y="16"/>
                    </a:lnTo>
                    <a:lnTo>
                      <a:pt x="0" y="8"/>
                    </a:lnTo>
                    <a:lnTo>
                      <a:pt x="0" y="8"/>
                    </a:lnTo>
                    <a:lnTo>
                      <a:pt x="0" y="6"/>
                    </a:lnTo>
                    <a:lnTo>
                      <a:pt x="0" y="6"/>
                    </a:lnTo>
                    <a:lnTo>
                      <a:pt x="2" y="6"/>
                    </a:lnTo>
                    <a:lnTo>
                      <a:pt x="12" y="2"/>
                    </a:lnTo>
                    <a:lnTo>
                      <a:pt x="26" y="2"/>
                    </a:lnTo>
                    <a:lnTo>
                      <a:pt x="36" y="0"/>
                    </a:lnTo>
                    <a:lnTo>
                      <a:pt x="46" y="2"/>
                    </a:lnTo>
                    <a:lnTo>
                      <a:pt x="50" y="4"/>
                    </a:lnTo>
                    <a:lnTo>
                      <a:pt x="50" y="4"/>
                    </a:lnTo>
                    <a:lnTo>
                      <a:pt x="50" y="4"/>
                    </a:lnTo>
                    <a:lnTo>
                      <a:pt x="56" y="12"/>
                    </a:lnTo>
                    <a:lnTo>
                      <a:pt x="60" y="18"/>
                    </a:lnTo>
                    <a:lnTo>
                      <a:pt x="60" y="18"/>
                    </a:lnTo>
                    <a:lnTo>
                      <a:pt x="60" y="20"/>
                    </a:lnTo>
                    <a:lnTo>
                      <a:pt x="58" y="26"/>
                    </a:lnTo>
                    <a:lnTo>
                      <a:pt x="58" y="26"/>
                    </a:lnTo>
                    <a:lnTo>
                      <a:pt x="56" y="28"/>
                    </a:lnTo>
                    <a:lnTo>
                      <a:pt x="52" y="28"/>
                    </a:lnTo>
                    <a:lnTo>
                      <a:pt x="52" y="36"/>
                    </a:lnTo>
                    <a:lnTo>
                      <a:pt x="52" y="36"/>
                    </a:lnTo>
                    <a:lnTo>
                      <a:pt x="50" y="38"/>
                    </a:lnTo>
                    <a:lnTo>
                      <a:pt x="4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2" name="Freeform 614"/>
              <p:cNvSpPr>
                <a:spLocks noEditPoints="1"/>
              </p:cNvSpPr>
              <p:nvPr/>
            </p:nvSpPr>
            <p:spPr bwMode="auto">
              <a:xfrm>
                <a:off x="2923" y="1721"/>
                <a:ext cx="64" cy="42"/>
              </a:xfrm>
              <a:custGeom>
                <a:avLst/>
                <a:gdLst>
                  <a:gd name="T0" fmla="*/ 46 w 64"/>
                  <a:gd name="T1" fmla="*/ 6 h 42"/>
                  <a:gd name="T2" fmla="*/ 56 w 64"/>
                  <a:gd name="T3" fmla="*/ 14 h 42"/>
                  <a:gd name="T4" fmla="*/ 58 w 64"/>
                  <a:gd name="T5" fmla="*/ 28 h 42"/>
                  <a:gd name="T6" fmla="*/ 52 w 64"/>
                  <a:gd name="T7" fmla="*/ 38 h 42"/>
                  <a:gd name="T8" fmla="*/ 40 w 64"/>
                  <a:gd name="T9" fmla="*/ 34 h 42"/>
                  <a:gd name="T10" fmla="*/ 26 w 64"/>
                  <a:gd name="T11" fmla="*/ 28 h 42"/>
                  <a:gd name="T12" fmla="*/ 4 w 64"/>
                  <a:gd name="T13" fmla="*/ 10 h 42"/>
                  <a:gd name="T14" fmla="*/ 28 w 64"/>
                  <a:gd name="T15" fmla="*/ 6 h 42"/>
                  <a:gd name="T16" fmla="*/ 40 w 64"/>
                  <a:gd name="T17" fmla="*/ 0 h 42"/>
                  <a:gd name="T18" fmla="*/ 38 w 64"/>
                  <a:gd name="T19" fmla="*/ 0 h 42"/>
                  <a:gd name="T20" fmla="*/ 14 w 64"/>
                  <a:gd name="T21" fmla="*/ 2 h 42"/>
                  <a:gd name="T22" fmla="*/ 14 w 64"/>
                  <a:gd name="T23" fmla="*/ 2 h 42"/>
                  <a:gd name="T24" fmla="*/ 2 w 64"/>
                  <a:gd name="T25" fmla="*/ 6 h 42"/>
                  <a:gd name="T26" fmla="*/ 0 w 64"/>
                  <a:gd name="T27" fmla="*/ 8 h 42"/>
                  <a:gd name="T28" fmla="*/ 10 w 64"/>
                  <a:gd name="T29" fmla="*/ 20 h 42"/>
                  <a:gd name="T30" fmla="*/ 24 w 64"/>
                  <a:gd name="T31" fmla="*/ 30 h 42"/>
                  <a:gd name="T32" fmla="*/ 34 w 64"/>
                  <a:gd name="T33" fmla="*/ 34 h 42"/>
                  <a:gd name="T34" fmla="*/ 36 w 64"/>
                  <a:gd name="T35" fmla="*/ 36 h 42"/>
                  <a:gd name="T36" fmla="*/ 44 w 64"/>
                  <a:gd name="T37" fmla="*/ 42 h 42"/>
                  <a:gd name="T38" fmla="*/ 46 w 64"/>
                  <a:gd name="T39" fmla="*/ 42 h 42"/>
                  <a:gd name="T40" fmla="*/ 52 w 64"/>
                  <a:gd name="T41" fmla="*/ 42 h 42"/>
                  <a:gd name="T42" fmla="*/ 56 w 64"/>
                  <a:gd name="T43" fmla="*/ 38 h 42"/>
                  <a:gd name="T44" fmla="*/ 58 w 64"/>
                  <a:gd name="T45" fmla="*/ 32 h 42"/>
                  <a:gd name="T46" fmla="*/ 60 w 64"/>
                  <a:gd name="T47" fmla="*/ 30 h 42"/>
                  <a:gd name="T48" fmla="*/ 64 w 64"/>
                  <a:gd name="T49" fmla="*/ 24 h 42"/>
                  <a:gd name="T50" fmla="*/ 64 w 64"/>
                  <a:gd name="T51" fmla="*/ 20 h 42"/>
                  <a:gd name="T52" fmla="*/ 60 w 64"/>
                  <a:gd name="T53" fmla="*/ 12 h 42"/>
                  <a:gd name="T54" fmla="*/ 54 w 64"/>
                  <a:gd name="T55" fmla="*/ 6 h 42"/>
                  <a:gd name="T56" fmla="*/ 52 w 64"/>
                  <a:gd name="T57" fmla="*/ 4 h 42"/>
                  <a:gd name="T58" fmla="*/ 48 w 64"/>
                  <a:gd name="T59" fmla="*/ 2 h 42"/>
                  <a:gd name="T60" fmla="*/ 40 w 64"/>
                  <a:gd name="T61" fmla="*/ 0 h 42"/>
                  <a:gd name="T62" fmla="*/ 4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40" y="4"/>
                    </a:moveTo>
                    <a:lnTo>
                      <a:pt x="46" y="6"/>
                    </a:lnTo>
                    <a:lnTo>
                      <a:pt x="50" y="8"/>
                    </a:lnTo>
                    <a:lnTo>
                      <a:pt x="56" y="14"/>
                    </a:lnTo>
                    <a:lnTo>
                      <a:pt x="60" y="22"/>
                    </a:lnTo>
                    <a:lnTo>
                      <a:pt x="58" y="28"/>
                    </a:lnTo>
                    <a:lnTo>
                      <a:pt x="52" y="28"/>
                    </a:lnTo>
                    <a:lnTo>
                      <a:pt x="52" y="38"/>
                    </a:lnTo>
                    <a:lnTo>
                      <a:pt x="46" y="38"/>
                    </a:lnTo>
                    <a:lnTo>
                      <a:pt x="40" y="34"/>
                    </a:lnTo>
                    <a:lnTo>
                      <a:pt x="38" y="30"/>
                    </a:lnTo>
                    <a:lnTo>
                      <a:pt x="26" y="28"/>
                    </a:lnTo>
                    <a:lnTo>
                      <a:pt x="14" y="16"/>
                    </a:lnTo>
                    <a:lnTo>
                      <a:pt x="4" y="10"/>
                    </a:lnTo>
                    <a:lnTo>
                      <a:pt x="14" y="6"/>
                    </a:lnTo>
                    <a:lnTo>
                      <a:pt x="28" y="6"/>
                    </a:lnTo>
                    <a:lnTo>
                      <a:pt x="40" y="4"/>
                    </a:lnTo>
                    <a:close/>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3" name="Freeform 615"/>
              <p:cNvSpPr>
                <a:spLocks/>
              </p:cNvSpPr>
              <p:nvPr/>
            </p:nvSpPr>
            <p:spPr bwMode="auto">
              <a:xfrm>
                <a:off x="2927" y="1725"/>
                <a:ext cx="56" cy="34"/>
              </a:xfrm>
              <a:custGeom>
                <a:avLst/>
                <a:gdLst>
                  <a:gd name="T0" fmla="*/ 36 w 56"/>
                  <a:gd name="T1" fmla="*/ 0 h 34"/>
                  <a:gd name="T2" fmla="*/ 42 w 56"/>
                  <a:gd name="T3" fmla="*/ 2 h 34"/>
                  <a:gd name="T4" fmla="*/ 46 w 56"/>
                  <a:gd name="T5" fmla="*/ 4 h 34"/>
                  <a:gd name="T6" fmla="*/ 52 w 56"/>
                  <a:gd name="T7" fmla="*/ 10 h 34"/>
                  <a:gd name="T8" fmla="*/ 56 w 56"/>
                  <a:gd name="T9" fmla="*/ 18 h 34"/>
                  <a:gd name="T10" fmla="*/ 54 w 56"/>
                  <a:gd name="T11" fmla="*/ 24 h 34"/>
                  <a:gd name="T12" fmla="*/ 48 w 56"/>
                  <a:gd name="T13" fmla="*/ 24 h 34"/>
                  <a:gd name="T14" fmla="*/ 48 w 56"/>
                  <a:gd name="T15" fmla="*/ 34 h 34"/>
                  <a:gd name="T16" fmla="*/ 42 w 56"/>
                  <a:gd name="T17" fmla="*/ 34 h 34"/>
                  <a:gd name="T18" fmla="*/ 36 w 56"/>
                  <a:gd name="T19" fmla="*/ 30 h 34"/>
                  <a:gd name="T20" fmla="*/ 34 w 56"/>
                  <a:gd name="T21" fmla="*/ 26 h 34"/>
                  <a:gd name="T22" fmla="*/ 22 w 56"/>
                  <a:gd name="T23" fmla="*/ 24 h 34"/>
                  <a:gd name="T24" fmla="*/ 10 w 56"/>
                  <a:gd name="T25" fmla="*/ 12 h 34"/>
                  <a:gd name="T26" fmla="*/ 0 w 56"/>
                  <a:gd name="T27" fmla="*/ 6 h 34"/>
                  <a:gd name="T28" fmla="*/ 10 w 56"/>
                  <a:gd name="T29" fmla="*/ 2 h 34"/>
                  <a:gd name="T30" fmla="*/ 24 w 56"/>
                  <a:gd name="T31" fmla="*/ 2 h 34"/>
                  <a:gd name="T32" fmla="*/ 36 w 56"/>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34">
                    <a:moveTo>
                      <a:pt x="36" y="0"/>
                    </a:moveTo>
                    <a:lnTo>
                      <a:pt x="42" y="2"/>
                    </a:lnTo>
                    <a:lnTo>
                      <a:pt x="46" y="4"/>
                    </a:lnTo>
                    <a:lnTo>
                      <a:pt x="52" y="10"/>
                    </a:lnTo>
                    <a:lnTo>
                      <a:pt x="56" y="18"/>
                    </a:lnTo>
                    <a:lnTo>
                      <a:pt x="54" y="24"/>
                    </a:lnTo>
                    <a:lnTo>
                      <a:pt x="48" y="24"/>
                    </a:lnTo>
                    <a:lnTo>
                      <a:pt x="48" y="34"/>
                    </a:lnTo>
                    <a:lnTo>
                      <a:pt x="42" y="34"/>
                    </a:lnTo>
                    <a:lnTo>
                      <a:pt x="36" y="30"/>
                    </a:lnTo>
                    <a:lnTo>
                      <a:pt x="34" y="26"/>
                    </a:lnTo>
                    <a:lnTo>
                      <a:pt x="22" y="24"/>
                    </a:lnTo>
                    <a:lnTo>
                      <a:pt x="10" y="12"/>
                    </a:lnTo>
                    <a:lnTo>
                      <a:pt x="0" y="6"/>
                    </a:lnTo>
                    <a:lnTo>
                      <a:pt x="10" y="2"/>
                    </a:lnTo>
                    <a:lnTo>
                      <a:pt x="24" y="2"/>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4" name="Freeform 616"/>
              <p:cNvSpPr>
                <a:spLocks/>
              </p:cNvSpPr>
              <p:nvPr/>
            </p:nvSpPr>
            <p:spPr bwMode="auto">
              <a:xfrm>
                <a:off x="2923" y="1721"/>
                <a:ext cx="64" cy="42"/>
              </a:xfrm>
              <a:custGeom>
                <a:avLst/>
                <a:gdLst>
                  <a:gd name="T0" fmla="*/ 40 w 64"/>
                  <a:gd name="T1" fmla="*/ 0 h 42"/>
                  <a:gd name="T2" fmla="*/ 40 w 64"/>
                  <a:gd name="T3" fmla="*/ 0 h 42"/>
                  <a:gd name="T4" fmla="*/ 38 w 64"/>
                  <a:gd name="T5" fmla="*/ 0 h 42"/>
                  <a:gd name="T6" fmla="*/ 28 w 64"/>
                  <a:gd name="T7" fmla="*/ 2 h 42"/>
                  <a:gd name="T8" fmla="*/ 14 w 64"/>
                  <a:gd name="T9" fmla="*/ 2 h 42"/>
                  <a:gd name="T10" fmla="*/ 14 w 64"/>
                  <a:gd name="T11" fmla="*/ 2 h 42"/>
                  <a:gd name="T12" fmla="*/ 14 w 64"/>
                  <a:gd name="T13" fmla="*/ 2 h 42"/>
                  <a:gd name="T14" fmla="*/ 2 w 64"/>
                  <a:gd name="T15" fmla="*/ 6 h 42"/>
                  <a:gd name="T16" fmla="*/ 2 w 64"/>
                  <a:gd name="T17" fmla="*/ 6 h 42"/>
                  <a:gd name="T18" fmla="*/ 0 w 64"/>
                  <a:gd name="T19" fmla="*/ 8 h 42"/>
                  <a:gd name="T20" fmla="*/ 0 w 64"/>
                  <a:gd name="T21" fmla="*/ 8 h 42"/>
                  <a:gd name="T22" fmla="*/ 2 w 64"/>
                  <a:gd name="T23" fmla="*/ 12 h 42"/>
                  <a:gd name="T24" fmla="*/ 10 w 64"/>
                  <a:gd name="T25" fmla="*/ 20 h 42"/>
                  <a:gd name="T26" fmla="*/ 24 w 64"/>
                  <a:gd name="T27" fmla="*/ 30 h 42"/>
                  <a:gd name="T28" fmla="*/ 24 w 64"/>
                  <a:gd name="T29" fmla="*/ 30 h 42"/>
                  <a:gd name="T30" fmla="*/ 24 w 64"/>
                  <a:gd name="T31" fmla="*/ 30 h 42"/>
                  <a:gd name="T32" fmla="*/ 34 w 64"/>
                  <a:gd name="T33" fmla="*/ 34 h 42"/>
                  <a:gd name="T34" fmla="*/ 36 w 64"/>
                  <a:gd name="T35" fmla="*/ 36 h 42"/>
                  <a:gd name="T36" fmla="*/ 36 w 64"/>
                  <a:gd name="T37" fmla="*/ 36 h 42"/>
                  <a:gd name="T38" fmla="*/ 38 w 64"/>
                  <a:gd name="T39" fmla="*/ 38 h 42"/>
                  <a:gd name="T40" fmla="*/ 44 w 64"/>
                  <a:gd name="T41" fmla="*/ 42 h 42"/>
                  <a:gd name="T42" fmla="*/ 44 w 64"/>
                  <a:gd name="T43" fmla="*/ 42 h 42"/>
                  <a:gd name="T44" fmla="*/ 46 w 64"/>
                  <a:gd name="T45" fmla="*/ 42 h 42"/>
                  <a:gd name="T46" fmla="*/ 52 w 64"/>
                  <a:gd name="T47" fmla="*/ 42 h 42"/>
                  <a:gd name="T48" fmla="*/ 52 w 64"/>
                  <a:gd name="T49" fmla="*/ 42 h 42"/>
                  <a:gd name="T50" fmla="*/ 56 w 64"/>
                  <a:gd name="T51" fmla="*/ 40 h 42"/>
                  <a:gd name="T52" fmla="*/ 56 w 64"/>
                  <a:gd name="T53" fmla="*/ 38 h 42"/>
                  <a:gd name="T54" fmla="*/ 56 w 64"/>
                  <a:gd name="T55" fmla="*/ 32 h 42"/>
                  <a:gd name="T56" fmla="*/ 58 w 64"/>
                  <a:gd name="T57" fmla="*/ 32 h 42"/>
                  <a:gd name="T58" fmla="*/ 58 w 64"/>
                  <a:gd name="T59" fmla="*/ 32 h 42"/>
                  <a:gd name="T60" fmla="*/ 60 w 64"/>
                  <a:gd name="T61" fmla="*/ 30 h 42"/>
                  <a:gd name="T62" fmla="*/ 62 w 64"/>
                  <a:gd name="T63" fmla="*/ 28 h 42"/>
                  <a:gd name="T64" fmla="*/ 64 w 64"/>
                  <a:gd name="T65" fmla="*/ 24 h 42"/>
                  <a:gd name="T66" fmla="*/ 64 w 64"/>
                  <a:gd name="T67" fmla="*/ 24 h 42"/>
                  <a:gd name="T68" fmla="*/ 64 w 64"/>
                  <a:gd name="T69" fmla="*/ 20 h 42"/>
                  <a:gd name="T70" fmla="*/ 60 w 64"/>
                  <a:gd name="T71" fmla="*/ 12 h 42"/>
                  <a:gd name="T72" fmla="*/ 60 w 64"/>
                  <a:gd name="T73" fmla="*/ 12 h 42"/>
                  <a:gd name="T74" fmla="*/ 60 w 64"/>
                  <a:gd name="T75" fmla="*/ 12 h 42"/>
                  <a:gd name="T76" fmla="*/ 54 w 64"/>
                  <a:gd name="T77" fmla="*/ 6 h 42"/>
                  <a:gd name="T78" fmla="*/ 54 w 64"/>
                  <a:gd name="T79" fmla="*/ 6 h 42"/>
                  <a:gd name="T80" fmla="*/ 52 w 64"/>
                  <a:gd name="T81" fmla="*/ 4 h 42"/>
                  <a:gd name="T82" fmla="*/ 48 w 64"/>
                  <a:gd name="T83" fmla="*/ 2 h 42"/>
                  <a:gd name="T84" fmla="*/ 48 w 64"/>
                  <a:gd name="T85" fmla="*/ 2 h 42"/>
                  <a:gd name="T86" fmla="*/ 48 w 64"/>
                  <a:gd name="T87" fmla="*/ 2 h 42"/>
                  <a:gd name="T88" fmla="*/ 40 w 64"/>
                  <a:gd name="T89" fmla="*/ 0 h 42"/>
                  <a:gd name="T90" fmla="*/ 40 w 64"/>
                  <a:gd name="T91" fmla="*/ 0 h 42"/>
                  <a:gd name="T92" fmla="*/ 40 w 64"/>
                  <a:gd name="T93" fmla="*/ 0 h 42"/>
                  <a:gd name="T94" fmla="*/ 40 w 6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42">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5" name="Freeform 617"/>
              <p:cNvSpPr>
                <a:spLocks/>
              </p:cNvSpPr>
              <p:nvPr/>
            </p:nvSpPr>
            <p:spPr bwMode="auto">
              <a:xfrm>
                <a:off x="2937" y="1679"/>
                <a:ext cx="58" cy="54"/>
              </a:xfrm>
              <a:custGeom>
                <a:avLst/>
                <a:gdLst>
                  <a:gd name="T0" fmla="*/ 42 w 58"/>
                  <a:gd name="T1" fmla="*/ 54 h 54"/>
                  <a:gd name="T2" fmla="*/ 42 w 58"/>
                  <a:gd name="T3" fmla="*/ 54 h 54"/>
                  <a:gd name="T4" fmla="*/ 40 w 58"/>
                  <a:gd name="T5" fmla="*/ 54 h 54"/>
                  <a:gd name="T6" fmla="*/ 36 w 58"/>
                  <a:gd name="T7" fmla="*/ 48 h 54"/>
                  <a:gd name="T8" fmla="*/ 24 w 58"/>
                  <a:gd name="T9" fmla="*/ 44 h 54"/>
                  <a:gd name="T10" fmla="*/ 14 w 58"/>
                  <a:gd name="T11" fmla="*/ 46 h 54"/>
                  <a:gd name="T12" fmla="*/ 0 w 58"/>
                  <a:gd name="T13" fmla="*/ 46 h 54"/>
                  <a:gd name="T14" fmla="*/ 0 w 58"/>
                  <a:gd name="T15" fmla="*/ 46 h 54"/>
                  <a:gd name="T16" fmla="*/ 0 w 58"/>
                  <a:gd name="T17" fmla="*/ 46 h 54"/>
                  <a:gd name="T18" fmla="*/ 0 w 58"/>
                  <a:gd name="T19" fmla="*/ 46 h 54"/>
                  <a:gd name="T20" fmla="*/ 0 w 58"/>
                  <a:gd name="T21" fmla="*/ 42 h 54"/>
                  <a:gd name="T22" fmla="*/ 10 w 58"/>
                  <a:gd name="T23" fmla="*/ 36 h 54"/>
                  <a:gd name="T24" fmla="*/ 14 w 58"/>
                  <a:gd name="T25" fmla="*/ 30 h 54"/>
                  <a:gd name="T26" fmla="*/ 14 w 58"/>
                  <a:gd name="T27" fmla="*/ 20 h 54"/>
                  <a:gd name="T28" fmla="*/ 16 w 58"/>
                  <a:gd name="T29" fmla="*/ 14 h 54"/>
                  <a:gd name="T30" fmla="*/ 16 w 58"/>
                  <a:gd name="T31" fmla="*/ 14 h 54"/>
                  <a:gd name="T32" fmla="*/ 16 w 58"/>
                  <a:gd name="T33" fmla="*/ 14 h 54"/>
                  <a:gd name="T34" fmla="*/ 24 w 58"/>
                  <a:gd name="T35" fmla="*/ 10 h 54"/>
                  <a:gd name="T36" fmla="*/ 24 w 58"/>
                  <a:gd name="T37" fmla="*/ 10 h 54"/>
                  <a:gd name="T38" fmla="*/ 26 w 58"/>
                  <a:gd name="T39" fmla="*/ 10 h 54"/>
                  <a:gd name="T40" fmla="*/ 26 w 58"/>
                  <a:gd name="T41" fmla="*/ 10 h 54"/>
                  <a:gd name="T42" fmla="*/ 26 w 58"/>
                  <a:gd name="T43" fmla="*/ 10 h 54"/>
                  <a:gd name="T44" fmla="*/ 30 w 58"/>
                  <a:gd name="T45" fmla="*/ 16 h 54"/>
                  <a:gd name="T46" fmla="*/ 32 w 58"/>
                  <a:gd name="T47" fmla="*/ 20 h 54"/>
                  <a:gd name="T48" fmla="*/ 34 w 58"/>
                  <a:gd name="T49" fmla="*/ 18 h 54"/>
                  <a:gd name="T50" fmla="*/ 30 w 58"/>
                  <a:gd name="T51" fmla="*/ 8 h 54"/>
                  <a:gd name="T52" fmla="*/ 30 w 58"/>
                  <a:gd name="T53" fmla="*/ 8 h 54"/>
                  <a:gd name="T54" fmla="*/ 32 w 58"/>
                  <a:gd name="T55" fmla="*/ 6 h 54"/>
                  <a:gd name="T56" fmla="*/ 38 w 58"/>
                  <a:gd name="T57" fmla="*/ 2 h 54"/>
                  <a:gd name="T58" fmla="*/ 38 w 58"/>
                  <a:gd name="T59" fmla="*/ 2 h 54"/>
                  <a:gd name="T60" fmla="*/ 40 w 58"/>
                  <a:gd name="T61" fmla="*/ 0 h 54"/>
                  <a:gd name="T62" fmla="*/ 40 w 58"/>
                  <a:gd name="T63" fmla="*/ 0 h 54"/>
                  <a:gd name="T64" fmla="*/ 52 w 58"/>
                  <a:gd name="T65" fmla="*/ 0 h 54"/>
                  <a:gd name="T66" fmla="*/ 52 w 58"/>
                  <a:gd name="T67" fmla="*/ 0 h 54"/>
                  <a:gd name="T68" fmla="*/ 54 w 58"/>
                  <a:gd name="T69" fmla="*/ 0 h 54"/>
                  <a:gd name="T70" fmla="*/ 58 w 58"/>
                  <a:gd name="T71" fmla="*/ 12 h 54"/>
                  <a:gd name="T72" fmla="*/ 58 w 58"/>
                  <a:gd name="T73" fmla="*/ 12 h 54"/>
                  <a:gd name="T74" fmla="*/ 58 w 58"/>
                  <a:gd name="T75" fmla="*/ 14 h 54"/>
                  <a:gd name="T76" fmla="*/ 56 w 58"/>
                  <a:gd name="T77" fmla="*/ 20 h 54"/>
                  <a:gd name="T78" fmla="*/ 56 w 58"/>
                  <a:gd name="T79" fmla="*/ 28 h 54"/>
                  <a:gd name="T80" fmla="*/ 56 w 58"/>
                  <a:gd name="T81" fmla="*/ 28 h 54"/>
                  <a:gd name="T82" fmla="*/ 54 w 58"/>
                  <a:gd name="T83" fmla="*/ 30 h 54"/>
                  <a:gd name="T84" fmla="*/ 44 w 58"/>
                  <a:gd name="T85" fmla="*/ 36 h 54"/>
                  <a:gd name="T86" fmla="*/ 44 w 58"/>
                  <a:gd name="T87" fmla="*/ 52 h 54"/>
                  <a:gd name="T88" fmla="*/ 44 w 58"/>
                  <a:gd name="T89" fmla="*/ 52 h 54"/>
                  <a:gd name="T90" fmla="*/ 42 w 58"/>
                  <a:gd name="T91" fmla="*/ 54 h 54"/>
                  <a:gd name="T92" fmla="*/ 42 w 58"/>
                  <a:gd name="T93" fmla="*/ 54 h 54"/>
                  <a:gd name="T94" fmla="*/ 42 w 58"/>
                  <a:gd name="T95" fmla="*/ 54 h 54"/>
                  <a:gd name="T96" fmla="*/ 42 w 58"/>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 h="54">
                    <a:moveTo>
                      <a:pt x="42" y="54"/>
                    </a:moveTo>
                    <a:lnTo>
                      <a:pt x="42" y="54"/>
                    </a:lnTo>
                    <a:lnTo>
                      <a:pt x="40" y="54"/>
                    </a:lnTo>
                    <a:lnTo>
                      <a:pt x="36" y="48"/>
                    </a:lnTo>
                    <a:lnTo>
                      <a:pt x="24" y="44"/>
                    </a:lnTo>
                    <a:lnTo>
                      <a:pt x="14" y="46"/>
                    </a:lnTo>
                    <a:lnTo>
                      <a:pt x="0" y="46"/>
                    </a:lnTo>
                    <a:lnTo>
                      <a:pt x="0" y="46"/>
                    </a:lnTo>
                    <a:lnTo>
                      <a:pt x="0" y="46"/>
                    </a:lnTo>
                    <a:lnTo>
                      <a:pt x="0" y="46"/>
                    </a:lnTo>
                    <a:lnTo>
                      <a:pt x="0" y="42"/>
                    </a:lnTo>
                    <a:lnTo>
                      <a:pt x="10" y="36"/>
                    </a:lnTo>
                    <a:lnTo>
                      <a:pt x="14" y="30"/>
                    </a:lnTo>
                    <a:lnTo>
                      <a:pt x="14" y="20"/>
                    </a:lnTo>
                    <a:lnTo>
                      <a:pt x="16" y="14"/>
                    </a:lnTo>
                    <a:lnTo>
                      <a:pt x="16" y="14"/>
                    </a:lnTo>
                    <a:lnTo>
                      <a:pt x="16" y="14"/>
                    </a:lnTo>
                    <a:lnTo>
                      <a:pt x="24" y="10"/>
                    </a:lnTo>
                    <a:lnTo>
                      <a:pt x="24" y="10"/>
                    </a:lnTo>
                    <a:lnTo>
                      <a:pt x="26" y="10"/>
                    </a:lnTo>
                    <a:lnTo>
                      <a:pt x="26" y="10"/>
                    </a:lnTo>
                    <a:lnTo>
                      <a:pt x="26" y="10"/>
                    </a:lnTo>
                    <a:lnTo>
                      <a:pt x="30" y="16"/>
                    </a:lnTo>
                    <a:lnTo>
                      <a:pt x="32" y="20"/>
                    </a:lnTo>
                    <a:lnTo>
                      <a:pt x="34" y="18"/>
                    </a:lnTo>
                    <a:lnTo>
                      <a:pt x="30" y="8"/>
                    </a:lnTo>
                    <a:lnTo>
                      <a:pt x="30" y="8"/>
                    </a:lnTo>
                    <a:lnTo>
                      <a:pt x="32" y="6"/>
                    </a:lnTo>
                    <a:lnTo>
                      <a:pt x="38" y="2"/>
                    </a:lnTo>
                    <a:lnTo>
                      <a:pt x="38" y="2"/>
                    </a:lnTo>
                    <a:lnTo>
                      <a:pt x="40" y="0"/>
                    </a:lnTo>
                    <a:lnTo>
                      <a:pt x="40" y="0"/>
                    </a:lnTo>
                    <a:lnTo>
                      <a:pt x="52" y="0"/>
                    </a:lnTo>
                    <a:lnTo>
                      <a:pt x="52" y="0"/>
                    </a:lnTo>
                    <a:lnTo>
                      <a:pt x="54" y="0"/>
                    </a:lnTo>
                    <a:lnTo>
                      <a:pt x="58" y="12"/>
                    </a:lnTo>
                    <a:lnTo>
                      <a:pt x="58" y="12"/>
                    </a:lnTo>
                    <a:lnTo>
                      <a:pt x="58" y="14"/>
                    </a:lnTo>
                    <a:lnTo>
                      <a:pt x="56" y="20"/>
                    </a:lnTo>
                    <a:lnTo>
                      <a:pt x="56" y="28"/>
                    </a:lnTo>
                    <a:lnTo>
                      <a:pt x="56" y="28"/>
                    </a:lnTo>
                    <a:lnTo>
                      <a:pt x="54" y="30"/>
                    </a:lnTo>
                    <a:lnTo>
                      <a:pt x="44" y="36"/>
                    </a:lnTo>
                    <a:lnTo>
                      <a:pt x="44" y="52"/>
                    </a:lnTo>
                    <a:lnTo>
                      <a:pt x="44" y="52"/>
                    </a:lnTo>
                    <a:lnTo>
                      <a:pt x="42" y="54"/>
                    </a:lnTo>
                    <a:lnTo>
                      <a:pt x="42" y="54"/>
                    </a:lnTo>
                    <a:lnTo>
                      <a:pt x="42" y="54"/>
                    </a:lnTo>
                    <a:lnTo>
                      <a:pt x="4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6" name="Freeform 618"/>
              <p:cNvSpPr>
                <a:spLocks noEditPoints="1"/>
              </p:cNvSpPr>
              <p:nvPr/>
            </p:nvSpPr>
            <p:spPr bwMode="auto">
              <a:xfrm>
                <a:off x="2935" y="1677"/>
                <a:ext cx="62" cy="58"/>
              </a:xfrm>
              <a:custGeom>
                <a:avLst/>
                <a:gdLst>
                  <a:gd name="T0" fmla="*/ 58 w 62"/>
                  <a:gd name="T1" fmla="*/ 16 h 58"/>
                  <a:gd name="T2" fmla="*/ 56 w 62"/>
                  <a:gd name="T3" fmla="*/ 30 h 58"/>
                  <a:gd name="T4" fmla="*/ 44 w 62"/>
                  <a:gd name="T5" fmla="*/ 38 h 58"/>
                  <a:gd name="T6" fmla="*/ 44 w 62"/>
                  <a:gd name="T7" fmla="*/ 54 h 58"/>
                  <a:gd name="T8" fmla="*/ 28 w 62"/>
                  <a:gd name="T9" fmla="*/ 44 h 58"/>
                  <a:gd name="T10" fmla="*/ 2 w 62"/>
                  <a:gd name="T11" fmla="*/ 46 h 58"/>
                  <a:gd name="T12" fmla="*/ 18 w 62"/>
                  <a:gd name="T13" fmla="*/ 32 h 58"/>
                  <a:gd name="T14" fmla="*/ 20 w 62"/>
                  <a:gd name="T15" fmla="*/ 18 h 58"/>
                  <a:gd name="T16" fmla="*/ 30 w 62"/>
                  <a:gd name="T17" fmla="*/ 20 h 58"/>
                  <a:gd name="T18" fmla="*/ 38 w 62"/>
                  <a:gd name="T19" fmla="*/ 22 h 58"/>
                  <a:gd name="T20" fmla="*/ 42 w 62"/>
                  <a:gd name="T21" fmla="*/ 4 h 58"/>
                  <a:gd name="T22" fmla="*/ 54 w 62"/>
                  <a:gd name="T23" fmla="*/ 0 h 58"/>
                  <a:gd name="T24" fmla="*/ 52 w 62"/>
                  <a:gd name="T25" fmla="*/ 0 h 58"/>
                  <a:gd name="T26" fmla="*/ 42 w 62"/>
                  <a:gd name="T27" fmla="*/ 0 h 58"/>
                  <a:gd name="T28" fmla="*/ 32 w 62"/>
                  <a:gd name="T29" fmla="*/ 8 h 58"/>
                  <a:gd name="T30" fmla="*/ 30 w 62"/>
                  <a:gd name="T31" fmla="*/ 10 h 58"/>
                  <a:gd name="T32" fmla="*/ 32 w 62"/>
                  <a:gd name="T33" fmla="*/ 12 h 58"/>
                  <a:gd name="T34" fmla="*/ 30 w 62"/>
                  <a:gd name="T35" fmla="*/ 12 h 58"/>
                  <a:gd name="T36" fmla="*/ 28 w 62"/>
                  <a:gd name="T37" fmla="*/ 10 h 58"/>
                  <a:gd name="T38" fmla="*/ 18 w 62"/>
                  <a:gd name="T39" fmla="*/ 14 h 58"/>
                  <a:gd name="T40" fmla="*/ 16 w 62"/>
                  <a:gd name="T41" fmla="*/ 16 h 58"/>
                  <a:gd name="T42" fmla="*/ 14 w 62"/>
                  <a:gd name="T43" fmla="*/ 22 h 58"/>
                  <a:gd name="T44" fmla="*/ 14 w 62"/>
                  <a:gd name="T45" fmla="*/ 30 h 58"/>
                  <a:gd name="T46" fmla="*/ 0 w 62"/>
                  <a:gd name="T47" fmla="*/ 44 h 58"/>
                  <a:gd name="T48" fmla="*/ 0 w 62"/>
                  <a:gd name="T49" fmla="*/ 46 h 58"/>
                  <a:gd name="T50" fmla="*/ 0 w 62"/>
                  <a:gd name="T51" fmla="*/ 48 h 58"/>
                  <a:gd name="T52" fmla="*/ 2 w 62"/>
                  <a:gd name="T53" fmla="*/ 50 h 58"/>
                  <a:gd name="T54" fmla="*/ 16 w 62"/>
                  <a:gd name="T55" fmla="*/ 50 h 58"/>
                  <a:gd name="T56" fmla="*/ 26 w 62"/>
                  <a:gd name="T57" fmla="*/ 48 h 58"/>
                  <a:gd name="T58" fmla="*/ 42 w 62"/>
                  <a:gd name="T59" fmla="*/ 56 h 58"/>
                  <a:gd name="T60" fmla="*/ 44 w 62"/>
                  <a:gd name="T61" fmla="*/ 58 h 58"/>
                  <a:gd name="T62" fmla="*/ 46 w 62"/>
                  <a:gd name="T63" fmla="*/ 58 h 58"/>
                  <a:gd name="T64" fmla="*/ 48 w 62"/>
                  <a:gd name="T65" fmla="*/ 56 h 58"/>
                  <a:gd name="T66" fmla="*/ 48 w 62"/>
                  <a:gd name="T67" fmla="*/ 44 h 58"/>
                  <a:gd name="T68" fmla="*/ 52 w 62"/>
                  <a:gd name="T69" fmla="*/ 38 h 58"/>
                  <a:gd name="T70" fmla="*/ 58 w 62"/>
                  <a:gd name="T71" fmla="*/ 34 h 58"/>
                  <a:gd name="T72" fmla="*/ 60 w 62"/>
                  <a:gd name="T73" fmla="*/ 22 h 58"/>
                  <a:gd name="T74" fmla="*/ 62 w 62"/>
                  <a:gd name="T75" fmla="*/ 18 h 58"/>
                  <a:gd name="T76" fmla="*/ 56 w 62"/>
                  <a:gd name="T77" fmla="*/ 2 h 58"/>
                  <a:gd name="T78" fmla="*/ 56 w 62"/>
                  <a:gd name="T79" fmla="*/ 0 h 58"/>
                  <a:gd name="T80" fmla="*/ 54 w 6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58">
                    <a:moveTo>
                      <a:pt x="54" y="4"/>
                    </a:moveTo>
                    <a:lnTo>
                      <a:pt x="58" y="16"/>
                    </a:lnTo>
                    <a:lnTo>
                      <a:pt x="56" y="22"/>
                    </a:lnTo>
                    <a:lnTo>
                      <a:pt x="56" y="30"/>
                    </a:lnTo>
                    <a:lnTo>
                      <a:pt x="50" y="34"/>
                    </a:lnTo>
                    <a:lnTo>
                      <a:pt x="44" y="38"/>
                    </a:lnTo>
                    <a:lnTo>
                      <a:pt x="44" y="44"/>
                    </a:lnTo>
                    <a:lnTo>
                      <a:pt x="44" y="54"/>
                    </a:lnTo>
                    <a:lnTo>
                      <a:pt x="38" y="48"/>
                    </a:lnTo>
                    <a:lnTo>
                      <a:pt x="28" y="44"/>
                    </a:lnTo>
                    <a:lnTo>
                      <a:pt x="16" y="46"/>
                    </a:lnTo>
                    <a:lnTo>
                      <a:pt x="2" y="46"/>
                    </a:lnTo>
                    <a:lnTo>
                      <a:pt x="12" y="40"/>
                    </a:lnTo>
                    <a:lnTo>
                      <a:pt x="18" y="32"/>
                    </a:lnTo>
                    <a:lnTo>
                      <a:pt x="18" y="22"/>
                    </a:lnTo>
                    <a:lnTo>
                      <a:pt x="20" y="18"/>
                    </a:lnTo>
                    <a:lnTo>
                      <a:pt x="28" y="14"/>
                    </a:lnTo>
                    <a:lnTo>
                      <a:pt x="30" y="20"/>
                    </a:lnTo>
                    <a:lnTo>
                      <a:pt x="32" y="24"/>
                    </a:lnTo>
                    <a:lnTo>
                      <a:pt x="38" y="22"/>
                    </a:lnTo>
                    <a:lnTo>
                      <a:pt x="34" y="10"/>
                    </a:lnTo>
                    <a:lnTo>
                      <a:pt x="42" y="4"/>
                    </a:lnTo>
                    <a:lnTo>
                      <a:pt x="54" y="4"/>
                    </a:lnTo>
                    <a:close/>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7" name="Freeform 619"/>
              <p:cNvSpPr>
                <a:spLocks/>
              </p:cNvSpPr>
              <p:nvPr/>
            </p:nvSpPr>
            <p:spPr bwMode="auto">
              <a:xfrm>
                <a:off x="2937" y="1681"/>
                <a:ext cx="56" cy="50"/>
              </a:xfrm>
              <a:custGeom>
                <a:avLst/>
                <a:gdLst>
                  <a:gd name="T0" fmla="*/ 52 w 56"/>
                  <a:gd name="T1" fmla="*/ 0 h 50"/>
                  <a:gd name="T2" fmla="*/ 56 w 56"/>
                  <a:gd name="T3" fmla="*/ 12 h 50"/>
                  <a:gd name="T4" fmla="*/ 54 w 56"/>
                  <a:gd name="T5" fmla="*/ 18 h 50"/>
                  <a:gd name="T6" fmla="*/ 54 w 56"/>
                  <a:gd name="T7" fmla="*/ 26 h 50"/>
                  <a:gd name="T8" fmla="*/ 48 w 56"/>
                  <a:gd name="T9" fmla="*/ 30 h 50"/>
                  <a:gd name="T10" fmla="*/ 42 w 56"/>
                  <a:gd name="T11" fmla="*/ 34 h 50"/>
                  <a:gd name="T12" fmla="*/ 42 w 56"/>
                  <a:gd name="T13" fmla="*/ 40 h 50"/>
                  <a:gd name="T14" fmla="*/ 42 w 56"/>
                  <a:gd name="T15" fmla="*/ 50 h 50"/>
                  <a:gd name="T16" fmla="*/ 36 w 56"/>
                  <a:gd name="T17" fmla="*/ 44 h 50"/>
                  <a:gd name="T18" fmla="*/ 26 w 56"/>
                  <a:gd name="T19" fmla="*/ 40 h 50"/>
                  <a:gd name="T20" fmla="*/ 14 w 56"/>
                  <a:gd name="T21" fmla="*/ 42 h 50"/>
                  <a:gd name="T22" fmla="*/ 0 w 56"/>
                  <a:gd name="T23" fmla="*/ 42 h 50"/>
                  <a:gd name="T24" fmla="*/ 10 w 56"/>
                  <a:gd name="T25" fmla="*/ 36 h 50"/>
                  <a:gd name="T26" fmla="*/ 16 w 56"/>
                  <a:gd name="T27" fmla="*/ 28 h 50"/>
                  <a:gd name="T28" fmla="*/ 16 w 56"/>
                  <a:gd name="T29" fmla="*/ 18 h 50"/>
                  <a:gd name="T30" fmla="*/ 18 w 56"/>
                  <a:gd name="T31" fmla="*/ 14 h 50"/>
                  <a:gd name="T32" fmla="*/ 26 w 56"/>
                  <a:gd name="T33" fmla="*/ 10 h 50"/>
                  <a:gd name="T34" fmla="*/ 28 w 56"/>
                  <a:gd name="T35" fmla="*/ 16 h 50"/>
                  <a:gd name="T36" fmla="*/ 30 w 56"/>
                  <a:gd name="T37" fmla="*/ 20 h 50"/>
                  <a:gd name="T38" fmla="*/ 36 w 56"/>
                  <a:gd name="T39" fmla="*/ 18 h 50"/>
                  <a:gd name="T40" fmla="*/ 32 w 56"/>
                  <a:gd name="T41" fmla="*/ 6 h 50"/>
                  <a:gd name="T42" fmla="*/ 40 w 56"/>
                  <a:gd name="T43" fmla="*/ 0 h 50"/>
                  <a:gd name="T44" fmla="*/ 52 w 5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0">
                    <a:moveTo>
                      <a:pt x="52" y="0"/>
                    </a:moveTo>
                    <a:lnTo>
                      <a:pt x="56" y="12"/>
                    </a:lnTo>
                    <a:lnTo>
                      <a:pt x="54" y="18"/>
                    </a:lnTo>
                    <a:lnTo>
                      <a:pt x="54" y="26"/>
                    </a:lnTo>
                    <a:lnTo>
                      <a:pt x="48" y="30"/>
                    </a:lnTo>
                    <a:lnTo>
                      <a:pt x="42" y="34"/>
                    </a:lnTo>
                    <a:lnTo>
                      <a:pt x="42" y="40"/>
                    </a:lnTo>
                    <a:lnTo>
                      <a:pt x="42" y="50"/>
                    </a:lnTo>
                    <a:lnTo>
                      <a:pt x="36" y="44"/>
                    </a:lnTo>
                    <a:lnTo>
                      <a:pt x="26" y="40"/>
                    </a:lnTo>
                    <a:lnTo>
                      <a:pt x="14" y="42"/>
                    </a:lnTo>
                    <a:lnTo>
                      <a:pt x="0" y="42"/>
                    </a:lnTo>
                    <a:lnTo>
                      <a:pt x="10" y="36"/>
                    </a:lnTo>
                    <a:lnTo>
                      <a:pt x="16" y="28"/>
                    </a:lnTo>
                    <a:lnTo>
                      <a:pt x="16" y="18"/>
                    </a:lnTo>
                    <a:lnTo>
                      <a:pt x="18" y="14"/>
                    </a:lnTo>
                    <a:lnTo>
                      <a:pt x="26" y="10"/>
                    </a:lnTo>
                    <a:lnTo>
                      <a:pt x="28" y="16"/>
                    </a:lnTo>
                    <a:lnTo>
                      <a:pt x="30" y="20"/>
                    </a:lnTo>
                    <a:lnTo>
                      <a:pt x="36" y="18"/>
                    </a:lnTo>
                    <a:lnTo>
                      <a:pt x="32" y="6"/>
                    </a:lnTo>
                    <a:lnTo>
                      <a:pt x="40"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8" name="Freeform 620"/>
              <p:cNvSpPr>
                <a:spLocks/>
              </p:cNvSpPr>
              <p:nvPr/>
            </p:nvSpPr>
            <p:spPr bwMode="auto">
              <a:xfrm>
                <a:off x="2935" y="1677"/>
                <a:ext cx="62" cy="58"/>
              </a:xfrm>
              <a:custGeom>
                <a:avLst/>
                <a:gdLst>
                  <a:gd name="T0" fmla="*/ 54 w 62"/>
                  <a:gd name="T1" fmla="*/ 0 h 58"/>
                  <a:gd name="T2" fmla="*/ 54 w 62"/>
                  <a:gd name="T3" fmla="*/ 0 h 58"/>
                  <a:gd name="T4" fmla="*/ 52 w 62"/>
                  <a:gd name="T5" fmla="*/ 0 h 58"/>
                  <a:gd name="T6" fmla="*/ 42 w 62"/>
                  <a:gd name="T7" fmla="*/ 0 h 58"/>
                  <a:gd name="T8" fmla="*/ 42 w 62"/>
                  <a:gd name="T9" fmla="*/ 0 h 58"/>
                  <a:gd name="T10" fmla="*/ 40 w 62"/>
                  <a:gd name="T11" fmla="*/ 2 h 58"/>
                  <a:gd name="T12" fmla="*/ 32 w 62"/>
                  <a:gd name="T13" fmla="*/ 8 h 58"/>
                  <a:gd name="T14" fmla="*/ 32 w 62"/>
                  <a:gd name="T15" fmla="*/ 8 h 58"/>
                  <a:gd name="T16" fmla="*/ 30 w 62"/>
                  <a:gd name="T17" fmla="*/ 10 h 58"/>
                  <a:gd name="T18" fmla="*/ 30 w 62"/>
                  <a:gd name="T19" fmla="*/ 12 h 58"/>
                  <a:gd name="T20" fmla="*/ 32 w 62"/>
                  <a:gd name="T21" fmla="*/ 12 h 58"/>
                  <a:gd name="T22" fmla="*/ 30 w 62"/>
                  <a:gd name="T23" fmla="*/ 12 h 58"/>
                  <a:gd name="T24" fmla="*/ 30 w 62"/>
                  <a:gd name="T25" fmla="*/ 12 h 58"/>
                  <a:gd name="T26" fmla="*/ 28 w 62"/>
                  <a:gd name="T27" fmla="*/ 10 h 58"/>
                  <a:gd name="T28" fmla="*/ 28 w 62"/>
                  <a:gd name="T29" fmla="*/ 10 h 58"/>
                  <a:gd name="T30" fmla="*/ 26 w 62"/>
                  <a:gd name="T31" fmla="*/ 10 h 58"/>
                  <a:gd name="T32" fmla="*/ 18 w 62"/>
                  <a:gd name="T33" fmla="*/ 14 h 58"/>
                  <a:gd name="T34" fmla="*/ 18 w 62"/>
                  <a:gd name="T35" fmla="*/ 14 h 58"/>
                  <a:gd name="T36" fmla="*/ 16 w 62"/>
                  <a:gd name="T37" fmla="*/ 16 h 58"/>
                  <a:gd name="T38" fmla="*/ 14 w 62"/>
                  <a:gd name="T39" fmla="*/ 22 h 58"/>
                  <a:gd name="T40" fmla="*/ 14 w 62"/>
                  <a:gd name="T41" fmla="*/ 22 h 58"/>
                  <a:gd name="T42" fmla="*/ 14 w 62"/>
                  <a:gd name="T43" fmla="*/ 22 h 58"/>
                  <a:gd name="T44" fmla="*/ 14 w 62"/>
                  <a:gd name="T45" fmla="*/ 30 h 58"/>
                  <a:gd name="T46" fmla="*/ 10 w 62"/>
                  <a:gd name="T47" fmla="*/ 36 h 58"/>
                  <a:gd name="T48" fmla="*/ 0 w 62"/>
                  <a:gd name="T49" fmla="*/ 44 h 58"/>
                  <a:gd name="T50" fmla="*/ 0 w 62"/>
                  <a:gd name="T51" fmla="*/ 44 h 58"/>
                  <a:gd name="T52" fmla="*/ 0 w 62"/>
                  <a:gd name="T53" fmla="*/ 46 h 58"/>
                  <a:gd name="T54" fmla="*/ 0 w 62"/>
                  <a:gd name="T55" fmla="*/ 48 h 58"/>
                  <a:gd name="T56" fmla="*/ 0 w 62"/>
                  <a:gd name="T57" fmla="*/ 48 h 58"/>
                  <a:gd name="T58" fmla="*/ 0 w 62"/>
                  <a:gd name="T59" fmla="*/ 50 h 58"/>
                  <a:gd name="T60" fmla="*/ 2 w 62"/>
                  <a:gd name="T61" fmla="*/ 50 h 58"/>
                  <a:gd name="T62" fmla="*/ 16 w 62"/>
                  <a:gd name="T63" fmla="*/ 50 h 58"/>
                  <a:gd name="T64" fmla="*/ 16 w 62"/>
                  <a:gd name="T65" fmla="*/ 50 h 58"/>
                  <a:gd name="T66" fmla="*/ 16 w 62"/>
                  <a:gd name="T67" fmla="*/ 50 h 58"/>
                  <a:gd name="T68" fmla="*/ 26 w 62"/>
                  <a:gd name="T69" fmla="*/ 48 h 58"/>
                  <a:gd name="T70" fmla="*/ 36 w 62"/>
                  <a:gd name="T71" fmla="*/ 52 h 58"/>
                  <a:gd name="T72" fmla="*/ 42 w 62"/>
                  <a:gd name="T73" fmla="*/ 56 h 58"/>
                  <a:gd name="T74" fmla="*/ 42 w 62"/>
                  <a:gd name="T75" fmla="*/ 56 h 58"/>
                  <a:gd name="T76" fmla="*/ 44 w 62"/>
                  <a:gd name="T77" fmla="*/ 58 h 58"/>
                  <a:gd name="T78" fmla="*/ 44 w 62"/>
                  <a:gd name="T79" fmla="*/ 58 h 58"/>
                  <a:gd name="T80" fmla="*/ 46 w 62"/>
                  <a:gd name="T81" fmla="*/ 58 h 58"/>
                  <a:gd name="T82" fmla="*/ 46 w 62"/>
                  <a:gd name="T83" fmla="*/ 58 h 58"/>
                  <a:gd name="T84" fmla="*/ 48 w 62"/>
                  <a:gd name="T85" fmla="*/ 56 h 58"/>
                  <a:gd name="T86" fmla="*/ 48 w 62"/>
                  <a:gd name="T87" fmla="*/ 54 h 58"/>
                  <a:gd name="T88" fmla="*/ 48 w 62"/>
                  <a:gd name="T89" fmla="*/ 44 h 58"/>
                  <a:gd name="T90" fmla="*/ 48 w 62"/>
                  <a:gd name="T91" fmla="*/ 40 h 58"/>
                  <a:gd name="T92" fmla="*/ 52 w 62"/>
                  <a:gd name="T93" fmla="*/ 38 h 58"/>
                  <a:gd name="T94" fmla="*/ 58 w 62"/>
                  <a:gd name="T95" fmla="*/ 34 h 58"/>
                  <a:gd name="T96" fmla="*/ 58 w 62"/>
                  <a:gd name="T97" fmla="*/ 34 h 58"/>
                  <a:gd name="T98" fmla="*/ 60 w 62"/>
                  <a:gd name="T99" fmla="*/ 30 h 58"/>
                  <a:gd name="T100" fmla="*/ 60 w 62"/>
                  <a:gd name="T101" fmla="*/ 22 h 58"/>
                  <a:gd name="T102" fmla="*/ 62 w 62"/>
                  <a:gd name="T103" fmla="*/ 18 h 58"/>
                  <a:gd name="T104" fmla="*/ 62 w 62"/>
                  <a:gd name="T105" fmla="*/ 18 h 58"/>
                  <a:gd name="T106" fmla="*/ 62 w 62"/>
                  <a:gd name="T107" fmla="*/ 14 h 58"/>
                  <a:gd name="T108" fmla="*/ 56 w 62"/>
                  <a:gd name="T109" fmla="*/ 2 h 58"/>
                  <a:gd name="T110" fmla="*/ 56 w 62"/>
                  <a:gd name="T111" fmla="*/ 2 h 58"/>
                  <a:gd name="T112" fmla="*/ 56 w 62"/>
                  <a:gd name="T113" fmla="*/ 0 h 58"/>
                  <a:gd name="T114" fmla="*/ 54 w 62"/>
                  <a:gd name="T115" fmla="*/ 0 h 58"/>
                  <a:gd name="T116" fmla="*/ 54 w 62"/>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 h="58">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9" name="Freeform 621"/>
              <p:cNvSpPr>
                <a:spLocks/>
              </p:cNvSpPr>
              <p:nvPr/>
            </p:nvSpPr>
            <p:spPr bwMode="auto">
              <a:xfrm>
                <a:off x="3003" y="1599"/>
                <a:ext cx="44" cy="60"/>
              </a:xfrm>
              <a:custGeom>
                <a:avLst/>
                <a:gdLst>
                  <a:gd name="T0" fmla="*/ 16 w 44"/>
                  <a:gd name="T1" fmla="*/ 60 h 60"/>
                  <a:gd name="T2" fmla="*/ 16 w 44"/>
                  <a:gd name="T3" fmla="*/ 60 h 60"/>
                  <a:gd name="T4" fmla="*/ 14 w 44"/>
                  <a:gd name="T5" fmla="*/ 60 h 60"/>
                  <a:gd name="T6" fmla="*/ 8 w 44"/>
                  <a:gd name="T7" fmla="*/ 52 h 60"/>
                  <a:gd name="T8" fmla="*/ 4 w 44"/>
                  <a:gd name="T9" fmla="*/ 46 h 60"/>
                  <a:gd name="T10" fmla="*/ 0 w 44"/>
                  <a:gd name="T11" fmla="*/ 34 h 60"/>
                  <a:gd name="T12" fmla="*/ 0 w 44"/>
                  <a:gd name="T13" fmla="*/ 20 h 60"/>
                  <a:gd name="T14" fmla="*/ 0 w 44"/>
                  <a:gd name="T15" fmla="*/ 20 h 60"/>
                  <a:gd name="T16" fmla="*/ 0 w 44"/>
                  <a:gd name="T17" fmla="*/ 20 h 60"/>
                  <a:gd name="T18" fmla="*/ 8 w 44"/>
                  <a:gd name="T19" fmla="*/ 12 h 60"/>
                  <a:gd name="T20" fmla="*/ 8 w 44"/>
                  <a:gd name="T21" fmla="*/ 12 h 60"/>
                  <a:gd name="T22" fmla="*/ 10 w 44"/>
                  <a:gd name="T23" fmla="*/ 12 h 60"/>
                  <a:gd name="T24" fmla="*/ 10 w 44"/>
                  <a:gd name="T25" fmla="*/ 12 h 60"/>
                  <a:gd name="T26" fmla="*/ 10 w 44"/>
                  <a:gd name="T27" fmla="*/ 12 h 60"/>
                  <a:gd name="T28" fmla="*/ 16 w 44"/>
                  <a:gd name="T29" fmla="*/ 16 h 60"/>
                  <a:gd name="T30" fmla="*/ 22 w 44"/>
                  <a:gd name="T31" fmla="*/ 12 h 60"/>
                  <a:gd name="T32" fmla="*/ 24 w 44"/>
                  <a:gd name="T33" fmla="*/ 6 h 60"/>
                  <a:gd name="T34" fmla="*/ 32 w 44"/>
                  <a:gd name="T35" fmla="*/ 0 h 60"/>
                  <a:gd name="T36" fmla="*/ 32 w 44"/>
                  <a:gd name="T37" fmla="*/ 0 h 60"/>
                  <a:gd name="T38" fmla="*/ 34 w 44"/>
                  <a:gd name="T39" fmla="*/ 0 h 60"/>
                  <a:gd name="T40" fmla="*/ 34 w 44"/>
                  <a:gd name="T41" fmla="*/ 0 h 60"/>
                  <a:gd name="T42" fmla="*/ 36 w 44"/>
                  <a:gd name="T43" fmla="*/ 2 h 60"/>
                  <a:gd name="T44" fmla="*/ 38 w 44"/>
                  <a:gd name="T45" fmla="*/ 4 h 60"/>
                  <a:gd name="T46" fmla="*/ 38 w 44"/>
                  <a:gd name="T47" fmla="*/ 4 h 60"/>
                  <a:gd name="T48" fmla="*/ 40 w 44"/>
                  <a:gd name="T49" fmla="*/ 6 h 60"/>
                  <a:gd name="T50" fmla="*/ 38 w 44"/>
                  <a:gd name="T51" fmla="*/ 14 h 60"/>
                  <a:gd name="T52" fmla="*/ 38 w 44"/>
                  <a:gd name="T53" fmla="*/ 14 h 60"/>
                  <a:gd name="T54" fmla="*/ 38 w 44"/>
                  <a:gd name="T55" fmla="*/ 14 h 60"/>
                  <a:gd name="T56" fmla="*/ 34 w 44"/>
                  <a:gd name="T57" fmla="*/ 18 h 60"/>
                  <a:gd name="T58" fmla="*/ 36 w 44"/>
                  <a:gd name="T59" fmla="*/ 22 h 60"/>
                  <a:gd name="T60" fmla="*/ 42 w 44"/>
                  <a:gd name="T61" fmla="*/ 24 h 60"/>
                  <a:gd name="T62" fmla="*/ 42 w 44"/>
                  <a:gd name="T63" fmla="*/ 24 h 60"/>
                  <a:gd name="T64" fmla="*/ 44 w 44"/>
                  <a:gd name="T65" fmla="*/ 26 h 60"/>
                  <a:gd name="T66" fmla="*/ 44 w 44"/>
                  <a:gd name="T67" fmla="*/ 32 h 60"/>
                  <a:gd name="T68" fmla="*/ 44 w 44"/>
                  <a:gd name="T69" fmla="*/ 32 h 60"/>
                  <a:gd name="T70" fmla="*/ 42 w 44"/>
                  <a:gd name="T71" fmla="*/ 34 h 60"/>
                  <a:gd name="T72" fmla="*/ 32 w 44"/>
                  <a:gd name="T73" fmla="*/ 36 h 60"/>
                  <a:gd name="T74" fmla="*/ 26 w 44"/>
                  <a:gd name="T75" fmla="*/ 38 h 60"/>
                  <a:gd name="T76" fmla="*/ 24 w 44"/>
                  <a:gd name="T77" fmla="*/ 44 h 60"/>
                  <a:gd name="T78" fmla="*/ 22 w 44"/>
                  <a:gd name="T79" fmla="*/ 50 h 60"/>
                  <a:gd name="T80" fmla="*/ 26 w 44"/>
                  <a:gd name="T81" fmla="*/ 56 h 60"/>
                  <a:gd name="T82" fmla="*/ 26 w 44"/>
                  <a:gd name="T83" fmla="*/ 56 h 60"/>
                  <a:gd name="T84" fmla="*/ 26 w 44"/>
                  <a:gd name="T85" fmla="*/ 58 h 60"/>
                  <a:gd name="T86" fmla="*/ 26 w 44"/>
                  <a:gd name="T87" fmla="*/ 58 h 60"/>
                  <a:gd name="T88" fmla="*/ 24 w 44"/>
                  <a:gd name="T89" fmla="*/ 58 h 60"/>
                  <a:gd name="T90" fmla="*/ 16 w 44"/>
                  <a:gd name="T91" fmla="*/ 60 h 60"/>
                  <a:gd name="T92" fmla="*/ 16 w 44"/>
                  <a:gd name="T93" fmla="*/ 60 h 60"/>
                  <a:gd name="T94" fmla="*/ 16 w 44"/>
                  <a:gd name="T95" fmla="*/ 60 h 60"/>
                  <a:gd name="T96" fmla="*/ 16 w 44"/>
                  <a:gd name="T9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60">
                    <a:moveTo>
                      <a:pt x="16" y="60"/>
                    </a:moveTo>
                    <a:lnTo>
                      <a:pt x="16" y="60"/>
                    </a:lnTo>
                    <a:lnTo>
                      <a:pt x="14" y="60"/>
                    </a:lnTo>
                    <a:lnTo>
                      <a:pt x="8" y="52"/>
                    </a:lnTo>
                    <a:lnTo>
                      <a:pt x="4" y="46"/>
                    </a:lnTo>
                    <a:lnTo>
                      <a:pt x="0" y="34"/>
                    </a:lnTo>
                    <a:lnTo>
                      <a:pt x="0" y="20"/>
                    </a:lnTo>
                    <a:lnTo>
                      <a:pt x="0" y="20"/>
                    </a:lnTo>
                    <a:lnTo>
                      <a:pt x="0" y="20"/>
                    </a:lnTo>
                    <a:lnTo>
                      <a:pt x="8" y="12"/>
                    </a:lnTo>
                    <a:lnTo>
                      <a:pt x="8" y="12"/>
                    </a:lnTo>
                    <a:lnTo>
                      <a:pt x="10" y="12"/>
                    </a:lnTo>
                    <a:lnTo>
                      <a:pt x="10" y="12"/>
                    </a:lnTo>
                    <a:lnTo>
                      <a:pt x="10" y="12"/>
                    </a:lnTo>
                    <a:lnTo>
                      <a:pt x="16" y="16"/>
                    </a:lnTo>
                    <a:lnTo>
                      <a:pt x="22" y="12"/>
                    </a:lnTo>
                    <a:lnTo>
                      <a:pt x="24" y="6"/>
                    </a:lnTo>
                    <a:lnTo>
                      <a:pt x="32" y="0"/>
                    </a:lnTo>
                    <a:lnTo>
                      <a:pt x="32" y="0"/>
                    </a:lnTo>
                    <a:lnTo>
                      <a:pt x="34" y="0"/>
                    </a:lnTo>
                    <a:lnTo>
                      <a:pt x="34" y="0"/>
                    </a:lnTo>
                    <a:lnTo>
                      <a:pt x="36" y="2"/>
                    </a:lnTo>
                    <a:lnTo>
                      <a:pt x="38" y="4"/>
                    </a:lnTo>
                    <a:lnTo>
                      <a:pt x="38" y="4"/>
                    </a:lnTo>
                    <a:lnTo>
                      <a:pt x="40" y="6"/>
                    </a:lnTo>
                    <a:lnTo>
                      <a:pt x="38" y="14"/>
                    </a:lnTo>
                    <a:lnTo>
                      <a:pt x="38" y="14"/>
                    </a:lnTo>
                    <a:lnTo>
                      <a:pt x="38" y="14"/>
                    </a:lnTo>
                    <a:lnTo>
                      <a:pt x="34" y="18"/>
                    </a:lnTo>
                    <a:lnTo>
                      <a:pt x="36" y="22"/>
                    </a:lnTo>
                    <a:lnTo>
                      <a:pt x="42" y="24"/>
                    </a:lnTo>
                    <a:lnTo>
                      <a:pt x="42" y="24"/>
                    </a:lnTo>
                    <a:lnTo>
                      <a:pt x="44" y="26"/>
                    </a:lnTo>
                    <a:lnTo>
                      <a:pt x="44" y="32"/>
                    </a:lnTo>
                    <a:lnTo>
                      <a:pt x="44" y="32"/>
                    </a:lnTo>
                    <a:lnTo>
                      <a:pt x="42" y="34"/>
                    </a:lnTo>
                    <a:lnTo>
                      <a:pt x="32" y="36"/>
                    </a:lnTo>
                    <a:lnTo>
                      <a:pt x="26" y="38"/>
                    </a:lnTo>
                    <a:lnTo>
                      <a:pt x="24" y="44"/>
                    </a:lnTo>
                    <a:lnTo>
                      <a:pt x="22" y="50"/>
                    </a:lnTo>
                    <a:lnTo>
                      <a:pt x="26" y="56"/>
                    </a:lnTo>
                    <a:lnTo>
                      <a:pt x="26" y="56"/>
                    </a:lnTo>
                    <a:lnTo>
                      <a:pt x="26" y="58"/>
                    </a:lnTo>
                    <a:lnTo>
                      <a:pt x="26" y="58"/>
                    </a:lnTo>
                    <a:lnTo>
                      <a:pt x="24" y="58"/>
                    </a:lnTo>
                    <a:lnTo>
                      <a:pt x="16" y="60"/>
                    </a:lnTo>
                    <a:lnTo>
                      <a:pt x="16" y="60"/>
                    </a:lnTo>
                    <a:lnTo>
                      <a:pt x="16" y="60"/>
                    </a:lnTo>
                    <a:lnTo>
                      <a:pt x="1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0" name="Freeform 622"/>
              <p:cNvSpPr>
                <a:spLocks noEditPoints="1"/>
              </p:cNvSpPr>
              <p:nvPr/>
            </p:nvSpPr>
            <p:spPr bwMode="auto">
              <a:xfrm>
                <a:off x="3001" y="1597"/>
                <a:ext cx="48" cy="64"/>
              </a:xfrm>
              <a:custGeom>
                <a:avLst/>
                <a:gdLst>
                  <a:gd name="T0" fmla="*/ 40 w 48"/>
                  <a:gd name="T1" fmla="*/ 8 h 64"/>
                  <a:gd name="T2" fmla="*/ 34 w 48"/>
                  <a:gd name="T3" fmla="*/ 20 h 64"/>
                  <a:gd name="T4" fmla="*/ 44 w 48"/>
                  <a:gd name="T5" fmla="*/ 28 h 64"/>
                  <a:gd name="T6" fmla="*/ 34 w 48"/>
                  <a:gd name="T7" fmla="*/ 36 h 64"/>
                  <a:gd name="T8" fmla="*/ 24 w 48"/>
                  <a:gd name="T9" fmla="*/ 44 h 64"/>
                  <a:gd name="T10" fmla="*/ 26 w 48"/>
                  <a:gd name="T11" fmla="*/ 58 h 64"/>
                  <a:gd name="T12" fmla="*/ 12 w 48"/>
                  <a:gd name="T13" fmla="*/ 54 h 64"/>
                  <a:gd name="T14" fmla="*/ 4 w 48"/>
                  <a:gd name="T15" fmla="*/ 36 h 64"/>
                  <a:gd name="T16" fmla="*/ 12 w 48"/>
                  <a:gd name="T17" fmla="*/ 16 h 64"/>
                  <a:gd name="T18" fmla="*/ 24 w 48"/>
                  <a:gd name="T19" fmla="*/ 16 h 64"/>
                  <a:gd name="T20" fmla="*/ 36 w 48"/>
                  <a:gd name="T21" fmla="*/ 4 h 64"/>
                  <a:gd name="T22" fmla="*/ 36 w 48"/>
                  <a:gd name="T23" fmla="*/ 0 h 64"/>
                  <a:gd name="T24" fmla="*/ 26 w 48"/>
                  <a:gd name="T25" fmla="*/ 6 h 64"/>
                  <a:gd name="T26" fmla="*/ 24 w 48"/>
                  <a:gd name="T27" fmla="*/ 8 h 64"/>
                  <a:gd name="T28" fmla="*/ 18 w 48"/>
                  <a:gd name="T29" fmla="*/ 16 h 64"/>
                  <a:gd name="T30" fmla="*/ 14 w 48"/>
                  <a:gd name="T31" fmla="*/ 12 h 64"/>
                  <a:gd name="T32" fmla="*/ 12 w 48"/>
                  <a:gd name="T33" fmla="*/ 12 h 64"/>
                  <a:gd name="T34" fmla="*/ 2 w 48"/>
                  <a:gd name="T35" fmla="*/ 20 h 64"/>
                  <a:gd name="T36" fmla="*/ 0 w 48"/>
                  <a:gd name="T37" fmla="*/ 22 h 64"/>
                  <a:gd name="T38" fmla="*/ 0 w 48"/>
                  <a:gd name="T39" fmla="*/ 36 h 64"/>
                  <a:gd name="T40" fmla="*/ 4 w 48"/>
                  <a:gd name="T41" fmla="*/ 48 h 64"/>
                  <a:gd name="T42" fmla="*/ 4 w 48"/>
                  <a:gd name="T43" fmla="*/ 48 h 64"/>
                  <a:gd name="T44" fmla="*/ 8 w 48"/>
                  <a:gd name="T45" fmla="*/ 56 h 64"/>
                  <a:gd name="T46" fmla="*/ 14 w 48"/>
                  <a:gd name="T47" fmla="*/ 64 h 64"/>
                  <a:gd name="T48" fmla="*/ 18 w 48"/>
                  <a:gd name="T49" fmla="*/ 64 h 64"/>
                  <a:gd name="T50" fmla="*/ 18 w 48"/>
                  <a:gd name="T51" fmla="*/ 64 h 64"/>
                  <a:gd name="T52" fmla="*/ 28 w 48"/>
                  <a:gd name="T53" fmla="*/ 62 h 64"/>
                  <a:gd name="T54" fmla="*/ 30 w 48"/>
                  <a:gd name="T55" fmla="*/ 60 h 64"/>
                  <a:gd name="T56" fmla="*/ 26 w 48"/>
                  <a:gd name="T57" fmla="*/ 52 h 64"/>
                  <a:gd name="T58" fmla="*/ 30 w 48"/>
                  <a:gd name="T59" fmla="*/ 42 h 64"/>
                  <a:gd name="T60" fmla="*/ 44 w 48"/>
                  <a:gd name="T61" fmla="*/ 38 h 64"/>
                  <a:gd name="T62" fmla="*/ 46 w 48"/>
                  <a:gd name="T63" fmla="*/ 36 h 64"/>
                  <a:gd name="T64" fmla="*/ 48 w 48"/>
                  <a:gd name="T65" fmla="*/ 28 h 64"/>
                  <a:gd name="T66" fmla="*/ 46 w 48"/>
                  <a:gd name="T67" fmla="*/ 26 h 64"/>
                  <a:gd name="T68" fmla="*/ 38 w 48"/>
                  <a:gd name="T69" fmla="*/ 22 h 64"/>
                  <a:gd name="T70" fmla="*/ 40 w 48"/>
                  <a:gd name="T71" fmla="*/ 18 h 64"/>
                  <a:gd name="T72" fmla="*/ 42 w 48"/>
                  <a:gd name="T73" fmla="*/ 16 h 64"/>
                  <a:gd name="T74" fmla="*/ 44 w 48"/>
                  <a:gd name="T75" fmla="*/ 10 h 64"/>
                  <a:gd name="T76" fmla="*/ 38 w 48"/>
                  <a:gd name="T77" fmla="*/ 2 h 64"/>
                  <a:gd name="T78" fmla="*/ 36 w 48"/>
                  <a:gd name="T7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4">
                    <a:moveTo>
                      <a:pt x="36" y="4"/>
                    </a:moveTo>
                    <a:lnTo>
                      <a:pt x="40" y="8"/>
                    </a:lnTo>
                    <a:lnTo>
                      <a:pt x="38" y="16"/>
                    </a:lnTo>
                    <a:lnTo>
                      <a:pt x="34" y="20"/>
                    </a:lnTo>
                    <a:lnTo>
                      <a:pt x="36" y="24"/>
                    </a:lnTo>
                    <a:lnTo>
                      <a:pt x="44" y="28"/>
                    </a:lnTo>
                    <a:lnTo>
                      <a:pt x="44" y="34"/>
                    </a:lnTo>
                    <a:lnTo>
                      <a:pt x="34" y="36"/>
                    </a:lnTo>
                    <a:lnTo>
                      <a:pt x="26" y="38"/>
                    </a:lnTo>
                    <a:lnTo>
                      <a:pt x="24" y="44"/>
                    </a:lnTo>
                    <a:lnTo>
                      <a:pt x="22" y="52"/>
                    </a:lnTo>
                    <a:lnTo>
                      <a:pt x="26" y="58"/>
                    </a:lnTo>
                    <a:lnTo>
                      <a:pt x="18" y="60"/>
                    </a:lnTo>
                    <a:lnTo>
                      <a:pt x="12" y="54"/>
                    </a:lnTo>
                    <a:lnTo>
                      <a:pt x="8" y="46"/>
                    </a:lnTo>
                    <a:lnTo>
                      <a:pt x="4" y="36"/>
                    </a:lnTo>
                    <a:lnTo>
                      <a:pt x="4" y="22"/>
                    </a:lnTo>
                    <a:lnTo>
                      <a:pt x="12" y="16"/>
                    </a:lnTo>
                    <a:lnTo>
                      <a:pt x="18" y="20"/>
                    </a:lnTo>
                    <a:lnTo>
                      <a:pt x="24" y="16"/>
                    </a:lnTo>
                    <a:lnTo>
                      <a:pt x="28" y="10"/>
                    </a:lnTo>
                    <a:lnTo>
                      <a:pt x="36" y="4"/>
                    </a:lnTo>
                    <a:close/>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1" name="Freeform 623"/>
              <p:cNvSpPr>
                <a:spLocks/>
              </p:cNvSpPr>
              <p:nvPr/>
            </p:nvSpPr>
            <p:spPr bwMode="auto">
              <a:xfrm>
                <a:off x="3005" y="1601"/>
                <a:ext cx="40" cy="56"/>
              </a:xfrm>
              <a:custGeom>
                <a:avLst/>
                <a:gdLst>
                  <a:gd name="T0" fmla="*/ 32 w 40"/>
                  <a:gd name="T1" fmla="*/ 0 h 56"/>
                  <a:gd name="T2" fmla="*/ 36 w 40"/>
                  <a:gd name="T3" fmla="*/ 4 h 56"/>
                  <a:gd name="T4" fmla="*/ 34 w 40"/>
                  <a:gd name="T5" fmla="*/ 12 h 56"/>
                  <a:gd name="T6" fmla="*/ 30 w 40"/>
                  <a:gd name="T7" fmla="*/ 16 h 56"/>
                  <a:gd name="T8" fmla="*/ 32 w 40"/>
                  <a:gd name="T9" fmla="*/ 20 h 56"/>
                  <a:gd name="T10" fmla="*/ 40 w 40"/>
                  <a:gd name="T11" fmla="*/ 24 h 56"/>
                  <a:gd name="T12" fmla="*/ 40 w 40"/>
                  <a:gd name="T13" fmla="*/ 30 h 56"/>
                  <a:gd name="T14" fmla="*/ 30 w 40"/>
                  <a:gd name="T15" fmla="*/ 32 h 56"/>
                  <a:gd name="T16" fmla="*/ 22 w 40"/>
                  <a:gd name="T17" fmla="*/ 34 h 56"/>
                  <a:gd name="T18" fmla="*/ 20 w 40"/>
                  <a:gd name="T19" fmla="*/ 40 h 56"/>
                  <a:gd name="T20" fmla="*/ 18 w 40"/>
                  <a:gd name="T21" fmla="*/ 48 h 56"/>
                  <a:gd name="T22" fmla="*/ 22 w 40"/>
                  <a:gd name="T23" fmla="*/ 54 h 56"/>
                  <a:gd name="T24" fmla="*/ 14 w 40"/>
                  <a:gd name="T25" fmla="*/ 56 h 56"/>
                  <a:gd name="T26" fmla="*/ 8 w 40"/>
                  <a:gd name="T27" fmla="*/ 50 h 56"/>
                  <a:gd name="T28" fmla="*/ 4 w 40"/>
                  <a:gd name="T29" fmla="*/ 42 h 56"/>
                  <a:gd name="T30" fmla="*/ 0 w 40"/>
                  <a:gd name="T31" fmla="*/ 32 h 56"/>
                  <a:gd name="T32" fmla="*/ 0 w 40"/>
                  <a:gd name="T33" fmla="*/ 18 h 56"/>
                  <a:gd name="T34" fmla="*/ 8 w 40"/>
                  <a:gd name="T35" fmla="*/ 12 h 56"/>
                  <a:gd name="T36" fmla="*/ 14 w 40"/>
                  <a:gd name="T37" fmla="*/ 16 h 56"/>
                  <a:gd name="T38" fmla="*/ 20 w 40"/>
                  <a:gd name="T39" fmla="*/ 12 h 56"/>
                  <a:gd name="T40" fmla="*/ 24 w 40"/>
                  <a:gd name="T41" fmla="*/ 6 h 56"/>
                  <a:gd name="T42" fmla="*/ 32 w 40"/>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2" y="0"/>
                    </a:moveTo>
                    <a:lnTo>
                      <a:pt x="36" y="4"/>
                    </a:lnTo>
                    <a:lnTo>
                      <a:pt x="34" y="12"/>
                    </a:lnTo>
                    <a:lnTo>
                      <a:pt x="30" y="16"/>
                    </a:lnTo>
                    <a:lnTo>
                      <a:pt x="32" y="20"/>
                    </a:lnTo>
                    <a:lnTo>
                      <a:pt x="40" y="24"/>
                    </a:lnTo>
                    <a:lnTo>
                      <a:pt x="40" y="30"/>
                    </a:lnTo>
                    <a:lnTo>
                      <a:pt x="30" y="32"/>
                    </a:lnTo>
                    <a:lnTo>
                      <a:pt x="22" y="34"/>
                    </a:lnTo>
                    <a:lnTo>
                      <a:pt x="20" y="40"/>
                    </a:lnTo>
                    <a:lnTo>
                      <a:pt x="18" y="48"/>
                    </a:lnTo>
                    <a:lnTo>
                      <a:pt x="22" y="54"/>
                    </a:lnTo>
                    <a:lnTo>
                      <a:pt x="14" y="56"/>
                    </a:lnTo>
                    <a:lnTo>
                      <a:pt x="8" y="50"/>
                    </a:lnTo>
                    <a:lnTo>
                      <a:pt x="4" y="42"/>
                    </a:lnTo>
                    <a:lnTo>
                      <a:pt x="0" y="32"/>
                    </a:lnTo>
                    <a:lnTo>
                      <a:pt x="0" y="18"/>
                    </a:lnTo>
                    <a:lnTo>
                      <a:pt x="8" y="12"/>
                    </a:lnTo>
                    <a:lnTo>
                      <a:pt x="14" y="16"/>
                    </a:lnTo>
                    <a:lnTo>
                      <a:pt x="20" y="12"/>
                    </a:lnTo>
                    <a:lnTo>
                      <a:pt x="24" y="6"/>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2" name="Freeform 624"/>
              <p:cNvSpPr>
                <a:spLocks/>
              </p:cNvSpPr>
              <p:nvPr/>
            </p:nvSpPr>
            <p:spPr bwMode="auto">
              <a:xfrm>
                <a:off x="3001" y="1597"/>
                <a:ext cx="48" cy="64"/>
              </a:xfrm>
              <a:custGeom>
                <a:avLst/>
                <a:gdLst>
                  <a:gd name="T0" fmla="*/ 36 w 48"/>
                  <a:gd name="T1" fmla="*/ 0 h 64"/>
                  <a:gd name="T2" fmla="*/ 36 w 48"/>
                  <a:gd name="T3" fmla="*/ 0 h 64"/>
                  <a:gd name="T4" fmla="*/ 34 w 48"/>
                  <a:gd name="T5" fmla="*/ 2 h 64"/>
                  <a:gd name="T6" fmla="*/ 26 w 48"/>
                  <a:gd name="T7" fmla="*/ 6 h 64"/>
                  <a:gd name="T8" fmla="*/ 26 w 48"/>
                  <a:gd name="T9" fmla="*/ 6 h 64"/>
                  <a:gd name="T10" fmla="*/ 24 w 48"/>
                  <a:gd name="T11" fmla="*/ 8 h 64"/>
                  <a:gd name="T12" fmla="*/ 22 w 48"/>
                  <a:gd name="T13" fmla="*/ 12 h 64"/>
                  <a:gd name="T14" fmla="*/ 18 w 48"/>
                  <a:gd name="T15" fmla="*/ 16 h 64"/>
                  <a:gd name="T16" fmla="*/ 14 w 48"/>
                  <a:gd name="T17" fmla="*/ 12 h 64"/>
                  <a:gd name="T18" fmla="*/ 14 w 48"/>
                  <a:gd name="T19" fmla="*/ 12 h 64"/>
                  <a:gd name="T20" fmla="*/ 12 w 48"/>
                  <a:gd name="T21" fmla="*/ 12 h 64"/>
                  <a:gd name="T22" fmla="*/ 12 w 48"/>
                  <a:gd name="T23" fmla="*/ 12 h 64"/>
                  <a:gd name="T24" fmla="*/ 8 w 48"/>
                  <a:gd name="T25" fmla="*/ 12 h 64"/>
                  <a:gd name="T26" fmla="*/ 2 w 48"/>
                  <a:gd name="T27" fmla="*/ 20 h 64"/>
                  <a:gd name="T28" fmla="*/ 2 w 48"/>
                  <a:gd name="T29" fmla="*/ 20 h 64"/>
                  <a:gd name="T30" fmla="*/ 0 w 48"/>
                  <a:gd name="T31" fmla="*/ 22 h 64"/>
                  <a:gd name="T32" fmla="*/ 0 w 48"/>
                  <a:gd name="T33" fmla="*/ 36 h 64"/>
                  <a:gd name="T34" fmla="*/ 0 w 48"/>
                  <a:gd name="T35" fmla="*/ 36 h 64"/>
                  <a:gd name="T36" fmla="*/ 0 w 48"/>
                  <a:gd name="T37" fmla="*/ 36 h 64"/>
                  <a:gd name="T38" fmla="*/ 4 w 48"/>
                  <a:gd name="T39" fmla="*/ 48 h 64"/>
                  <a:gd name="T40" fmla="*/ 4 w 48"/>
                  <a:gd name="T41" fmla="*/ 48 h 64"/>
                  <a:gd name="T42" fmla="*/ 4 w 48"/>
                  <a:gd name="T43" fmla="*/ 48 h 64"/>
                  <a:gd name="T44" fmla="*/ 8 w 48"/>
                  <a:gd name="T45" fmla="*/ 56 h 64"/>
                  <a:gd name="T46" fmla="*/ 8 w 48"/>
                  <a:gd name="T47" fmla="*/ 56 h 64"/>
                  <a:gd name="T48" fmla="*/ 8 w 48"/>
                  <a:gd name="T49" fmla="*/ 56 h 64"/>
                  <a:gd name="T50" fmla="*/ 14 w 48"/>
                  <a:gd name="T51" fmla="*/ 64 h 64"/>
                  <a:gd name="T52" fmla="*/ 14 w 48"/>
                  <a:gd name="T53" fmla="*/ 64 h 64"/>
                  <a:gd name="T54" fmla="*/ 18 w 48"/>
                  <a:gd name="T55" fmla="*/ 64 h 64"/>
                  <a:gd name="T56" fmla="*/ 18 w 48"/>
                  <a:gd name="T57" fmla="*/ 64 h 64"/>
                  <a:gd name="T58" fmla="*/ 18 w 48"/>
                  <a:gd name="T59" fmla="*/ 64 h 64"/>
                  <a:gd name="T60" fmla="*/ 28 w 48"/>
                  <a:gd name="T61" fmla="*/ 62 h 64"/>
                  <a:gd name="T62" fmla="*/ 28 w 48"/>
                  <a:gd name="T63" fmla="*/ 62 h 64"/>
                  <a:gd name="T64" fmla="*/ 30 w 48"/>
                  <a:gd name="T65" fmla="*/ 60 h 64"/>
                  <a:gd name="T66" fmla="*/ 30 w 48"/>
                  <a:gd name="T67" fmla="*/ 60 h 64"/>
                  <a:gd name="T68" fmla="*/ 30 w 48"/>
                  <a:gd name="T69" fmla="*/ 58 h 64"/>
                  <a:gd name="T70" fmla="*/ 26 w 48"/>
                  <a:gd name="T71" fmla="*/ 52 h 64"/>
                  <a:gd name="T72" fmla="*/ 28 w 48"/>
                  <a:gd name="T73" fmla="*/ 46 h 64"/>
                  <a:gd name="T74" fmla="*/ 30 w 48"/>
                  <a:gd name="T75" fmla="*/ 42 h 64"/>
                  <a:gd name="T76" fmla="*/ 36 w 48"/>
                  <a:gd name="T77" fmla="*/ 40 h 64"/>
                  <a:gd name="T78" fmla="*/ 44 w 48"/>
                  <a:gd name="T79" fmla="*/ 38 h 64"/>
                  <a:gd name="T80" fmla="*/ 44 w 48"/>
                  <a:gd name="T81" fmla="*/ 38 h 64"/>
                  <a:gd name="T82" fmla="*/ 46 w 48"/>
                  <a:gd name="T83" fmla="*/ 36 h 64"/>
                  <a:gd name="T84" fmla="*/ 48 w 48"/>
                  <a:gd name="T85" fmla="*/ 34 h 64"/>
                  <a:gd name="T86" fmla="*/ 48 w 48"/>
                  <a:gd name="T87" fmla="*/ 28 h 64"/>
                  <a:gd name="T88" fmla="*/ 48 w 48"/>
                  <a:gd name="T89" fmla="*/ 28 h 64"/>
                  <a:gd name="T90" fmla="*/ 46 w 48"/>
                  <a:gd name="T91" fmla="*/ 26 h 64"/>
                  <a:gd name="T92" fmla="*/ 44 w 48"/>
                  <a:gd name="T93" fmla="*/ 24 h 64"/>
                  <a:gd name="T94" fmla="*/ 38 w 48"/>
                  <a:gd name="T95" fmla="*/ 22 h 64"/>
                  <a:gd name="T96" fmla="*/ 38 w 48"/>
                  <a:gd name="T97" fmla="*/ 20 h 64"/>
                  <a:gd name="T98" fmla="*/ 40 w 48"/>
                  <a:gd name="T99" fmla="*/ 18 h 64"/>
                  <a:gd name="T100" fmla="*/ 40 w 48"/>
                  <a:gd name="T101" fmla="*/ 18 h 64"/>
                  <a:gd name="T102" fmla="*/ 42 w 48"/>
                  <a:gd name="T103" fmla="*/ 16 h 64"/>
                  <a:gd name="T104" fmla="*/ 44 w 48"/>
                  <a:gd name="T105" fmla="*/ 10 h 64"/>
                  <a:gd name="T106" fmla="*/ 44 w 48"/>
                  <a:gd name="T107" fmla="*/ 10 h 64"/>
                  <a:gd name="T108" fmla="*/ 42 w 48"/>
                  <a:gd name="T109" fmla="*/ 6 h 64"/>
                  <a:gd name="T110" fmla="*/ 38 w 48"/>
                  <a:gd name="T111" fmla="*/ 2 h 64"/>
                  <a:gd name="T112" fmla="*/ 38 w 48"/>
                  <a:gd name="T113" fmla="*/ 2 h 64"/>
                  <a:gd name="T114" fmla="*/ 36 w 48"/>
                  <a:gd name="T115" fmla="*/ 0 h 64"/>
                  <a:gd name="T116" fmla="*/ 36 w 4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64">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3" name="Freeform 625"/>
              <p:cNvSpPr>
                <a:spLocks/>
              </p:cNvSpPr>
              <p:nvPr/>
            </p:nvSpPr>
            <p:spPr bwMode="auto">
              <a:xfrm>
                <a:off x="3047" y="1627"/>
                <a:ext cx="26" cy="28"/>
              </a:xfrm>
              <a:custGeom>
                <a:avLst/>
                <a:gdLst>
                  <a:gd name="T0" fmla="*/ 16 w 26"/>
                  <a:gd name="T1" fmla="*/ 28 h 28"/>
                  <a:gd name="T2" fmla="*/ 16 w 26"/>
                  <a:gd name="T3" fmla="*/ 28 h 28"/>
                  <a:gd name="T4" fmla="*/ 16 w 26"/>
                  <a:gd name="T5" fmla="*/ 26 h 28"/>
                  <a:gd name="T6" fmla="*/ 4 w 26"/>
                  <a:gd name="T7" fmla="*/ 24 h 28"/>
                  <a:gd name="T8" fmla="*/ 4 w 26"/>
                  <a:gd name="T9" fmla="*/ 24 h 28"/>
                  <a:gd name="T10" fmla="*/ 4 w 26"/>
                  <a:gd name="T11" fmla="*/ 22 h 28"/>
                  <a:gd name="T12" fmla="*/ 0 w 26"/>
                  <a:gd name="T13" fmla="*/ 16 h 28"/>
                  <a:gd name="T14" fmla="*/ 0 w 26"/>
                  <a:gd name="T15" fmla="*/ 16 h 28"/>
                  <a:gd name="T16" fmla="*/ 0 w 26"/>
                  <a:gd name="T17" fmla="*/ 16 h 28"/>
                  <a:gd name="T18" fmla="*/ 0 w 26"/>
                  <a:gd name="T19" fmla="*/ 8 h 28"/>
                  <a:gd name="T20" fmla="*/ 0 w 26"/>
                  <a:gd name="T21" fmla="*/ 8 h 28"/>
                  <a:gd name="T22" fmla="*/ 2 w 26"/>
                  <a:gd name="T23" fmla="*/ 6 h 28"/>
                  <a:gd name="T24" fmla="*/ 10 w 26"/>
                  <a:gd name="T25" fmla="*/ 6 h 28"/>
                  <a:gd name="T26" fmla="*/ 14 w 26"/>
                  <a:gd name="T27" fmla="*/ 8 h 28"/>
                  <a:gd name="T28" fmla="*/ 14 w 26"/>
                  <a:gd name="T29" fmla="*/ 4 h 28"/>
                  <a:gd name="T30" fmla="*/ 14 w 26"/>
                  <a:gd name="T31" fmla="*/ 4 h 28"/>
                  <a:gd name="T32" fmla="*/ 16 w 26"/>
                  <a:gd name="T33" fmla="*/ 2 h 28"/>
                  <a:gd name="T34" fmla="*/ 22 w 26"/>
                  <a:gd name="T35" fmla="*/ 0 h 28"/>
                  <a:gd name="T36" fmla="*/ 22 w 26"/>
                  <a:gd name="T37" fmla="*/ 0 h 28"/>
                  <a:gd name="T38" fmla="*/ 24 w 26"/>
                  <a:gd name="T39" fmla="*/ 0 h 28"/>
                  <a:gd name="T40" fmla="*/ 24 w 26"/>
                  <a:gd name="T41" fmla="*/ 0 h 28"/>
                  <a:gd name="T42" fmla="*/ 26 w 26"/>
                  <a:gd name="T43" fmla="*/ 2 h 28"/>
                  <a:gd name="T44" fmla="*/ 26 w 26"/>
                  <a:gd name="T45" fmla="*/ 6 h 28"/>
                  <a:gd name="T46" fmla="*/ 26 w 26"/>
                  <a:gd name="T47" fmla="*/ 6 h 28"/>
                  <a:gd name="T48" fmla="*/ 26 w 26"/>
                  <a:gd name="T49" fmla="*/ 8 h 28"/>
                  <a:gd name="T50" fmla="*/ 24 w 26"/>
                  <a:gd name="T51" fmla="*/ 14 h 28"/>
                  <a:gd name="T52" fmla="*/ 24 w 26"/>
                  <a:gd name="T53" fmla="*/ 14 h 28"/>
                  <a:gd name="T54" fmla="*/ 22 w 26"/>
                  <a:gd name="T55" fmla="*/ 14 h 28"/>
                  <a:gd name="T56" fmla="*/ 18 w 26"/>
                  <a:gd name="T57" fmla="*/ 16 h 28"/>
                  <a:gd name="T58" fmla="*/ 18 w 26"/>
                  <a:gd name="T59" fmla="*/ 26 h 28"/>
                  <a:gd name="T60" fmla="*/ 18 w 26"/>
                  <a:gd name="T61" fmla="*/ 26 h 28"/>
                  <a:gd name="T62" fmla="*/ 18 w 26"/>
                  <a:gd name="T63" fmla="*/ 26 h 28"/>
                  <a:gd name="T64" fmla="*/ 18 w 26"/>
                  <a:gd name="T65" fmla="*/ 26 h 28"/>
                  <a:gd name="T66" fmla="*/ 16 w 26"/>
                  <a:gd name="T67" fmla="*/ 28 h 28"/>
                  <a:gd name="T68" fmla="*/ 16 w 26"/>
                  <a:gd name="T6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28">
                    <a:moveTo>
                      <a:pt x="16" y="28"/>
                    </a:moveTo>
                    <a:lnTo>
                      <a:pt x="16" y="28"/>
                    </a:lnTo>
                    <a:lnTo>
                      <a:pt x="16" y="26"/>
                    </a:lnTo>
                    <a:lnTo>
                      <a:pt x="4" y="24"/>
                    </a:lnTo>
                    <a:lnTo>
                      <a:pt x="4" y="24"/>
                    </a:lnTo>
                    <a:lnTo>
                      <a:pt x="4" y="22"/>
                    </a:lnTo>
                    <a:lnTo>
                      <a:pt x="0" y="16"/>
                    </a:lnTo>
                    <a:lnTo>
                      <a:pt x="0" y="16"/>
                    </a:lnTo>
                    <a:lnTo>
                      <a:pt x="0" y="16"/>
                    </a:lnTo>
                    <a:lnTo>
                      <a:pt x="0" y="8"/>
                    </a:lnTo>
                    <a:lnTo>
                      <a:pt x="0" y="8"/>
                    </a:lnTo>
                    <a:lnTo>
                      <a:pt x="2" y="6"/>
                    </a:lnTo>
                    <a:lnTo>
                      <a:pt x="10" y="6"/>
                    </a:lnTo>
                    <a:lnTo>
                      <a:pt x="14" y="8"/>
                    </a:lnTo>
                    <a:lnTo>
                      <a:pt x="14" y="4"/>
                    </a:lnTo>
                    <a:lnTo>
                      <a:pt x="14" y="4"/>
                    </a:lnTo>
                    <a:lnTo>
                      <a:pt x="16" y="2"/>
                    </a:lnTo>
                    <a:lnTo>
                      <a:pt x="22" y="0"/>
                    </a:lnTo>
                    <a:lnTo>
                      <a:pt x="22" y="0"/>
                    </a:lnTo>
                    <a:lnTo>
                      <a:pt x="24" y="0"/>
                    </a:lnTo>
                    <a:lnTo>
                      <a:pt x="24" y="0"/>
                    </a:lnTo>
                    <a:lnTo>
                      <a:pt x="26" y="2"/>
                    </a:lnTo>
                    <a:lnTo>
                      <a:pt x="26" y="6"/>
                    </a:lnTo>
                    <a:lnTo>
                      <a:pt x="26" y="6"/>
                    </a:lnTo>
                    <a:lnTo>
                      <a:pt x="26" y="8"/>
                    </a:lnTo>
                    <a:lnTo>
                      <a:pt x="24" y="14"/>
                    </a:lnTo>
                    <a:lnTo>
                      <a:pt x="24" y="14"/>
                    </a:lnTo>
                    <a:lnTo>
                      <a:pt x="22" y="14"/>
                    </a:lnTo>
                    <a:lnTo>
                      <a:pt x="18" y="16"/>
                    </a:lnTo>
                    <a:lnTo>
                      <a:pt x="18" y="26"/>
                    </a:lnTo>
                    <a:lnTo>
                      <a:pt x="18" y="26"/>
                    </a:lnTo>
                    <a:lnTo>
                      <a:pt x="18" y="26"/>
                    </a:lnTo>
                    <a:lnTo>
                      <a:pt x="18" y="26"/>
                    </a:lnTo>
                    <a:lnTo>
                      <a:pt x="16" y="28"/>
                    </a:lnTo>
                    <a:lnTo>
                      <a:pt x="16"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4" name="Freeform 626"/>
              <p:cNvSpPr>
                <a:spLocks noEditPoints="1"/>
              </p:cNvSpPr>
              <p:nvPr/>
            </p:nvSpPr>
            <p:spPr bwMode="auto">
              <a:xfrm>
                <a:off x="3045" y="1625"/>
                <a:ext cx="30" cy="32"/>
              </a:xfrm>
              <a:custGeom>
                <a:avLst/>
                <a:gdLst>
                  <a:gd name="T0" fmla="*/ 26 w 30"/>
                  <a:gd name="T1" fmla="*/ 4 h 32"/>
                  <a:gd name="T2" fmla="*/ 28 w 30"/>
                  <a:gd name="T3" fmla="*/ 8 h 32"/>
                  <a:gd name="T4" fmla="*/ 24 w 30"/>
                  <a:gd name="T5" fmla="*/ 14 h 32"/>
                  <a:gd name="T6" fmla="*/ 18 w 30"/>
                  <a:gd name="T7" fmla="*/ 16 h 32"/>
                  <a:gd name="T8" fmla="*/ 18 w 30"/>
                  <a:gd name="T9" fmla="*/ 22 h 32"/>
                  <a:gd name="T10" fmla="*/ 18 w 30"/>
                  <a:gd name="T11" fmla="*/ 28 h 32"/>
                  <a:gd name="T12" fmla="*/ 8 w 30"/>
                  <a:gd name="T13" fmla="*/ 24 h 32"/>
                  <a:gd name="T14" fmla="*/ 4 w 30"/>
                  <a:gd name="T15" fmla="*/ 18 h 32"/>
                  <a:gd name="T16" fmla="*/ 4 w 30"/>
                  <a:gd name="T17" fmla="*/ 10 h 32"/>
                  <a:gd name="T18" fmla="*/ 12 w 30"/>
                  <a:gd name="T19" fmla="*/ 10 h 32"/>
                  <a:gd name="T20" fmla="*/ 18 w 30"/>
                  <a:gd name="T21" fmla="*/ 12 h 32"/>
                  <a:gd name="T22" fmla="*/ 18 w 30"/>
                  <a:gd name="T23" fmla="*/ 6 h 32"/>
                  <a:gd name="T24" fmla="*/ 26 w 30"/>
                  <a:gd name="T25" fmla="*/ 4 h 32"/>
                  <a:gd name="T26" fmla="*/ 26 w 30"/>
                  <a:gd name="T27" fmla="*/ 0 h 32"/>
                  <a:gd name="T28" fmla="*/ 26 w 30"/>
                  <a:gd name="T29" fmla="*/ 0 h 32"/>
                  <a:gd name="T30" fmla="*/ 24 w 30"/>
                  <a:gd name="T31" fmla="*/ 0 h 32"/>
                  <a:gd name="T32" fmla="*/ 18 w 30"/>
                  <a:gd name="T33" fmla="*/ 2 h 32"/>
                  <a:gd name="T34" fmla="*/ 18 w 30"/>
                  <a:gd name="T35" fmla="*/ 2 h 32"/>
                  <a:gd name="T36" fmla="*/ 16 w 30"/>
                  <a:gd name="T37" fmla="*/ 4 h 32"/>
                  <a:gd name="T38" fmla="*/ 14 w 30"/>
                  <a:gd name="T39" fmla="*/ 6 h 32"/>
                  <a:gd name="T40" fmla="*/ 14 w 30"/>
                  <a:gd name="T41" fmla="*/ 6 h 32"/>
                  <a:gd name="T42" fmla="*/ 12 w 30"/>
                  <a:gd name="T43" fmla="*/ 6 h 32"/>
                  <a:gd name="T44" fmla="*/ 12 w 30"/>
                  <a:gd name="T45" fmla="*/ 6 h 32"/>
                  <a:gd name="T46" fmla="*/ 12 w 30"/>
                  <a:gd name="T47" fmla="*/ 6 h 32"/>
                  <a:gd name="T48" fmla="*/ 4 w 30"/>
                  <a:gd name="T49" fmla="*/ 6 h 32"/>
                  <a:gd name="T50" fmla="*/ 4 w 30"/>
                  <a:gd name="T51" fmla="*/ 6 h 32"/>
                  <a:gd name="T52" fmla="*/ 2 w 30"/>
                  <a:gd name="T53" fmla="*/ 8 h 32"/>
                  <a:gd name="T54" fmla="*/ 0 w 30"/>
                  <a:gd name="T55" fmla="*/ 10 h 32"/>
                  <a:gd name="T56" fmla="*/ 0 w 30"/>
                  <a:gd name="T57" fmla="*/ 18 h 32"/>
                  <a:gd name="T58" fmla="*/ 0 w 30"/>
                  <a:gd name="T59" fmla="*/ 18 h 32"/>
                  <a:gd name="T60" fmla="*/ 2 w 30"/>
                  <a:gd name="T61" fmla="*/ 20 h 32"/>
                  <a:gd name="T62" fmla="*/ 4 w 30"/>
                  <a:gd name="T63" fmla="*/ 26 h 32"/>
                  <a:gd name="T64" fmla="*/ 4 w 30"/>
                  <a:gd name="T65" fmla="*/ 26 h 32"/>
                  <a:gd name="T66" fmla="*/ 6 w 30"/>
                  <a:gd name="T67" fmla="*/ 28 h 32"/>
                  <a:gd name="T68" fmla="*/ 16 w 30"/>
                  <a:gd name="T69" fmla="*/ 30 h 32"/>
                  <a:gd name="T70" fmla="*/ 16 w 30"/>
                  <a:gd name="T71" fmla="*/ 30 h 32"/>
                  <a:gd name="T72" fmla="*/ 18 w 30"/>
                  <a:gd name="T73" fmla="*/ 32 h 32"/>
                  <a:gd name="T74" fmla="*/ 18 w 30"/>
                  <a:gd name="T75" fmla="*/ 32 h 32"/>
                  <a:gd name="T76" fmla="*/ 20 w 30"/>
                  <a:gd name="T77" fmla="*/ 30 h 32"/>
                  <a:gd name="T78" fmla="*/ 20 w 30"/>
                  <a:gd name="T79" fmla="*/ 30 h 32"/>
                  <a:gd name="T80" fmla="*/ 22 w 30"/>
                  <a:gd name="T81" fmla="*/ 28 h 32"/>
                  <a:gd name="T82" fmla="*/ 22 w 30"/>
                  <a:gd name="T83" fmla="*/ 22 h 32"/>
                  <a:gd name="T84" fmla="*/ 22 w 30"/>
                  <a:gd name="T85" fmla="*/ 18 h 32"/>
                  <a:gd name="T86" fmla="*/ 24 w 30"/>
                  <a:gd name="T87" fmla="*/ 18 h 32"/>
                  <a:gd name="T88" fmla="*/ 24 w 30"/>
                  <a:gd name="T89" fmla="*/ 18 h 32"/>
                  <a:gd name="T90" fmla="*/ 26 w 30"/>
                  <a:gd name="T91" fmla="*/ 16 h 32"/>
                  <a:gd name="T92" fmla="*/ 30 w 30"/>
                  <a:gd name="T93" fmla="*/ 10 h 32"/>
                  <a:gd name="T94" fmla="*/ 30 w 30"/>
                  <a:gd name="T95" fmla="*/ 10 h 32"/>
                  <a:gd name="T96" fmla="*/ 30 w 30"/>
                  <a:gd name="T97" fmla="*/ 6 h 32"/>
                  <a:gd name="T98" fmla="*/ 28 w 30"/>
                  <a:gd name="T99" fmla="*/ 2 h 32"/>
                  <a:gd name="T100" fmla="*/ 28 w 30"/>
                  <a:gd name="T101" fmla="*/ 2 h 32"/>
                  <a:gd name="T102" fmla="*/ 28 w 30"/>
                  <a:gd name="T103" fmla="*/ 2 h 32"/>
                  <a:gd name="T104" fmla="*/ 26 w 30"/>
                  <a:gd name="T105" fmla="*/ 0 h 32"/>
                  <a:gd name="T106" fmla="*/ 26 w 30"/>
                  <a:gd name="T10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32">
                    <a:moveTo>
                      <a:pt x="26" y="4"/>
                    </a:moveTo>
                    <a:lnTo>
                      <a:pt x="28" y="8"/>
                    </a:lnTo>
                    <a:lnTo>
                      <a:pt x="24" y="14"/>
                    </a:lnTo>
                    <a:lnTo>
                      <a:pt x="18" y="16"/>
                    </a:lnTo>
                    <a:lnTo>
                      <a:pt x="18" y="22"/>
                    </a:lnTo>
                    <a:lnTo>
                      <a:pt x="18" y="28"/>
                    </a:lnTo>
                    <a:lnTo>
                      <a:pt x="8" y="24"/>
                    </a:lnTo>
                    <a:lnTo>
                      <a:pt x="4" y="18"/>
                    </a:lnTo>
                    <a:lnTo>
                      <a:pt x="4" y="10"/>
                    </a:lnTo>
                    <a:lnTo>
                      <a:pt x="12" y="10"/>
                    </a:lnTo>
                    <a:lnTo>
                      <a:pt x="18" y="12"/>
                    </a:lnTo>
                    <a:lnTo>
                      <a:pt x="18" y="6"/>
                    </a:lnTo>
                    <a:lnTo>
                      <a:pt x="26" y="4"/>
                    </a:lnTo>
                    <a:close/>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5" name="Freeform 627"/>
              <p:cNvSpPr>
                <a:spLocks/>
              </p:cNvSpPr>
              <p:nvPr/>
            </p:nvSpPr>
            <p:spPr bwMode="auto">
              <a:xfrm>
                <a:off x="3049" y="1629"/>
                <a:ext cx="24" cy="24"/>
              </a:xfrm>
              <a:custGeom>
                <a:avLst/>
                <a:gdLst>
                  <a:gd name="T0" fmla="*/ 22 w 24"/>
                  <a:gd name="T1" fmla="*/ 0 h 24"/>
                  <a:gd name="T2" fmla="*/ 24 w 24"/>
                  <a:gd name="T3" fmla="*/ 4 h 24"/>
                  <a:gd name="T4" fmla="*/ 20 w 24"/>
                  <a:gd name="T5" fmla="*/ 10 h 24"/>
                  <a:gd name="T6" fmla="*/ 14 w 24"/>
                  <a:gd name="T7" fmla="*/ 12 h 24"/>
                  <a:gd name="T8" fmla="*/ 14 w 24"/>
                  <a:gd name="T9" fmla="*/ 18 h 24"/>
                  <a:gd name="T10" fmla="*/ 14 w 24"/>
                  <a:gd name="T11" fmla="*/ 24 h 24"/>
                  <a:gd name="T12" fmla="*/ 4 w 24"/>
                  <a:gd name="T13" fmla="*/ 20 h 24"/>
                  <a:gd name="T14" fmla="*/ 0 w 24"/>
                  <a:gd name="T15" fmla="*/ 14 h 24"/>
                  <a:gd name="T16" fmla="*/ 0 w 24"/>
                  <a:gd name="T17" fmla="*/ 6 h 24"/>
                  <a:gd name="T18" fmla="*/ 8 w 24"/>
                  <a:gd name="T19" fmla="*/ 6 h 24"/>
                  <a:gd name="T20" fmla="*/ 14 w 24"/>
                  <a:gd name="T21" fmla="*/ 8 h 24"/>
                  <a:gd name="T22" fmla="*/ 14 w 24"/>
                  <a:gd name="T23" fmla="*/ 2 h 24"/>
                  <a:gd name="T24" fmla="*/ 22 w 2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4">
                    <a:moveTo>
                      <a:pt x="22" y="0"/>
                    </a:moveTo>
                    <a:lnTo>
                      <a:pt x="24" y="4"/>
                    </a:lnTo>
                    <a:lnTo>
                      <a:pt x="20" y="10"/>
                    </a:lnTo>
                    <a:lnTo>
                      <a:pt x="14" y="12"/>
                    </a:lnTo>
                    <a:lnTo>
                      <a:pt x="14" y="18"/>
                    </a:lnTo>
                    <a:lnTo>
                      <a:pt x="14" y="24"/>
                    </a:lnTo>
                    <a:lnTo>
                      <a:pt x="4" y="20"/>
                    </a:lnTo>
                    <a:lnTo>
                      <a:pt x="0" y="14"/>
                    </a:lnTo>
                    <a:lnTo>
                      <a:pt x="0" y="6"/>
                    </a:lnTo>
                    <a:lnTo>
                      <a:pt x="8" y="6"/>
                    </a:lnTo>
                    <a:lnTo>
                      <a:pt x="14" y="8"/>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6" name="Freeform 628"/>
              <p:cNvSpPr>
                <a:spLocks/>
              </p:cNvSpPr>
              <p:nvPr/>
            </p:nvSpPr>
            <p:spPr bwMode="auto">
              <a:xfrm>
                <a:off x="3045" y="1625"/>
                <a:ext cx="30" cy="32"/>
              </a:xfrm>
              <a:custGeom>
                <a:avLst/>
                <a:gdLst>
                  <a:gd name="T0" fmla="*/ 26 w 30"/>
                  <a:gd name="T1" fmla="*/ 0 h 32"/>
                  <a:gd name="T2" fmla="*/ 26 w 30"/>
                  <a:gd name="T3" fmla="*/ 0 h 32"/>
                  <a:gd name="T4" fmla="*/ 24 w 30"/>
                  <a:gd name="T5" fmla="*/ 0 h 32"/>
                  <a:gd name="T6" fmla="*/ 18 w 30"/>
                  <a:gd name="T7" fmla="*/ 2 h 32"/>
                  <a:gd name="T8" fmla="*/ 18 w 30"/>
                  <a:gd name="T9" fmla="*/ 2 h 32"/>
                  <a:gd name="T10" fmla="*/ 16 w 30"/>
                  <a:gd name="T11" fmla="*/ 4 h 32"/>
                  <a:gd name="T12" fmla="*/ 14 w 30"/>
                  <a:gd name="T13" fmla="*/ 6 h 32"/>
                  <a:gd name="T14" fmla="*/ 14 w 30"/>
                  <a:gd name="T15" fmla="*/ 6 h 32"/>
                  <a:gd name="T16" fmla="*/ 12 w 30"/>
                  <a:gd name="T17" fmla="*/ 6 h 32"/>
                  <a:gd name="T18" fmla="*/ 12 w 30"/>
                  <a:gd name="T19" fmla="*/ 6 h 32"/>
                  <a:gd name="T20" fmla="*/ 12 w 30"/>
                  <a:gd name="T21" fmla="*/ 6 h 32"/>
                  <a:gd name="T22" fmla="*/ 4 w 30"/>
                  <a:gd name="T23" fmla="*/ 6 h 32"/>
                  <a:gd name="T24" fmla="*/ 4 w 30"/>
                  <a:gd name="T25" fmla="*/ 6 h 32"/>
                  <a:gd name="T26" fmla="*/ 2 w 30"/>
                  <a:gd name="T27" fmla="*/ 8 h 32"/>
                  <a:gd name="T28" fmla="*/ 0 w 30"/>
                  <a:gd name="T29" fmla="*/ 10 h 32"/>
                  <a:gd name="T30" fmla="*/ 0 w 30"/>
                  <a:gd name="T31" fmla="*/ 18 h 32"/>
                  <a:gd name="T32" fmla="*/ 0 w 30"/>
                  <a:gd name="T33" fmla="*/ 18 h 32"/>
                  <a:gd name="T34" fmla="*/ 2 w 30"/>
                  <a:gd name="T35" fmla="*/ 20 h 32"/>
                  <a:gd name="T36" fmla="*/ 4 w 30"/>
                  <a:gd name="T37" fmla="*/ 26 h 32"/>
                  <a:gd name="T38" fmla="*/ 4 w 30"/>
                  <a:gd name="T39" fmla="*/ 26 h 32"/>
                  <a:gd name="T40" fmla="*/ 6 w 30"/>
                  <a:gd name="T41" fmla="*/ 28 h 32"/>
                  <a:gd name="T42" fmla="*/ 16 w 30"/>
                  <a:gd name="T43" fmla="*/ 30 h 32"/>
                  <a:gd name="T44" fmla="*/ 16 w 30"/>
                  <a:gd name="T45" fmla="*/ 30 h 32"/>
                  <a:gd name="T46" fmla="*/ 18 w 30"/>
                  <a:gd name="T47" fmla="*/ 32 h 32"/>
                  <a:gd name="T48" fmla="*/ 18 w 30"/>
                  <a:gd name="T49" fmla="*/ 32 h 32"/>
                  <a:gd name="T50" fmla="*/ 20 w 30"/>
                  <a:gd name="T51" fmla="*/ 30 h 32"/>
                  <a:gd name="T52" fmla="*/ 20 w 30"/>
                  <a:gd name="T53" fmla="*/ 30 h 32"/>
                  <a:gd name="T54" fmla="*/ 22 w 30"/>
                  <a:gd name="T55" fmla="*/ 28 h 32"/>
                  <a:gd name="T56" fmla="*/ 22 w 30"/>
                  <a:gd name="T57" fmla="*/ 22 h 32"/>
                  <a:gd name="T58" fmla="*/ 22 w 30"/>
                  <a:gd name="T59" fmla="*/ 18 h 32"/>
                  <a:gd name="T60" fmla="*/ 24 w 30"/>
                  <a:gd name="T61" fmla="*/ 18 h 32"/>
                  <a:gd name="T62" fmla="*/ 24 w 30"/>
                  <a:gd name="T63" fmla="*/ 18 h 32"/>
                  <a:gd name="T64" fmla="*/ 26 w 30"/>
                  <a:gd name="T65" fmla="*/ 16 h 32"/>
                  <a:gd name="T66" fmla="*/ 30 w 30"/>
                  <a:gd name="T67" fmla="*/ 10 h 32"/>
                  <a:gd name="T68" fmla="*/ 30 w 30"/>
                  <a:gd name="T69" fmla="*/ 10 h 32"/>
                  <a:gd name="T70" fmla="*/ 30 w 30"/>
                  <a:gd name="T71" fmla="*/ 6 h 32"/>
                  <a:gd name="T72" fmla="*/ 28 w 30"/>
                  <a:gd name="T73" fmla="*/ 2 h 32"/>
                  <a:gd name="T74" fmla="*/ 28 w 30"/>
                  <a:gd name="T75" fmla="*/ 2 h 32"/>
                  <a:gd name="T76" fmla="*/ 28 w 30"/>
                  <a:gd name="T77" fmla="*/ 2 h 32"/>
                  <a:gd name="T78" fmla="*/ 26 w 30"/>
                  <a:gd name="T79" fmla="*/ 0 h 32"/>
                  <a:gd name="T80" fmla="*/ 26 w 30"/>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32">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7" name="Freeform 629"/>
              <p:cNvSpPr>
                <a:spLocks/>
              </p:cNvSpPr>
              <p:nvPr/>
            </p:nvSpPr>
            <p:spPr bwMode="auto">
              <a:xfrm>
                <a:off x="2975" y="1655"/>
                <a:ext cx="132" cy="144"/>
              </a:xfrm>
              <a:custGeom>
                <a:avLst/>
                <a:gdLst>
                  <a:gd name="T0" fmla="*/ 52 w 132"/>
                  <a:gd name="T1" fmla="*/ 144 h 144"/>
                  <a:gd name="T2" fmla="*/ 50 w 132"/>
                  <a:gd name="T3" fmla="*/ 144 h 144"/>
                  <a:gd name="T4" fmla="*/ 52 w 132"/>
                  <a:gd name="T5" fmla="*/ 140 h 144"/>
                  <a:gd name="T6" fmla="*/ 46 w 132"/>
                  <a:gd name="T7" fmla="*/ 138 h 144"/>
                  <a:gd name="T8" fmla="*/ 22 w 132"/>
                  <a:gd name="T9" fmla="*/ 140 h 144"/>
                  <a:gd name="T10" fmla="*/ 20 w 132"/>
                  <a:gd name="T11" fmla="*/ 138 h 144"/>
                  <a:gd name="T12" fmla="*/ 20 w 132"/>
                  <a:gd name="T13" fmla="*/ 132 h 144"/>
                  <a:gd name="T14" fmla="*/ 28 w 132"/>
                  <a:gd name="T15" fmla="*/ 114 h 144"/>
                  <a:gd name="T16" fmla="*/ 12 w 132"/>
                  <a:gd name="T17" fmla="*/ 112 h 144"/>
                  <a:gd name="T18" fmla="*/ 12 w 132"/>
                  <a:gd name="T19" fmla="*/ 112 h 144"/>
                  <a:gd name="T20" fmla="*/ 2 w 132"/>
                  <a:gd name="T21" fmla="*/ 106 h 144"/>
                  <a:gd name="T22" fmla="*/ 2 w 132"/>
                  <a:gd name="T23" fmla="*/ 104 h 144"/>
                  <a:gd name="T24" fmla="*/ 2 w 132"/>
                  <a:gd name="T25" fmla="*/ 94 h 144"/>
                  <a:gd name="T26" fmla="*/ 2 w 132"/>
                  <a:gd name="T27" fmla="*/ 92 h 144"/>
                  <a:gd name="T28" fmla="*/ 0 w 132"/>
                  <a:gd name="T29" fmla="*/ 80 h 144"/>
                  <a:gd name="T30" fmla="*/ 0 w 132"/>
                  <a:gd name="T31" fmla="*/ 64 h 144"/>
                  <a:gd name="T32" fmla="*/ 10 w 132"/>
                  <a:gd name="T33" fmla="*/ 54 h 144"/>
                  <a:gd name="T34" fmla="*/ 10 w 132"/>
                  <a:gd name="T35" fmla="*/ 48 h 144"/>
                  <a:gd name="T36" fmla="*/ 14 w 132"/>
                  <a:gd name="T37" fmla="*/ 42 h 144"/>
                  <a:gd name="T38" fmla="*/ 10 w 132"/>
                  <a:gd name="T39" fmla="*/ 30 h 144"/>
                  <a:gd name="T40" fmla="*/ 10 w 132"/>
                  <a:gd name="T41" fmla="*/ 28 h 144"/>
                  <a:gd name="T42" fmla="*/ 18 w 132"/>
                  <a:gd name="T43" fmla="*/ 26 h 144"/>
                  <a:gd name="T44" fmla="*/ 34 w 132"/>
                  <a:gd name="T45" fmla="*/ 28 h 144"/>
                  <a:gd name="T46" fmla="*/ 36 w 132"/>
                  <a:gd name="T47" fmla="*/ 24 h 144"/>
                  <a:gd name="T48" fmla="*/ 42 w 132"/>
                  <a:gd name="T49" fmla="*/ 22 h 144"/>
                  <a:gd name="T50" fmla="*/ 40 w 132"/>
                  <a:gd name="T51" fmla="*/ 10 h 144"/>
                  <a:gd name="T52" fmla="*/ 40 w 132"/>
                  <a:gd name="T53" fmla="*/ 10 h 144"/>
                  <a:gd name="T54" fmla="*/ 42 w 132"/>
                  <a:gd name="T55" fmla="*/ 4 h 144"/>
                  <a:gd name="T56" fmla="*/ 52 w 132"/>
                  <a:gd name="T57" fmla="*/ 0 h 144"/>
                  <a:gd name="T58" fmla="*/ 52 w 132"/>
                  <a:gd name="T59" fmla="*/ 0 h 144"/>
                  <a:gd name="T60" fmla="*/ 54 w 132"/>
                  <a:gd name="T61" fmla="*/ 2 h 144"/>
                  <a:gd name="T62" fmla="*/ 60 w 132"/>
                  <a:gd name="T63" fmla="*/ 6 h 144"/>
                  <a:gd name="T64" fmla="*/ 62 w 132"/>
                  <a:gd name="T65" fmla="*/ 12 h 144"/>
                  <a:gd name="T66" fmla="*/ 76 w 132"/>
                  <a:gd name="T67" fmla="*/ 18 h 144"/>
                  <a:gd name="T68" fmla="*/ 86 w 132"/>
                  <a:gd name="T69" fmla="*/ 16 h 144"/>
                  <a:gd name="T70" fmla="*/ 88 w 132"/>
                  <a:gd name="T71" fmla="*/ 14 h 144"/>
                  <a:gd name="T72" fmla="*/ 106 w 132"/>
                  <a:gd name="T73" fmla="*/ 10 h 144"/>
                  <a:gd name="T74" fmla="*/ 108 w 132"/>
                  <a:gd name="T75" fmla="*/ 10 h 144"/>
                  <a:gd name="T76" fmla="*/ 110 w 132"/>
                  <a:gd name="T77" fmla="*/ 10 h 144"/>
                  <a:gd name="T78" fmla="*/ 122 w 132"/>
                  <a:gd name="T79" fmla="*/ 22 h 144"/>
                  <a:gd name="T80" fmla="*/ 122 w 132"/>
                  <a:gd name="T81" fmla="*/ 24 h 144"/>
                  <a:gd name="T82" fmla="*/ 126 w 132"/>
                  <a:gd name="T83" fmla="*/ 32 h 144"/>
                  <a:gd name="T84" fmla="*/ 122 w 132"/>
                  <a:gd name="T85" fmla="*/ 42 h 144"/>
                  <a:gd name="T86" fmla="*/ 128 w 132"/>
                  <a:gd name="T87" fmla="*/ 46 h 144"/>
                  <a:gd name="T88" fmla="*/ 128 w 132"/>
                  <a:gd name="T89" fmla="*/ 56 h 144"/>
                  <a:gd name="T90" fmla="*/ 132 w 132"/>
                  <a:gd name="T91" fmla="*/ 74 h 144"/>
                  <a:gd name="T92" fmla="*/ 132 w 132"/>
                  <a:gd name="T93" fmla="*/ 76 h 144"/>
                  <a:gd name="T94" fmla="*/ 132 w 132"/>
                  <a:gd name="T95" fmla="*/ 78 h 144"/>
                  <a:gd name="T96" fmla="*/ 118 w 132"/>
                  <a:gd name="T97" fmla="*/ 80 h 144"/>
                  <a:gd name="T98" fmla="*/ 98 w 132"/>
                  <a:gd name="T99" fmla="*/ 88 h 144"/>
                  <a:gd name="T100" fmla="*/ 104 w 132"/>
                  <a:gd name="T101" fmla="*/ 108 h 144"/>
                  <a:gd name="T102" fmla="*/ 114 w 132"/>
                  <a:gd name="T103" fmla="*/ 114 h 144"/>
                  <a:gd name="T104" fmla="*/ 114 w 132"/>
                  <a:gd name="T105" fmla="*/ 122 h 144"/>
                  <a:gd name="T106" fmla="*/ 114 w 132"/>
                  <a:gd name="T107" fmla="*/ 124 h 144"/>
                  <a:gd name="T108" fmla="*/ 100 w 132"/>
                  <a:gd name="T109" fmla="*/ 136 h 144"/>
                  <a:gd name="T110" fmla="*/ 98 w 132"/>
                  <a:gd name="T111" fmla="*/ 138 h 144"/>
                  <a:gd name="T112" fmla="*/ 80 w 132"/>
                  <a:gd name="T113" fmla="*/ 142 h 144"/>
                  <a:gd name="T114" fmla="*/ 78 w 132"/>
                  <a:gd name="T115" fmla="*/ 144 h 144"/>
                  <a:gd name="T116" fmla="*/ 52 w 132"/>
                  <a:gd name="T1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 h="144">
                    <a:moveTo>
                      <a:pt x="52" y="144"/>
                    </a:moveTo>
                    <a:lnTo>
                      <a:pt x="52" y="144"/>
                    </a:lnTo>
                    <a:lnTo>
                      <a:pt x="50" y="144"/>
                    </a:lnTo>
                    <a:lnTo>
                      <a:pt x="50" y="144"/>
                    </a:lnTo>
                    <a:lnTo>
                      <a:pt x="50" y="142"/>
                    </a:lnTo>
                    <a:lnTo>
                      <a:pt x="52" y="140"/>
                    </a:lnTo>
                    <a:lnTo>
                      <a:pt x="52" y="140"/>
                    </a:lnTo>
                    <a:lnTo>
                      <a:pt x="46" y="138"/>
                    </a:lnTo>
                    <a:lnTo>
                      <a:pt x="36" y="140"/>
                    </a:lnTo>
                    <a:lnTo>
                      <a:pt x="22" y="140"/>
                    </a:lnTo>
                    <a:lnTo>
                      <a:pt x="22" y="140"/>
                    </a:lnTo>
                    <a:lnTo>
                      <a:pt x="20" y="138"/>
                    </a:lnTo>
                    <a:lnTo>
                      <a:pt x="20" y="132"/>
                    </a:lnTo>
                    <a:lnTo>
                      <a:pt x="20" y="132"/>
                    </a:lnTo>
                    <a:lnTo>
                      <a:pt x="20" y="132"/>
                    </a:lnTo>
                    <a:lnTo>
                      <a:pt x="28" y="114"/>
                    </a:lnTo>
                    <a:lnTo>
                      <a:pt x="28" y="112"/>
                    </a:lnTo>
                    <a:lnTo>
                      <a:pt x="12" y="112"/>
                    </a:lnTo>
                    <a:lnTo>
                      <a:pt x="12" y="112"/>
                    </a:lnTo>
                    <a:lnTo>
                      <a:pt x="12" y="112"/>
                    </a:lnTo>
                    <a:lnTo>
                      <a:pt x="8" y="108"/>
                    </a:lnTo>
                    <a:lnTo>
                      <a:pt x="2" y="106"/>
                    </a:lnTo>
                    <a:lnTo>
                      <a:pt x="2" y="106"/>
                    </a:lnTo>
                    <a:lnTo>
                      <a:pt x="2" y="104"/>
                    </a:lnTo>
                    <a:lnTo>
                      <a:pt x="4" y="98"/>
                    </a:lnTo>
                    <a:lnTo>
                      <a:pt x="2" y="94"/>
                    </a:lnTo>
                    <a:lnTo>
                      <a:pt x="2" y="94"/>
                    </a:lnTo>
                    <a:lnTo>
                      <a:pt x="2" y="92"/>
                    </a:lnTo>
                    <a:lnTo>
                      <a:pt x="4" y="88"/>
                    </a:lnTo>
                    <a:lnTo>
                      <a:pt x="0" y="80"/>
                    </a:lnTo>
                    <a:lnTo>
                      <a:pt x="0" y="64"/>
                    </a:lnTo>
                    <a:lnTo>
                      <a:pt x="0" y="64"/>
                    </a:lnTo>
                    <a:lnTo>
                      <a:pt x="0" y="62"/>
                    </a:lnTo>
                    <a:lnTo>
                      <a:pt x="10" y="54"/>
                    </a:lnTo>
                    <a:lnTo>
                      <a:pt x="10" y="48"/>
                    </a:lnTo>
                    <a:lnTo>
                      <a:pt x="10" y="48"/>
                    </a:lnTo>
                    <a:lnTo>
                      <a:pt x="12" y="46"/>
                    </a:lnTo>
                    <a:lnTo>
                      <a:pt x="14" y="42"/>
                    </a:lnTo>
                    <a:lnTo>
                      <a:pt x="10" y="30"/>
                    </a:lnTo>
                    <a:lnTo>
                      <a:pt x="10" y="30"/>
                    </a:lnTo>
                    <a:lnTo>
                      <a:pt x="10" y="28"/>
                    </a:lnTo>
                    <a:lnTo>
                      <a:pt x="10" y="28"/>
                    </a:lnTo>
                    <a:lnTo>
                      <a:pt x="10" y="28"/>
                    </a:lnTo>
                    <a:lnTo>
                      <a:pt x="18" y="26"/>
                    </a:lnTo>
                    <a:lnTo>
                      <a:pt x="26" y="26"/>
                    </a:lnTo>
                    <a:lnTo>
                      <a:pt x="34" y="28"/>
                    </a:lnTo>
                    <a:lnTo>
                      <a:pt x="36" y="24"/>
                    </a:lnTo>
                    <a:lnTo>
                      <a:pt x="36" y="24"/>
                    </a:lnTo>
                    <a:lnTo>
                      <a:pt x="38" y="24"/>
                    </a:lnTo>
                    <a:lnTo>
                      <a:pt x="42" y="22"/>
                    </a:lnTo>
                    <a:lnTo>
                      <a:pt x="42" y="18"/>
                    </a:lnTo>
                    <a:lnTo>
                      <a:pt x="40" y="10"/>
                    </a:lnTo>
                    <a:lnTo>
                      <a:pt x="40" y="10"/>
                    </a:lnTo>
                    <a:lnTo>
                      <a:pt x="40" y="10"/>
                    </a:lnTo>
                    <a:lnTo>
                      <a:pt x="42" y="4"/>
                    </a:lnTo>
                    <a:lnTo>
                      <a:pt x="42" y="4"/>
                    </a:lnTo>
                    <a:lnTo>
                      <a:pt x="44" y="2"/>
                    </a:lnTo>
                    <a:lnTo>
                      <a:pt x="52" y="0"/>
                    </a:lnTo>
                    <a:lnTo>
                      <a:pt x="52" y="0"/>
                    </a:lnTo>
                    <a:lnTo>
                      <a:pt x="52" y="0"/>
                    </a:lnTo>
                    <a:lnTo>
                      <a:pt x="52" y="0"/>
                    </a:lnTo>
                    <a:lnTo>
                      <a:pt x="54" y="2"/>
                    </a:lnTo>
                    <a:lnTo>
                      <a:pt x="60" y="6"/>
                    </a:lnTo>
                    <a:lnTo>
                      <a:pt x="60" y="6"/>
                    </a:lnTo>
                    <a:lnTo>
                      <a:pt x="60" y="8"/>
                    </a:lnTo>
                    <a:lnTo>
                      <a:pt x="62" y="12"/>
                    </a:lnTo>
                    <a:lnTo>
                      <a:pt x="70" y="16"/>
                    </a:lnTo>
                    <a:lnTo>
                      <a:pt x="76" y="18"/>
                    </a:lnTo>
                    <a:lnTo>
                      <a:pt x="82" y="20"/>
                    </a:lnTo>
                    <a:lnTo>
                      <a:pt x="86" y="16"/>
                    </a:lnTo>
                    <a:lnTo>
                      <a:pt x="86" y="16"/>
                    </a:lnTo>
                    <a:lnTo>
                      <a:pt x="88" y="14"/>
                    </a:lnTo>
                    <a:lnTo>
                      <a:pt x="100" y="12"/>
                    </a:lnTo>
                    <a:lnTo>
                      <a:pt x="106" y="10"/>
                    </a:lnTo>
                    <a:lnTo>
                      <a:pt x="106" y="10"/>
                    </a:lnTo>
                    <a:lnTo>
                      <a:pt x="108" y="10"/>
                    </a:lnTo>
                    <a:lnTo>
                      <a:pt x="108" y="10"/>
                    </a:lnTo>
                    <a:lnTo>
                      <a:pt x="110" y="10"/>
                    </a:lnTo>
                    <a:lnTo>
                      <a:pt x="110" y="16"/>
                    </a:lnTo>
                    <a:lnTo>
                      <a:pt x="122" y="22"/>
                    </a:lnTo>
                    <a:lnTo>
                      <a:pt x="122" y="22"/>
                    </a:lnTo>
                    <a:lnTo>
                      <a:pt x="122" y="24"/>
                    </a:lnTo>
                    <a:lnTo>
                      <a:pt x="126" y="32"/>
                    </a:lnTo>
                    <a:lnTo>
                      <a:pt x="126" y="32"/>
                    </a:lnTo>
                    <a:lnTo>
                      <a:pt x="126" y="34"/>
                    </a:lnTo>
                    <a:lnTo>
                      <a:pt x="122" y="42"/>
                    </a:lnTo>
                    <a:lnTo>
                      <a:pt x="128" y="46"/>
                    </a:lnTo>
                    <a:lnTo>
                      <a:pt x="128" y="46"/>
                    </a:lnTo>
                    <a:lnTo>
                      <a:pt x="130" y="48"/>
                    </a:lnTo>
                    <a:lnTo>
                      <a:pt x="128" y="56"/>
                    </a:lnTo>
                    <a:lnTo>
                      <a:pt x="130" y="68"/>
                    </a:lnTo>
                    <a:lnTo>
                      <a:pt x="132" y="74"/>
                    </a:lnTo>
                    <a:lnTo>
                      <a:pt x="132" y="74"/>
                    </a:lnTo>
                    <a:lnTo>
                      <a:pt x="132" y="76"/>
                    </a:lnTo>
                    <a:lnTo>
                      <a:pt x="132" y="76"/>
                    </a:lnTo>
                    <a:lnTo>
                      <a:pt x="132" y="78"/>
                    </a:lnTo>
                    <a:lnTo>
                      <a:pt x="126" y="80"/>
                    </a:lnTo>
                    <a:lnTo>
                      <a:pt x="118" y="80"/>
                    </a:lnTo>
                    <a:lnTo>
                      <a:pt x="110" y="84"/>
                    </a:lnTo>
                    <a:lnTo>
                      <a:pt x="98" y="88"/>
                    </a:lnTo>
                    <a:lnTo>
                      <a:pt x="90" y="92"/>
                    </a:lnTo>
                    <a:lnTo>
                      <a:pt x="104" y="108"/>
                    </a:lnTo>
                    <a:lnTo>
                      <a:pt x="114" y="114"/>
                    </a:lnTo>
                    <a:lnTo>
                      <a:pt x="114" y="114"/>
                    </a:lnTo>
                    <a:lnTo>
                      <a:pt x="114" y="116"/>
                    </a:lnTo>
                    <a:lnTo>
                      <a:pt x="114" y="122"/>
                    </a:lnTo>
                    <a:lnTo>
                      <a:pt x="114" y="122"/>
                    </a:lnTo>
                    <a:lnTo>
                      <a:pt x="114" y="124"/>
                    </a:lnTo>
                    <a:lnTo>
                      <a:pt x="100" y="130"/>
                    </a:lnTo>
                    <a:lnTo>
                      <a:pt x="100" y="136"/>
                    </a:lnTo>
                    <a:lnTo>
                      <a:pt x="100" y="136"/>
                    </a:lnTo>
                    <a:lnTo>
                      <a:pt x="98" y="138"/>
                    </a:lnTo>
                    <a:lnTo>
                      <a:pt x="88" y="138"/>
                    </a:lnTo>
                    <a:lnTo>
                      <a:pt x="80" y="142"/>
                    </a:lnTo>
                    <a:lnTo>
                      <a:pt x="80" y="142"/>
                    </a:lnTo>
                    <a:lnTo>
                      <a:pt x="78" y="144"/>
                    </a:lnTo>
                    <a:lnTo>
                      <a:pt x="78" y="144"/>
                    </a:lnTo>
                    <a:lnTo>
                      <a:pt x="52" y="144"/>
                    </a:lnTo>
                    <a:lnTo>
                      <a:pt x="52"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8" name="Freeform 630"/>
              <p:cNvSpPr>
                <a:spLocks noEditPoints="1"/>
              </p:cNvSpPr>
              <p:nvPr/>
            </p:nvSpPr>
            <p:spPr bwMode="auto">
              <a:xfrm>
                <a:off x="2973" y="1653"/>
                <a:ext cx="136" cy="148"/>
              </a:xfrm>
              <a:custGeom>
                <a:avLst/>
                <a:gdLst>
                  <a:gd name="T0" fmla="*/ 70 w 136"/>
                  <a:gd name="T1" fmla="*/ 18 h 148"/>
                  <a:gd name="T2" fmla="*/ 102 w 136"/>
                  <a:gd name="T3" fmla="*/ 16 h 148"/>
                  <a:gd name="T4" fmla="*/ 126 w 136"/>
                  <a:gd name="T5" fmla="*/ 34 h 148"/>
                  <a:gd name="T6" fmla="*/ 130 w 136"/>
                  <a:gd name="T7" fmla="*/ 70 h 148"/>
                  <a:gd name="T8" fmla="*/ 112 w 136"/>
                  <a:gd name="T9" fmla="*/ 84 h 148"/>
                  <a:gd name="T10" fmla="*/ 104 w 136"/>
                  <a:gd name="T11" fmla="*/ 112 h 148"/>
                  <a:gd name="T12" fmla="*/ 100 w 136"/>
                  <a:gd name="T13" fmla="*/ 130 h 148"/>
                  <a:gd name="T14" fmla="*/ 54 w 136"/>
                  <a:gd name="T15" fmla="*/ 144 h 148"/>
                  <a:gd name="T16" fmla="*/ 38 w 136"/>
                  <a:gd name="T17" fmla="*/ 140 h 148"/>
                  <a:gd name="T18" fmla="*/ 32 w 136"/>
                  <a:gd name="T19" fmla="*/ 116 h 148"/>
                  <a:gd name="T20" fmla="*/ 6 w 136"/>
                  <a:gd name="T21" fmla="*/ 106 h 148"/>
                  <a:gd name="T22" fmla="*/ 4 w 136"/>
                  <a:gd name="T23" fmla="*/ 82 h 148"/>
                  <a:gd name="T24" fmla="*/ 18 w 136"/>
                  <a:gd name="T25" fmla="*/ 44 h 148"/>
                  <a:gd name="T26" fmla="*/ 36 w 136"/>
                  <a:gd name="T27" fmla="*/ 34 h 148"/>
                  <a:gd name="T28" fmla="*/ 44 w 136"/>
                  <a:gd name="T29" fmla="*/ 12 h 148"/>
                  <a:gd name="T30" fmla="*/ 54 w 136"/>
                  <a:gd name="T31" fmla="*/ 0 h 148"/>
                  <a:gd name="T32" fmla="*/ 42 w 136"/>
                  <a:gd name="T33" fmla="*/ 6 h 148"/>
                  <a:gd name="T34" fmla="*/ 42 w 136"/>
                  <a:gd name="T35" fmla="*/ 20 h 148"/>
                  <a:gd name="T36" fmla="*/ 36 w 136"/>
                  <a:gd name="T37" fmla="*/ 26 h 148"/>
                  <a:gd name="T38" fmla="*/ 28 w 136"/>
                  <a:gd name="T39" fmla="*/ 26 h 148"/>
                  <a:gd name="T40" fmla="*/ 12 w 136"/>
                  <a:gd name="T41" fmla="*/ 28 h 148"/>
                  <a:gd name="T42" fmla="*/ 10 w 136"/>
                  <a:gd name="T43" fmla="*/ 32 h 148"/>
                  <a:gd name="T44" fmla="*/ 10 w 136"/>
                  <a:gd name="T45" fmla="*/ 50 h 148"/>
                  <a:gd name="T46" fmla="*/ 0 w 136"/>
                  <a:gd name="T47" fmla="*/ 66 h 148"/>
                  <a:gd name="T48" fmla="*/ 4 w 136"/>
                  <a:gd name="T49" fmla="*/ 90 h 148"/>
                  <a:gd name="T50" fmla="*/ 4 w 136"/>
                  <a:gd name="T51" fmla="*/ 100 h 148"/>
                  <a:gd name="T52" fmla="*/ 4 w 136"/>
                  <a:gd name="T53" fmla="*/ 110 h 148"/>
                  <a:gd name="T54" fmla="*/ 14 w 136"/>
                  <a:gd name="T55" fmla="*/ 116 h 148"/>
                  <a:gd name="T56" fmla="*/ 20 w 136"/>
                  <a:gd name="T57" fmla="*/ 134 h 148"/>
                  <a:gd name="T58" fmla="*/ 24 w 136"/>
                  <a:gd name="T59" fmla="*/ 144 h 148"/>
                  <a:gd name="T60" fmla="*/ 40 w 136"/>
                  <a:gd name="T61" fmla="*/ 144 h 148"/>
                  <a:gd name="T62" fmla="*/ 50 w 136"/>
                  <a:gd name="T63" fmla="*/ 144 h 148"/>
                  <a:gd name="T64" fmla="*/ 54 w 136"/>
                  <a:gd name="T65" fmla="*/ 148 h 148"/>
                  <a:gd name="T66" fmla="*/ 82 w 136"/>
                  <a:gd name="T67" fmla="*/ 146 h 148"/>
                  <a:gd name="T68" fmla="*/ 104 w 136"/>
                  <a:gd name="T69" fmla="*/ 140 h 148"/>
                  <a:gd name="T70" fmla="*/ 116 w 136"/>
                  <a:gd name="T71" fmla="*/ 128 h 148"/>
                  <a:gd name="T72" fmla="*/ 118 w 136"/>
                  <a:gd name="T73" fmla="*/ 118 h 148"/>
                  <a:gd name="T74" fmla="*/ 100 w 136"/>
                  <a:gd name="T75" fmla="*/ 100 h 148"/>
                  <a:gd name="T76" fmla="*/ 122 w 136"/>
                  <a:gd name="T77" fmla="*/ 84 h 148"/>
                  <a:gd name="T78" fmla="*/ 136 w 136"/>
                  <a:gd name="T79" fmla="*/ 80 h 148"/>
                  <a:gd name="T80" fmla="*/ 132 w 136"/>
                  <a:gd name="T81" fmla="*/ 58 h 148"/>
                  <a:gd name="T82" fmla="*/ 130 w 136"/>
                  <a:gd name="T83" fmla="*/ 46 h 148"/>
                  <a:gd name="T84" fmla="*/ 130 w 136"/>
                  <a:gd name="T85" fmla="*/ 34 h 148"/>
                  <a:gd name="T86" fmla="*/ 114 w 136"/>
                  <a:gd name="T87" fmla="*/ 16 h 148"/>
                  <a:gd name="T88" fmla="*/ 110 w 136"/>
                  <a:gd name="T89" fmla="*/ 10 h 148"/>
                  <a:gd name="T90" fmla="*/ 88 w 136"/>
                  <a:gd name="T91" fmla="*/ 16 h 148"/>
                  <a:gd name="T92" fmla="*/ 78 w 136"/>
                  <a:gd name="T93" fmla="*/ 18 h 148"/>
                  <a:gd name="T94" fmla="*/ 64 w 136"/>
                  <a:gd name="T95" fmla="*/ 12 h 148"/>
                  <a:gd name="T96" fmla="*/ 58 w 136"/>
                  <a:gd name="T97"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48">
                    <a:moveTo>
                      <a:pt x="54" y="4"/>
                    </a:moveTo>
                    <a:lnTo>
                      <a:pt x="60" y="10"/>
                    </a:lnTo>
                    <a:lnTo>
                      <a:pt x="62" y="16"/>
                    </a:lnTo>
                    <a:lnTo>
                      <a:pt x="70" y="18"/>
                    </a:lnTo>
                    <a:lnTo>
                      <a:pt x="76" y="22"/>
                    </a:lnTo>
                    <a:lnTo>
                      <a:pt x="84" y="24"/>
                    </a:lnTo>
                    <a:lnTo>
                      <a:pt x="90" y="18"/>
                    </a:lnTo>
                    <a:lnTo>
                      <a:pt x="102" y="16"/>
                    </a:lnTo>
                    <a:lnTo>
                      <a:pt x="110" y="14"/>
                    </a:lnTo>
                    <a:lnTo>
                      <a:pt x="112" y="18"/>
                    </a:lnTo>
                    <a:lnTo>
                      <a:pt x="122" y="26"/>
                    </a:lnTo>
                    <a:lnTo>
                      <a:pt x="126" y="34"/>
                    </a:lnTo>
                    <a:lnTo>
                      <a:pt x="122" y="46"/>
                    </a:lnTo>
                    <a:lnTo>
                      <a:pt x="130" y="50"/>
                    </a:lnTo>
                    <a:lnTo>
                      <a:pt x="128" y="58"/>
                    </a:lnTo>
                    <a:lnTo>
                      <a:pt x="130" y="70"/>
                    </a:lnTo>
                    <a:lnTo>
                      <a:pt x="132" y="78"/>
                    </a:lnTo>
                    <a:lnTo>
                      <a:pt x="128" y="80"/>
                    </a:lnTo>
                    <a:lnTo>
                      <a:pt x="120" y="82"/>
                    </a:lnTo>
                    <a:lnTo>
                      <a:pt x="112" y="84"/>
                    </a:lnTo>
                    <a:lnTo>
                      <a:pt x="100" y="88"/>
                    </a:lnTo>
                    <a:lnTo>
                      <a:pt x="90" y="94"/>
                    </a:lnTo>
                    <a:lnTo>
                      <a:pt x="96" y="102"/>
                    </a:lnTo>
                    <a:lnTo>
                      <a:pt x="104" y="112"/>
                    </a:lnTo>
                    <a:lnTo>
                      <a:pt x="114" y="118"/>
                    </a:lnTo>
                    <a:lnTo>
                      <a:pt x="114" y="124"/>
                    </a:lnTo>
                    <a:lnTo>
                      <a:pt x="108" y="128"/>
                    </a:lnTo>
                    <a:lnTo>
                      <a:pt x="100" y="130"/>
                    </a:lnTo>
                    <a:lnTo>
                      <a:pt x="100" y="138"/>
                    </a:lnTo>
                    <a:lnTo>
                      <a:pt x="90" y="138"/>
                    </a:lnTo>
                    <a:lnTo>
                      <a:pt x="80" y="144"/>
                    </a:lnTo>
                    <a:lnTo>
                      <a:pt x="54" y="144"/>
                    </a:lnTo>
                    <a:lnTo>
                      <a:pt x="56" y="142"/>
                    </a:lnTo>
                    <a:lnTo>
                      <a:pt x="54" y="140"/>
                    </a:lnTo>
                    <a:lnTo>
                      <a:pt x="48" y="138"/>
                    </a:lnTo>
                    <a:lnTo>
                      <a:pt x="38" y="140"/>
                    </a:lnTo>
                    <a:lnTo>
                      <a:pt x="30" y="140"/>
                    </a:lnTo>
                    <a:lnTo>
                      <a:pt x="24" y="140"/>
                    </a:lnTo>
                    <a:lnTo>
                      <a:pt x="24" y="134"/>
                    </a:lnTo>
                    <a:lnTo>
                      <a:pt x="32" y="116"/>
                    </a:lnTo>
                    <a:lnTo>
                      <a:pt x="32" y="112"/>
                    </a:lnTo>
                    <a:lnTo>
                      <a:pt x="14" y="112"/>
                    </a:lnTo>
                    <a:lnTo>
                      <a:pt x="12" y="110"/>
                    </a:lnTo>
                    <a:lnTo>
                      <a:pt x="6" y="106"/>
                    </a:lnTo>
                    <a:lnTo>
                      <a:pt x="8" y="98"/>
                    </a:lnTo>
                    <a:lnTo>
                      <a:pt x="6" y="96"/>
                    </a:lnTo>
                    <a:lnTo>
                      <a:pt x="8" y="90"/>
                    </a:lnTo>
                    <a:lnTo>
                      <a:pt x="4" y="82"/>
                    </a:lnTo>
                    <a:lnTo>
                      <a:pt x="4" y="66"/>
                    </a:lnTo>
                    <a:lnTo>
                      <a:pt x="14" y="58"/>
                    </a:lnTo>
                    <a:lnTo>
                      <a:pt x="14" y="50"/>
                    </a:lnTo>
                    <a:lnTo>
                      <a:pt x="18" y="44"/>
                    </a:lnTo>
                    <a:lnTo>
                      <a:pt x="14" y="32"/>
                    </a:lnTo>
                    <a:lnTo>
                      <a:pt x="20" y="30"/>
                    </a:lnTo>
                    <a:lnTo>
                      <a:pt x="28" y="30"/>
                    </a:lnTo>
                    <a:lnTo>
                      <a:pt x="36" y="34"/>
                    </a:lnTo>
                    <a:lnTo>
                      <a:pt x="40" y="28"/>
                    </a:lnTo>
                    <a:lnTo>
                      <a:pt x="48" y="24"/>
                    </a:lnTo>
                    <a:lnTo>
                      <a:pt x="46" y="18"/>
                    </a:lnTo>
                    <a:lnTo>
                      <a:pt x="44" y="12"/>
                    </a:lnTo>
                    <a:lnTo>
                      <a:pt x="46" y="6"/>
                    </a:lnTo>
                    <a:lnTo>
                      <a:pt x="54" y="4"/>
                    </a:lnTo>
                    <a:close/>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9" name="Freeform 631"/>
              <p:cNvSpPr>
                <a:spLocks/>
              </p:cNvSpPr>
              <p:nvPr/>
            </p:nvSpPr>
            <p:spPr bwMode="auto">
              <a:xfrm>
                <a:off x="2977" y="1657"/>
                <a:ext cx="128" cy="140"/>
              </a:xfrm>
              <a:custGeom>
                <a:avLst/>
                <a:gdLst>
                  <a:gd name="T0" fmla="*/ 50 w 128"/>
                  <a:gd name="T1" fmla="*/ 0 h 140"/>
                  <a:gd name="T2" fmla="*/ 56 w 128"/>
                  <a:gd name="T3" fmla="*/ 6 h 140"/>
                  <a:gd name="T4" fmla="*/ 58 w 128"/>
                  <a:gd name="T5" fmla="*/ 12 h 140"/>
                  <a:gd name="T6" fmla="*/ 66 w 128"/>
                  <a:gd name="T7" fmla="*/ 14 h 140"/>
                  <a:gd name="T8" fmla="*/ 72 w 128"/>
                  <a:gd name="T9" fmla="*/ 18 h 140"/>
                  <a:gd name="T10" fmla="*/ 80 w 128"/>
                  <a:gd name="T11" fmla="*/ 20 h 140"/>
                  <a:gd name="T12" fmla="*/ 86 w 128"/>
                  <a:gd name="T13" fmla="*/ 14 h 140"/>
                  <a:gd name="T14" fmla="*/ 98 w 128"/>
                  <a:gd name="T15" fmla="*/ 12 h 140"/>
                  <a:gd name="T16" fmla="*/ 106 w 128"/>
                  <a:gd name="T17" fmla="*/ 10 h 140"/>
                  <a:gd name="T18" fmla="*/ 108 w 128"/>
                  <a:gd name="T19" fmla="*/ 14 h 140"/>
                  <a:gd name="T20" fmla="*/ 118 w 128"/>
                  <a:gd name="T21" fmla="*/ 22 h 140"/>
                  <a:gd name="T22" fmla="*/ 122 w 128"/>
                  <a:gd name="T23" fmla="*/ 30 h 140"/>
                  <a:gd name="T24" fmla="*/ 118 w 128"/>
                  <a:gd name="T25" fmla="*/ 42 h 140"/>
                  <a:gd name="T26" fmla="*/ 126 w 128"/>
                  <a:gd name="T27" fmla="*/ 46 h 140"/>
                  <a:gd name="T28" fmla="*/ 124 w 128"/>
                  <a:gd name="T29" fmla="*/ 54 h 140"/>
                  <a:gd name="T30" fmla="*/ 126 w 128"/>
                  <a:gd name="T31" fmla="*/ 66 h 140"/>
                  <a:gd name="T32" fmla="*/ 128 w 128"/>
                  <a:gd name="T33" fmla="*/ 74 h 140"/>
                  <a:gd name="T34" fmla="*/ 124 w 128"/>
                  <a:gd name="T35" fmla="*/ 76 h 140"/>
                  <a:gd name="T36" fmla="*/ 116 w 128"/>
                  <a:gd name="T37" fmla="*/ 78 h 140"/>
                  <a:gd name="T38" fmla="*/ 108 w 128"/>
                  <a:gd name="T39" fmla="*/ 80 h 140"/>
                  <a:gd name="T40" fmla="*/ 96 w 128"/>
                  <a:gd name="T41" fmla="*/ 84 h 140"/>
                  <a:gd name="T42" fmla="*/ 86 w 128"/>
                  <a:gd name="T43" fmla="*/ 90 h 140"/>
                  <a:gd name="T44" fmla="*/ 92 w 128"/>
                  <a:gd name="T45" fmla="*/ 98 h 140"/>
                  <a:gd name="T46" fmla="*/ 100 w 128"/>
                  <a:gd name="T47" fmla="*/ 108 h 140"/>
                  <a:gd name="T48" fmla="*/ 110 w 128"/>
                  <a:gd name="T49" fmla="*/ 114 h 140"/>
                  <a:gd name="T50" fmla="*/ 110 w 128"/>
                  <a:gd name="T51" fmla="*/ 120 h 140"/>
                  <a:gd name="T52" fmla="*/ 104 w 128"/>
                  <a:gd name="T53" fmla="*/ 124 h 140"/>
                  <a:gd name="T54" fmla="*/ 96 w 128"/>
                  <a:gd name="T55" fmla="*/ 126 h 140"/>
                  <a:gd name="T56" fmla="*/ 96 w 128"/>
                  <a:gd name="T57" fmla="*/ 134 h 140"/>
                  <a:gd name="T58" fmla="*/ 86 w 128"/>
                  <a:gd name="T59" fmla="*/ 134 h 140"/>
                  <a:gd name="T60" fmla="*/ 76 w 128"/>
                  <a:gd name="T61" fmla="*/ 140 h 140"/>
                  <a:gd name="T62" fmla="*/ 50 w 128"/>
                  <a:gd name="T63" fmla="*/ 140 h 140"/>
                  <a:gd name="T64" fmla="*/ 52 w 128"/>
                  <a:gd name="T65" fmla="*/ 138 h 140"/>
                  <a:gd name="T66" fmla="*/ 50 w 128"/>
                  <a:gd name="T67" fmla="*/ 136 h 140"/>
                  <a:gd name="T68" fmla="*/ 44 w 128"/>
                  <a:gd name="T69" fmla="*/ 134 h 140"/>
                  <a:gd name="T70" fmla="*/ 34 w 128"/>
                  <a:gd name="T71" fmla="*/ 136 h 140"/>
                  <a:gd name="T72" fmla="*/ 26 w 128"/>
                  <a:gd name="T73" fmla="*/ 136 h 140"/>
                  <a:gd name="T74" fmla="*/ 20 w 128"/>
                  <a:gd name="T75" fmla="*/ 136 h 140"/>
                  <a:gd name="T76" fmla="*/ 20 w 128"/>
                  <a:gd name="T77" fmla="*/ 130 h 140"/>
                  <a:gd name="T78" fmla="*/ 28 w 128"/>
                  <a:gd name="T79" fmla="*/ 112 h 140"/>
                  <a:gd name="T80" fmla="*/ 28 w 128"/>
                  <a:gd name="T81" fmla="*/ 108 h 140"/>
                  <a:gd name="T82" fmla="*/ 10 w 128"/>
                  <a:gd name="T83" fmla="*/ 108 h 140"/>
                  <a:gd name="T84" fmla="*/ 8 w 128"/>
                  <a:gd name="T85" fmla="*/ 106 h 140"/>
                  <a:gd name="T86" fmla="*/ 2 w 128"/>
                  <a:gd name="T87" fmla="*/ 102 h 140"/>
                  <a:gd name="T88" fmla="*/ 4 w 128"/>
                  <a:gd name="T89" fmla="*/ 94 h 140"/>
                  <a:gd name="T90" fmla="*/ 2 w 128"/>
                  <a:gd name="T91" fmla="*/ 92 h 140"/>
                  <a:gd name="T92" fmla="*/ 4 w 128"/>
                  <a:gd name="T93" fmla="*/ 86 h 140"/>
                  <a:gd name="T94" fmla="*/ 0 w 128"/>
                  <a:gd name="T95" fmla="*/ 78 h 140"/>
                  <a:gd name="T96" fmla="*/ 0 w 128"/>
                  <a:gd name="T97" fmla="*/ 62 h 140"/>
                  <a:gd name="T98" fmla="*/ 10 w 128"/>
                  <a:gd name="T99" fmla="*/ 54 h 140"/>
                  <a:gd name="T100" fmla="*/ 10 w 128"/>
                  <a:gd name="T101" fmla="*/ 46 h 140"/>
                  <a:gd name="T102" fmla="*/ 14 w 128"/>
                  <a:gd name="T103" fmla="*/ 40 h 140"/>
                  <a:gd name="T104" fmla="*/ 10 w 128"/>
                  <a:gd name="T105" fmla="*/ 28 h 140"/>
                  <a:gd name="T106" fmla="*/ 16 w 128"/>
                  <a:gd name="T107" fmla="*/ 26 h 140"/>
                  <a:gd name="T108" fmla="*/ 24 w 128"/>
                  <a:gd name="T109" fmla="*/ 26 h 140"/>
                  <a:gd name="T110" fmla="*/ 32 w 128"/>
                  <a:gd name="T111" fmla="*/ 30 h 140"/>
                  <a:gd name="T112" fmla="*/ 36 w 128"/>
                  <a:gd name="T113" fmla="*/ 24 h 140"/>
                  <a:gd name="T114" fmla="*/ 44 w 128"/>
                  <a:gd name="T115" fmla="*/ 20 h 140"/>
                  <a:gd name="T116" fmla="*/ 42 w 128"/>
                  <a:gd name="T117" fmla="*/ 14 h 140"/>
                  <a:gd name="T118" fmla="*/ 40 w 128"/>
                  <a:gd name="T119" fmla="*/ 8 h 140"/>
                  <a:gd name="T120" fmla="*/ 42 w 128"/>
                  <a:gd name="T121" fmla="*/ 2 h 140"/>
                  <a:gd name="T122" fmla="*/ 50 w 128"/>
                  <a:gd name="T12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140">
                    <a:moveTo>
                      <a:pt x="50" y="0"/>
                    </a:moveTo>
                    <a:lnTo>
                      <a:pt x="56" y="6"/>
                    </a:lnTo>
                    <a:lnTo>
                      <a:pt x="58" y="12"/>
                    </a:lnTo>
                    <a:lnTo>
                      <a:pt x="66" y="14"/>
                    </a:lnTo>
                    <a:lnTo>
                      <a:pt x="72" y="18"/>
                    </a:lnTo>
                    <a:lnTo>
                      <a:pt x="80" y="20"/>
                    </a:lnTo>
                    <a:lnTo>
                      <a:pt x="86" y="14"/>
                    </a:lnTo>
                    <a:lnTo>
                      <a:pt x="98" y="12"/>
                    </a:lnTo>
                    <a:lnTo>
                      <a:pt x="106" y="10"/>
                    </a:lnTo>
                    <a:lnTo>
                      <a:pt x="108" y="14"/>
                    </a:lnTo>
                    <a:lnTo>
                      <a:pt x="118" y="22"/>
                    </a:lnTo>
                    <a:lnTo>
                      <a:pt x="122" y="30"/>
                    </a:lnTo>
                    <a:lnTo>
                      <a:pt x="118" y="42"/>
                    </a:lnTo>
                    <a:lnTo>
                      <a:pt x="126" y="46"/>
                    </a:lnTo>
                    <a:lnTo>
                      <a:pt x="124" y="54"/>
                    </a:lnTo>
                    <a:lnTo>
                      <a:pt x="126" y="66"/>
                    </a:lnTo>
                    <a:lnTo>
                      <a:pt x="128" y="74"/>
                    </a:lnTo>
                    <a:lnTo>
                      <a:pt x="124" y="76"/>
                    </a:lnTo>
                    <a:lnTo>
                      <a:pt x="116" y="78"/>
                    </a:lnTo>
                    <a:lnTo>
                      <a:pt x="108" y="80"/>
                    </a:lnTo>
                    <a:lnTo>
                      <a:pt x="96" y="84"/>
                    </a:lnTo>
                    <a:lnTo>
                      <a:pt x="86" y="90"/>
                    </a:lnTo>
                    <a:lnTo>
                      <a:pt x="92" y="98"/>
                    </a:lnTo>
                    <a:lnTo>
                      <a:pt x="100" y="108"/>
                    </a:lnTo>
                    <a:lnTo>
                      <a:pt x="110" y="114"/>
                    </a:lnTo>
                    <a:lnTo>
                      <a:pt x="110" y="120"/>
                    </a:lnTo>
                    <a:lnTo>
                      <a:pt x="104" y="124"/>
                    </a:lnTo>
                    <a:lnTo>
                      <a:pt x="96" y="126"/>
                    </a:lnTo>
                    <a:lnTo>
                      <a:pt x="96" y="134"/>
                    </a:lnTo>
                    <a:lnTo>
                      <a:pt x="86" y="134"/>
                    </a:lnTo>
                    <a:lnTo>
                      <a:pt x="76" y="140"/>
                    </a:lnTo>
                    <a:lnTo>
                      <a:pt x="50" y="140"/>
                    </a:lnTo>
                    <a:lnTo>
                      <a:pt x="52" y="138"/>
                    </a:lnTo>
                    <a:lnTo>
                      <a:pt x="50" y="136"/>
                    </a:lnTo>
                    <a:lnTo>
                      <a:pt x="44" y="134"/>
                    </a:lnTo>
                    <a:lnTo>
                      <a:pt x="34" y="136"/>
                    </a:lnTo>
                    <a:lnTo>
                      <a:pt x="26" y="136"/>
                    </a:lnTo>
                    <a:lnTo>
                      <a:pt x="20" y="136"/>
                    </a:lnTo>
                    <a:lnTo>
                      <a:pt x="20" y="130"/>
                    </a:lnTo>
                    <a:lnTo>
                      <a:pt x="28" y="112"/>
                    </a:lnTo>
                    <a:lnTo>
                      <a:pt x="28" y="108"/>
                    </a:lnTo>
                    <a:lnTo>
                      <a:pt x="10" y="108"/>
                    </a:lnTo>
                    <a:lnTo>
                      <a:pt x="8" y="106"/>
                    </a:lnTo>
                    <a:lnTo>
                      <a:pt x="2" y="102"/>
                    </a:lnTo>
                    <a:lnTo>
                      <a:pt x="4" y="94"/>
                    </a:lnTo>
                    <a:lnTo>
                      <a:pt x="2" y="92"/>
                    </a:lnTo>
                    <a:lnTo>
                      <a:pt x="4" y="86"/>
                    </a:lnTo>
                    <a:lnTo>
                      <a:pt x="0" y="78"/>
                    </a:lnTo>
                    <a:lnTo>
                      <a:pt x="0" y="62"/>
                    </a:lnTo>
                    <a:lnTo>
                      <a:pt x="10" y="54"/>
                    </a:lnTo>
                    <a:lnTo>
                      <a:pt x="10" y="46"/>
                    </a:lnTo>
                    <a:lnTo>
                      <a:pt x="14" y="40"/>
                    </a:lnTo>
                    <a:lnTo>
                      <a:pt x="10" y="28"/>
                    </a:lnTo>
                    <a:lnTo>
                      <a:pt x="16" y="26"/>
                    </a:lnTo>
                    <a:lnTo>
                      <a:pt x="24" y="26"/>
                    </a:lnTo>
                    <a:lnTo>
                      <a:pt x="32" y="30"/>
                    </a:lnTo>
                    <a:lnTo>
                      <a:pt x="36" y="24"/>
                    </a:lnTo>
                    <a:lnTo>
                      <a:pt x="44" y="20"/>
                    </a:lnTo>
                    <a:lnTo>
                      <a:pt x="42" y="14"/>
                    </a:lnTo>
                    <a:lnTo>
                      <a:pt x="40" y="8"/>
                    </a:lnTo>
                    <a:lnTo>
                      <a:pt x="42" y="2"/>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0" name="Freeform 632"/>
              <p:cNvSpPr>
                <a:spLocks/>
              </p:cNvSpPr>
              <p:nvPr/>
            </p:nvSpPr>
            <p:spPr bwMode="auto">
              <a:xfrm>
                <a:off x="2973" y="1653"/>
                <a:ext cx="136" cy="148"/>
              </a:xfrm>
              <a:custGeom>
                <a:avLst/>
                <a:gdLst>
                  <a:gd name="T0" fmla="*/ 54 w 136"/>
                  <a:gd name="T1" fmla="*/ 0 h 148"/>
                  <a:gd name="T2" fmla="*/ 42 w 136"/>
                  <a:gd name="T3" fmla="*/ 6 h 148"/>
                  <a:gd name="T4" fmla="*/ 40 w 136"/>
                  <a:gd name="T5" fmla="*/ 12 h 148"/>
                  <a:gd name="T6" fmla="*/ 38 w 136"/>
                  <a:gd name="T7" fmla="*/ 24 h 148"/>
                  <a:gd name="T8" fmla="*/ 34 w 136"/>
                  <a:gd name="T9" fmla="*/ 28 h 148"/>
                  <a:gd name="T10" fmla="*/ 28 w 136"/>
                  <a:gd name="T11" fmla="*/ 26 h 148"/>
                  <a:gd name="T12" fmla="*/ 20 w 136"/>
                  <a:gd name="T13" fmla="*/ 26 h 148"/>
                  <a:gd name="T14" fmla="*/ 10 w 136"/>
                  <a:gd name="T15" fmla="*/ 30 h 148"/>
                  <a:gd name="T16" fmla="*/ 14 w 136"/>
                  <a:gd name="T17" fmla="*/ 44 h 148"/>
                  <a:gd name="T18" fmla="*/ 10 w 136"/>
                  <a:gd name="T19" fmla="*/ 50 h 148"/>
                  <a:gd name="T20" fmla="*/ 2 w 136"/>
                  <a:gd name="T21" fmla="*/ 62 h 148"/>
                  <a:gd name="T22" fmla="*/ 0 w 136"/>
                  <a:gd name="T23" fmla="*/ 82 h 148"/>
                  <a:gd name="T24" fmla="*/ 2 w 136"/>
                  <a:gd name="T25" fmla="*/ 94 h 148"/>
                  <a:gd name="T26" fmla="*/ 4 w 136"/>
                  <a:gd name="T27" fmla="*/ 100 h 148"/>
                  <a:gd name="T28" fmla="*/ 2 w 136"/>
                  <a:gd name="T29" fmla="*/ 108 h 148"/>
                  <a:gd name="T30" fmla="*/ 12 w 136"/>
                  <a:gd name="T31" fmla="*/ 116 h 148"/>
                  <a:gd name="T32" fmla="*/ 28 w 136"/>
                  <a:gd name="T33" fmla="*/ 116 h 148"/>
                  <a:gd name="T34" fmla="*/ 20 w 136"/>
                  <a:gd name="T35" fmla="*/ 134 h 148"/>
                  <a:gd name="T36" fmla="*/ 22 w 136"/>
                  <a:gd name="T37" fmla="*/ 142 h 148"/>
                  <a:gd name="T38" fmla="*/ 38 w 136"/>
                  <a:gd name="T39" fmla="*/ 144 h 148"/>
                  <a:gd name="T40" fmla="*/ 48 w 136"/>
                  <a:gd name="T41" fmla="*/ 142 h 148"/>
                  <a:gd name="T42" fmla="*/ 50 w 136"/>
                  <a:gd name="T43" fmla="*/ 144 h 148"/>
                  <a:gd name="T44" fmla="*/ 54 w 136"/>
                  <a:gd name="T45" fmla="*/ 148 h 148"/>
                  <a:gd name="T46" fmla="*/ 80 w 136"/>
                  <a:gd name="T47" fmla="*/ 148 h 148"/>
                  <a:gd name="T48" fmla="*/ 90 w 136"/>
                  <a:gd name="T49" fmla="*/ 142 h 148"/>
                  <a:gd name="T50" fmla="*/ 104 w 136"/>
                  <a:gd name="T51" fmla="*/ 140 h 148"/>
                  <a:gd name="T52" fmla="*/ 110 w 136"/>
                  <a:gd name="T53" fmla="*/ 130 h 148"/>
                  <a:gd name="T54" fmla="*/ 118 w 136"/>
                  <a:gd name="T55" fmla="*/ 126 h 148"/>
                  <a:gd name="T56" fmla="*/ 118 w 136"/>
                  <a:gd name="T57" fmla="*/ 118 h 148"/>
                  <a:gd name="T58" fmla="*/ 100 w 136"/>
                  <a:gd name="T59" fmla="*/ 100 h 148"/>
                  <a:gd name="T60" fmla="*/ 112 w 136"/>
                  <a:gd name="T61" fmla="*/ 88 h 148"/>
                  <a:gd name="T62" fmla="*/ 134 w 136"/>
                  <a:gd name="T63" fmla="*/ 82 h 148"/>
                  <a:gd name="T64" fmla="*/ 136 w 136"/>
                  <a:gd name="T65" fmla="*/ 80 h 148"/>
                  <a:gd name="T66" fmla="*/ 132 w 136"/>
                  <a:gd name="T67" fmla="*/ 58 h 148"/>
                  <a:gd name="T68" fmla="*/ 132 w 136"/>
                  <a:gd name="T69" fmla="*/ 48 h 148"/>
                  <a:gd name="T70" fmla="*/ 130 w 136"/>
                  <a:gd name="T71" fmla="*/ 36 h 148"/>
                  <a:gd name="T72" fmla="*/ 126 w 136"/>
                  <a:gd name="T73" fmla="*/ 24 h 148"/>
                  <a:gd name="T74" fmla="*/ 114 w 136"/>
                  <a:gd name="T75" fmla="*/ 16 h 148"/>
                  <a:gd name="T76" fmla="*/ 112 w 136"/>
                  <a:gd name="T77" fmla="*/ 10 h 148"/>
                  <a:gd name="T78" fmla="*/ 108 w 136"/>
                  <a:gd name="T79" fmla="*/ 10 h 148"/>
                  <a:gd name="T80" fmla="*/ 88 w 136"/>
                  <a:gd name="T81" fmla="*/ 16 h 148"/>
                  <a:gd name="T82" fmla="*/ 78 w 136"/>
                  <a:gd name="T83" fmla="*/ 18 h 148"/>
                  <a:gd name="T84" fmla="*/ 72 w 136"/>
                  <a:gd name="T85" fmla="*/ 16 h 148"/>
                  <a:gd name="T86" fmla="*/ 64 w 136"/>
                  <a:gd name="T87" fmla="*/ 8 h 148"/>
                  <a:gd name="T88" fmla="*/ 58 w 136"/>
                  <a:gd name="T89"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48">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1" name="Freeform 633"/>
              <p:cNvSpPr>
                <a:spLocks/>
              </p:cNvSpPr>
              <p:nvPr/>
            </p:nvSpPr>
            <p:spPr bwMode="auto">
              <a:xfrm>
                <a:off x="3065" y="1729"/>
                <a:ext cx="98" cy="48"/>
              </a:xfrm>
              <a:custGeom>
                <a:avLst/>
                <a:gdLst>
                  <a:gd name="T0" fmla="*/ 58 w 98"/>
                  <a:gd name="T1" fmla="*/ 48 h 48"/>
                  <a:gd name="T2" fmla="*/ 42 w 98"/>
                  <a:gd name="T3" fmla="*/ 42 h 48"/>
                  <a:gd name="T4" fmla="*/ 42 w 98"/>
                  <a:gd name="T5" fmla="*/ 46 h 48"/>
                  <a:gd name="T6" fmla="*/ 42 w 98"/>
                  <a:gd name="T7" fmla="*/ 46 h 48"/>
                  <a:gd name="T8" fmla="*/ 40 w 98"/>
                  <a:gd name="T9" fmla="*/ 46 h 48"/>
                  <a:gd name="T10" fmla="*/ 40 w 98"/>
                  <a:gd name="T11" fmla="*/ 46 h 48"/>
                  <a:gd name="T12" fmla="*/ 26 w 98"/>
                  <a:gd name="T13" fmla="*/ 44 h 48"/>
                  <a:gd name="T14" fmla="*/ 26 w 98"/>
                  <a:gd name="T15" fmla="*/ 44 h 48"/>
                  <a:gd name="T16" fmla="*/ 24 w 98"/>
                  <a:gd name="T17" fmla="*/ 44 h 48"/>
                  <a:gd name="T18" fmla="*/ 18 w 98"/>
                  <a:gd name="T19" fmla="*/ 40 h 48"/>
                  <a:gd name="T20" fmla="*/ 12 w 98"/>
                  <a:gd name="T21" fmla="*/ 34 h 48"/>
                  <a:gd name="T22" fmla="*/ 0 w 98"/>
                  <a:gd name="T23" fmla="*/ 20 h 48"/>
                  <a:gd name="T24" fmla="*/ 0 w 98"/>
                  <a:gd name="T25" fmla="*/ 20 h 48"/>
                  <a:gd name="T26" fmla="*/ 0 w 98"/>
                  <a:gd name="T27" fmla="*/ 18 h 48"/>
                  <a:gd name="T28" fmla="*/ 0 w 98"/>
                  <a:gd name="T29" fmla="*/ 18 h 48"/>
                  <a:gd name="T30" fmla="*/ 0 w 98"/>
                  <a:gd name="T31" fmla="*/ 16 h 48"/>
                  <a:gd name="T32" fmla="*/ 12 w 98"/>
                  <a:gd name="T33" fmla="*/ 10 h 48"/>
                  <a:gd name="T34" fmla="*/ 22 w 98"/>
                  <a:gd name="T35" fmla="*/ 6 h 48"/>
                  <a:gd name="T36" fmla="*/ 30 w 98"/>
                  <a:gd name="T37" fmla="*/ 4 h 48"/>
                  <a:gd name="T38" fmla="*/ 38 w 98"/>
                  <a:gd name="T39" fmla="*/ 2 h 48"/>
                  <a:gd name="T40" fmla="*/ 42 w 98"/>
                  <a:gd name="T41" fmla="*/ 0 h 48"/>
                  <a:gd name="T42" fmla="*/ 42 w 98"/>
                  <a:gd name="T43" fmla="*/ 0 h 48"/>
                  <a:gd name="T44" fmla="*/ 44 w 98"/>
                  <a:gd name="T45" fmla="*/ 0 h 48"/>
                  <a:gd name="T46" fmla="*/ 44 w 98"/>
                  <a:gd name="T47" fmla="*/ 0 h 48"/>
                  <a:gd name="T48" fmla="*/ 44 w 98"/>
                  <a:gd name="T49" fmla="*/ 0 h 48"/>
                  <a:gd name="T50" fmla="*/ 50 w 98"/>
                  <a:gd name="T51" fmla="*/ 4 h 48"/>
                  <a:gd name="T52" fmla="*/ 62 w 98"/>
                  <a:gd name="T53" fmla="*/ 6 h 48"/>
                  <a:gd name="T54" fmla="*/ 62 w 98"/>
                  <a:gd name="T55" fmla="*/ 6 h 48"/>
                  <a:gd name="T56" fmla="*/ 62 w 98"/>
                  <a:gd name="T57" fmla="*/ 8 h 48"/>
                  <a:gd name="T58" fmla="*/ 64 w 98"/>
                  <a:gd name="T59" fmla="*/ 14 h 48"/>
                  <a:gd name="T60" fmla="*/ 68 w 98"/>
                  <a:gd name="T61" fmla="*/ 16 h 48"/>
                  <a:gd name="T62" fmla="*/ 68 w 98"/>
                  <a:gd name="T63" fmla="*/ 14 h 48"/>
                  <a:gd name="T64" fmla="*/ 68 w 98"/>
                  <a:gd name="T65" fmla="*/ 14 h 48"/>
                  <a:gd name="T66" fmla="*/ 70 w 98"/>
                  <a:gd name="T67" fmla="*/ 12 h 48"/>
                  <a:gd name="T68" fmla="*/ 70 w 98"/>
                  <a:gd name="T69" fmla="*/ 12 h 48"/>
                  <a:gd name="T70" fmla="*/ 72 w 98"/>
                  <a:gd name="T71" fmla="*/ 12 h 48"/>
                  <a:gd name="T72" fmla="*/ 78 w 98"/>
                  <a:gd name="T73" fmla="*/ 14 h 48"/>
                  <a:gd name="T74" fmla="*/ 84 w 98"/>
                  <a:gd name="T75" fmla="*/ 18 h 48"/>
                  <a:gd name="T76" fmla="*/ 90 w 98"/>
                  <a:gd name="T77" fmla="*/ 22 h 48"/>
                  <a:gd name="T78" fmla="*/ 98 w 98"/>
                  <a:gd name="T79" fmla="*/ 26 h 48"/>
                  <a:gd name="T80" fmla="*/ 98 w 98"/>
                  <a:gd name="T81" fmla="*/ 26 h 48"/>
                  <a:gd name="T82" fmla="*/ 98 w 98"/>
                  <a:gd name="T83" fmla="*/ 28 h 48"/>
                  <a:gd name="T84" fmla="*/ 98 w 98"/>
                  <a:gd name="T85" fmla="*/ 28 h 48"/>
                  <a:gd name="T86" fmla="*/ 98 w 98"/>
                  <a:gd name="T87" fmla="*/ 30 h 48"/>
                  <a:gd name="T88" fmla="*/ 90 w 98"/>
                  <a:gd name="T89" fmla="*/ 36 h 48"/>
                  <a:gd name="T90" fmla="*/ 82 w 98"/>
                  <a:gd name="T91" fmla="*/ 42 h 48"/>
                  <a:gd name="T92" fmla="*/ 82 w 98"/>
                  <a:gd name="T93" fmla="*/ 42 h 48"/>
                  <a:gd name="T94" fmla="*/ 82 w 98"/>
                  <a:gd name="T95" fmla="*/ 44 h 48"/>
                  <a:gd name="T96" fmla="*/ 72 w 98"/>
                  <a:gd name="T97" fmla="*/ 44 h 48"/>
                  <a:gd name="T98" fmla="*/ 68 w 98"/>
                  <a:gd name="T99" fmla="*/ 48 h 48"/>
                  <a:gd name="T100" fmla="*/ 68 w 98"/>
                  <a:gd name="T101" fmla="*/ 48 h 48"/>
                  <a:gd name="T102" fmla="*/ 68 w 98"/>
                  <a:gd name="T103" fmla="*/ 48 h 48"/>
                  <a:gd name="T104" fmla="*/ 58 w 9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48">
                    <a:moveTo>
                      <a:pt x="58" y="48"/>
                    </a:moveTo>
                    <a:lnTo>
                      <a:pt x="42" y="42"/>
                    </a:lnTo>
                    <a:lnTo>
                      <a:pt x="42" y="46"/>
                    </a:lnTo>
                    <a:lnTo>
                      <a:pt x="42" y="46"/>
                    </a:lnTo>
                    <a:lnTo>
                      <a:pt x="40" y="46"/>
                    </a:lnTo>
                    <a:lnTo>
                      <a:pt x="40" y="46"/>
                    </a:lnTo>
                    <a:lnTo>
                      <a:pt x="26" y="44"/>
                    </a:lnTo>
                    <a:lnTo>
                      <a:pt x="26" y="44"/>
                    </a:lnTo>
                    <a:lnTo>
                      <a:pt x="24" y="44"/>
                    </a:lnTo>
                    <a:lnTo>
                      <a:pt x="18" y="40"/>
                    </a:lnTo>
                    <a:lnTo>
                      <a:pt x="12" y="34"/>
                    </a:lnTo>
                    <a:lnTo>
                      <a:pt x="0" y="20"/>
                    </a:lnTo>
                    <a:lnTo>
                      <a:pt x="0" y="20"/>
                    </a:lnTo>
                    <a:lnTo>
                      <a:pt x="0" y="18"/>
                    </a:lnTo>
                    <a:lnTo>
                      <a:pt x="0" y="18"/>
                    </a:lnTo>
                    <a:lnTo>
                      <a:pt x="0" y="16"/>
                    </a:lnTo>
                    <a:lnTo>
                      <a:pt x="12" y="10"/>
                    </a:lnTo>
                    <a:lnTo>
                      <a:pt x="22" y="6"/>
                    </a:lnTo>
                    <a:lnTo>
                      <a:pt x="30" y="4"/>
                    </a:lnTo>
                    <a:lnTo>
                      <a:pt x="38" y="2"/>
                    </a:lnTo>
                    <a:lnTo>
                      <a:pt x="42" y="0"/>
                    </a:lnTo>
                    <a:lnTo>
                      <a:pt x="42" y="0"/>
                    </a:lnTo>
                    <a:lnTo>
                      <a:pt x="44" y="0"/>
                    </a:lnTo>
                    <a:lnTo>
                      <a:pt x="44" y="0"/>
                    </a:lnTo>
                    <a:lnTo>
                      <a:pt x="44" y="0"/>
                    </a:lnTo>
                    <a:lnTo>
                      <a:pt x="50" y="4"/>
                    </a:lnTo>
                    <a:lnTo>
                      <a:pt x="62" y="6"/>
                    </a:lnTo>
                    <a:lnTo>
                      <a:pt x="62" y="6"/>
                    </a:lnTo>
                    <a:lnTo>
                      <a:pt x="62" y="8"/>
                    </a:lnTo>
                    <a:lnTo>
                      <a:pt x="64" y="14"/>
                    </a:lnTo>
                    <a:lnTo>
                      <a:pt x="68" y="16"/>
                    </a:lnTo>
                    <a:lnTo>
                      <a:pt x="68" y="14"/>
                    </a:lnTo>
                    <a:lnTo>
                      <a:pt x="68" y="14"/>
                    </a:lnTo>
                    <a:lnTo>
                      <a:pt x="70" y="12"/>
                    </a:lnTo>
                    <a:lnTo>
                      <a:pt x="70" y="12"/>
                    </a:lnTo>
                    <a:lnTo>
                      <a:pt x="72" y="12"/>
                    </a:lnTo>
                    <a:lnTo>
                      <a:pt x="78" y="14"/>
                    </a:lnTo>
                    <a:lnTo>
                      <a:pt x="84" y="18"/>
                    </a:lnTo>
                    <a:lnTo>
                      <a:pt x="90" y="22"/>
                    </a:lnTo>
                    <a:lnTo>
                      <a:pt x="98" y="26"/>
                    </a:lnTo>
                    <a:lnTo>
                      <a:pt x="98" y="26"/>
                    </a:lnTo>
                    <a:lnTo>
                      <a:pt x="98" y="28"/>
                    </a:lnTo>
                    <a:lnTo>
                      <a:pt x="98" y="28"/>
                    </a:lnTo>
                    <a:lnTo>
                      <a:pt x="98" y="30"/>
                    </a:lnTo>
                    <a:lnTo>
                      <a:pt x="90" y="36"/>
                    </a:lnTo>
                    <a:lnTo>
                      <a:pt x="82" y="42"/>
                    </a:lnTo>
                    <a:lnTo>
                      <a:pt x="82" y="42"/>
                    </a:lnTo>
                    <a:lnTo>
                      <a:pt x="82" y="44"/>
                    </a:lnTo>
                    <a:lnTo>
                      <a:pt x="72" y="44"/>
                    </a:lnTo>
                    <a:lnTo>
                      <a:pt x="68" y="48"/>
                    </a:lnTo>
                    <a:lnTo>
                      <a:pt x="68" y="48"/>
                    </a:lnTo>
                    <a:lnTo>
                      <a:pt x="68" y="48"/>
                    </a:lnTo>
                    <a:lnTo>
                      <a:pt x="5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2" name="Freeform 634"/>
              <p:cNvSpPr>
                <a:spLocks noEditPoints="1"/>
              </p:cNvSpPr>
              <p:nvPr/>
            </p:nvSpPr>
            <p:spPr bwMode="auto">
              <a:xfrm>
                <a:off x="3063" y="1727"/>
                <a:ext cx="102" cy="52"/>
              </a:xfrm>
              <a:custGeom>
                <a:avLst/>
                <a:gdLst>
                  <a:gd name="T0" fmla="*/ 52 w 102"/>
                  <a:gd name="T1" fmla="*/ 8 h 52"/>
                  <a:gd name="T2" fmla="*/ 64 w 102"/>
                  <a:gd name="T3" fmla="*/ 18 h 52"/>
                  <a:gd name="T4" fmla="*/ 72 w 102"/>
                  <a:gd name="T5" fmla="*/ 16 h 52"/>
                  <a:gd name="T6" fmla="*/ 84 w 102"/>
                  <a:gd name="T7" fmla="*/ 22 h 52"/>
                  <a:gd name="T8" fmla="*/ 98 w 102"/>
                  <a:gd name="T9" fmla="*/ 30 h 52"/>
                  <a:gd name="T10" fmla="*/ 84 w 102"/>
                  <a:gd name="T11" fmla="*/ 44 h 52"/>
                  <a:gd name="T12" fmla="*/ 70 w 102"/>
                  <a:gd name="T13" fmla="*/ 48 h 52"/>
                  <a:gd name="T14" fmla="*/ 44 w 102"/>
                  <a:gd name="T15" fmla="*/ 42 h 52"/>
                  <a:gd name="T16" fmla="*/ 28 w 102"/>
                  <a:gd name="T17" fmla="*/ 44 h 52"/>
                  <a:gd name="T18" fmla="*/ 16 w 102"/>
                  <a:gd name="T19" fmla="*/ 34 h 52"/>
                  <a:gd name="T20" fmla="*/ 14 w 102"/>
                  <a:gd name="T21" fmla="*/ 14 h 52"/>
                  <a:gd name="T22" fmla="*/ 32 w 102"/>
                  <a:gd name="T23" fmla="*/ 8 h 52"/>
                  <a:gd name="T24" fmla="*/ 46 w 102"/>
                  <a:gd name="T25" fmla="*/ 4 h 52"/>
                  <a:gd name="T26" fmla="*/ 46 w 102"/>
                  <a:gd name="T27" fmla="*/ 0 h 52"/>
                  <a:gd name="T28" fmla="*/ 38 w 102"/>
                  <a:gd name="T29" fmla="*/ 2 h 52"/>
                  <a:gd name="T30" fmla="*/ 32 w 102"/>
                  <a:gd name="T31" fmla="*/ 4 h 52"/>
                  <a:gd name="T32" fmla="*/ 22 w 102"/>
                  <a:gd name="T33" fmla="*/ 8 h 52"/>
                  <a:gd name="T34" fmla="*/ 12 w 102"/>
                  <a:gd name="T35" fmla="*/ 10 h 52"/>
                  <a:gd name="T36" fmla="*/ 2 w 102"/>
                  <a:gd name="T37" fmla="*/ 16 h 52"/>
                  <a:gd name="T38" fmla="*/ 0 w 102"/>
                  <a:gd name="T39" fmla="*/ 18 h 52"/>
                  <a:gd name="T40" fmla="*/ 0 w 102"/>
                  <a:gd name="T41" fmla="*/ 22 h 52"/>
                  <a:gd name="T42" fmla="*/ 18 w 102"/>
                  <a:gd name="T43" fmla="*/ 42 h 52"/>
                  <a:gd name="T44" fmla="*/ 18 w 102"/>
                  <a:gd name="T45" fmla="*/ 42 h 52"/>
                  <a:gd name="T46" fmla="*/ 26 w 102"/>
                  <a:gd name="T47" fmla="*/ 48 h 52"/>
                  <a:gd name="T48" fmla="*/ 42 w 102"/>
                  <a:gd name="T49" fmla="*/ 50 h 52"/>
                  <a:gd name="T50" fmla="*/ 42 w 102"/>
                  <a:gd name="T51" fmla="*/ 50 h 52"/>
                  <a:gd name="T52" fmla="*/ 44 w 102"/>
                  <a:gd name="T53" fmla="*/ 50 h 52"/>
                  <a:gd name="T54" fmla="*/ 46 w 102"/>
                  <a:gd name="T55" fmla="*/ 46 h 52"/>
                  <a:gd name="T56" fmla="*/ 60 w 102"/>
                  <a:gd name="T57" fmla="*/ 52 h 52"/>
                  <a:gd name="T58" fmla="*/ 70 w 102"/>
                  <a:gd name="T59" fmla="*/ 52 h 52"/>
                  <a:gd name="T60" fmla="*/ 72 w 102"/>
                  <a:gd name="T61" fmla="*/ 52 h 52"/>
                  <a:gd name="T62" fmla="*/ 84 w 102"/>
                  <a:gd name="T63" fmla="*/ 48 h 52"/>
                  <a:gd name="T64" fmla="*/ 86 w 102"/>
                  <a:gd name="T65" fmla="*/ 46 h 52"/>
                  <a:gd name="T66" fmla="*/ 100 w 102"/>
                  <a:gd name="T67" fmla="*/ 34 h 52"/>
                  <a:gd name="T68" fmla="*/ 102 w 102"/>
                  <a:gd name="T69" fmla="*/ 30 h 52"/>
                  <a:gd name="T70" fmla="*/ 102 w 102"/>
                  <a:gd name="T71" fmla="*/ 28 h 52"/>
                  <a:gd name="T72" fmla="*/ 94 w 102"/>
                  <a:gd name="T73" fmla="*/ 22 h 52"/>
                  <a:gd name="T74" fmla="*/ 86 w 102"/>
                  <a:gd name="T75" fmla="*/ 18 h 52"/>
                  <a:gd name="T76" fmla="*/ 82 w 102"/>
                  <a:gd name="T77" fmla="*/ 14 h 52"/>
                  <a:gd name="T78" fmla="*/ 74 w 102"/>
                  <a:gd name="T79" fmla="*/ 12 h 52"/>
                  <a:gd name="T80" fmla="*/ 72 w 102"/>
                  <a:gd name="T81" fmla="*/ 12 h 52"/>
                  <a:gd name="T82" fmla="*/ 70 w 102"/>
                  <a:gd name="T83" fmla="*/ 12 h 52"/>
                  <a:gd name="T84" fmla="*/ 68 w 102"/>
                  <a:gd name="T85" fmla="*/ 16 h 52"/>
                  <a:gd name="T86" fmla="*/ 66 w 102"/>
                  <a:gd name="T87" fmla="*/ 10 h 52"/>
                  <a:gd name="T88" fmla="*/ 64 w 102"/>
                  <a:gd name="T89" fmla="*/ 8 h 52"/>
                  <a:gd name="T90" fmla="*/ 46 w 102"/>
                  <a:gd name="T91" fmla="*/ 0 h 52"/>
                  <a:gd name="T92" fmla="*/ 46 w 102"/>
                  <a:gd name="T9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 h="52">
                    <a:moveTo>
                      <a:pt x="46" y="4"/>
                    </a:moveTo>
                    <a:lnTo>
                      <a:pt x="52" y="8"/>
                    </a:lnTo>
                    <a:lnTo>
                      <a:pt x="62" y="10"/>
                    </a:lnTo>
                    <a:lnTo>
                      <a:pt x="64" y="18"/>
                    </a:lnTo>
                    <a:lnTo>
                      <a:pt x="72" y="20"/>
                    </a:lnTo>
                    <a:lnTo>
                      <a:pt x="72" y="16"/>
                    </a:lnTo>
                    <a:lnTo>
                      <a:pt x="80" y="18"/>
                    </a:lnTo>
                    <a:lnTo>
                      <a:pt x="84" y="22"/>
                    </a:lnTo>
                    <a:lnTo>
                      <a:pt x="92" y="26"/>
                    </a:lnTo>
                    <a:lnTo>
                      <a:pt x="98" y="30"/>
                    </a:lnTo>
                    <a:lnTo>
                      <a:pt x="90" y="36"/>
                    </a:lnTo>
                    <a:lnTo>
                      <a:pt x="84" y="44"/>
                    </a:lnTo>
                    <a:lnTo>
                      <a:pt x="74" y="44"/>
                    </a:lnTo>
                    <a:lnTo>
                      <a:pt x="70" y="48"/>
                    </a:lnTo>
                    <a:lnTo>
                      <a:pt x="60" y="48"/>
                    </a:lnTo>
                    <a:lnTo>
                      <a:pt x="44" y="42"/>
                    </a:lnTo>
                    <a:lnTo>
                      <a:pt x="42" y="46"/>
                    </a:lnTo>
                    <a:lnTo>
                      <a:pt x="28" y="44"/>
                    </a:lnTo>
                    <a:lnTo>
                      <a:pt x="20" y="40"/>
                    </a:lnTo>
                    <a:lnTo>
                      <a:pt x="16" y="34"/>
                    </a:lnTo>
                    <a:lnTo>
                      <a:pt x="4" y="20"/>
                    </a:lnTo>
                    <a:lnTo>
                      <a:pt x="14" y="14"/>
                    </a:lnTo>
                    <a:lnTo>
                      <a:pt x="24" y="10"/>
                    </a:lnTo>
                    <a:lnTo>
                      <a:pt x="32" y="8"/>
                    </a:lnTo>
                    <a:lnTo>
                      <a:pt x="40" y="6"/>
                    </a:lnTo>
                    <a:lnTo>
                      <a:pt x="46" y="4"/>
                    </a:lnTo>
                    <a:close/>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3" name="Freeform 635"/>
              <p:cNvSpPr>
                <a:spLocks/>
              </p:cNvSpPr>
              <p:nvPr/>
            </p:nvSpPr>
            <p:spPr bwMode="auto">
              <a:xfrm>
                <a:off x="3067" y="1731"/>
                <a:ext cx="94" cy="44"/>
              </a:xfrm>
              <a:custGeom>
                <a:avLst/>
                <a:gdLst>
                  <a:gd name="T0" fmla="*/ 42 w 94"/>
                  <a:gd name="T1" fmla="*/ 0 h 44"/>
                  <a:gd name="T2" fmla="*/ 48 w 94"/>
                  <a:gd name="T3" fmla="*/ 4 h 44"/>
                  <a:gd name="T4" fmla="*/ 58 w 94"/>
                  <a:gd name="T5" fmla="*/ 6 h 44"/>
                  <a:gd name="T6" fmla="*/ 60 w 94"/>
                  <a:gd name="T7" fmla="*/ 14 h 44"/>
                  <a:gd name="T8" fmla="*/ 68 w 94"/>
                  <a:gd name="T9" fmla="*/ 16 h 44"/>
                  <a:gd name="T10" fmla="*/ 68 w 94"/>
                  <a:gd name="T11" fmla="*/ 12 h 44"/>
                  <a:gd name="T12" fmla="*/ 76 w 94"/>
                  <a:gd name="T13" fmla="*/ 14 h 44"/>
                  <a:gd name="T14" fmla="*/ 80 w 94"/>
                  <a:gd name="T15" fmla="*/ 18 h 44"/>
                  <a:gd name="T16" fmla="*/ 88 w 94"/>
                  <a:gd name="T17" fmla="*/ 22 h 44"/>
                  <a:gd name="T18" fmla="*/ 94 w 94"/>
                  <a:gd name="T19" fmla="*/ 26 h 44"/>
                  <a:gd name="T20" fmla="*/ 86 w 94"/>
                  <a:gd name="T21" fmla="*/ 32 h 44"/>
                  <a:gd name="T22" fmla="*/ 80 w 94"/>
                  <a:gd name="T23" fmla="*/ 40 h 44"/>
                  <a:gd name="T24" fmla="*/ 70 w 94"/>
                  <a:gd name="T25" fmla="*/ 40 h 44"/>
                  <a:gd name="T26" fmla="*/ 66 w 94"/>
                  <a:gd name="T27" fmla="*/ 44 h 44"/>
                  <a:gd name="T28" fmla="*/ 56 w 94"/>
                  <a:gd name="T29" fmla="*/ 44 h 44"/>
                  <a:gd name="T30" fmla="*/ 40 w 94"/>
                  <a:gd name="T31" fmla="*/ 38 h 44"/>
                  <a:gd name="T32" fmla="*/ 38 w 94"/>
                  <a:gd name="T33" fmla="*/ 42 h 44"/>
                  <a:gd name="T34" fmla="*/ 24 w 94"/>
                  <a:gd name="T35" fmla="*/ 40 h 44"/>
                  <a:gd name="T36" fmla="*/ 16 w 94"/>
                  <a:gd name="T37" fmla="*/ 36 h 44"/>
                  <a:gd name="T38" fmla="*/ 12 w 94"/>
                  <a:gd name="T39" fmla="*/ 30 h 44"/>
                  <a:gd name="T40" fmla="*/ 0 w 94"/>
                  <a:gd name="T41" fmla="*/ 16 h 44"/>
                  <a:gd name="T42" fmla="*/ 10 w 94"/>
                  <a:gd name="T43" fmla="*/ 10 h 44"/>
                  <a:gd name="T44" fmla="*/ 20 w 94"/>
                  <a:gd name="T45" fmla="*/ 6 h 44"/>
                  <a:gd name="T46" fmla="*/ 28 w 94"/>
                  <a:gd name="T47" fmla="*/ 4 h 44"/>
                  <a:gd name="T48" fmla="*/ 36 w 94"/>
                  <a:gd name="T49" fmla="*/ 2 h 44"/>
                  <a:gd name="T50" fmla="*/ 42 w 94"/>
                  <a:gd name="T5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44">
                    <a:moveTo>
                      <a:pt x="42" y="0"/>
                    </a:moveTo>
                    <a:lnTo>
                      <a:pt x="48" y="4"/>
                    </a:lnTo>
                    <a:lnTo>
                      <a:pt x="58" y="6"/>
                    </a:lnTo>
                    <a:lnTo>
                      <a:pt x="60" y="14"/>
                    </a:lnTo>
                    <a:lnTo>
                      <a:pt x="68" y="16"/>
                    </a:lnTo>
                    <a:lnTo>
                      <a:pt x="68" y="12"/>
                    </a:lnTo>
                    <a:lnTo>
                      <a:pt x="76" y="14"/>
                    </a:lnTo>
                    <a:lnTo>
                      <a:pt x="80" y="18"/>
                    </a:lnTo>
                    <a:lnTo>
                      <a:pt x="88" y="22"/>
                    </a:lnTo>
                    <a:lnTo>
                      <a:pt x="94" y="26"/>
                    </a:lnTo>
                    <a:lnTo>
                      <a:pt x="86" y="32"/>
                    </a:lnTo>
                    <a:lnTo>
                      <a:pt x="80" y="40"/>
                    </a:lnTo>
                    <a:lnTo>
                      <a:pt x="70" y="40"/>
                    </a:lnTo>
                    <a:lnTo>
                      <a:pt x="66" y="44"/>
                    </a:lnTo>
                    <a:lnTo>
                      <a:pt x="56" y="44"/>
                    </a:lnTo>
                    <a:lnTo>
                      <a:pt x="40" y="38"/>
                    </a:lnTo>
                    <a:lnTo>
                      <a:pt x="38" y="42"/>
                    </a:lnTo>
                    <a:lnTo>
                      <a:pt x="24" y="40"/>
                    </a:lnTo>
                    <a:lnTo>
                      <a:pt x="16" y="36"/>
                    </a:lnTo>
                    <a:lnTo>
                      <a:pt x="12" y="30"/>
                    </a:lnTo>
                    <a:lnTo>
                      <a:pt x="0" y="16"/>
                    </a:lnTo>
                    <a:lnTo>
                      <a:pt x="10" y="10"/>
                    </a:lnTo>
                    <a:lnTo>
                      <a:pt x="20" y="6"/>
                    </a:lnTo>
                    <a:lnTo>
                      <a:pt x="28" y="4"/>
                    </a:lnTo>
                    <a:lnTo>
                      <a:pt x="3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4" name="Freeform 636"/>
              <p:cNvSpPr>
                <a:spLocks/>
              </p:cNvSpPr>
              <p:nvPr/>
            </p:nvSpPr>
            <p:spPr bwMode="auto">
              <a:xfrm>
                <a:off x="3063" y="1727"/>
                <a:ext cx="102" cy="52"/>
              </a:xfrm>
              <a:custGeom>
                <a:avLst/>
                <a:gdLst>
                  <a:gd name="T0" fmla="*/ 46 w 102"/>
                  <a:gd name="T1" fmla="*/ 0 h 52"/>
                  <a:gd name="T2" fmla="*/ 38 w 102"/>
                  <a:gd name="T3" fmla="*/ 2 h 52"/>
                  <a:gd name="T4" fmla="*/ 32 w 102"/>
                  <a:gd name="T5" fmla="*/ 4 h 52"/>
                  <a:gd name="T6" fmla="*/ 22 w 102"/>
                  <a:gd name="T7" fmla="*/ 8 h 52"/>
                  <a:gd name="T8" fmla="*/ 12 w 102"/>
                  <a:gd name="T9" fmla="*/ 10 h 52"/>
                  <a:gd name="T10" fmla="*/ 2 w 102"/>
                  <a:gd name="T11" fmla="*/ 16 h 52"/>
                  <a:gd name="T12" fmla="*/ 0 w 102"/>
                  <a:gd name="T13" fmla="*/ 18 h 52"/>
                  <a:gd name="T14" fmla="*/ 0 w 102"/>
                  <a:gd name="T15" fmla="*/ 22 h 52"/>
                  <a:gd name="T16" fmla="*/ 18 w 102"/>
                  <a:gd name="T17" fmla="*/ 42 h 52"/>
                  <a:gd name="T18" fmla="*/ 18 w 102"/>
                  <a:gd name="T19" fmla="*/ 42 h 52"/>
                  <a:gd name="T20" fmla="*/ 26 w 102"/>
                  <a:gd name="T21" fmla="*/ 48 h 52"/>
                  <a:gd name="T22" fmla="*/ 42 w 102"/>
                  <a:gd name="T23" fmla="*/ 50 h 52"/>
                  <a:gd name="T24" fmla="*/ 42 w 102"/>
                  <a:gd name="T25" fmla="*/ 50 h 52"/>
                  <a:gd name="T26" fmla="*/ 44 w 102"/>
                  <a:gd name="T27" fmla="*/ 50 h 52"/>
                  <a:gd name="T28" fmla="*/ 46 w 102"/>
                  <a:gd name="T29" fmla="*/ 46 h 52"/>
                  <a:gd name="T30" fmla="*/ 60 w 102"/>
                  <a:gd name="T31" fmla="*/ 52 h 52"/>
                  <a:gd name="T32" fmla="*/ 70 w 102"/>
                  <a:gd name="T33" fmla="*/ 52 h 52"/>
                  <a:gd name="T34" fmla="*/ 72 w 102"/>
                  <a:gd name="T35" fmla="*/ 52 h 52"/>
                  <a:gd name="T36" fmla="*/ 84 w 102"/>
                  <a:gd name="T37" fmla="*/ 48 h 52"/>
                  <a:gd name="T38" fmla="*/ 86 w 102"/>
                  <a:gd name="T39" fmla="*/ 46 h 52"/>
                  <a:gd name="T40" fmla="*/ 100 w 102"/>
                  <a:gd name="T41" fmla="*/ 34 h 52"/>
                  <a:gd name="T42" fmla="*/ 102 w 102"/>
                  <a:gd name="T43" fmla="*/ 30 h 52"/>
                  <a:gd name="T44" fmla="*/ 102 w 102"/>
                  <a:gd name="T45" fmla="*/ 28 h 52"/>
                  <a:gd name="T46" fmla="*/ 94 w 102"/>
                  <a:gd name="T47" fmla="*/ 22 h 52"/>
                  <a:gd name="T48" fmla="*/ 86 w 102"/>
                  <a:gd name="T49" fmla="*/ 18 h 52"/>
                  <a:gd name="T50" fmla="*/ 82 w 102"/>
                  <a:gd name="T51" fmla="*/ 14 h 52"/>
                  <a:gd name="T52" fmla="*/ 74 w 102"/>
                  <a:gd name="T53" fmla="*/ 12 h 52"/>
                  <a:gd name="T54" fmla="*/ 72 w 102"/>
                  <a:gd name="T55" fmla="*/ 12 h 52"/>
                  <a:gd name="T56" fmla="*/ 70 w 102"/>
                  <a:gd name="T57" fmla="*/ 12 h 52"/>
                  <a:gd name="T58" fmla="*/ 68 w 102"/>
                  <a:gd name="T59" fmla="*/ 16 h 52"/>
                  <a:gd name="T60" fmla="*/ 66 w 102"/>
                  <a:gd name="T61" fmla="*/ 10 h 52"/>
                  <a:gd name="T62" fmla="*/ 64 w 102"/>
                  <a:gd name="T63" fmla="*/ 8 h 52"/>
                  <a:gd name="T64" fmla="*/ 46 w 102"/>
                  <a:gd name="T65" fmla="*/ 0 h 52"/>
                  <a:gd name="T66" fmla="*/ 46 w 102"/>
                  <a:gd name="T6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52">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5" name="Freeform 637"/>
              <p:cNvSpPr>
                <a:spLocks/>
              </p:cNvSpPr>
              <p:nvPr/>
            </p:nvSpPr>
            <p:spPr bwMode="auto">
              <a:xfrm>
                <a:off x="3131" y="1751"/>
                <a:ext cx="82" cy="38"/>
              </a:xfrm>
              <a:custGeom>
                <a:avLst/>
                <a:gdLst>
                  <a:gd name="T0" fmla="*/ 18 w 82"/>
                  <a:gd name="T1" fmla="*/ 38 h 38"/>
                  <a:gd name="T2" fmla="*/ 10 w 82"/>
                  <a:gd name="T3" fmla="*/ 36 h 38"/>
                  <a:gd name="T4" fmla="*/ 6 w 82"/>
                  <a:gd name="T5" fmla="*/ 32 h 38"/>
                  <a:gd name="T6" fmla="*/ 6 w 82"/>
                  <a:gd name="T7" fmla="*/ 32 h 38"/>
                  <a:gd name="T8" fmla="*/ 4 w 82"/>
                  <a:gd name="T9" fmla="*/ 30 h 38"/>
                  <a:gd name="T10" fmla="*/ 2 w 82"/>
                  <a:gd name="T11" fmla="*/ 24 h 38"/>
                  <a:gd name="T12" fmla="*/ 0 w 82"/>
                  <a:gd name="T13" fmla="*/ 20 h 38"/>
                  <a:gd name="T14" fmla="*/ 0 w 82"/>
                  <a:gd name="T15" fmla="*/ 20 h 38"/>
                  <a:gd name="T16" fmla="*/ 2 w 82"/>
                  <a:gd name="T17" fmla="*/ 18 h 38"/>
                  <a:gd name="T18" fmla="*/ 6 w 82"/>
                  <a:gd name="T19" fmla="*/ 14 h 38"/>
                  <a:gd name="T20" fmla="*/ 16 w 82"/>
                  <a:gd name="T21" fmla="*/ 12 h 38"/>
                  <a:gd name="T22" fmla="*/ 22 w 82"/>
                  <a:gd name="T23" fmla="*/ 6 h 38"/>
                  <a:gd name="T24" fmla="*/ 32 w 82"/>
                  <a:gd name="T25" fmla="*/ 0 h 38"/>
                  <a:gd name="T26" fmla="*/ 32 w 82"/>
                  <a:gd name="T27" fmla="*/ 0 h 38"/>
                  <a:gd name="T28" fmla="*/ 32 w 82"/>
                  <a:gd name="T29" fmla="*/ 0 h 38"/>
                  <a:gd name="T30" fmla="*/ 32 w 82"/>
                  <a:gd name="T31" fmla="*/ 0 h 38"/>
                  <a:gd name="T32" fmla="*/ 32 w 82"/>
                  <a:gd name="T33" fmla="*/ 0 h 38"/>
                  <a:gd name="T34" fmla="*/ 42 w 82"/>
                  <a:gd name="T35" fmla="*/ 2 h 38"/>
                  <a:gd name="T36" fmla="*/ 42 w 82"/>
                  <a:gd name="T37" fmla="*/ 2 h 38"/>
                  <a:gd name="T38" fmla="*/ 42 w 82"/>
                  <a:gd name="T39" fmla="*/ 2 h 38"/>
                  <a:gd name="T40" fmla="*/ 46 w 82"/>
                  <a:gd name="T41" fmla="*/ 8 h 38"/>
                  <a:gd name="T42" fmla="*/ 52 w 82"/>
                  <a:gd name="T43" fmla="*/ 8 h 38"/>
                  <a:gd name="T44" fmla="*/ 62 w 82"/>
                  <a:gd name="T45" fmla="*/ 4 h 38"/>
                  <a:gd name="T46" fmla="*/ 68 w 82"/>
                  <a:gd name="T47" fmla="*/ 4 h 38"/>
                  <a:gd name="T48" fmla="*/ 78 w 82"/>
                  <a:gd name="T49" fmla="*/ 8 h 38"/>
                  <a:gd name="T50" fmla="*/ 78 w 82"/>
                  <a:gd name="T51" fmla="*/ 8 h 38"/>
                  <a:gd name="T52" fmla="*/ 78 w 82"/>
                  <a:gd name="T53" fmla="*/ 8 h 38"/>
                  <a:gd name="T54" fmla="*/ 82 w 82"/>
                  <a:gd name="T55" fmla="*/ 12 h 38"/>
                  <a:gd name="T56" fmla="*/ 82 w 82"/>
                  <a:gd name="T57" fmla="*/ 12 h 38"/>
                  <a:gd name="T58" fmla="*/ 82 w 82"/>
                  <a:gd name="T59" fmla="*/ 14 h 38"/>
                  <a:gd name="T60" fmla="*/ 80 w 82"/>
                  <a:gd name="T61" fmla="*/ 20 h 38"/>
                  <a:gd name="T62" fmla="*/ 76 w 82"/>
                  <a:gd name="T63" fmla="*/ 26 h 38"/>
                  <a:gd name="T64" fmla="*/ 76 w 82"/>
                  <a:gd name="T65" fmla="*/ 26 h 38"/>
                  <a:gd name="T66" fmla="*/ 74 w 82"/>
                  <a:gd name="T67" fmla="*/ 28 h 38"/>
                  <a:gd name="T68" fmla="*/ 74 w 82"/>
                  <a:gd name="T69" fmla="*/ 28 h 38"/>
                  <a:gd name="T70" fmla="*/ 74 w 82"/>
                  <a:gd name="T71" fmla="*/ 28 h 38"/>
                  <a:gd name="T72" fmla="*/ 58 w 82"/>
                  <a:gd name="T73" fmla="*/ 24 h 38"/>
                  <a:gd name="T74" fmla="*/ 52 w 82"/>
                  <a:gd name="T75" fmla="*/ 26 h 38"/>
                  <a:gd name="T76" fmla="*/ 52 w 82"/>
                  <a:gd name="T77" fmla="*/ 28 h 38"/>
                  <a:gd name="T78" fmla="*/ 52 w 82"/>
                  <a:gd name="T79" fmla="*/ 28 h 38"/>
                  <a:gd name="T80" fmla="*/ 50 w 82"/>
                  <a:gd name="T81" fmla="*/ 28 h 38"/>
                  <a:gd name="T82" fmla="*/ 42 w 82"/>
                  <a:gd name="T83" fmla="*/ 28 h 38"/>
                  <a:gd name="T84" fmla="*/ 36 w 82"/>
                  <a:gd name="T85" fmla="*/ 32 h 38"/>
                  <a:gd name="T86" fmla="*/ 36 w 82"/>
                  <a:gd name="T87" fmla="*/ 32 h 38"/>
                  <a:gd name="T88" fmla="*/ 36 w 82"/>
                  <a:gd name="T89" fmla="*/ 32 h 38"/>
                  <a:gd name="T90" fmla="*/ 30 w 82"/>
                  <a:gd name="T91" fmla="*/ 32 h 38"/>
                  <a:gd name="T92" fmla="*/ 28 w 82"/>
                  <a:gd name="T93" fmla="*/ 36 h 38"/>
                  <a:gd name="T94" fmla="*/ 28 w 82"/>
                  <a:gd name="T95" fmla="*/ 36 h 38"/>
                  <a:gd name="T96" fmla="*/ 26 w 82"/>
                  <a:gd name="T97" fmla="*/ 38 h 38"/>
                  <a:gd name="T98" fmla="*/ 18 w 82"/>
                  <a:gd name="T9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38">
                    <a:moveTo>
                      <a:pt x="18" y="38"/>
                    </a:moveTo>
                    <a:lnTo>
                      <a:pt x="10" y="36"/>
                    </a:lnTo>
                    <a:lnTo>
                      <a:pt x="6" y="32"/>
                    </a:lnTo>
                    <a:lnTo>
                      <a:pt x="6" y="32"/>
                    </a:lnTo>
                    <a:lnTo>
                      <a:pt x="4" y="30"/>
                    </a:lnTo>
                    <a:lnTo>
                      <a:pt x="2" y="24"/>
                    </a:lnTo>
                    <a:lnTo>
                      <a:pt x="0" y="20"/>
                    </a:lnTo>
                    <a:lnTo>
                      <a:pt x="0" y="20"/>
                    </a:lnTo>
                    <a:lnTo>
                      <a:pt x="2" y="18"/>
                    </a:lnTo>
                    <a:lnTo>
                      <a:pt x="6" y="14"/>
                    </a:lnTo>
                    <a:lnTo>
                      <a:pt x="16" y="12"/>
                    </a:lnTo>
                    <a:lnTo>
                      <a:pt x="22" y="6"/>
                    </a:lnTo>
                    <a:lnTo>
                      <a:pt x="32" y="0"/>
                    </a:lnTo>
                    <a:lnTo>
                      <a:pt x="32" y="0"/>
                    </a:lnTo>
                    <a:lnTo>
                      <a:pt x="32" y="0"/>
                    </a:lnTo>
                    <a:lnTo>
                      <a:pt x="32" y="0"/>
                    </a:lnTo>
                    <a:lnTo>
                      <a:pt x="32" y="0"/>
                    </a:lnTo>
                    <a:lnTo>
                      <a:pt x="42" y="2"/>
                    </a:lnTo>
                    <a:lnTo>
                      <a:pt x="42" y="2"/>
                    </a:lnTo>
                    <a:lnTo>
                      <a:pt x="42" y="2"/>
                    </a:lnTo>
                    <a:lnTo>
                      <a:pt x="46" y="8"/>
                    </a:lnTo>
                    <a:lnTo>
                      <a:pt x="52" y="8"/>
                    </a:lnTo>
                    <a:lnTo>
                      <a:pt x="62" y="4"/>
                    </a:lnTo>
                    <a:lnTo>
                      <a:pt x="68" y="4"/>
                    </a:lnTo>
                    <a:lnTo>
                      <a:pt x="78" y="8"/>
                    </a:lnTo>
                    <a:lnTo>
                      <a:pt x="78" y="8"/>
                    </a:lnTo>
                    <a:lnTo>
                      <a:pt x="78" y="8"/>
                    </a:lnTo>
                    <a:lnTo>
                      <a:pt x="82" y="12"/>
                    </a:lnTo>
                    <a:lnTo>
                      <a:pt x="82" y="12"/>
                    </a:lnTo>
                    <a:lnTo>
                      <a:pt x="82" y="14"/>
                    </a:lnTo>
                    <a:lnTo>
                      <a:pt x="80" y="20"/>
                    </a:lnTo>
                    <a:lnTo>
                      <a:pt x="76" y="26"/>
                    </a:lnTo>
                    <a:lnTo>
                      <a:pt x="76" y="26"/>
                    </a:lnTo>
                    <a:lnTo>
                      <a:pt x="74" y="28"/>
                    </a:lnTo>
                    <a:lnTo>
                      <a:pt x="74" y="28"/>
                    </a:lnTo>
                    <a:lnTo>
                      <a:pt x="74" y="28"/>
                    </a:lnTo>
                    <a:lnTo>
                      <a:pt x="58" y="24"/>
                    </a:lnTo>
                    <a:lnTo>
                      <a:pt x="52" y="26"/>
                    </a:lnTo>
                    <a:lnTo>
                      <a:pt x="52" y="28"/>
                    </a:lnTo>
                    <a:lnTo>
                      <a:pt x="52" y="28"/>
                    </a:lnTo>
                    <a:lnTo>
                      <a:pt x="50" y="28"/>
                    </a:lnTo>
                    <a:lnTo>
                      <a:pt x="42" y="28"/>
                    </a:lnTo>
                    <a:lnTo>
                      <a:pt x="36" y="32"/>
                    </a:lnTo>
                    <a:lnTo>
                      <a:pt x="36" y="32"/>
                    </a:lnTo>
                    <a:lnTo>
                      <a:pt x="36" y="32"/>
                    </a:lnTo>
                    <a:lnTo>
                      <a:pt x="30" y="32"/>
                    </a:lnTo>
                    <a:lnTo>
                      <a:pt x="28" y="36"/>
                    </a:lnTo>
                    <a:lnTo>
                      <a:pt x="28" y="36"/>
                    </a:lnTo>
                    <a:lnTo>
                      <a:pt x="26"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6" name="Freeform 638"/>
              <p:cNvSpPr>
                <a:spLocks noEditPoints="1"/>
              </p:cNvSpPr>
              <p:nvPr/>
            </p:nvSpPr>
            <p:spPr bwMode="auto">
              <a:xfrm>
                <a:off x="3129" y="1749"/>
                <a:ext cx="86" cy="42"/>
              </a:xfrm>
              <a:custGeom>
                <a:avLst/>
                <a:gdLst>
                  <a:gd name="T0" fmla="*/ 44 w 86"/>
                  <a:gd name="T1" fmla="*/ 6 h 42"/>
                  <a:gd name="T2" fmla="*/ 56 w 86"/>
                  <a:gd name="T3" fmla="*/ 12 h 42"/>
                  <a:gd name="T4" fmla="*/ 70 w 86"/>
                  <a:gd name="T5" fmla="*/ 8 h 42"/>
                  <a:gd name="T6" fmla="*/ 84 w 86"/>
                  <a:gd name="T7" fmla="*/ 14 h 42"/>
                  <a:gd name="T8" fmla="*/ 76 w 86"/>
                  <a:gd name="T9" fmla="*/ 28 h 42"/>
                  <a:gd name="T10" fmla="*/ 58 w 86"/>
                  <a:gd name="T11" fmla="*/ 24 h 42"/>
                  <a:gd name="T12" fmla="*/ 52 w 86"/>
                  <a:gd name="T13" fmla="*/ 28 h 42"/>
                  <a:gd name="T14" fmla="*/ 38 w 86"/>
                  <a:gd name="T15" fmla="*/ 32 h 42"/>
                  <a:gd name="T16" fmla="*/ 28 w 86"/>
                  <a:gd name="T17" fmla="*/ 38 h 42"/>
                  <a:gd name="T18" fmla="*/ 14 w 86"/>
                  <a:gd name="T19" fmla="*/ 36 h 42"/>
                  <a:gd name="T20" fmla="*/ 6 w 86"/>
                  <a:gd name="T21" fmla="*/ 26 h 42"/>
                  <a:gd name="T22" fmla="*/ 10 w 86"/>
                  <a:gd name="T23" fmla="*/ 18 h 42"/>
                  <a:gd name="T24" fmla="*/ 26 w 86"/>
                  <a:gd name="T25" fmla="*/ 10 h 42"/>
                  <a:gd name="T26" fmla="*/ 34 w 86"/>
                  <a:gd name="T27" fmla="*/ 0 h 42"/>
                  <a:gd name="T28" fmla="*/ 32 w 86"/>
                  <a:gd name="T29" fmla="*/ 0 h 42"/>
                  <a:gd name="T30" fmla="*/ 24 w 86"/>
                  <a:gd name="T31" fmla="*/ 6 h 42"/>
                  <a:gd name="T32" fmla="*/ 16 w 86"/>
                  <a:gd name="T33" fmla="*/ 12 h 42"/>
                  <a:gd name="T34" fmla="*/ 10 w 86"/>
                  <a:gd name="T35" fmla="*/ 14 h 42"/>
                  <a:gd name="T36" fmla="*/ 2 w 86"/>
                  <a:gd name="T37" fmla="*/ 18 h 42"/>
                  <a:gd name="T38" fmla="*/ 0 w 86"/>
                  <a:gd name="T39" fmla="*/ 20 h 42"/>
                  <a:gd name="T40" fmla="*/ 2 w 86"/>
                  <a:gd name="T41" fmla="*/ 26 h 42"/>
                  <a:gd name="T42" fmla="*/ 4 w 86"/>
                  <a:gd name="T43" fmla="*/ 34 h 42"/>
                  <a:gd name="T44" fmla="*/ 12 w 86"/>
                  <a:gd name="T45" fmla="*/ 40 h 42"/>
                  <a:gd name="T46" fmla="*/ 12 w 86"/>
                  <a:gd name="T47" fmla="*/ 40 h 42"/>
                  <a:gd name="T48" fmla="*/ 20 w 86"/>
                  <a:gd name="T49" fmla="*/ 42 h 42"/>
                  <a:gd name="T50" fmla="*/ 28 w 86"/>
                  <a:gd name="T51" fmla="*/ 42 h 42"/>
                  <a:gd name="T52" fmla="*/ 30 w 86"/>
                  <a:gd name="T53" fmla="*/ 40 h 42"/>
                  <a:gd name="T54" fmla="*/ 38 w 86"/>
                  <a:gd name="T55" fmla="*/ 36 h 42"/>
                  <a:gd name="T56" fmla="*/ 40 w 86"/>
                  <a:gd name="T57" fmla="*/ 36 h 42"/>
                  <a:gd name="T58" fmla="*/ 52 w 86"/>
                  <a:gd name="T59" fmla="*/ 32 h 42"/>
                  <a:gd name="T60" fmla="*/ 54 w 86"/>
                  <a:gd name="T61" fmla="*/ 32 h 42"/>
                  <a:gd name="T62" fmla="*/ 60 w 86"/>
                  <a:gd name="T63" fmla="*/ 28 h 42"/>
                  <a:gd name="T64" fmla="*/ 76 w 86"/>
                  <a:gd name="T65" fmla="*/ 30 h 42"/>
                  <a:gd name="T66" fmla="*/ 76 w 86"/>
                  <a:gd name="T67" fmla="*/ 32 h 42"/>
                  <a:gd name="T68" fmla="*/ 80 w 86"/>
                  <a:gd name="T69" fmla="*/ 30 h 42"/>
                  <a:gd name="T70" fmla="*/ 82 w 86"/>
                  <a:gd name="T71" fmla="*/ 24 h 42"/>
                  <a:gd name="T72" fmla="*/ 86 w 86"/>
                  <a:gd name="T73" fmla="*/ 16 h 42"/>
                  <a:gd name="T74" fmla="*/ 86 w 86"/>
                  <a:gd name="T75" fmla="*/ 14 h 42"/>
                  <a:gd name="T76" fmla="*/ 82 w 86"/>
                  <a:gd name="T77" fmla="*/ 8 h 42"/>
                  <a:gd name="T78" fmla="*/ 82 w 86"/>
                  <a:gd name="T79" fmla="*/ 8 h 42"/>
                  <a:gd name="T80" fmla="*/ 72 w 86"/>
                  <a:gd name="T81" fmla="*/ 4 h 42"/>
                  <a:gd name="T82" fmla="*/ 64 w 86"/>
                  <a:gd name="T83" fmla="*/ 4 h 42"/>
                  <a:gd name="T84" fmla="*/ 62 w 86"/>
                  <a:gd name="T85" fmla="*/ 4 h 42"/>
                  <a:gd name="T86" fmla="*/ 48 w 86"/>
                  <a:gd name="T87" fmla="*/ 8 h 42"/>
                  <a:gd name="T88" fmla="*/ 46 w 86"/>
                  <a:gd name="T89" fmla="*/ 4 h 42"/>
                  <a:gd name="T90" fmla="*/ 36 w 86"/>
                  <a:gd name="T91" fmla="*/ 0 h 42"/>
                  <a:gd name="T92" fmla="*/ 34 w 86"/>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42">
                    <a:moveTo>
                      <a:pt x="34" y="4"/>
                    </a:moveTo>
                    <a:lnTo>
                      <a:pt x="44" y="6"/>
                    </a:lnTo>
                    <a:lnTo>
                      <a:pt x="46" y="12"/>
                    </a:lnTo>
                    <a:lnTo>
                      <a:pt x="56" y="12"/>
                    </a:lnTo>
                    <a:lnTo>
                      <a:pt x="64" y="8"/>
                    </a:lnTo>
                    <a:lnTo>
                      <a:pt x="70" y="8"/>
                    </a:lnTo>
                    <a:lnTo>
                      <a:pt x="80" y="12"/>
                    </a:lnTo>
                    <a:lnTo>
                      <a:pt x="84" y="14"/>
                    </a:lnTo>
                    <a:lnTo>
                      <a:pt x="80" y="22"/>
                    </a:lnTo>
                    <a:lnTo>
                      <a:pt x="76" y="28"/>
                    </a:lnTo>
                    <a:lnTo>
                      <a:pt x="68" y="26"/>
                    </a:lnTo>
                    <a:lnTo>
                      <a:pt x="58" y="24"/>
                    </a:lnTo>
                    <a:lnTo>
                      <a:pt x="54" y="28"/>
                    </a:lnTo>
                    <a:lnTo>
                      <a:pt x="52" y="28"/>
                    </a:lnTo>
                    <a:lnTo>
                      <a:pt x="44" y="28"/>
                    </a:lnTo>
                    <a:lnTo>
                      <a:pt x="38" y="32"/>
                    </a:lnTo>
                    <a:lnTo>
                      <a:pt x="30" y="32"/>
                    </a:lnTo>
                    <a:lnTo>
                      <a:pt x="28" y="38"/>
                    </a:lnTo>
                    <a:lnTo>
                      <a:pt x="20" y="38"/>
                    </a:lnTo>
                    <a:lnTo>
                      <a:pt x="14" y="36"/>
                    </a:lnTo>
                    <a:lnTo>
                      <a:pt x="8" y="32"/>
                    </a:lnTo>
                    <a:lnTo>
                      <a:pt x="6" y="26"/>
                    </a:lnTo>
                    <a:lnTo>
                      <a:pt x="4" y="22"/>
                    </a:lnTo>
                    <a:lnTo>
                      <a:pt x="10" y="18"/>
                    </a:lnTo>
                    <a:lnTo>
                      <a:pt x="18" y="16"/>
                    </a:lnTo>
                    <a:lnTo>
                      <a:pt x="26" y="10"/>
                    </a:lnTo>
                    <a:lnTo>
                      <a:pt x="34" y="4"/>
                    </a:lnTo>
                    <a:close/>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7" name="Freeform 639"/>
              <p:cNvSpPr>
                <a:spLocks/>
              </p:cNvSpPr>
              <p:nvPr/>
            </p:nvSpPr>
            <p:spPr bwMode="auto">
              <a:xfrm>
                <a:off x="3133" y="1753"/>
                <a:ext cx="80" cy="34"/>
              </a:xfrm>
              <a:custGeom>
                <a:avLst/>
                <a:gdLst>
                  <a:gd name="T0" fmla="*/ 30 w 80"/>
                  <a:gd name="T1" fmla="*/ 0 h 34"/>
                  <a:gd name="T2" fmla="*/ 40 w 80"/>
                  <a:gd name="T3" fmla="*/ 2 h 34"/>
                  <a:gd name="T4" fmla="*/ 42 w 80"/>
                  <a:gd name="T5" fmla="*/ 8 h 34"/>
                  <a:gd name="T6" fmla="*/ 52 w 80"/>
                  <a:gd name="T7" fmla="*/ 8 h 34"/>
                  <a:gd name="T8" fmla="*/ 60 w 80"/>
                  <a:gd name="T9" fmla="*/ 4 h 34"/>
                  <a:gd name="T10" fmla="*/ 66 w 80"/>
                  <a:gd name="T11" fmla="*/ 4 h 34"/>
                  <a:gd name="T12" fmla="*/ 76 w 80"/>
                  <a:gd name="T13" fmla="*/ 8 h 34"/>
                  <a:gd name="T14" fmla="*/ 80 w 80"/>
                  <a:gd name="T15" fmla="*/ 10 h 34"/>
                  <a:gd name="T16" fmla="*/ 76 w 80"/>
                  <a:gd name="T17" fmla="*/ 18 h 34"/>
                  <a:gd name="T18" fmla="*/ 72 w 80"/>
                  <a:gd name="T19" fmla="*/ 24 h 34"/>
                  <a:gd name="T20" fmla="*/ 64 w 80"/>
                  <a:gd name="T21" fmla="*/ 22 h 34"/>
                  <a:gd name="T22" fmla="*/ 54 w 80"/>
                  <a:gd name="T23" fmla="*/ 20 h 34"/>
                  <a:gd name="T24" fmla="*/ 50 w 80"/>
                  <a:gd name="T25" fmla="*/ 24 h 34"/>
                  <a:gd name="T26" fmla="*/ 48 w 80"/>
                  <a:gd name="T27" fmla="*/ 24 h 34"/>
                  <a:gd name="T28" fmla="*/ 40 w 80"/>
                  <a:gd name="T29" fmla="*/ 24 h 34"/>
                  <a:gd name="T30" fmla="*/ 34 w 80"/>
                  <a:gd name="T31" fmla="*/ 28 h 34"/>
                  <a:gd name="T32" fmla="*/ 26 w 80"/>
                  <a:gd name="T33" fmla="*/ 28 h 34"/>
                  <a:gd name="T34" fmla="*/ 24 w 80"/>
                  <a:gd name="T35" fmla="*/ 34 h 34"/>
                  <a:gd name="T36" fmla="*/ 16 w 80"/>
                  <a:gd name="T37" fmla="*/ 34 h 34"/>
                  <a:gd name="T38" fmla="*/ 10 w 80"/>
                  <a:gd name="T39" fmla="*/ 32 h 34"/>
                  <a:gd name="T40" fmla="*/ 4 w 80"/>
                  <a:gd name="T41" fmla="*/ 28 h 34"/>
                  <a:gd name="T42" fmla="*/ 2 w 80"/>
                  <a:gd name="T43" fmla="*/ 22 h 34"/>
                  <a:gd name="T44" fmla="*/ 0 w 80"/>
                  <a:gd name="T45" fmla="*/ 18 h 34"/>
                  <a:gd name="T46" fmla="*/ 6 w 80"/>
                  <a:gd name="T47" fmla="*/ 14 h 34"/>
                  <a:gd name="T48" fmla="*/ 14 w 80"/>
                  <a:gd name="T49" fmla="*/ 12 h 34"/>
                  <a:gd name="T50" fmla="*/ 22 w 80"/>
                  <a:gd name="T51" fmla="*/ 6 h 34"/>
                  <a:gd name="T52" fmla="*/ 30 w 80"/>
                  <a:gd name="T5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34">
                    <a:moveTo>
                      <a:pt x="30" y="0"/>
                    </a:moveTo>
                    <a:lnTo>
                      <a:pt x="40" y="2"/>
                    </a:lnTo>
                    <a:lnTo>
                      <a:pt x="42" y="8"/>
                    </a:lnTo>
                    <a:lnTo>
                      <a:pt x="52" y="8"/>
                    </a:lnTo>
                    <a:lnTo>
                      <a:pt x="60" y="4"/>
                    </a:lnTo>
                    <a:lnTo>
                      <a:pt x="66" y="4"/>
                    </a:lnTo>
                    <a:lnTo>
                      <a:pt x="76" y="8"/>
                    </a:lnTo>
                    <a:lnTo>
                      <a:pt x="80" y="10"/>
                    </a:lnTo>
                    <a:lnTo>
                      <a:pt x="76" y="18"/>
                    </a:lnTo>
                    <a:lnTo>
                      <a:pt x="72" y="24"/>
                    </a:lnTo>
                    <a:lnTo>
                      <a:pt x="64" y="22"/>
                    </a:lnTo>
                    <a:lnTo>
                      <a:pt x="54" y="20"/>
                    </a:lnTo>
                    <a:lnTo>
                      <a:pt x="50" y="24"/>
                    </a:lnTo>
                    <a:lnTo>
                      <a:pt x="48" y="24"/>
                    </a:lnTo>
                    <a:lnTo>
                      <a:pt x="40" y="24"/>
                    </a:lnTo>
                    <a:lnTo>
                      <a:pt x="34" y="28"/>
                    </a:lnTo>
                    <a:lnTo>
                      <a:pt x="26" y="28"/>
                    </a:lnTo>
                    <a:lnTo>
                      <a:pt x="24" y="34"/>
                    </a:lnTo>
                    <a:lnTo>
                      <a:pt x="16" y="34"/>
                    </a:lnTo>
                    <a:lnTo>
                      <a:pt x="10" y="32"/>
                    </a:lnTo>
                    <a:lnTo>
                      <a:pt x="4" y="28"/>
                    </a:lnTo>
                    <a:lnTo>
                      <a:pt x="2" y="22"/>
                    </a:lnTo>
                    <a:lnTo>
                      <a:pt x="0" y="18"/>
                    </a:lnTo>
                    <a:lnTo>
                      <a:pt x="6" y="14"/>
                    </a:lnTo>
                    <a:lnTo>
                      <a:pt x="14" y="12"/>
                    </a:lnTo>
                    <a:lnTo>
                      <a:pt x="22"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8" name="Freeform 640"/>
              <p:cNvSpPr>
                <a:spLocks/>
              </p:cNvSpPr>
              <p:nvPr/>
            </p:nvSpPr>
            <p:spPr bwMode="auto">
              <a:xfrm>
                <a:off x="3129" y="1749"/>
                <a:ext cx="86" cy="42"/>
              </a:xfrm>
              <a:custGeom>
                <a:avLst/>
                <a:gdLst>
                  <a:gd name="T0" fmla="*/ 34 w 86"/>
                  <a:gd name="T1" fmla="*/ 0 h 42"/>
                  <a:gd name="T2" fmla="*/ 24 w 86"/>
                  <a:gd name="T3" fmla="*/ 6 h 42"/>
                  <a:gd name="T4" fmla="*/ 22 w 86"/>
                  <a:gd name="T5" fmla="*/ 6 h 42"/>
                  <a:gd name="T6" fmla="*/ 10 w 86"/>
                  <a:gd name="T7" fmla="*/ 14 h 42"/>
                  <a:gd name="T8" fmla="*/ 8 w 86"/>
                  <a:gd name="T9" fmla="*/ 14 h 42"/>
                  <a:gd name="T10" fmla="*/ 2 w 86"/>
                  <a:gd name="T11" fmla="*/ 18 h 42"/>
                  <a:gd name="T12" fmla="*/ 2 w 86"/>
                  <a:gd name="T13" fmla="*/ 24 h 42"/>
                  <a:gd name="T14" fmla="*/ 4 w 86"/>
                  <a:gd name="T15" fmla="*/ 34 h 42"/>
                  <a:gd name="T16" fmla="*/ 6 w 86"/>
                  <a:gd name="T17" fmla="*/ 36 h 42"/>
                  <a:gd name="T18" fmla="*/ 12 w 86"/>
                  <a:gd name="T19" fmla="*/ 40 h 42"/>
                  <a:gd name="T20" fmla="*/ 20 w 86"/>
                  <a:gd name="T21" fmla="*/ 42 h 42"/>
                  <a:gd name="T22" fmla="*/ 20 w 86"/>
                  <a:gd name="T23" fmla="*/ 42 h 42"/>
                  <a:gd name="T24" fmla="*/ 28 w 86"/>
                  <a:gd name="T25" fmla="*/ 42 h 42"/>
                  <a:gd name="T26" fmla="*/ 32 w 86"/>
                  <a:gd name="T27" fmla="*/ 36 h 42"/>
                  <a:gd name="T28" fmla="*/ 38 w 86"/>
                  <a:gd name="T29" fmla="*/ 36 h 42"/>
                  <a:gd name="T30" fmla="*/ 44 w 86"/>
                  <a:gd name="T31" fmla="*/ 32 h 42"/>
                  <a:gd name="T32" fmla="*/ 52 w 86"/>
                  <a:gd name="T33" fmla="*/ 32 h 42"/>
                  <a:gd name="T34" fmla="*/ 56 w 86"/>
                  <a:gd name="T35" fmla="*/ 30 h 42"/>
                  <a:gd name="T36" fmla="*/ 66 w 86"/>
                  <a:gd name="T37" fmla="*/ 30 h 42"/>
                  <a:gd name="T38" fmla="*/ 76 w 86"/>
                  <a:gd name="T39" fmla="*/ 30 h 42"/>
                  <a:gd name="T40" fmla="*/ 76 w 86"/>
                  <a:gd name="T41" fmla="*/ 32 h 42"/>
                  <a:gd name="T42" fmla="*/ 82 w 86"/>
                  <a:gd name="T43" fmla="*/ 24 h 42"/>
                  <a:gd name="T44" fmla="*/ 84 w 86"/>
                  <a:gd name="T45" fmla="*/ 24 h 42"/>
                  <a:gd name="T46" fmla="*/ 86 w 86"/>
                  <a:gd name="T47" fmla="*/ 16 h 42"/>
                  <a:gd name="T48" fmla="*/ 86 w 86"/>
                  <a:gd name="T49" fmla="*/ 12 h 42"/>
                  <a:gd name="T50" fmla="*/ 82 w 86"/>
                  <a:gd name="T51" fmla="*/ 8 h 42"/>
                  <a:gd name="T52" fmla="*/ 72 w 86"/>
                  <a:gd name="T53" fmla="*/ 4 h 42"/>
                  <a:gd name="T54" fmla="*/ 70 w 86"/>
                  <a:gd name="T55" fmla="*/ 4 h 42"/>
                  <a:gd name="T56" fmla="*/ 64 w 86"/>
                  <a:gd name="T57" fmla="*/ 4 h 42"/>
                  <a:gd name="T58" fmla="*/ 54 w 86"/>
                  <a:gd name="T59" fmla="*/ 8 h 42"/>
                  <a:gd name="T60" fmla="*/ 46 w 86"/>
                  <a:gd name="T61" fmla="*/ 4 h 42"/>
                  <a:gd name="T62" fmla="*/ 44 w 86"/>
                  <a:gd name="T63" fmla="*/ 2 h 42"/>
                  <a:gd name="T64" fmla="*/ 36 w 86"/>
                  <a:gd name="T65" fmla="*/ 0 h 42"/>
                  <a:gd name="T66" fmla="*/ 34 w 86"/>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42">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9" name="Freeform 641"/>
              <p:cNvSpPr>
                <a:spLocks/>
              </p:cNvSpPr>
              <p:nvPr/>
            </p:nvSpPr>
            <p:spPr bwMode="auto">
              <a:xfrm>
                <a:off x="3093" y="1655"/>
                <a:ext cx="144" cy="112"/>
              </a:xfrm>
              <a:custGeom>
                <a:avLst/>
                <a:gdLst>
                  <a:gd name="T0" fmla="*/ 120 w 144"/>
                  <a:gd name="T1" fmla="*/ 112 h 112"/>
                  <a:gd name="T2" fmla="*/ 114 w 144"/>
                  <a:gd name="T3" fmla="*/ 108 h 112"/>
                  <a:gd name="T4" fmla="*/ 100 w 144"/>
                  <a:gd name="T5" fmla="*/ 104 h 112"/>
                  <a:gd name="T6" fmla="*/ 82 w 144"/>
                  <a:gd name="T7" fmla="*/ 110 h 112"/>
                  <a:gd name="T8" fmla="*/ 82 w 144"/>
                  <a:gd name="T9" fmla="*/ 110 h 112"/>
                  <a:gd name="T10" fmla="*/ 80 w 144"/>
                  <a:gd name="T11" fmla="*/ 108 h 112"/>
                  <a:gd name="T12" fmla="*/ 68 w 144"/>
                  <a:gd name="T13" fmla="*/ 100 h 112"/>
                  <a:gd name="T14" fmla="*/ 68 w 144"/>
                  <a:gd name="T15" fmla="*/ 100 h 112"/>
                  <a:gd name="T16" fmla="*/ 54 w 144"/>
                  <a:gd name="T17" fmla="*/ 92 h 112"/>
                  <a:gd name="T18" fmla="*/ 42 w 144"/>
                  <a:gd name="T19" fmla="*/ 86 h 112"/>
                  <a:gd name="T20" fmla="*/ 42 w 144"/>
                  <a:gd name="T21" fmla="*/ 88 h 112"/>
                  <a:gd name="T22" fmla="*/ 40 w 144"/>
                  <a:gd name="T23" fmla="*/ 90 h 112"/>
                  <a:gd name="T24" fmla="*/ 32 w 144"/>
                  <a:gd name="T25" fmla="*/ 88 h 112"/>
                  <a:gd name="T26" fmla="*/ 30 w 144"/>
                  <a:gd name="T27" fmla="*/ 86 h 112"/>
                  <a:gd name="T28" fmla="*/ 22 w 144"/>
                  <a:gd name="T29" fmla="*/ 80 h 112"/>
                  <a:gd name="T30" fmla="*/ 12 w 144"/>
                  <a:gd name="T31" fmla="*/ 74 h 112"/>
                  <a:gd name="T32" fmla="*/ 8 w 144"/>
                  <a:gd name="T33" fmla="*/ 66 h 112"/>
                  <a:gd name="T34" fmla="*/ 6 w 144"/>
                  <a:gd name="T35" fmla="*/ 64 h 112"/>
                  <a:gd name="T36" fmla="*/ 0 w 144"/>
                  <a:gd name="T37" fmla="*/ 42 h 112"/>
                  <a:gd name="T38" fmla="*/ 0 w 144"/>
                  <a:gd name="T39" fmla="*/ 40 h 112"/>
                  <a:gd name="T40" fmla="*/ 0 w 144"/>
                  <a:gd name="T41" fmla="*/ 22 h 112"/>
                  <a:gd name="T42" fmla="*/ 0 w 144"/>
                  <a:gd name="T43" fmla="*/ 20 h 112"/>
                  <a:gd name="T44" fmla="*/ 2 w 144"/>
                  <a:gd name="T45" fmla="*/ 18 h 112"/>
                  <a:gd name="T46" fmla="*/ 30 w 144"/>
                  <a:gd name="T47" fmla="*/ 10 h 112"/>
                  <a:gd name="T48" fmla="*/ 44 w 144"/>
                  <a:gd name="T49" fmla="*/ 0 h 112"/>
                  <a:gd name="T50" fmla="*/ 62 w 144"/>
                  <a:gd name="T51" fmla="*/ 0 h 112"/>
                  <a:gd name="T52" fmla="*/ 64 w 144"/>
                  <a:gd name="T53" fmla="*/ 2 h 112"/>
                  <a:gd name="T54" fmla="*/ 100 w 144"/>
                  <a:gd name="T55" fmla="*/ 8 h 112"/>
                  <a:gd name="T56" fmla="*/ 124 w 144"/>
                  <a:gd name="T57" fmla="*/ 6 h 112"/>
                  <a:gd name="T58" fmla="*/ 124 w 144"/>
                  <a:gd name="T59" fmla="*/ 6 h 112"/>
                  <a:gd name="T60" fmla="*/ 134 w 144"/>
                  <a:gd name="T61" fmla="*/ 16 h 112"/>
                  <a:gd name="T62" fmla="*/ 138 w 144"/>
                  <a:gd name="T63" fmla="*/ 26 h 112"/>
                  <a:gd name="T64" fmla="*/ 140 w 144"/>
                  <a:gd name="T65" fmla="*/ 30 h 112"/>
                  <a:gd name="T66" fmla="*/ 142 w 144"/>
                  <a:gd name="T67" fmla="*/ 44 h 112"/>
                  <a:gd name="T68" fmla="*/ 140 w 144"/>
                  <a:gd name="T69" fmla="*/ 46 h 112"/>
                  <a:gd name="T70" fmla="*/ 132 w 144"/>
                  <a:gd name="T71" fmla="*/ 48 h 112"/>
                  <a:gd name="T72" fmla="*/ 138 w 144"/>
                  <a:gd name="T73" fmla="*/ 50 h 112"/>
                  <a:gd name="T74" fmla="*/ 138 w 144"/>
                  <a:gd name="T75" fmla="*/ 64 h 112"/>
                  <a:gd name="T76" fmla="*/ 142 w 144"/>
                  <a:gd name="T77" fmla="*/ 76 h 112"/>
                  <a:gd name="T78" fmla="*/ 144 w 144"/>
                  <a:gd name="T79" fmla="*/ 80 h 112"/>
                  <a:gd name="T80" fmla="*/ 134 w 144"/>
                  <a:gd name="T81" fmla="*/ 88 h 112"/>
                  <a:gd name="T82" fmla="*/ 124 w 144"/>
                  <a:gd name="T83" fmla="*/ 102 h 112"/>
                  <a:gd name="T84" fmla="*/ 122 w 144"/>
                  <a:gd name="T85" fmla="*/ 110 h 112"/>
                  <a:gd name="T86" fmla="*/ 120 w 144"/>
                  <a:gd name="T87" fmla="*/ 112 h 112"/>
                  <a:gd name="T88" fmla="*/ 120 w 144"/>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112">
                    <a:moveTo>
                      <a:pt x="120" y="112"/>
                    </a:moveTo>
                    <a:lnTo>
                      <a:pt x="120" y="112"/>
                    </a:lnTo>
                    <a:lnTo>
                      <a:pt x="118" y="110"/>
                    </a:lnTo>
                    <a:lnTo>
                      <a:pt x="114" y="108"/>
                    </a:lnTo>
                    <a:lnTo>
                      <a:pt x="106" y="104"/>
                    </a:lnTo>
                    <a:lnTo>
                      <a:pt x="100" y="104"/>
                    </a:lnTo>
                    <a:lnTo>
                      <a:pt x="92" y="108"/>
                    </a:lnTo>
                    <a:lnTo>
                      <a:pt x="82" y="110"/>
                    </a:lnTo>
                    <a:lnTo>
                      <a:pt x="82" y="110"/>
                    </a:lnTo>
                    <a:lnTo>
                      <a:pt x="82" y="110"/>
                    </a:lnTo>
                    <a:lnTo>
                      <a:pt x="82" y="110"/>
                    </a:lnTo>
                    <a:lnTo>
                      <a:pt x="80" y="108"/>
                    </a:lnTo>
                    <a:lnTo>
                      <a:pt x="76" y="102"/>
                    </a:lnTo>
                    <a:lnTo>
                      <a:pt x="68" y="100"/>
                    </a:lnTo>
                    <a:lnTo>
                      <a:pt x="68" y="100"/>
                    </a:lnTo>
                    <a:lnTo>
                      <a:pt x="68" y="100"/>
                    </a:lnTo>
                    <a:lnTo>
                      <a:pt x="60" y="94"/>
                    </a:lnTo>
                    <a:lnTo>
                      <a:pt x="54" y="92"/>
                    </a:lnTo>
                    <a:lnTo>
                      <a:pt x="48" y="88"/>
                    </a:lnTo>
                    <a:lnTo>
                      <a:pt x="42" y="86"/>
                    </a:lnTo>
                    <a:lnTo>
                      <a:pt x="42" y="88"/>
                    </a:lnTo>
                    <a:lnTo>
                      <a:pt x="42" y="88"/>
                    </a:lnTo>
                    <a:lnTo>
                      <a:pt x="40" y="90"/>
                    </a:lnTo>
                    <a:lnTo>
                      <a:pt x="40" y="90"/>
                    </a:lnTo>
                    <a:lnTo>
                      <a:pt x="40" y="90"/>
                    </a:lnTo>
                    <a:lnTo>
                      <a:pt x="32" y="88"/>
                    </a:lnTo>
                    <a:lnTo>
                      <a:pt x="32" y="88"/>
                    </a:lnTo>
                    <a:lnTo>
                      <a:pt x="30" y="86"/>
                    </a:lnTo>
                    <a:lnTo>
                      <a:pt x="28" y="80"/>
                    </a:lnTo>
                    <a:lnTo>
                      <a:pt x="22" y="80"/>
                    </a:lnTo>
                    <a:lnTo>
                      <a:pt x="12" y="74"/>
                    </a:lnTo>
                    <a:lnTo>
                      <a:pt x="12" y="74"/>
                    </a:lnTo>
                    <a:lnTo>
                      <a:pt x="10" y="72"/>
                    </a:lnTo>
                    <a:lnTo>
                      <a:pt x="8" y="66"/>
                    </a:lnTo>
                    <a:lnTo>
                      <a:pt x="8" y="66"/>
                    </a:lnTo>
                    <a:lnTo>
                      <a:pt x="6" y="64"/>
                    </a:lnTo>
                    <a:lnTo>
                      <a:pt x="6" y="44"/>
                    </a:lnTo>
                    <a:lnTo>
                      <a:pt x="0" y="42"/>
                    </a:lnTo>
                    <a:lnTo>
                      <a:pt x="0" y="42"/>
                    </a:lnTo>
                    <a:lnTo>
                      <a:pt x="0" y="40"/>
                    </a:lnTo>
                    <a:lnTo>
                      <a:pt x="4" y="30"/>
                    </a:lnTo>
                    <a:lnTo>
                      <a:pt x="0" y="22"/>
                    </a:lnTo>
                    <a:lnTo>
                      <a:pt x="0" y="22"/>
                    </a:lnTo>
                    <a:lnTo>
                      <a:pt x="0" y="20"/>
                    </a:lnTo>
                    <a:lnTo>
                      <a:pt x="0" y="20"/>
                    </a:lnTo>
                    <a:lnTo>
                      <a:pt x="2" y="18"/>
                    </a:lnTo>
                    <a:lnTo>
                      <a:pt x="16" y="14"/>
                    </a:lnTo>
                    <a:lnTo>
                      <a:pt x="30" y="10"/>
                    </a:lnTo>
                    <a:lnTo>
                      <a:pt x="44" y="0"/>
                    </a:lnTo>
                    <a:lnTo>
                      <a:pt x="44" y="0"/>
                    </a:lnTo>
                    <a:lnTo>
                      <a:pt x="46" y="0"/>
                    </a:lnTo>
                    <a:lnTo>
                      <a:pt x="62" y="0"/>
                    </a:lnTo>
                    <a:lnTo>
                      <a:pt x="62" y="0"/>
                    </a:lnTo>
                    <a:lnTo>
                      <a:pt x="64" y="2"/>
                    </a:lnTo>
                    <a:lnTo>
                      <a:pt x="66" y="8"/>
                    </a:lnTo>
                    <a:lnTo>
                      <a:pt x="100" y="8"/>
                    </a:lnTo>
                    <a:lnTo>
                      <a:pt x="100" y="8"/>
                    </a:lnTo>
                    <a:lnTo>
                      <a:pt x="124" y="6"/>
                    </a:lnTo>
                    <a:lnTo>
                      <a:pt x="124" y="6"/>
                    </a:lnTo>
                    <a:lnTo>
                      <a:pt x="124" y="6"/>
                    </a:lnTo>
                    <a:lnTo>
                      <a:pt x="134" y="16"/>
                    </a:lnTo>
                    <a:lnTo>
                      <a:pt x="134" y="16"/>
                    </a:lnTo>
                    <a:lnTo>
                      <a:pt x="134" y="16"/>
                    </a:lnTo>
                    <a:lnTo>
                      <a:pt x="138" y="26"/>
                    </a:lnTo>
                    <a:lnTo>
                      <a:pt x="140" y="30"/>
                    </a:lnTo>
                    <a:lnTo>
                      <a:pt x="140" y="30"/>
                    </a:lnTo>
                    <a:lnTo>
                      <a:pt x="142" y="32"/>
                    </a:lnTo>
                    <a:lnTo>
                      <a:pt x="142" y="44"/>
                    </a:lnTo>
                    <a:lnTo>
                      <a:pt x="142" y="44"/>
                    </a:lnTo>
                    <a:lnTo>
                      <a:pt x="140" y="46"/>
                    </a:lnTo>
                    <a:lnTo>
                      <a:pt x="134" y="46"/>
                    </a:lnTo>
                    <a:lnTo>
                      <a:pt x="132" y="48"/>
                    </a:lnTo>
                    <a:lnTo>
                      <a:pt x="138" y="50"/>
                    </a:lnTo>
                    <a:lnTo>
                      <a:pt x="138" y="50"/>
                    </a:lnTo>
                    <a:lnTo>
                      <a:pt x="138" y="52"/>
                    </a:lnTo>
                    <a:lnTo>
                      <a:pt x="138" y="64"/>
                    </a:lnTo>
                    <a:lnTo>
                      <a:pt x="140" y="70"/>
                    </a:lnTo>
                    <a:lnTo>
                      <a:pt x="142" y="76"/>
                    </a:lnTo>
                    <a:lnTo>
                      <a:pt x="144" y="80"/>
                    </a:lnTo>
                    <a:lnTo>
                      <a:pt x="144" y="80"/>
                    </a:lnTo>
                    <a:lnTo>
                      <a:pt x="142" y="82"/>
                    </a:lnTo>
                    <a:lnTo>
                      <a:pt x="134" y="88"/>
                    </a:lnTo>
                    <a:lnTo>
                      <a:pt x="126" y="94"/>
                    </a:lnTo>
                    <a:lnTo>
                      <a:pt x="124" y="102"/>
                    </a:lnTo>
                    <a:lnTo>
                      <a:pt x="122" y="110"/>
                    </a:lnTo>
                    <a:lnTo>
                      <a:pt x="122" y="110"/>
                    </a:lnTo>
                    <a:lnTo>
                      <a:pt x="120" y="112"/>
                    </a:lnTo>
                    <a:lnTo>
                      <a:pt x="120" y="112"/>
                    </a:lnTo>
                    <a:lnTo>
                      <a:pt x="120" y="112"/>
                    </a:lnTo>
                    <a:lnTo>
                      <a:pt x="120"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0" name="Freeform 642"/>
              <p:cNvSpPr>
                <a:spLocks noEditPoints="1"/>
              </p:cNvSpPr>
              <p:nvPr/>
            </p:nvSpPr>
            <p:spPr bwMode="auto">
              <a:xfrm>
                <a:off x="3091" y="1653"/>
                <a:ext cx="148" cy="116"/>
              </a:xfrm>
              <a:custGeom>
                <a:avLst/>
                <a:gdLst>
                  <a:gd name="T0" fmla="*/ 84 w 148"/>
                  <a:gd name="T1" fmla="*/ 12 h 116"/>
                  <a:gd name="T2" fmla="*/ 130 w 148"/>
                  <a:gd name="T3" fmla="*/ 16 h 116"/>
                  <a:gd name="T4" fmla="*/ 142 w 148"/>
                  <a:gd name="T5" fmla="*/ 34 h 116"/>
                  <a:gd name="T6" fmla="*/ 132 w 148"/>
                  <a:gd name="T7" fmla="*/ 50 h 116"/>
                  <a:gd name="T8" fmla="*/ 140 w 148"/>
                  <a:gd name="T9" fmla="*/ 72 h 116"/>
                  <a:gd name="T10" fmla="*/ 134 w 148"/>
                  <a:gd name="T11" fmla="*/ 88 h 116"/>
                  <a:gd name="T12" fmla="*/ 122 w 148"/>
                  <a:gd name="T13" fmla="*/ 112 h 116"/>
                  <a:gd name="T14" fmla="*/ 102 w 148"/>
                  <a:gd name="T15" fmla="*/ 104 h 116"/>
                  <a:gd name="T16" fmla="*/ 80 w 148"/>
                  <a:gd name="T17" fmla="*/ 102 h 116"/>
                  <a:gd name="T18" fmla="*/ 56 w 148"/>
                  <a:gd name="T19" fmla="*/ 92 h 116"/>
                  <a:gd name="T20" fmla="*/ 42 w 148"/>
                  <a:gd name="T21" fmla="*/ 90 h 116"/>
                  <a:gd name="T22" fmla="*/ 26 w 148"/>
                  <a:gd name="T23" fmla="*/ 80 h 116"/>
                  <a:gd name="T24" fmla="*/ 10 w 148"/>
                  <a:gd name="T25" fmla="*/ 46 h 116"/>
                  <a:gd name="T26" fmla="*/ 4 w 148"/>
                  <a:gd name="T27" fmla="*/ 22 h 116"/>
                  <a:gd name="T28" fmla="*/ 48 w 148"/>
                  <a:gd name="T29" fmla="*/ 4 h 116"/>
                  <a:gd name="T30" fmla="*/ 48 w 148"/>
                  <a:gd name="T31" fmla="*/ 0 h 116"/>
                  <a:gd name="T32" fmla="*/ 30 w 148"/>
                  <a:gd name="T33" fmla="*/ 10 h 116"/>
                  <a:gd name="T34" fmla="*/ 2 w 148"/>
                  <a:gd name="T35" fmla="*/ 18 h 116"/>
                  <a:gd name="T36" fmla="*/ 0 w 148"/>
                  <a:gd name="T37" fmla="*/ 24 h 116"/>
                  <a:gd name="T38" fmla="*/ 0 w 148"/>
                  <a:gd name="T39" fmla="*/ 40 h 116"/>
                  <a:gd name="T40" fmla="*/ 6 w 148"/>
                  <a:gd name="T41" fmla="*/ 48 h 116"/>
                  <a:gd name="T42" fmla="*/ 8 w 148"/>
                  <a:gd name="T43" fmla="*/ 68 h 116"/>
                  <a:gd name="T44" fmla="*/ 12 w 148"/>
                  <a:gd name="T45" fmla="*/ 78 h 116"/>
                  <a:gd name="T46" fmla="*/ 24 w 148"/>
                  <a:gd name="T47" fmla="*/ 84 h 116"/>
                  <a:gd name="T48" fmla="*/ 30 w 148"/>
                  <a:gd name="T49" fmla="*/ 90 h 116"/>
                  <a:gd name="T50" fmla="*/ 40 w 148"/>
                  <a:gd name="T51" fmla="*/ 94 h 116"/>
                  <a:gd name="T52" fmla="*/ 46 w 148"/>
                  <a:gd name="T53" fmla="*/ 92 h 116"/>
                  <a:gd name="T54" fmla="*/ 54 w 148"/>
                  <a:gd name="T55" fmla="*/ 96 h 116"/>
                  <a:gd name="T56" fmla="*/ 62 w 148"/>
                  <a:gd name="T57" fmla="*/ 98 h 116"/>
                  <a:gd name="T58" fmla="*/ 70 w 148"/>
                  <a:gd name="T59" fmla="*/ 104 h 116"/>
                  <a:gd name="T60" fmla="*/ 80 w 148"/>
                  <a:gd name="T61" fmla="*/ 112 h 116"/>
                  <a:gd name="T62" fmla="*/ 84 w 148"/>
                  <a:gd name="T63" fmla="*/ 114 h 116"/>
                  <a:gd name="T64" fmla="*/ 94 w 148"/>
                  <a:gd name="T65" fmla="*/ 112 h 116"/>
                  <a:gd name="T66" fmla="*/ 116 w 148"/>
                  <a:gd name="T67" fmla="*/ 112 h 116"/>
                  <a:gd name="T68" fmla="*/ 122 w 148"/>
                  <a:gd name="T69" fmla="*/ 116 h 116"/>
                  <a:gd name="T70" fmla="*/ 122 w 148"/>
                  <a:gd name="T71" fmla="*/ 116 h 116"/>
                  <a:gd name="T72" fmla="*/ 130 w 148"/>
                  <a:gd name="T73" fmla="*/ 98 h 116"/>
                  <a:gd name="T74" fmla="*/ 146 w 148"/>
                  <a:gd name="T75" fmla="*/ 86 h 116"/>
                  <a:gd name="T76" fmla="*/ 146 w 148"/>
                  <a:gd name="T77" fmla="*/ 78 h 116"/>
                  <a:gd name="T78" fmla="*/ 142 w 148"/>
                  <a:gd name="T79" fmla="*/ 54 h 116"/>
                  <a:gd name="T80" fmla="*/ 138 w 148"/>
                  <a:gd name="T81" fmla="*/ 50 h 116"/>
                  <a:gd name="T82" fmla="*/ 144 w 148"/>
                  <a:gd name="T83" fmla="*/ 48 h 116"/>
                  <a:gd name="T84" fmla="*/ 146 w 148"/>
                  <a:gd name="T85" fmla="*/ 34 h 116"/>
                  <a:gd name="T86" fmla="*/ 138 w 148"/>
                  <a:gd name="T87" fmla="*/ 18 h 116"/>
                  <a:gd name="T88" fmla="*/ 134 w 148"/>
                  <a:gd name="T89" fmla="*/ 12 h 116"/>
                  <a:gd name="T90" fmla="*/ 126 w 148"/>
                  <a:gd name="T91" fmla="*/ 6 h 116"/>
                  <a:gd name="T92" fmla="*/ 102 w 148"/>
                  <a:gd name="T93" fmla="*/ 8 h 116"/>
                  <a:gd name="T94" fmla="*/ 68 w 148"/>
                  <a:gd name="T95" fmla="*/ 2 h 116"/>
                  <a:gd name="T96" fmla="*/ 64 w 148"/>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16">
                    <a:moveTo>
                      <a:pt x="64" y="4"/>
                    </a:moveTo>
                    <a:lnTo>
                      <a:pt x="68" y="12"/>
                    </a:lnTo>
                    <a:lnTo>
                      <a:pt x="84" y="12"/>
                    </a:lnTo>
                    <a:lnTo>
                      <a:pt x="102" y="12"/>
                    </a:lnTo>
                    <a:lnTo>
                      <a:pt x="126" y="10"/>
                    </a:lnTo>
                    <a:lnTo>
                      <a:pt x="130" y="16"/>
                    </a:lnTo>
                    <a:lnTo>
                      <a:pt x="134" y="18"/>
                    </a:lnTo>
                    <a:lnTo>
                      <a:pt x="138" y="30"/>
                    </a:lnTo>
                    <a:lnTo>
                      <a:pt x="142" y="34"/>
                    </a:lnTo>
                    <a:lnTo>
                      <a:pt x="142" y="46"/>
                    </a:lnTo>
                    <a:lnTo>
                      <a:pt x="134" y="46"/>
                    </a:lnTo>
                    <a:lnTo>
                      <a:pt x="132" y="50"/>
                    </a:lnTo>
                    <a:lnTo>
                      <a:pt x="138" y="54"/>
                    </a:lnTo>
                    <a:lnTo>
                      <a:pt x="138" y="66"/>
                    </a:lnTo>
                    <a:lnTo>
                      <a:pt x="140" y="72"/>
                    </a:lnTo>
                    <a:lnTo>
                      <a:pt x="142" y="80"/>
                    </a:lnTo>
                    <a:lnTo>
                      <a:pt x="144" y="82"/>
                    </a:lnTo>
                    <a:lnTo>
                      <a:pt x="134" y="88"/>
                    </a:lnTo>
                    <a:lnTo>
                      <a:pt x="128" y="96"/>
                    </a:lnTo>
                    <a:lnTo>
                      <a:pt x="124" y="102"/>
                    </a:lnTo>
                    <a:lnTo>
                      <a:pt x="122" y="112"/>
                    </a:lnTo>
                    <a:lnTo>
                      <a:pt x="118" y="108"/>
                    </a:lnTo>
                    <a:lnTo>
                      <a:pt x="108" y="104"/>
                    </a:lnTo>
                    <a:lnTo>
                      <a:pt x="102" y="104"/>
                    </a:lnTo>
                    <a:lnTo>
                      <a:pt x="92" y="108"/>
                    </a:lnTo>
                    <a:lnTo>
                      <a:pt x="84" y="110"/>
                    </a:lnTo>
                    <a:lnTo>
                      <a:pt x="80" y="102"/>
                    </a:lnTo>
                    <a:lnTo>
                      <a:pt x="70" y="100"/>
                    </a:lnTo>
                    <a:lnTo>
                      <a:pt x="64" y="96"/>
                    </a:lnTo>
                    <a:lnTo>
                      <a:pt x="56" y="92"/>
                    </a:lnTo>
                    <a:lnTo>
                      <a:pt x="50" y="88"/>
                    </a:lnTo>
                    <a:lnTo>
                      <a:pt x="44" y="86"/>
                    </a:lnTo>
                    <a:lnTo>
                      <a:pt x="42" y="90"/>
                    </a:lnTo>
                    <a:lnTo>
                      <a:pt x="34" y="88"/>
                    </a:lnTo>
                    <a:lnTo>
                      <a:pt x="32" y="82"/>
                    </a:lnTo>
                    <a:lnTo>
                      <a:pt x="26" y="80"/>
                    </a:lnTo>
                    <a:lnTo>
                      <a:pt x="14" y="74"/>
                    </a:lnTo>
                    <a:lnTo>
                      <a:pt x="10" y="66"/>
                    </a:lnTo>
                    <a:lnTo>
                      <a:pt x="10" y="46"/>
                    </a:lnTo>
                    <a:lnTo>
                      <a:pt x="4" y="42"/>
                    </a:lnTo>
                    <a:lnTo>
                      <a:pt x="8" y="32"/>
                    </a:lnTo>
                    <a:lnTo>
                      <a:pt x="4" y="22"/>
                    </a:lnTo>
                    <a:lnTo>
                      <a:pt x="18" y="18"/>
                    </a:lnTo>
                    <a:lnTo>
                      <a:pt x="32" y="14"/>
                    </a:lnTo>
                    <a:lnTo>
                      <a:pt x="48" y="4"/>
                    </a:lnTo>
                    <a:lnTo>
                      <a:pt x="64" y="4"/>
                    </a:lnTo>
                    <a:close/>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1" name="Freeform 643"/>
              <p:cNvSpPr>
                <a:spLocks/>
              </p:cNvSpPr>
              <p:nvPr/>
            </p:nvSpPr>
            <p:spPr bwMode="auto">
              <a:xfrm>
                <a:off x="3095" y="1657"/>
                <a:ext cx="140" cy="108"/>
              </a:xfrm>
              <a:custGeom>
                <a:avLst/>
                <a:gdLst>
                  <a:gd name="T0" fmla="*/ 60 w 140"/>
                  <a:gd name="T1" fmla="*/ 0 h 108"/>
                  <a:gd name="T2" fmla="*/ 64 w 140"/>
                  <a:gd name="T3" fmla="*/ 8 h 108"/>
                  <a:gd name="T4" fmla="*/ 80 w 140"/>
                  <a:gd name="T5" fmla="*/ 8 h 108"/>
                  <a:gd name="T6" fmla="*/ 98 w 140"/>
                  <a:gd name="T7" fmla="*/ 8 h 108"/>
                  <a:gd name="T8" fmla="*/ 122 w 140"/>
                  <a:gd name="T9" fmla="*/ 6 h 108"/>
                  <a:gd name="T10" fmla="*/ 126 w 140"/>
                  <a:gd name="T11" fmla="*/ 12 h 108"/>
                  <a:gd name="T12" fmla="*/ 130 w 140"/>
                  <a:gd name="T13" fmla="*/ 14 h 108"/>
                  <a:gd name="T14" fmla="*/ 134 w 140"/>
                  <a:gd name="T15" fmla="*/ 26 h 108"/>
                  <a:gd name="T16" fmla="*/ 138 w 140"/>
                  <a:gd name="T17" fmla="*/ 30 h 108"/>
                  <a:gd name="T18" fmla="*/ 138 w 140"/>
                  <a:gd name="T19" fmla="*/ 42 h 108"/>
                  <a:gd name="T20" fmla="*/ 130 w 140"/>
                  <a:gd name="T21" fmla="*/ 42 h 108"/>
                  <a:gd name="T22" fmla="*/ 128 w 140"/>
                  <a:gd name="T23" fmla="*/ 46 h 108"/>
                  <a:gd name="T24" fmla="*/ 134 w 140"/>
                  <a:gd name="T25" fmla="*/ 50 h 108"/>
                  <a:gd name="T26" fmla="*/ 134 w 140"/>
                  <a:gd name="T27" fmla="*/ 62 h 108"/>
                  <a:gd name="T28" fmla="*/ 136 w 140"/>
                  <a:gd name="T29" fmla="*/ 68 h 108"/>
                  <a:gd name="T30" fmla="*/ 138 w 140"/>
                  <a:gd name="T31" fmla="*/ 76 h 108"/>
                  <a:gd name="T32" fmla="*/ 140 w 140"/>
                  <a:gd name="T33" fmla="*/ 78 h 108"/>
                  <a:gd name="T34" fmla="*/ 130 w 140"/>
                  <a:gd name="T35" fmla="*/ 84 h 108"/>
                  <a:gd name="T36" fmla="*/ 124 w 140"/>
                  <a:gd name="T37" fmla="*/ 92 h 108"/>
                  <a:gd name="T38" fmla="*/ 120 w 140"/>
                  <a:gd name="T39" fmla="*/ 98 h 108"/>
                  <a:gd name="T40" fmla="*/ 118 w 140"/>
                  <a:gd name="T41" fmla="*/ 108 h 108"/>
                  <a:gd name="T42" fmla="*/ 114 w 140"/>
                  <a:gd name="T43" fmla="*/ 104 h 108"/>
                  <a:gd name="T44" fmla="*/ 104 w 140"/>
                  <a:gd name="T45" fmla="*/ 100 h 108"/>
                  <a:gd name="T46" fmla="*/ 98 w 140"/>
                  <a:gd name="T47" fmla="*/ 100 h 108"/>
                  <a:gd name="T48" fmla="*/ 88 w 140"/>
                  <a:gd name="T49" fmla="*/ 104 h 108"/>
                  <a:gd name="T50" fmla="*/ 80 w 140"/>
                  <a:gd name="T51" fmla="*/ 106 h 108"/>
                  <a:gd name="T52" fmla="*/ 76 w 140"/>
                  <a:gd name="T53" fmla="*/ 98 h 108"/>
                  <a:gd name="T54" fmla="*/ 66 w 140"/>
                  <a:gd name="T55" fmla="*/ 96 h 108"/>
                  <a:gd name="T56" fmla="*/ 60 w 140"/>
                  <a:gd name="T57" fmla="*/ 92 h 108"/>
                  <a:gd name="T58" fmla="*/ 52 w 140"/>
                  <a:gd name="T59" fmla="*/ 88 h 108"/>
                  <a:gd name="T60" fmla="*/ 46 w 140"/>
                  <a:gd name="T61" fmla="*/ 84 h 108"/>
                  <a:gd name="T62" fmla="*/ 40 w 140"/>
                  <a:gd name="T63" fmla="*/ 82 h 108"/>
                  <a:gd name="T64" fmla="*/ 38 w 140"/>
                  <a:gd name="T65" fmla="*/ 86 h 108"/>
                  <a:gd name="T66" fmla="*/ 30 w 140"/>
                  <a:gd name="T67" fmla="*/ 84 h 108"/>
                  <a:gd name="T68" fmla="*/ 28 w 140"/>
                  <a:gd name="T69" fmla="*/ 78 h 108"/>
                  <a:gd name="T70" fmla="*/ 22 w 140"/>
                  <a:gd name="T71" fmla="*/ 76 h 108"/>
                  <a:gd name="T72" fmla="*/ 10 w 140"/>
                  <a:gd name="T73" fmla="*/ 70 h 108"/>
                  <a:gd name="T74" fmla="*/ 6 w 140"/>
                  <a:gd name="T75" fmla="*/ 62 h 108"/>
                  <a:gd name="T76" fmla="*/ 6 w 140"/>
                  <a:gd name="T77" fmla="*/ 42 h 108"/>
                  <a:gd name="T78" fmla="*/ 0 w 140"/>
                  <a:gd name="T79" fmla="*/ 38 h 108"/>
                  <a:gd name="T80" fmla="*/ 4 w 140"/>
                  <a:gd name="T81" fmla="*/ 28 h 108"/>
                  <a:gd name="T82" fmla="*/ 0 w 140"/>
                  <a:gd name="T83" fmla="*/ 18 h 108"/>
                  <a:gd name="T84" fmla="*/ 14 w 140"/>
                  <a:gd name="T85" fmla="*/ 14 h 108"/>
                  <a:gd name="T86" fmla="*/ 28 w 140"/>
                  <a:gd name="T87" fmla="*/ 10 h 108"/>
                  <a:gd name="T88" fmla="*/ 44 w 140"/>
                  <a:gd name="T89" fmla="*/ 0 h 108"/>
                  <a:gd name="T90" fmla="*/ 60 w 140"/>
                  <a:gd name="T9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08">
                    <a:moveTo>
                      <a:pt x="60" y="0"/>
                    </a:moveTo>
                    <a:lnTo>
                      <a:pt x="64" y="8"/>
                    </a:lnTo>
                    <a:lnTo>
                      <a:pt x="80" y="8"/>
                    </a:lnTo>
                    <a:lnTo>
                      <a:pt x="98" y="8"/>
                    </a:lnTo>
                    <a:lnTo>
                      <a:pt x="122" y="6"/>
                    </a:lnTo>
                    <a:lnTo>
                      <a:pt x="126" y="12"/>
                    </a:lnTo>
                    <a:lnTo>
                      <a:pt x="130" y="14"/>
                    </a:lnTo>
                    <a:lnTo>
                      <a:pt x="134" y="26"/>
                    </a:lnTo>
                    <a:lnTo>
                      <a:pt x="138" y="30"/>
                    </a:lnTo>
                    <a:lnTo>
                      <a:pt x="138" y="42"/>
                    </a:lnTo>
                    <a:lnTo>
                      <a:pt x="130" y="42"/>
                    </a:lnTo>
                    <a:lnTo>
                      <a:pt x="128" y="46"/>
                    </a:lnTo>
                    <a:lnTo>
                      <a:pt x="134" y="50"/>
                    </a:lnTo>
                    <a:lnTo>
                      <a:pt x="134" y="62"/>
                    </a:lnTo>
                    <a:lnTo>
                      <a:pt x="136" y="68"/>
                    </a:lnTo>
                    <a:lnTo>
                      <a:pt x="138" y="76"/>
                    </a:lnTo>
                    <a:lnTo>
                      <a:pt x="140" y="78"/>
                    </a:lnTo>
                    <a:lnTo>
                      <a:pt x="130" y="84"/>
                    </a:lnTo>
                    <a:lnTo>
                      <a:pt x="124" y="92"/>
                    </a:lnTo>
                    <a:lnTo>
                      <a:pt x="120" y="98"/>
                    </a:lnTo>
                    <a:lnTo>
                      <a:pt x="118" y="108"/>
                    </a:lnTo>
                    <a:lnTo>
                      <a:pt x="114" y="104"/>
                    </a:lnTo>
                    <a:lnTo>
                      <a:pt x="104" y="100"/>
                    </a:lnTo>
                    <a:lnTo>
                      <a:pt x="98" y="100"/>
                    </a:lnTo>
                    <a:lnTo>
                      <a:pt x="88" y="104"/>
                    </a:lnTo>
                    <a:lnTo>
                      <a:pt x="80" y="106"/>
                    </a:lnTo>
                    <a:lnTo>
                      <a:pt x="76" y="98"/>
                    </a:lnTo>
                    <a:lnTo>
                      <a:pt x="66" y="96"/>
                    </a:lnTo>
                    <a:lnTo>
                      <a:pt x="60" y="92"/>
                    </a:lnTo>
                    <a:lnTo>
                      <a:pt x="52" y="88"/>
                    </a:lnTo>
                    <a:lnTo>
                      <a:pt x="46" y="84"/>
                    </a:lnTo>
                    <a:lnTo>
                      <a:pt x="40" y="82"/>
                    </a:lnTo>
                    <a:lnTo>
                      <a:pt x="38" y="86"/>
                    </a:lnTo>
                    <a:lnTo>
                      <a:pt x="30" y="84"/>
                    </a:lnTo>
                    <a:lnTo>
                      <a:pt x="28" y="78"/>
                    </a:lnTo>
                    <a:lnTo>
                      <a:pt x="22" y="76"/>
                    </a:lnTo>
                    <a:lnTo>
                      <a:pt x="10" y="70"/>
                    </a:lnTo>
                    <a:lnTo>
                      <a:pt x="6" y="62"/>
                    </a:lnTo>
                    <a:lnTo>
                      <a:pt x="6" y="42"/>
                    </a:lnTo>
                    <a:lnTo>
                      <a:pt x="0" y="38"/>
                    </a:lnTo>
                    <a:lnTo>
                      <a:pt x="4" y="28"/>
                    </a:lnTo>
                    <a:lnTo>
                      <a:pt x="0" y="18"/>
                    </a:lnTo>
                    <a:lnTo>
                      <a:pt x="14" y="14"/>
                    </a:lnTo>
                    <a:lnTo>
                      <a:pt x="28" y="10"/>
                    </a:lnTo>
                    <a:lnTo>
                      <a:pt x="44"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2" name="Freeform 644"/>
              <p:cNvSpPr>
                <a:spLocks/>
              </p:cNvSpPr>
              <p:nvPr/>
            </p:nvSpPr>
            <p:spPr bwMode="auto">
              <a:xfrm>
                <a:off x="3091" y="1653"/>
                <a:ext cx="148" cy="116"/>
              </a:xfrm>
              <a:custGeom>
                <a:avLst/>
                <a:gdLst>
                  <a:gd name="T0" fmla="*/ 48 w 148"/>
                  <a:gd name="T1" fmla="*/ 0 h 116"/>
                  <a:gd name="T2" fmla="*/ 46 w 148"/>
                  <a:gd name="T3" fmla="*/ 2 h 116"/>
                  <a:gd name="T4" fmla="*/ 16 w 148"/>
                  <a:gd name="T5" fmla="*/ 16 h 116"/>
                  <a:gd name="T6" fmla="*/ 2 w 148"/>
                  <a:gd name="T7" fmla="*/ 18 h 116"/>
                  <a:gd name="T8" fmla="*/ 0 w 148"/>
                  <a:gd name="T9" fmla="*/ 20 h 116"/>
                  <a:gd name="T10" fmla="*/ 2 w 148"/>
                  <a:gd name="T11" fmla="*/ 32 h 116"/>
                  <a:gd name="T12" fmla="*/ 0 w 148"/>
                  <a:gd name="T13" fmla="*/ 40 h 116"/>
                  <a:gd name="T14" fmla="*/ 2 w 148"/>
                  <a:gd name="T15" fmla="*/ 46 h 116"/>
                  <a:gd name="T16" fmla="*/ 6 w 148"/>
                  <a:gd name="T17" fmla="*/ 66 h 116"/>
                  <a:gd name="T18" fmla="*/ 8 w 148"/>
                  <a:gd name="T19" fmla="*/ 68 h 116"/>
                  <a:gd name="T20" fmla="*/ 10 w 148"/>
                  <a:gd name="T21" fmla="*/ 76 h 116"/>
                  <a:gd name="T22" fmla="*/ 24 w 148"/>
                  <a:gd name="T23" fmla="*/ 82 h 116"/>
                  <a:gd name="T24" fmla="*/ 24 w 148"/>
                  <a:gd name="T25" fmla="*/ 84 h 116"/>
                  <a:gd name="T26" fmla="*/ 30 w 148"/>
                  <a:gd name="T27" fmla="*/ 90 h 116"/>
                  <a:gd name="T28" fmla="*/ 34 w 148"/>
                  <a:gd name="T29" fmla="*/ 92 h 116"/>
                  <a:gd name="T30" fmla="*/ 40 w 148"/>
                  <a:gd name="T31" fmla="*/ 94 h 116"/>
                  <a:gd name="T32" fmla="*/ 42 w 148"/>
                  <a:gd name="T33" fmla="*/ 94 h 116"/>
                  <a:gd name="T34" fmla="*/ 46 w 148"/>
                  <a:gd name="T35" fmla="*/ 92 h 116"/>
                  <a:gd name="T36" fmla="*/ 54 w 148"/>
                  <a:gd name="T37" fmla="*/ 96 h 116"/>
                  <a:gd name="T38" fmla="*/ 54 w 148"/>
                  <a:gd name="T39" fmla="*/ 96 h 116"/>
                  <a:gd name="T40" fmla="*/ 68 w 148"/>
                  <a:gd name="T41" fmla="*/ 104 h 116"/>
                  <a:gd name="T42" fmla="*/ 70 w 148"/>
                  <a:gd name="T43" fmla="*/ 104 h 116"/>
                  <a:gd name="T44" fmla="*/ 80 w 148"/>
                  <a:gd name="T45" fmla="*/ 112 h 116"/>
                  <a:gd name="T46" fmla="*/ 84 w 148"/>
                  <a:gd name="T47" fmla="*/ 114 h 116"/>
                  <a:gd name="T48" fmla="*/ 84 w 148"/>
                  <a:gd name="T49" fmla="*/ 114 h 116"/>
                  <a:gd name="T50" fmla="*/ 94 w 148"/>
                  <a:gd name="T51" fmla="*/ 112 h 116"/>
                  <a:gd name="T52" fmla="*/ 102 w 148"/>
                  <a:gd name="T53" fmla="*/ 108 h 116"/>
                  <a:gd name="T54" fmla="*/ 116 w 148"/>
                  <a:gd name="T55" fmla="*/ 112 h 116"/>
                  <a:gd name="T56" fmla="*/ 118 w 148"/>
                  <a:gd name="T57" fmla="*/ 114 h 116"/>
                  <a:gd name="T58" fmla="*/ 122 w 148"/>
                  <a:gd name="T59" fmla="*/ 116 h 116"/>
                  <a:gd name="T60" fmla="*/ 122 w 148"/>
                  <a:gd name="T61" fmla="*/ 116 h 116"/>
                  <a:gd name="T62" fmla="*/ 128 w 148"/>
                  <a:gd name="T63" fmla="*/ 104 h 116"/>
                  <a:gd name="T64" fmla="*/ 136 w 148"/>
                  <a:gd name="T65" fmla="*/ 92 h 116"/>
                  <a:gd name="T66" fmla="*/ 146 w 148"/>
                  <a:gd name="T67" fmla="*/ 86 h 116"/>
                  <a:gd name="T68" fmla="*/ 146 w 148"/>
                  <a:gd name="T69" fmla="*/ 82 h 116"/>
                  <a:gd name="T70" fmla="*/ 144 w 148"/>
                  <a:gd name="T71" fmla="*/ 72 h 116"/>
                  <a:gd name="T72" fmla="*/ 142 w 148"/>
                  <a:gd name="T73" fmla="*/ 54 h 116"/>
                  <a:gd name="T74" fmla="*/ 140 w 148"/>
                  <a:gd name="T75" fmla="*/ 52 h 116"/>
                  <a:gd name="T76" fmla="*/ 142 w 148"/>
                  <a:gd name="T77" fmla="*/ 50 h 116"/>
                  <a:gd name="T78" fmla="*/ 144 w 148"/>
                  <a:gd name="T79" fmla="*/ 48 h 116"/>
                  <a:gd name="T80" fmla="*/ 146 w 148"/>
                  <a:gd name="T81" fmla="*/ 34 h 116"/>
                  <a:gd name="T82" fmla="*/ 144 w 148"/>
                  <a:gd name="T83" fmla="*/ 30 h 116"/>
                  <a:gd name="T84" fmla="*/ 138 w 148"/>
                  <a:gd name="T85" fmla="*/ 18 h 116"/>
                  <a:gd name="T86" fmla="*/ 138 w 148"/>
                  <a:gd name="T87" fmla="*/ 16 h 116"/>
                  <a:gd name="T88" fmla="*/ 128 w 148"/>
                  <a:gd name="T89" fmla="*/ 8 h 116"/>
                  <a:gd name="T90" fmla="*/ 126 w 148"/>
                  <a:gd name="T91" fmla="*/ 6 h 116"/>
                  <a:gd name="T92" fmla="*/ 124 w 148"/>
                  <a:gd name="T93" fmla="*/ 6 h 116"/>
                  <a:gd name="T94" fmla="*/ 84 w 148"/>
                  <a:gd name="T95" fmla="*/ 8 h 116"/>
                  <a:gd name="T96" fmla="*/ 68 w 148"/>
                  <a:gd name="T97" fmla="*/ 2 h 116"/>
                  <a:gd name="T98" fmla="*/ 64 w 148"/>
                  <a:gd name="T9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16">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3" name="Freeform 645"/>
              <p:cNvSpPr>
                <a:spLocks/>
              </p:cNvSpPr>
              <p:nvPr/>
            </p:nvSpPr>
            <p:spPr bwMode="auto">
              <a:xfrm>
                <a:off x="3121" y="1773"/>
                <a:ext cx="98" cy="54"/>
              </a:xfrm>
              <a:custGeom>
                <a:avLst/>
                <a:gdLst>
                  <a:gd name="T0" fmla="*/ 22 w 98"/>
                  <a:gd name="T1" fmla="*/ 54 h 54"/>
                  <a:gd name="T2" fmla="*/ 22 w 98"/>
                  <a:gd name="T3" fmla="*/ 54 h 54"/>
                  <a:gd name="T4" fmla="*/ 22 w 98"/>
                  <a:gd name="T5" fmla="*/ 54 h 54"/>
                  <a:gd name="T6" fmla="*/ 10 w 98"/>
                  <a:gd name="T7" fmla="*/ 46 h 54"/>
                  <a:gd name="T8" fmla="*/ 2 w 98"/>
                  <a:gd name="T9" fmla="*/ 38 h 54"/>
                  <a:gd name="T10" fmla="*/ 2 w 98"/>
                  <a:gd name="T11" fmla="*/ 38 h 54"/>
                  <a:gd name="T12" fmla="*/ 2 w 98"/>
                  <a:gd name="T13" fmla="*/ 38 h 54"/>
                  <a:gd name="T14" fmla="*/ 0 w 98"/>
                  <a:gd name="T15" fmla="*/ 30 h 54"/>
                  <a:gd name="T16" fmla="*/ 0 w 98"/>
                  <a:gd name="T17" fmla="*/ 30 h 54"/>
                  <a:gd name="T18" fmla="*/ 0 w 98"/>
                  <a:gd name="T19" fmla="*/ 28 h 54"/>
                  <a:gd name="T20" fmla="*/ 2 w 98"/>
                  <a:gd name="T21" fmla="*/ 24 h 54"/>
                  <a:gd name="T22" fmla="*/ 2 w 98"/>
                  <a:gd name="T23" fmla="*/ 24 h 54"/>
                  <a:gd name="T24" fmla="*/ 2 w 98"/>
                  <a:gd name="T25" fmla="*/ 22 h 54"/>
                  <a:gd name="T26" fmla="*/ 8 w 98"/>
                  <a:gd name="T27" fmla="*/ 18 h 54"/>
                  <a:gd name="T28" fmla="*/ 18 w 98"/>
                  <a:gd name="T29" fmla="*/ 14 h 54"/>
                  <a:gd name="T30" fmla="*/ 18 w 98"/>
                  <a:gd name="T31" fmla="*/ 14 h 54"/>
                  <a:gd name="T32" fmla="*/ 18 w 98"/>
                  <a:gd name="T33" fmla="*/ 14 h 54"/>
                  <a:gd name="T34" fmla="*/ 18 w 98"/>
                  <a:gd name="T35" fmla="*/ 14 h 54"/>
                  <a:gd name="T36" fmla="*/ 32 w 98"/>
                  <a:gd name="T37" fmla="*/ 14 h 54"/>
                  <a:gd name="T38" fmla="*/ 36 w 98"/>
                  <a:gd name="T39" fmla="*/ 10 h 54"/>
                  <a:gd name="T40" fmla="*/ 36 w 98"/>
                  <a:gd name="T41" fmla="*/ 10 h 54"/>
                  <a:gd name="T42" fmla="*/ 38 w 98"/>
                  <a:gd name="T43" fmla="*/ 10 h 54"/>
                  <a:gd name="T44" fmla="*/ 44 w 98"/>
                  <a:gd name="T45" fmla="*/ 10 h 54"/>
                  <a:gd name="T46" fmla="*/ 50 w 98"/>
                  <a:gd name="T47" fmla="*/ 6 h 54"/>
                  <a:gd name="T48" fmla="*/ 50 w 98"/>
                  <a:gd name="T49" fmla="*/ 6 h 54"/>
                  <a:gd name="T50" fmla="*/ 50 w 98"/>
                  <a:gd name="T51" fmla="*/ 6 h 54"/>
                  <a:gd name="T52" fmla="*/ 60 w 98"/>
                  <a:gd name="T53" fmla="*/ 6 h 54"/>
                  <a:gd name="T54" fmla="*/ 62 w 98"/>
                  <a:gd name="T55" fmla="*/ 4 h 54"/>
                  <a:gd name="T56" fmla="*/ 68 w 98"/>
                  <a:gd name="T57" fmla="*/ 0 h 54"/>
                  <a:gd name="T58" fmla="*/ 68 w 98"/>
                  <a:gd name="T59" fmla="*/ 0 h 54"/>
                  <a:gd name="T60" fmla="*/ 68 w 98"/>
                  <a:gd name="T61" fmla="*/ 0 h 54"/>
                  <a:gd name="T62" fmla="*/ 68 w 98"/>
                  <a:gd name="T63" fmla="*/ 0 h 54"/>
                  <a:gd name="T64" fmla="*/ 68 w 98"/>
                  <a:gd name="T65" fmla="*/ 0 h 54"/>
                  <a:gd name="T66" fmla="*/ 88 w 98"/>
                  <a:gd name="T67" fmla="*/ 4 h 54"/>
                  <a:gd name="T68" fmla="*/ 94 w 98"/>
                  <a:gd name="T69" fmla="*/ 8 h 54"/>
                  <a:gd name="T70" fmla="*/ 98 w 98"/>
                  <a:gd name="T71" fmla="*/ 14 h 54"/>
                  <a:gd name="T72" fmla="*/ 98 w 98"/>
                  <a:gd name="T73" fmla="*/ 14 h 54"/>
                  <a:gd name="T74" fmla="*/ 98 w 98"/>
                  <a:gd name="T75" fmla="*/ 16 h 54"/>
                  <a:gd name="T76" fmla="*/ 90 w 98"/>
                  <a:gd name="T77" fmla="*/ 24 h 54"/>
                  <a:gd name="T78" fmla="*/ 82 w 98"/>
                  <a:gd name="T79" fmla="*/ 36 h 54"/>
                  <a:gd name="T80" fmla="*/ 68 w 98"/>
                  <a:gd name="T81" fmla="*/ 50 h 54"/>
                  <a:gd name="T82" fmla="*/ 68 w 98"/>
                  <a:gd name="T83" fmla="*/ 50 h 54"/>
                  <a:gd name="T84" fmla="*/ 66 w 98"/>
                  <a:gd name="T85" fmla="*/ 50 h 54"/>
                  <a:gd name="T86" fmla="*/ 48 w 98"/>
                  <a:gd name="T87" fmla="*/ 50 h 54"/>
                  <a:gd name="T88" fmla="*/ 40 w 98"/>
                  <a:gd name="T89" fmla="*/ 52 h 54"/>
                  <a:gd name="T90" fmla="*/ 40 w 98"/>
                  <a:gd name="T91" fmla="*/ 52 h 54"/>
                  <a:gd name="T92" fmla="*/ 22 w 98"/>
                  <a:gd name="T93" fmla="*/ 54 h 54"/>
                  <a:gd name="T94" fmla="*/ 22 w 98"/>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54">
                    <a:moveTo>
                      <a:pt x="22" y="54"/>
                    </a:moveTo>
                    <a:lnTo>
                      <a:pt x="22" y="54"/>
                    </a:lnTo>
                    <a:lnTo>
                      <a:pt x="22" y="54"/>
                    </a:lnTo>
                    <a:lnTo>
                      <a:pt x="10" y="46"/>
                    </a:lnTo>
                    <a:lnTo>
                      <a:pt x="2" y="38"/>
                    </a:lnTo>
                    <a:lnTo>
                      <a:pt x="2" y="38"/>
                    </a:lnTo>
                    <a:lnTo>
                      <a:pt x="2" y="38"/>
                    </a:lnTo>
                    <a:lnTo>
                      <a:pt x="0" y="30"/>
                    </a:lnTo>
                    <a:lnTo>
                      <a:pt x="0" y="30"/>
                    </a:lnTo>
                    <a:lnTo>
                      <a:pt x="0" y="28"/>
                    </a:lnTo>
                    <a:lnTo>
                      <a:pt x="2" y="24"/>
                    </a:lnTo>
                    <a:lnTo>
                      <a:pt x="2" y="24"/>
                    </a:lnTo>
                    <a:lnTo>
                      <a:pt x="2" y="22"/>
                    </a:lnTo>
                    <a:lnTo>
                      <a:pt x="8" y="18"/>
                    </a:lnTo>
                    <a:lnTo>
                      <a:pt x="18" y="14"/>
                    </a:lnTo>
                    <a:lnTo>
                      <a:pt x="18" y="14"/>
                    </a:lnTo>
                    <a:lnTo>
                      <a:pt x="18" y="14"/>
                    </a:lnTo>
                    <a:lnTo>
                      <a:pt x="18" y="14"/>
                    </a:lnTo>
                    <a:lnTo>
                      <a:pt x="32" y="14"/>
                    </a:lnTo>
                    <a:lnTo>
                      <a:pt x="36" y="10"/>
                    </a:lnTo>
                    <a:lnTo>
                      <a:pt x="36" y="10"/>
                    </a:lnTo>
                    <a:lnTo>
                      <a:pt x="38" y="10"/>
                    </a:lnTo>
                    <a:lnTo>
                      <a:pt x="44" y="10"/>
                    </a:lnTo>
                    <a:lnTo>
                      <a:pt x="50" y="6"/>
                    </a:lnTo>
                    <a:lnTo>
                      <a:pt x="50" y="6"/>
                    </a:lnTo>
                    <a:lnTo>
                      <a:pt x="50" y="6"/>
                    </a:lnTo>
                    <a:lnTo>
                      <a:pt x="60" y="6"/>
                    </a:lnTo>
                    <a:lnTo>
                      <a:pt x="62" y="4"/>
                    </a:lnTo>
                    <a:lnTo>
                      <a:pt x="68" y="0"/>
                    </a:lnTo>
                    <a:lnTo>
                      <a:pt x="68" y="0"/>
                    </a:lnTo>
                    <a:lnTo>
                      <a:pt x="68" y="0"/>
                    </a:lnTo>
                    <a:lnTo>
                      <a:pt x="68" y="0"/>
                    </a:lnTo>
                    <a:lnTo>
                      <a:pt x="68" y="0"/>
                    </a:lnTo>
                    <a:lnTo>
                      <a:pt x="88" y="4"/>
                    </a:lnTo>
                    <a:lnTo>
                      <a:pt x="94" y="8"/>
                    </a:lnTo>
                    <a:lnTo>
                      <a:pt x="98" y="14"/>
                    </a:lnTo>
                    <a:lnTo>
                      <a:pt x="98" y="14"/>
                    </a:lnTo>
                    <a:lnTo>
                      <a:pt x="98" y="16"/>
                    </a:lnTo>
                    <a:lnTo>
                      <a:pt x="90" y="24"/>
                    </a:lnTo>
                    <a:lnTo>
                      <a:pt x="82" y="36"/>
                    </a:lnTo>
                    <a:lnTo>
                      <a:pt x="68" y="50"/>
                    </a:lnTo>
                    <a:lnTo>
                      <a:pt x="68" y="50"/>
                    </a:lnTo>
                    <a:lnTo>
                      <a:pt x="66" y="50"/>
                    </a:lnTo>
                    <a:lnTo>
                      <a:pt x="48" y="50"/>
                    </a:lnTo>
                    <a:lnTo>
                      <a:pt x="40" y="52"/>
                    </a:lnTo>
                    <a:lnTo>
                      <a:pt x="40" y="52"/>
                    </a:lnTo>
                    <a:lnTo>
                      <a:pt x="22" y="54"/>
                    </a:lnTo>
                    <a:lnTo>
                      <a:pt x="2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4" name="Freeform 646"/>
              <p:cNvSpPr>
                <a:spLocks noEditPoints="1"/>
              </p:cNvSpPr>
              <p:nvPr/>
            </p:nvSpPr>
            <p:spPr bwMode="auto">
              <a:xfrm>
                <a:off x="3119" y="1771"/>
                <a:ext cx="102" cy="58"/>
              </a:xfrm>
              <a:custGeom>
                <a:avLst/>
                <a:gdLst>
                  <a:gd name="T0" fmla="*/ 90 w 102"/>
                  <a:gd name="T1" fmla="*/ 8 h 58"/>
                  <a:gd name="T2" fmla="*/ 98 w 102"/>
                  <a:gd name="T3" fmla="*/ 18 h 58"/>
                  <a:gd name="T4" fmla="*/ 82 w 102"/>
                  <a:gd name="T5" fmla="*/ 36 h 58"/>
                  <a:gd name="T6" fmla="*/ 50 w 102"/>
                  <a:gd name="T7" fmla="*/ 50 h 58"/>
                  <a:gd name="T8" fmla="*/ 24 w 102"/>
                  <a:gd name="T9" fmla="*/ 54 h 58"/>
                  <a:gd name="T10" fmla="*/ 6 w 102"/>
                  <a:gd name="T11" fmla="*/ 38 h 58"/>
                  <a:gd name="T12" fmla="*/ 6 w 102"/>
                  <a:gd name="T13" fmla="*/ 26 h 58"/>
                  <a:gd name="T14" fmla="*/ 20 w 102"/>
                  <a:gd name="T15" fmla="*/ 18 h 58"/>
                  <a:gd name="T16" fmla="*/ 40 w 102"/>
                  <a:gd name="T17" fmla="*/ 14 h 58"/>
                  <a:gd name="T18" fmla="*/ 52 w 102"/>
                  <a:gd name="T19" fmla="*/ 10 h 58"/>
                  <a:gd name="T20" fmla="*/ 64 w 102"/>
                  <a:gd name="T21" fmla="*/ 8 h 58"/>
                  <a:gd name="T22" fmla="*/ 70 w 102"/>
                  <a:gd name="T23" fmla="*/ 0 h 58"/>
                  <a:gd name="T24" fmla="*/ 68 w 102"/>
                  <a:gd name="T25" fmla="*/ 2 h 58"/>
                  <a:gd name="T26" fmla="*/ 62 w 102"/>
                  <a:gd name="T27" fmla="*/ 4 h 58"/>
                  <a:gd name="T28" fmla="*/ 60 w 102"/>
                  <a:gd name="T29" fmla="*/ 6 h 58"/>
                  <a:gd name="T30" fmla="*/ 52 w 102"/>
                  <a:gd name="T31" fmla="*/ 6 h 58"/>
                  <a:gd name="T32" fmla="*/ 46 w 102"/>
                  <a:gd name="T33" fmla="*/ 10 h 58"/>
                  <a:gd name="T34" fmla="*/ 40 w 102"/>
                  <a:gd name="T35" fmla="*/ 10 h 58"/>
                  <a:gd name="T36" fmla="*/ 34 w 102"/>
                  <a:gd name="T37" fmla="*/ 14 h 58"/>
                  <a:gd name="T38" fmla="*/ 22 w 102"/>
                  <a:gd name="T39" fmla="*/ 14 h 58"/>
                  <a:gd name="T40" fmla="*/ 20 w 102"/>
                  <a:gd name="T41" fmla="*/ 14 h 58"/>
                  <a:gd name="T42" fmla="*/ 10 w 102"/>
                  <a:gd name="T43" fmla="*/ 16 h 58"/>
                  <a:gd name="T44" fmla="*/ 8 w 102"/>
                  <a:gd name="T45" fmla="*/ 18 h 58"/>
                  <a:gd name="T46" fmla="*/ 2 w 102"/>
                  <a:gd name="T47" fmla="*/ 24 h 58"/>
                  <a:gd name="T48" fmla="*/ 0 w 102"/>
                  <a:gd name="T49" fmla="*/ 30 h 58"/>
                  <a:gd name="T50" fmla="*/ 0 w 102"/>
                  <a:gd name="T51" fmla="*/ 32 h 58"/>
                  <a:gd name="T52" fmla="*/ 2 w 102"/>
                  <a:gd name="T53" fmla="*/ 40 h 58"/>
                  <a:gd name="T54" fmla="*/ 10 w 102"/>
                  <a:gd name="T55" fmla="*/ 48 h 58"/>
                  <a:gd name="T56" fmla="*/ 22 w 102"/>
                  <a:gd name="T57" fmla="*/ 58 h 58"/>
                  <a:gd name="T58" fmla="*/ 24 w 102"/>
                  <a:gd name="T59" fmla="*/ 58 h 58"/>
                  <a:gd name="T60" fmla="*/ 42 w 102"/>
                  <a:gd name="T61" fmla="*/ 58 h 58"/>
                  <a:gd name="T62" fmla="*/ 44 w 102"/>
                  <a:gd name="T63" fmla="*/ 56 h 58"/>
                  <a:gd name="T64" fmla="*/ 68 w 102"/>
                  <a:gd name="T65" fmla="*/ 54 h 58"/>
                  <a:gd name="T66" fmla="*/ 70 w 102"/>
                  <a:gd name="T67" fmla="*/ 52 h 58"/>
                  <a:gd name="T68" fmla="*/ 84 w 102"/>
                  <a:gd name="T69" fmla="*/ 40 h 58"/>
                  <a:gd name="T70" fmla="*/ 94 w 102"/>
                  <a:gd name="T71" fmla="*/ 26 h 58"/>
                  <a:gd name="T72" fmla="*/ 102 w 102"/>
                  <a:gd name="T73" fmla="*/ 20 h 58"/>
                  <a:gd name="T74" fmla="*/ 102 w 102"/>
                  <a:gd name="T75" fmla="*/ 14 h 58"/>
                  <a:gd name="T76" fmla="*/ 98 w 102"/>
                  <a:gd name="T77" fmla="*/ 10 h 58"/>
                  <a:gd name="T78" fmla="*/ 92 w 102"/>
                  <a:gd name="T79" fmla="*/ 4 h 58"/>
                  <a:gd name="T80" fmla="*/ 90 w 102"/>
                  <a:gd name="T81" fmla="*/ 4 h 58"/>
                  <a:gd name="T82" fmla="*/ 70 w 102"/>
                  <a:gd name="T83" fmla="*/ 0 h 58"/>
                  <a:gd name="T84" fmla="*/ 70 w 102"/>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58">
                    <a:moveTo>
                      <a:pt x="70" y="4"/>
                    </a:moveTo>
                    <a:lnTo>
                      <a:pt x="90" y="8"/>
                    </a:lnTo>
                    <a:lnTo>
                      <a:pt x="94" y="12"/>
                    </a:lnTo>
                    <a:lnTo>
                      <a:pt x="98" y="18"/>
                    </a:lnTo>
                    <a:lnTo>
                      <a:pt x="92" y="24"/>
                    </a:lnTo>
                    <a:lnTo>
                      <a:pt x="82" y="36"/>
                    </a:lnTo>
                    <a:lnTo>
                      <a:pt x="68" y="50"/>
                    </a:lnTo>
                    <a:lnTo>
                      <a:pt x="50" y="50"/>
                    </a:lnTo>
                    <a:lnTo>
                      <a:pt x="42" y="54"/>
                    </a:lnTo>
                    <a:lnTo>
                      <a:pt x="24" y="54"/>
                    </a:lnTo>
                    <a:lnTo>
                      <a:pt x="14" y="46"/>
                    </a:lnTo>
                    <a:lnTo>
                      <a:pt x="6" y="38"/>
                    </a:lnTo>
                    <a:lnTo>
                      <a:pt x="4" y="32"/>
                    </a:lnTo>
                    <a:lnTo>
                      <a:pt x="6" y="26"/>
                    </a:lnTo>
                    <a:lnTo>
                      <a:pt x="12" y="20"/>
                    </a:lnTo>
                    <a:lnTo>
                      <a:pt x="20" y="18"/>
                    </a:lnTo>
                    <a:lnTo>
                      <a:pt x="36" y="18"/>
                    </a:lnTo>
                    <a:lnTo>
                      <a:pt x="40" y="14"/>
                    </a:lnTo>
                    <a:lnTo>
                      <a:pt x="48" y="14"/>
                    </a:lnTo>
                    <a:lnTo>
                      <a:pt x="52" y="10"/>
                    </a:lnTo>
                    <a:lnTo>
                      <a:pt x="62" y="10"/>
                    </a:lnTo>
                    <a:lnTo>
                      <a:pt x="64" y="8"/>
                    </a:lnTo>
                    <a:lnTo>
                      <a:pt x="70" y="4"/>
                    </a:lnTo>
                    <a:close/>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5" name="Freeform 647"/>
              <p:cNvSpPr>
                <a:spLocks/>
              </p:cNvSpPr>
              <p:nvPr/>
            </p:nvSpPr>
            <p:spPr bwMode="auto">
              <a:xfrm>
                <a:off x="3123" y="1775"/>
                <a:ext cx="94" cy="50"/>
              </a:xfrm>
              <a:custGeom>
                <a:avLst/>
                <a:gdLst>
                  <a:gd name="T0" fmla="*/ 66 w 94"/>
                  <a:gd name="T1" fmla="*/ 0 h 50"/>
                  <a:gd name="T2" fmla="*/ 86 w 94"/>
                  <a:gd name="T3" fmla="*/ 4 h 50"/>
                  <a:gd name="T4" fmla="*/ 90 w 94"/>
                  <a:gd name="T5" fmla="*/ 8 h 50"/>
                  <a:gd name="T6" fmla="*/ 94 w 94"/>
                  <a:gd name="T7" fmla="*/ 14 h 50"/>
                  <a:gd name="T8" fmla="*/ 88 w 94"/>
                  <a:gd name="T9" fmla="*/ 20 h 50"/>
                  <a:gd name="T10" fmla="*/ 78 w 94"/>
                  <a:gd name="T11" fmla="*/ 32 h 50"/>
                  <a:gd name="T12" fmla="*/ 64 w 94"/>
                  <a:gd name="T13" fmla="*/ 46 h 50"/>
                  <a:gd name="T14" fmla="*/ 46 w 94"/>
                  <a:gd name="T15" fmla="*/ 46 h 50"/>
                  <a:gd name="T16" fmla="*/ 38 w 94"/>
                  <a:gd name="T17" fmla="*/ 50 h 50"/>
                  <a:gd name="T18" fmla="*/ 20 w 94"/>
                  <a:gd name="T19" fmla="*/ 50 h 50"/>
                  <a:gd name="T20" fmla="*/ 10 w 94"/>
                  <a:gd name="T21" fmla="*/ 42 h 50"/>
                  <a:gd name="T22" fmla="*/ 2 w 94"/>
                  <a:gd name="T23" fmla="*/ 34 h 50"/>
                  <a:gd name="T24" fmla="*/ 0 w 94"/>
                  <a:gd name="T25" fmla="*/ 28 h 50"/>
                  <a:gd name="T26" fmla="*/ 2 w 94"/>
                  <a:gd name="T27" fmla="*/ 22 h 50"/>
                  <a:gd name="T28" fmla="*/ 8 w 94"/>
                  <a:gd name="T29" fmla="*/ 16 h 50"/>
                  <a:gd name="T30" fmla="*/ 16 w 94"/>
                  <a:gd name="T31" fmla="*/ 14 h 50"/>
                  <a:gd name="T32" fmla="*/ 32 w 94"/>
                  <a:gd name="T33" fmla="*/ 14 h 50"/>
                  <a:gd name="T34" fmla="*/ 36 w 94"/>
                  <a:gd name="T35" fmla="*/ 10 h 50"/>
                  <a:gd name="T36" fmla="*/ 44 w 94"/>
                  <a:gd name="T37" fmla="*/ 10 h 50"/>
                  <a:gd name="T38" fmla="*/ 48 w 94"/>
                  <a:gd name="T39" fmla="*/ 6 h 50"/>
                  <a:gd name="T40" fmla="*/ 58 w 94"/>
                  <a:gd name="T41" fmla="*/ 6 h 50"/>
                  <a:gd name="T42" fmla="*/ 60 w 94"/>
                  <a:gd name="T43" fmla="*/ 4 h 50"/>
                  <a:gd name="T44" fmla="*/ 66 w 94"/>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50">
                    <a:moveTo>
                      <a:pt x="66" y="0"/>
                    </a:moveTo>
                    <a:lnTo>
                      <a:pt x="86" y="4"/>
                    </a:lnTo>
                    <a:lnTo>
                      <a:pt x="90" y="8"/>
                    </a:lnTo>
                    <a:lnTo>
                      <a:pt x="94" y="14"/>
                    </a:lnTo>
                    <a:lnTo>
                      <a:pt x="88" y="20"/>
                    </a:lnTo>
                    <a:lnTo>
                      <a:pt x="78" y="32"/>
                    </a:lnTo>
                    <a:lnTo>
                      <a:pt x="64" y="46"/>
                    </a:lnTo>
                    <a:lnTo>
                      <a:pt x="46" y="46"/>
                    </a:lnTo>
                    <a:lnTo>
                      <a:pt x="38" y="50"/>
                    </a:lnTo>
                    <a:lnTo>
                      <a:pt x="20" y="50"/>
                    </a:lnTo>
                    <a:lnTo>
                      <a:pt x="10" y="42"/>
                    </a:lnTo>
                    <a:lnTo>
                      <a:pt x="2" y="34"/>
                    </a:lnTo>
                    <a:lnTo>
                      <a:pt x="0" y="28"/>
                    </a:lnTo>
                    <a:lnTo>
                      <a:pt x="2" y="22"/>
                    </a:lnTo>
                    <a:lnTo>
                      <a:pt x="8" y="16"/>
                    </a:lnTo>
                    <a:lnTo>
                      <a:pt x="16" y="14"/>
                    </a:lnTo>
                    <a:lnTo>
                      <a:pt x="32" y="14"/>
                    </a:lnTo>
                    <a:lnTo>
                      <a:pt x="36" y="10"/>
                    </a:lnTo>
                    <a:lnTo>
                      <a:pt x="44" y="10"/>
                    </a:lnTo>
                    <a:lnTo>
                      <a:pt x="48" y="6"/>
                    </a:lnTo>
                    <a:lnTo>
                      <a:pt x="58" y="6"/>
                    </a:lnTo>
                    <a:lnTo>
                      <a:pt x="60" y="4"/>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6" name="Freeform 648"/>
              <p:cNvSpPr>
                <a:spLocks/>
              </p:cNvSpPr>
              <p:nvPr/>
            </p:nvSpPr>
            <p:spPr bwMode="auto">
              <a:xfrm>
                <a:off x="3119" y="1771"/>
                <a:ext cx="102" cy="58"/>
              </a:xfrm>
              <a:custGeom>
                <a:avLst/>
                <a:gdLst>
                  <a:gd name="T0" fmla="*/ 70 w 102"/>
                  <a:gd name="T1" fmla="*/ 0 h 58"/>
                  <a:gd name="T2" fmla="*/ 70 w 102"/>
                  <a:gd name="T3" fmla="*/ 0 h 58"/>
                  <a:gd name="T4" fmla="*/ 68 w 102"/>
                  <a:gd name="T5" fmla="*/ 2 h 58"/>
                  <a:gd name="T6" fmla="*/ 62 w 102"/>
                  <a:gd name="T7" fmla="*/ 4 h 58"/>
                  <a:gd name="T8" fmla="*/ 62 w 102"/>
                  <a:gd name="T9" fmla="*/ 4 h 58"/>
                  <a:gd name="T10" fmla="*/ 62 w 102"/>
                  <a:gd name="T11" fmla="*/ 6 h 58"/>
                  <a:gd name="T12" fmla="*/ 60 w 102"/>
                  <a:gd name="T13" fmla="*/ 6 h 58"/>
                  <a:gd name="T14" fmla="*/ 52 w 102"/>
                  <a:gd name="T15" fmla="*/ 6 h 58"/>
                  <a:gd name="T16" fmla="*/ 52 w 102"/>
                  <a:gd name="T17" fmla="*/ 6 h 58"/>
                  <a:gd name="T18" fmla="*/ 50 w 102"/>
                  <a:gd name="T19" fmla="*/ 6 h 58"/>
                  <a:gd name="T20" fmla="*/ 46 w 102"/>
                  <a:gd name="T21" fmla="*/ 10 h 58"/>
                  <a:gd name="T22" fmla="*/ 40 w 102"/>
                  <a:gd name="T23" fmla="*/ 10 h 58"/>
                  <a:gd name="T24" fmla="*/ 40 w 102"/>
                  <a:gd name="T25" fmla="*/ 10 h 58"/>
                  <a:gd name="T26" fmla="*/ 36 w 102"/>
                  <a:gd name="T27" fmla="*/ 12 h 58"/>
                  <a:gd name="T28" fmla="*/ 34 w 102"/>
                  <a:gd name="T29" fmla="*/ 14 h 58"/>
                  <a:gd name="T30" fmla="*/ 22 w 102"/>
                  <a:gd name="T31" fmla="*/ 14 h 58"/>
                  <a:gd name="T32" fmla="*/ 22 w 102"/>
                  <a:gd name="T33" fmla="*/ 14 h 58"/>
                  <a:gd name="T34" fmla="*/ 20 w 102"/>
                  <a:gd name="T35" fmla="*/ 14 h 58"/>
                  <a:gd name="T36" fmla="*/ 20 w 102"/>
                  <a:gd name="T37" fmla="*/ 14 h 58"/>
                  <a:gd name="T38" fmla="*/ 20 w 102"/>
                  <a:gd name="T39" fmla="*/ 14 h 58"/>
                  <a:gd name="T40" fmla="*/ 10 w 102"/>
                  <a:gd name="T41" fmla="*/ 16 h 58"/>
                  <a:gd name="T42" fmla="*/ 10 w 102"/>
                  <a:gd name="T43" fmla="*/ 16 h 58"/>
                  <a:gd name="T44" fmla="*/ 8 w 102"/>
                  <a:gd name="T45" fmla="*/ 18 h 58"/>
                  <a:gd name="T46" fmla="*/ 2 w 102"/>
                  <a:gd name="T47" fmla="*/ 24 h 58"/>
                  <a:gd name="T48" fmla="*/ 2 w 102"/>
                  <a:gd name="T49" fmla="*/ 24 h 58"/>
                  <a:gd name="T50" fmla="*/ 2 w 102"/>
                  <a:gd name="T51" fmla="*/ 24 h 58"/>
                  <a:gd name="T52" fmla="*/ 0 w 102"/>
                  <a:gd name="T53" fmla="*/ 30 h 58"/>
                  <a:gd name="T54" fmla="*/ 0 w 102"/>
                  <a:gd name="T55" fmla="*/ 30 h 58"/>
                  <a:gd name="T56" fmla="*/ 0 w 102"/>
                  <a:gd name="T57" fmla="*/ 32 h 58"/>
                  <a:gd name="T58" fmla="*/ 2 w 102"/>
                  <a:gd name="T59" fmla="*/ 40 h 58"/>
                  <a:gd name="T60" fmla="*/ 2 w 102"/>
                  <a:gd name="T61" fmla="*/ 40 h 58"/>
                  <a:gd name="T62" fmla="*/ 2 w 102"/>
                  <a:gd name="T63" fmla="*/ 42 h 58"/>
                  <a:gd name="T64" fmla="*/ 10 w 102"/>
                  <a:gd name="T65" fmla="*/ 48 h 58"/>
                  <a:gd name="T66" fmla="*/ 22 w 102"/>
                  <a:gd name="T67" fmla="*/ 58 h 58"/>
                  <a:gd name="T68" fmla="*/ 22 w 102"/>
                  <a:gd name="T69" fmla="*/ 58 h 58"/>
                  <a:gd name="T70" fmla="*/ 24 w 102"/>
                  <a:gd name="T71" fmla="*/ 58 h 58"/>
                  <a:gd name="T72" fmla="*/ 24 w 102"/>
                  <a:gd name="T73" fmla="*/ 58 h 58"/>
                  <a:gd name="T74" fmla="*/ 24 w 102"/>
                  <a:gd name="T75" fmla="*/ 58 h 58"/>
                  <a:gd name="T76" fmla="*/ 42 w 102"/>
                  <a:gd name="T77" fmla="*/ 58 h 58"/>
                  <a:gd name="T78" fmla="*/ 42 w 102"/>
                  <a:gd name="T79" fmla="*/ 58 h 58"/>
                  <a:gd name="T80" fmla="*/ 44 w 102"/>
                  <a:gd name="T81" fmla="*/ 56 h 58"/>
                  <a:gd name="T82" fmla="*/ 50 w 102"/>
                  <a:gd name="T83" fmla="*/ 54 h 58"/>
                  <a:gd name="T84" fmla="*/ 68 w 102"/>
                  <a:gd name="T85" fmla="*/ 54 h 58"/>
                  <a:gd name="T86" fmla="*/ 68 w 102"/>
                  <a:gd name="T87" fmla="*/ 54 h 58"/>
                  <a:gd name="T88" fmla="*/ 70 w 102"/>
                  <a:gd name="T89" fmla="*/ 52 h 58"/>
                  <a:gd name="T90" fmla="*/ 84 w 102"/>
                  <a:gd name="T91" fmla="*/ 40 h 58"/>
                  <a:gd name="T92" fmla="*/ 84 w 102"/>
                  <a:gd name="T93" fmla="*/ 40 h 58"/>
                  <a:gd name="T94" fmla="*/ 84 w 102"/>
                  <a:gd name="T95" fmla="*/ 40 h 58"/>
                  <a:gd name="T96" fmla="*/ 94 w 102"/>
                  <a:gd name="T97" fmla="*/ 26 h 58"/>
                  <a:gd name="T98" fmla="*/ 102 w 102"/>
                  <a:gd name="T99" fmla="*/ 20 h 58"/>
                  <a:gd name="T100" fmla="*/ 102 w 102"/>
                  <a:gd name="T101" fmla="*/ 20 h 58"/>
                  <a:gd name="T102" fmla="*/ 102 w 102"/>
                  <a:gd name="T103" fmla="*/ 18 h 58"/>
                  <a:gd name="T104" fmla="*/ 102 w 102"/>
                  <a:gd name="T105" fmla="*/ 14 h 58"/>
                  <a:gd name="T106" fmla="*/ 98 w 102"/>
                  <a:gd name="T107" fmla="*/ 10 h 58"/>
                  <a:gd name="T108" fmla="*/ 98 w 102"/>
                  <a:gd name="T109" fmla="*/ 10 h 58"/>
                  <a:gd name="T110" fmla="*/ 96 w 102"/>
                  <a:gd name="T111" fmla="*/ 8 h 58"/>
                  <a:gd name="T112" fmla="*/ 92 w 102"/>
                  <a:gd name="T113" fmla="*/ 4 h 58"/>
                  <a:gd name="T114" fmla="*/ 92 w 102"/>
                  <a:gd name="T115" fmla="*/ 4 h 58"/>
                  <a:gd name="T116" fmla="*/ 90 w 102"/>
                  <a:gd name="T117" fmla="*/ 4 h 58"/>
                  <a:gd name="T118" fmla="*/ 70 w 102"/>
                  <a:gd name="T119" fmla="*/ 0 h 58"/>
                  <a:gd name="T120" fmla="*/ 70 w 102"/>
                  <a:gd name="T121" fmla="*/ 0 h 58"/>
                  <a:gd name="T122" fmla="*/ 70 w 102"/>
                  <a:gd name="T123" fmla="*/ 0 h 58"/>
                  <a:gd name="T124" fmla="*/ 70 w 102"/>
                  <a:gd name="T1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 h="58">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7" name="Freeform 649"/>
              <p:cNvSpPr>
                <a:spLocks/>
              </p:cNvSpPr>
              <p:nvPr/>
            </p:nvSpPr>
            <p:spPr bwMode="auto">
              <a:xfrm>
                <a:off x="3075" y="1801"/>
                <a:ext cx="56" cy="26"/>
              </a:xfrm>
              <a:custGeom>
                <a:avLst/>
                <a:gdLst>
                  <a:gd name="T0" fmla="*/ 12 w 56"/>
                  <a:gd name="T1" fmla="*/ 26 h 26"/>
                  <a:gd name="T2" fmla="*/ 2 w 56"/>
                  <a:gd name="T3" fmla="*/ 22 h 26"/>
                  <a:gd name="T4" fmla="*/ 2 w 56"/>
                  <a:gd name="T5" fmla="*/ 22 h 26"/>
                  <a:gd name="T6" fmla="*/ 0 w 56"/>
                  <a:gd name="T7" fmla="*/ 22 h 26"/>
                  <a:gd name="T8" fmla="*/ 0 w 56"/>
                  <a:gd name="T9" fmla="*/ 22 h 26"/>
                  <a:gd name="T10" fmla="*/ 0 w 56"/>
                  <a:gd name="T11" fmla="*/ 20 h 26"/>
                  <a:gd name="T12" fmla="*/ 2 w 56"/>
                  <a:gd name="T13" fmla="*/ 14 h 26"/>
                  <a:gd name="T14" fmla="*/ 2 w 56"/>
                  <a:gd name="T15" fmla="*/ 14 h 26"/>
                  <a:gd name="T16" fmla="*/ 4 w 56"/>
                  <a:gd name="T17" fmla="*/ 14 h 26"/>
                  <a:gd name="T18" fmla="*/ 10 w 56"/>
                  <a:gd name="T19" fmla="*/ 8 h 26"/>
                  <a:gd name="T20" fmla="*/ 10 w 56"/>
                  <a:gd name="T21" fmla="*/ 8 h 26"/>
                  <a:gd name="T22" fmla="*/ 10 w 56"/>
                  <a:gd name="T23" fmla="*/ 6 h 26"/>
                  <a:gd name="T24" fmla="*/ 10 w 56"/>
                  <a:gd name="T25" fmla="*/ 6 h 26"/>
                  <a:gd name="T26" fmla="*/ 12 w 56"/>
                  <a:gd name="T27" fmla="*/ 6 h 26"/>
                  <a:gd name="T28" fmla="*/ 20 w 56"/>
                  <a:gd name="T29" fmla="*/ 10 h 26"/>
                  <a:gd name="T30" fmla="*/ 32 w 56"/>
                  <a:gd name="T31" fmla="*/ 8 h 26"/>
                  <a:gd name="T32" fmla="*/ 44 w 56"/>
                  <a:gd name="T33" fmla="*/ 4 h 26"/>
                  <a:gd name="T34" fmla="*/ 50 w 56"/>
                  <a:gd name="T35" fmla="*/ 0 h 26"/>
                  <a:gd name="T36" fmla="*/ 50 w 56"/>
                  <a:gd name="T37" fmla="*/ 0 h 26"/>
                  <a:gd name="T38" fmla="*/ 52 w 56"/>
                  <a:gd name="T39" fmla="*/ 0 h 26"/>
                  <a:gd name="T40" fmla="*/ 52 w 56"/>
                  <a:gd name="T41" fmla="*/ 0 h 26"/>
                  <a:gd name="T42" fmla="*/ 52 w 56"/>
                  <a:gd name="T43" fmla="*/ 0 h 26"/>
                  <a:gd name="T44" fmla="*/ 52 w 56"/>
                  <a:gd name="T45" fmla="*/ 0 h 26"/>
                  <a:gd name="T46" fmla="*/ 54 w 56"/>
                  <a:gd name="T47" fmla="*/ 2 h 26"/>
                  <a:gd name="T48" fmla="*/ 56 w 56"/>
                  <a:gd name="T49" fmla="*/ 8 h 26"/>
                  <a:gd name="T50" fmla="*/ 56 w 56"/>
                  <a:gd name="T51" fmla="*/ 8 h 26"/>
                  <a:gd name="T52" fmla="*/ 54 w 56"/>
                  <a:gd name="T53" fmla="*/ 10 h 26"/>
                  <a:gd name="T54" fmla="*/ 34 w 56"/>
                  <a:gd name="T55" fmla="*/ 26 h 26"/>
                  <a:gd name="T56" fmla="*/ 34 w 56"/>
                  <a:gd name="T57" fmla="*/ 26 h 26"/>
                  <a:gd name="T58" fmla="*/ 34 w 56"/>
                  <a:gd name="T59" fmla="*/ 26 h 26"/>
                  <a:gd name="T60" fmla="*/ 34 w 56"/>
                  <a:gd name="T61" fmla="*/ 26 h 26"/>
                  <a:gd name="T62" fmla="*/ 22 w 56"/>
                  <a:gd name="T63" fmla="*/ 26 h 26"/>
                  <a:gd name="T64" fmla="*/ 22 w 56"/>
                  <a:gd name="T65" fmla="*/ 26 h 26"/>
                  <a:gd name="T66" fmla="*/ 12 w 56"/>
                  <a:gd name="T67" fmla="*/ 26 h 26"/>
                  <a:gd name="T68" fmla="*/ 12 w 56"/>
                  <a:gd name="T6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26">
                    <a:moveTo>
                      <a:pt x="12" y="26"/>
                    </a:moveTo>
                    <a:lnTo>
                      <a:pt x="2" y="22"/>
                    </a:lnTo>
                    <a:lnTo>
                      <a:pt x="2" y="22"/>
                    </a:lnTo>
                    <a:lnTo>
                      <a:pt x="0" y="22"/>
                    </a:lnTo>
                    <a:lnTo>
                      <a:pt x="0" y="22"/>
                    </a:lnTo>
                    <a:lnTo>
                      <a:pt x="0" y="20"/>
                    </a:lnTo>
                    <a:lnTo>
                      <a:pt x="2" y="14"/>
                    </a:lnTo>
                    <a:lnTo>
                      <a:pt x="2" y="14"/>
                    </a:lnTo>
                    <a:lnTo>
                      <a:pt x="4" y="14"/>
                    </a:lnTo>
                    <a:lnTo>
                      <a:pt x="10" y="8"/>
                    </a:lnTo>
                    <a:lnTo>
                      <a:pt x="10" y="8"/>
                    </a:lnTo>
                    <a:lnTo>
                      <a:pt x="10" y="6"/>
                    </a:lnTo>
                    <a:lnTo>
                      <a:pt x="10" y="6"/>
                    </a:lnTo>
                    <a:lnTo>
                      <a:pt x="12" y="6"/>
                    </a:lnTo>
                    <a:lnTo>
                      <a:pt x="20" y="10"/>
                    </a:lnTo>
                    <a:lnTo>
                      <a:pt x="32" y="8"/>
                    </a:lnTo>
                    <a:lnTo>
                      <a:pt x="44" y="4"/>
                    </a:lnTo>
                    <a:lnTo>
                      <a:pt x="50" y="0"/>
                    </a:lnTo>
                    <a:lnTo>
                      <a:pt x="50" y="0"/>
                    </a:lnTo>
                    <a:lnTo>
                      <a:pt x="52" y="0"/>
                    </a:lnTo>
                    <a:lnTo>
                      <a:pt x="52" y="0"/>
                    </a:lnTo>
                    <a:lnTo>
                      <a:pt x="52" y="0"/>
                    </a:lnTo>
                    <a:lnTo>
                      <a:pt x="52" y="0"/>
                    </a:lnTo>
                    <a:lnTo>
                      <a:pt x="54" y="2"/>
                    </a:lnTo>
                    <a:lnTo>
                      <a:pt x="56" y="8"/>
                    </a:lnTo>
                    <a:lnTo>
                      <a:pt x="56" y="8"/>
                    </a:lnTo>
                    <a:lnTo>
                      <a:pt x="54" y="10"/>
                    </a:lnTo>
                    <a:lnTo>
                      <a:pt x="34" y="26"/>
                    </a:lnTo>
                    <a:lnTo>
                      <a:pt x="34" y="26"/>
                    </a:lnTo>
                    <a:lnTo>
                      <a:pt x="34" y="26"/>
                    </a:lnTo>
                    <a:lnTo>
                      <a:pt x="34" y="26"/>
                    </a:lnTo>
                    <a:lnTo>
                      <a:pt x="22" y="26"/>
                    </a:lnTo>
                    <a:lnTo>
                      <a:pt x="2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8" name="Freeform 650"/>
              <p:cNvSpPr>
                <a:spLocks noEditPoints="1"/>
              </p:cNvSpPr>
              <p:nvPr/>
            </p:nvSpPr>
            <p:spPr bwMode="auto">
              <a:xfrm>
                <a:off x="3073" y="1799"/>
                <a:ext cx="58" cy="30"/>
              </a:xfrm>
              <a:custGeom>
                <a:avLst/>
                <a:gdLst>
                  <a:gd name="T0" fmla="*/ 54 w 58"/>
                  <a:gd name="T1" fmla="*/ 4 h 30"/>
                  <a:gd name="T2" fmla="*/ 56 w 58"/>
                  <a:gd name="T3" fmla="*/ 10 h 30"/>
                  <a:gd name="T4" fmla="*/ 48 w 58"/>
                  <a:gd name="T5" fmla="*/ 16 h 30"/>
                  <a:gd name="T6" fmla="*/ 42 w 58"/>
                  <a:gd name="T7" fmla="*/ 20 h 30"/>
                  <a:gd name="T8" fmla="*/ 36 w 58"/>
                  <a:gd name="T9" fmla="*/ 26 h 30"/>
                  <a:gd name="T10" fmla="*/ 24 w 58"/>
                  <a:gd name="T11" fmla="*/ 26 h 30"/>
                  <a:gd name="T12" fmla="*/ 14 w 58"/>
                  <a:gd name="T13" fmla="*/ 26 h 30"/>
                  <a:gd name="T14" fmla="*/ 4 w 58"/>
                  <a:gd name="T15" fmla="*/ 22 h 30"/>
                  <a:gd name="T16" fmla="*/ 6 w 58"/>
                  <a:gd name="T17" fmla="*/ 16 h 30"/>
                  <a:gd name="T18" fmla="*/ 12 w 58"/>
                  <a:gd name="T19" fmla="*/ 10 h 30"/>
                  <a:gd name="T20" fmla="*/ 22 w 58"/>
                  <a:gd name="T21" fmla="*/ 14 h 30"/>
                  <a:gd name="T22" fmla="*/ 34 w 58"/>
                  <a:gd name="T23" fmla="*/ 12 h 30"/>
                  <a:gd name="T24" fmla="*/ 48 w 58"/>
                  <a:gd name="T25" fmla="*/ 8 h 30"/>
                  <a:gd name="T26" fmla="*/ 54 w 58"/>
                  <a:gd name="T27" fmla="*/ 4 h 30"/>
                  <a:gd name="T28" fmla="*/ 54 w 58"/>
                  <a:gd name="T29" fmla="*/ 0 h 30"/>
                  <a:gd name="T30" fmla="*/ 54 w 58"/>
                  <a:gd name="T31" fmla="*/ 0 h 30"/>
                  <a:gd name="T32" fmla="*/ 52 w 58"/>
                  <a:gd name="T33" fmla="*/ 0 h 30"/>
                  <a:gd name="T34" fmla="*/ 46 w 58"/>
                  <a:gd name="T35" fmla="*/ 4 h 30"/>
                  <a:gd name="T36" fmla="*/ 32 w 58"/>
                  <a:gd name="T37" fmla="*/ 8 h 30"/>
                  <a:gd name="T38" fmla="*/ 22 w 58"/>
                  <a:gd name="T39" fmla="*/ 10 h 30"/>
                  <a:gd name="T40" fmla="*/ 14 w 58"/>
                  <a:gd name="T41" fmla="*/ 6 h 30"/>
                  <a:gd name="T42" fmla="*/ 14 w 58"/>
                  <a:gd name="T43" fmla="*/ 6 h 30"/>
                  <a:gd name="T44" fmla="*/ 12 w 58"/>
                  <a:gd name="T45" fmla="*/ 6 h 30"/>
                  <a:gd name="T46" fmla="*/ 12 w 58"/>
                  <a:gd name="T47" fmla="*/ 6 h 30"/>
                  <a:gd name="T48" fmla="*/ 10 w 58"/>
                  <a:gd name="T49" fmla="*/ 8 h 30"/>
                  <a:gd name="T50" fmla="*/ 4 w 58"/>
                  <a:gd name="T51" fmla="*/ 14 h 30"/>
                  <a:gd name="T52" fmla="*/ 4 w 58"/>
                  <a:gd name="T53" fmla="*/ 14 h 30"/>
                  <a:gd name="T54" fmla="*/ 2 w 58"/>
                  <a:gd name="T55" fmla="*/ 16 h 30"/>
                  <a:gd name="T56" fmla="*/ 0 w 58"/>
                  <a:gd name="T57" fmla="*/ 22 h 30"/>
                  <a:gd name="T58" fmla="*/ 0 w 58"/>
                  <a:gd name="T59" fmla="*/ 22 h 30"/>
                  <a:gd name="T60" fmla="*/ 2 w 58"/>
                  <a:gd name="T61" fmla="*/ 24 h 30"/>
                  <a:gd name="T62" fmla="*/ 2 w 58"/>
                  <a:gd name="T63" fmla="*/ 24 h 30"/>
                  <a:gd name="T64" fmla="*/ 4 w 58"/>
                  <a:gd name="T65" fmla="*/ 26 h 30"/>
                  <a:gd name="T66" fmla="*/ 14 w 58"/>
                  <a:gd name="T67" fmla="*/ 30 h 30"/>
                  <a:gd name="T68" fmla="*/ 14 w 58"/>
                  <a:gd name="T69" fmla="*/ 30 h 30"/>
                  <a:gd name="T70" fmla="*/ 14 w 58"/>
                  <a:gd name="T71" fmla="*/ 30 h 30"/>
                  <a:gd name="T72" fmla="*/ 24 w 58"/>
                  <a:gd name="T73" fmla="*/ 30 h 30"/>
                  <a:gd name="T74" fmla="*/ 24 w 58"/>
                  <a:gd name="T75" fmla="*/ 30 h 30"/>
                  <a:gd name="T76" fmla="*/ 24 w 58"/>
                  <a:gd name="T77" fmla="*/ 30 h 30"/>
                  <a:gd name="T78" fmla="*/ 24 w 58"/>
                  <a:gd name="T79" fmla="*/ 30 h 30"/>
                  <a:gd name="T80" fmla="*/ 24 w 58"/>
                  <a:gd name="T81" fmla="*/ 30 h 30"/>
                  <a:gd name="T82" fmla="*/ 36 w 58"/>
                  <a:gd name="T83" fmla="*/ 30 h 30"/>
                  <a:gd name="T84" fmla="*/ 36 w 58"/>
                  <a:gd name="T85" fmla="*/ 30 h 30"/>
                  <a:gd name="T86" fmla="*/ 38 w 58"/>
                  <a:gd name="T87" fmla="*/ 28 h 30"/>
                  <a:gd name="T88" fmla="*/ 44 w 58"/>
                  <a:gd name="T89" fmla="*/ 24 h 30"/>
                  <a:gd name="T90" fmla="*/ 50 w 58"/>
                  <a:gd name="T91" fmla="*/ 20 h 30"/>
                  <a:gd name="T92" fmla="*/ 58 w 58"/>
                  <a:gd name="T93" fmla="*/ 14 h 30"/>
                  <a:gd name="T94" fmla="*/ 58 w 58"/>
                  <a:gd name="T95" fmla="*/ 14 h 30"/>
                  <a:gd name="T96" fmla="*/ 58 w 58"/>
                  <a:gd name="T97" fmla="*/ 12 h 30"/>
                  <a:gd name="T98" fmla="*/ 58 w 58"/>
                  <a:gd name="T99" fmla="*/ 10 h 30"/>
                  <a:gd name="T100" fmla="*/ 56 w 58"/>
                  <a:gd name="T101" fmla="*/ 4 h 30"/>
                  <a:gd name="T102" fmla="*/ 56 w 58"/>
                  <a:gd name="T103" fmla="*/ 4 h 30"/>
                  <a:gd name="T104" fmla="*/ 54 w 58"/>
                  <a:gd name="T105" fmla="*/ 0 h 30"/>
                  <a:gd name="T106" fmla="*/ 54 w 58"/>
                  <a:gd name="T107" fmla="*/ 0 h 30"/>
                  <a:gd name="T108" fmla="*/ 54 w 58"/>
                  <a:gd name="T109" fmla="*/ 0 h 30"/>
                  <a:gd name="T110" fmla="*/ 54 w 58"/>
                  <a:gd name="T11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30">
                    <a:moveTo>
                      <a:pt x="54" y="4"/>
                    </a:moveTo>
                    <a:lnTo>
                      <a:pt x="56" y="10"/>
                    </a:lnTo>
                    <a:lnTo>
                      <a:pt x="48" y="16"/>
                    </a:lnTo>
                    <a:lnTo>
                      <a:pt x="42" y="20"/>
                    </a:lnTo>
                    <a:lnTo>
                      <a:pt x="36" y="26"/>
                    </a:lnTo>
                    <a:lnTo>
                      <a:pt x="24" y="26"/>
                    </a:lnTo>
                    <a:lnTo>
                      <a:pt x="14" y="26"/>
                    </a:lnTo>
                    <a:lnTo>
                      <a:pt x="4" y="22"/>
                    </a:lnTo>
                    <a:lnTo>
                      <a:pt x="6" y="16"/>
                    </a:lnTo>
                    <a:lnTo>
                      <a:pt x="12" y="10"/>
                    </a:lnTo>
                    <a:lnTo>
                      <a:pt x="22" y="14"/>
                    </a:lnTo>
                    <a:lnTo>
                      <a:pt x="34" y="12"/>
                    </a:lnTo>
                    <a:lnTo>
                      <a:pt x="48" y="8"/>
                    </a:lnTo>
                    <a:lnTo>
                      <a:pt x="54" y="4"/>
                    </a:lnTo>
                    <a:close/>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9" name="Freeform 651"/>
              <p:cNvSpPr>
                <a:spLocks/>
              </p:cNvSpPr>
              <p:nvPr/>
            </p:nvSpPr>
            <p:spPr bwMode="auto">
              <a:xfrm>
                <a:off x="3077" y="1803"/>
                <a:ext cx="52" cy="22"/>
              </a:xfrm>
              <a:custGeom>
                <a:avLst/>
                <a:gdLst>
                  <a:gd name="T0" fmla="*/ 50 w 52"/>
                  <a:gd name="T1" fmla="*/ 0 h 22"/>
                  <a:gd name="T2" fmla="*/ 52 w 52"/>
                  <a:gd name="T3" fmla="*/ 6 h 22"/>
                  <a:gd name="T4" fmla="*/ 44 w 52"/>
                  <a:gd name="T5" fmla="*/ 12 h 22"/>
                  <a:gd name="T6" fmla="*/ 38 w 52"/>
                  <a:gd name="T7" fmla="*/ 16 h 22"/>
                  <a:gd name="T8" fmla="*/ 32 w 52"/>
                  <a:gd name="T9" fmla="*/ 22 h 22"/>
                  <a:gd name="T10" fmla="*/ 20 w 52"/>
                  <a:gd name="T11" fmla="*/ 22 h 22"/>
                  <a:gd name="T12" fmla="*/ 10 w 52"/>
                  <a:gd name="T13" fmla="*/ 22 h 22"/>
                  <a:gd name="T14" fmla="*/ 0 w 52"/>
                  <a:gd name="T15" fmla="*/ 18 h 22"/>
                  <a:gd name="T16" fmla="*/ 2 w 52"/>
                  <a:gd name="T17" fmla="*/ 12 h 22"/>
                  <a:gd name="T18" fmla="*/ 8 w 52"/>
                  <a:gd name="T19" fmla="*/ 6 h 22"/>
                  <a:gd name="T20" fmla="*/ 18 w 52"/>
                  <a:gd name="T21" fmla="*/ 10 h 22"/>
                  <a:gd name="T22" fmla="*/ 30 w 52"/>
                  <a:gd name="T23" fmla="*/ 8 h 22"/>
                  <a:gd name="T24" fmla="*/ 44 w 52"/>
                  <a:gd name="T25" fmla="*/ 4 h 22"/>
                  <a:gd name="T26" fmla="*/ 50 w 52"/>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2">
                    <a:moveTo>
                      <a:pt x="50" y="0"/>
                    </a:moveTo>
                    <a:lnTo>
                      <a:pt x="52" y="6"/>
                    </a:lnTo>
                    <a:lnTo>
                      <a:pt x="44" y="12"/>
                    </a:lnTo>
                    <a:lnTo>
                      <a:pt x="38" y="16"/>
                    </a:lnTo>
                    <a:lnTo>
                      <a:pt x="32" y="22"/>
                    </a:lnTo>
                    <a:lnTo>
                      <a:pt x="20" y="22"/>
                    </a:lnTo>
                    <a:lnTo>
                      <a:pt x="10" y="22"/>
                    </a:lnTo>
                    <a:lnTo>
                      <a:pt x="0" y="18"/>
                    </a:lnTo>
                    <a:lnTo>
                      <a:pt x="2" y="12"/>
                    </a:lnTo>
                    <a:lnTo>
                      <a:pt x="8" y="6"/>
                    </a:lnTo>
                    <a:lnTo>
                      <a:pt x="18" y="10"/>
                    </a:lnTo>
                    <a:lnTo>
                      <a:pt x="30" y="8"/>
                    </a:lnTo>
                    <a:lnTo>
                      <a:pt x="44"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0" name="Freeform 652"/>
              <p:cNvSpPr>
                <a:spLocks/>
              </p:cNvSpPr>
              <p:nvPr/>
            </p:nvSpPr>
            <p:spPr bwMode="auto">
              <a:xfrm>
                <a:off x="3073" y="1799"/>
                <a:ext cx="58" cy="30"/>
              </a:xfrm>
              <a:custGeom>
                <a:avLst/>
                <a:gdLst>
                  <a:gd name="T0" fmla="*/ 54 w 58"/>
                  <a:gd name="T1" fmla="*/ 0 h 30"/>
                  <a:gd name="T2" fmla="*/ 54 w 58"/>
                  <a:gd name="T3" fmla="*/ 0 h 30"/>
                  <a:gd name="T4" fmla="*/ 52 w 58"/>
                  <a:gd name="T5" fmla="*/ 0 h 30"/>
                  <a:gd name="T6" fmla="*/ 46 w 58"/>
                  <a:gd name="T7" fmla="*/ 4 h 30"/>
                  <a:gd name="T8" fmla="*/ 32 w 58"/>
                  <a:gd name="T9" fmla="*/ 8 h 30"/>
                  <a:gd name="T10" fmla="*/ 22 w 58"/>
                  <a:gd name="T11" fmla="*/ 10 h 30"/>
                  <a:gd name="T12" fmla="*/ 14 w 58"/>
                  <a:gd name="T13" fmla="*/ 6 h 30"/>
                  <a:gd name="T14" fmla="*/ 14 w 58"/>
                  <a:gd name="T15" fmla="*/ 6 h 30"/>
                  <a:gd name="T16" fmla="*/ 12 w 58"/>
                  <a:gd name="T17" fmla="*/ 6 h 30"/>
                  <a:gd name="T18" fmla="*/ 12 w 58"/>
                  <a:gd name="T19" fmla="*/ 6 h 30"/>
                  <a:gd name="T20" fmla="*/ 10 w 58"/>
                  <a:gd name="T21" fmla="*/ 8 h 30"/>
                  <a:gd name="T22" fmla="*/ 4 w 58"/>
                  <a:gd name="T23" fmla="*/ 14 h 30"/>
                  <a:gd name="T24" fmla="*/ 4 w 58"/>
                  <a:gd name="T25" fmla="*/ 14 h 30"/>
                  <a:gd name="T26" fmla="*/ 2 w 58"/>
                  <a:gd name="T27" fmla="*/ 16 h 30"/>
                  <a:gd name="T28" fmla="*/ 0 w 58"/>
                  <a:gd name="T29" fmla="*/ 22 h 30"/>
                  <a:gd name="T30" fmla="*/ 0 w 58"/>
                  <a:gd name="T31" fmla="*/ 22 h 30"/>
                  <a:gd name="T32" fmla="*/ 2 w 58"/>
                  <a:gd name="T33" fmla="*/ 24 h 30"/>
                  <a:gd name="T34" fmla="*/ 2 w 58"/>
                  <a:gd name="T35" fmla="*/ 24 h 30"/>
                  <a:gd name="T36" fmla="*/ 4 w 58"/>
                  <a:gd name="T37" fmla="*/ 26 h 30"/>
                  <a:gd name="T38" fmla="*/ 14 w 58"/>
                  <a:gd name="T39" fmla="*/ 30 h 30"/>
                  <a:gd name="T40" fmla="*/ 14 w 58"/>
                  <a:gd name="T41" fmla="*/ 30 h 30"/>
                  <a:gd name="T42" fmla="*/ 14 w 58"/>
                  <a:gd name="T43" fmla="*/ 30 h 30"/>
                  <a:gd name="T44" fmla="*/ 24 w 58"/>
                  <a:gd name="T45" fmla="*/ 30 h 30"/>
                  <a:gd name="T46" fmla="*/ 24 w 58"/>
                  <a:gd name="T47" fmla="*/ 30 h 30"/>
                  <a:gd name="T48" fmla="*/ 24 w 58"/>
                  <a:gd name="T49" fmla="*/ 30 h 30"/>
                  <a:gd name="T50" fmla="*/ 24 w 58"/>
                  <a:gd name="T51" fmla="*/ 30 h 30"/>
                  <a:gd name="T52" fmla="*/ 24 w 58"/>
                  <a:gd name="T53" fmla="*/ 30 h 30"/>
                  <a:gd name="T54" fmla="*/ 36 w 58"/>
                  <a:gd name="T55" fmla="*/ 30 h 30"/>
                  <a:gd name="T56" fmla="*/ 36 w 58"/>
                  <a:gd name="T57" fmla="*/ 30 h 30"/>
                  <a:gd name="T58" fmla="*/ 38 w 58"/>
                  <a:gd name="T59" fmla="*/ 28 h 30"/>
                  <a:gd name="T60" fmla="*/ 44 w 58"/>
                  <a:gd name="T61" fmla="*/ 24 h 30"/>
                  <a:gd name="T62" fmla="*/ 50 w 58"/>
                  <a:gd name="T63" fmla="*/ 20 h 30"/>
                  <a:gd name="T64" fmla="*/ 58 w 58"/>
                  <a:gd name="T65" fmla="*/ 14 h 30"/>
                  <a:gd name="T66" fmla="*/ 58 w 58"/>
                  <a:gd name="T67" fmla="*/ 14 h 30"/>
                  <a:gd name="T68" fmla="*/ 58 w 58"/>
                  <a:gd name="T69" fmla="*/ 12 h 30"/>
                  <a:gd name="T70" fmla="*/ 58 w 58"/>
                  <a:gd name="T71" fmla="*/ 10 h 30"/>
                  <a:gd name="T72" fmla="*/ 56 w 58"/>
                  <a:gd name="T73" fmla="*/ 4 h 30"/>
                  <a:gd name="T74" fmla="*/ 56 w 58"/>
                  <a:gd name="T75" fmla="*/ 4 h 30"/>
                  <a:gd name="T76" fmla="*/ 54 w 58"/>
                  <a:gd name="T77" fmla="*/ 0 h 30"/>
                  <a:gd name="T78" fmla="*/ 54 w 58"/>
                  <a:gd name="T79" fmla="*/ 0 h 30"/>
                  <a:gd name="T80" fmla="*/ 54 w 58"/>
                  <a:gd name="T81" fmla="*/ 0 h 30"/>
                  <a:gd name="T82" fmla="*/ 54 w 58"/>
                  <a:gd name="T8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 h="30">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1" name="Freeform 653"/>
              <p:cNvSpPr>
                <a:spLocks/>
              </p:cNvSpPr>
              <p:nvPr/>
            </p:nvSpPr>
            <p:spPr bwMode="auto">
              <a:xfrm>
                <a:off x="3081" y="1807"/>
                <a:ext cx="88" cy="72"/>
              </a:xfrm>
              <a:custGeom>
                <a:avLst/>
                <a:gdLst>
                  <a:gd name="T0" fmla="*/ 58 w 88"/>
                  <a:gd name="T1" fmla="*/ 72 h 72"/>
                  <a:gd name="T2" fmla="*/ 46 w 88"/>
                  <a:gd name="T3" fmla="*/ 62 h 72"/>
                  <a:gd name="T4" fmla="*/ 28 w 88"/>
                  <a:gd name="T5" fmla="*/ 48 h 72"/>
                  <a:gd name="T6" fmla="*/ 22 w 88"/>
                  <a:gd name="T7" fmla="*/ 34 h 72"/>
                  <a:gd name="T8" fmla="*/ 10 w 88"/>
                  <a:gd name="T9" fmla="*/ 36 h 72"/>
                  <a:gd name="T10" fmla="*/ 10 w 88"/>
                  <a:gd name="T11" fmla="*/ 36 h 72"/>
                  <a:gd name="T12" fmla="*/ 8 w 88"/>
                  <a:gd name="T13" fmla="*/ 36 h 72"/>
                  <a:gd name="T14" fmla="*/ 2 w 88"/>
                  <a:gd name="T15" fmla="*/ 34 h 72"/>
                  <a:gd name="T16" fmla="*/ 0 w 88"/>
                  <a:gd name="T17" fmla="*/ 24 h 72"/>
                  <a:gd name="T18" fmla="*/ 0 w 88"/>
                  <a:gd name="T19" fmla="*/ 22 h 72"/>
                  <a:gd name="T20" fmla="*/ 4 w 88"/>
                  <a:gd name="T21" fmla="*/ 18 h 72"/>
                  <a:gd name="T22" fmla="*/ 6 w 88"/>
                  <a:gd name="T23" fmla="*/ 18 h 72"/>
                  <a:gd name="T24" fmla="*/ 10 w 88"/>
                  <a:gd name="T25" fmla="*/ 20 h 72"/>
                  <a:gd name="T26" fmla="*/ 26 w 88"/>
                  <a:gd name="T27" fmla="*/ 18 h 72"/>
                  <a:gd name="T28" fmla="*/ 44 w 88"/>
                  <a:gd name="T29" fmla="*/ 0 h 72"/>
                  <a:gd name="T30" fmla="*/ 46 w 88"/>
                  <a:gd name="T31" fmla="*/ 0 h 72"/>
                  <a:gd name="T32" fmla="*/ 54 w 88"/>
                  <a:gd name="T33" fmla="*/ 8 h 72"/>
                  <a:gd name="T34" fmla="*/ 72 w 88"/>
                  <a:gd name="T35" fmla="*/ 16 h 72"/>
                  <a:gd name="T36" fmla="*/ 80 w 88"/>
                  <a:gd name="T37" fmla="*/ 14 h 72"/>
                  <a:gd name="T38" fmla="*/ 80 w 88"/>
                  <a:gd name="T39" fmla="*/ 14 h 72"/>
                  <a:gd name="T40" fmla="*/ 84 w 88"/>
                  <a:gd name="T41" fmla="*/ 24 h 72"/>
                  <a:gd name="T42" fmla="*/ 88 w 88"/>
                  <a:gd name="T43" fmla="*/ 28 h 72"/>
                  <a:gd name="T44" fmla="*/ 84 w 88"/>
                  <a:gd name="T45" fmla="*/ 34 h 72"/>
                  <a:gd name="T46" fmla="*/ 82 w 88"/>
                  <a:gd name="T47" fmla="*/ 36 h 72"/>
                  <a:gd name="T48" fmla="*/ 52 w 88"/>
                  <a:gd name="T49" fmla="*/ 32 h 72"/>
                  <a:gd name="T50" fmla="*/ 38 w 88"/>
                  <a:gd name="T51" fmla="*/ 32 h 72"/>
                  <a:gd name="T52" fmla="*/ 44 w 88"/>
                  <a:gd name="T53" fmla="*/ 46 h 72"/>
                  <a:gd name="T54" fmla="*/ 56 w 88"/>
                  <a:gd name="T55" fmla="*/ 58 h 72"/>
                  <a:gd name="T56" fmla="*/ 62 w 88"/>
                  <a:gd name="T57" fmla="*/ 62 h 72"/>
                  <a:gd name="T58" fmla="*/ 60 w 88"/>
                  <a:gd name="T59" fmla="*/ 70 h 72"/>
                  <a:gd name="T60" fmla="*/ 58 w 88"/>
                  <a:gd name="T61" fmla="*/ 72 h 72"/>
                  <a:gd name="T62" fmla="*/ 58 w 88"/>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72">
                    <a:moveTo>
                      <a:pt x="58" y="72"/>
                    </a:moveTo>
                    <a:lnTo>
                      <a:pt x="58" y="72"/>
                    </a:lnTo>
                    <a:lnTo>
                      <a:pt x="58" y="72"/>
                    </a:lnTo>
                    <a:lnTo>
                      <a:pt x="46" y="62"/>
                    </a:lnTo>
                    <a:lnTo>
                      <a:pt x="34" y="54"/>
                    </a:lnTo>
                    <a:lnTo>
                      <a:pt x="28" y="48"/>
                    </a:lnTo>
                    <a:lnTo>
                      <a:pt x="22" y="40"/>
                    </a:lnTo>
                    <a:lnTo>
                      <a:pt x="22" y="34"/>
                    </a:lnTo>
                    <a:lnTo>
                      <a:pt x="18" y="34"/>
                    </a:lnTo>
                    <a:lnTo>
                      <a:pt x="10" y="36"/>
                    </a:lnTo>
                    <a:lnTo>
                      <a:pt x="10" y="36"/>
                    </a:lnTo>
                    <a:lnTo>
                      <a:pt x="10" y="36"/>
                    </a:lnTo>
                    <a:lnTo>
                      <a:pt x="10" y="36"/>
                    </a:lnTo>
                    <a:lnTo>
                      <a:pt x="8" y="36"/>
                    </a:lnTo>
                    <a:lnTo>
                      <a:pt x="2" y="34"/>
                    </a:lnTo>
                    <a:lnTo>
                      <a:pt x="2" y="34"/>
                    </a:lnTo>
                    <a:lnTo>
                      <a:pt x="0" y="32"/>
                    </a:lnTo>
                    <a:lnTo>
                      <a:pt x="0" y="24"/>
                    </a:lnTo>
                    <a:lnTo>
                      <a:pt x="0" y="24"/>
                    </a:lnTo>
                    <a:lnTo>
                      <a:pt x="0" y="22"/>
                    </a:lnTo>
                    <a:lnTo>
                      <a:pt x="4" y="18"/>
                    </a:lnTo>
                    <a:lnTo>
                      <a:pt x="4" y="18"/>
                    </a:lnTo>
                    <a:lnTo>
                      <a:pt x="6" y="18"/>
                    </a:lnTo>
                    <a:lnTo>
                      <a:pt x="6" y="18"/>
                    </a:lnTo>
                    <a:lnTo>
                      <a:pt x="6" y="18"/>
                    </a:lnTo>
                    <a:lnTo>
                      <a:pt x="10" y="20"/>
                    </a:lnTo>
                    <a:lnTo>
                      <a:pt x="16" y="20"/>
                    </a:lnTo>
                    <a:lnTo>
                      <a:pt x="26" y="18"/>
                    </a:lnTo>
                    <a:lnTo>
                      <a:pt x="44" y="0"/>
                    </a:lnTo>
                    <a:lnTo>
                      <a:pt x="44" y="0"/>
                    </a:lnTo>
                    <a:lnTo>
                      <a:pt x="46" y="0"/>
                    </a:lnTo>
                    <a:lnTo>
                      <a:pt x="46" y="0"/>
                    </a:lnTo>
                    <a:lnTo>
                      <a:pt x="46" y="0"/>
                    </a:lnTo>
                    <a:lnTo>
                      <a:pt x="54" y="8"/>
                    </a:lnTo>
                    <a:lnTo>
                      <a:pt x="64" y="16"/>
                    </a:lnTo>
                    <a:lnTo>
                      <a:pt x="72" y="16"/>
                    </a:lnTo>
                    <a:lnTo>
                      <a:pt x="80" y="14"/>
                    </a:lnTo>
                    <a:lnTo>
                      <a:pt x="80" y="14"/>
                    </a:lnTo>
                    <a:lnTo>
                      <a:pt x="80" y="14"/>
                    </a:lnTo>
                    <a:lnTo>
                      <a:pt x="80" y="14"/>
                    </a:lnTo>
                    <a:lnTo>
                      <a:pt x="82" y="16"/>
                    </a:lnTo>
                    <a:lnTo>
                      <a:pt x="84" y="24"/>
                    </a:lnTo>
                    <a:lnTo>
                      <a:pt x="88" y="28"/>
                    </a:lnTo>
                    <a:lnTo>
                      <a:pt x="88" y="28"/>
                    </a:lnTo>
                    <a:lnTo>
                      <a:pt x="88" y="30"/>
                    </a:lnTo>
                    <a:lnTo>
                      <a:pt x="84" y="34"/>
                    </a:lnTo>
                    <a:lnTo>
                      <a:pt x="84" y="34"/>
                    </a:lnTo>
                    <a:lnTo>
                      <a:pt x="82" y="36"/>
                    </a:lnTo>
                    <a:lnTo>
                      <a:pt x="82" y="36"/>
                    </a:lnTo>
                    <a:lnTo>
                      <a:pt x="52" y="32"/>
                    </a:lnTo>
                    <a:lnTo>
                      <a:pt x="46" y="30"/>
                    </a:lnTo>
                    <a:lnTo>
                      <a:pt x="38" y="32"/>
                    </a:lnTo>
                    <a:lnTo>
                      <a:pt x="40" y="36"/>
                    </a:lnTo>
                    <a:lnTo>
                      <a:pt x="44" y="46"/>
                    </a:lnTo>
                    <a:lnTo>
                      <a:pt x="46" y="52"/>
                    </a:lnTo>
                    <a:lnTo>
                      <a:pt x="56" y="58"/>
                    </a:lnTo>
                    <a:lnTo>
                      <a:pt x="62" y="62"/>
                    </a:lnTo>
                    <a:lnTo>
                      <a:pt x="62" y="62"/>
                    </a:lnTo>
                    <a:lnTo>
                      <a:pt x="62" y="64"/>
                    </a:lnTo>
                    <a:lnTo>
                      <a:pt x="60" y="70"/>
                    </a:lnTo>
                    <a:lnTo>
                      <a:pt x="60" y="70"/>
                    </a:lnTo>
                    <a:lnTo>
                      <a:pt x="58" y="72"/>
                    </a:lnTo>
                    <a:lnTo>
                      <a:pt x="58" y="72"/>
                    </a:lnTo>
                    <a:lnTo>
                      <a:pt x="58" y="72"/>
                    </a:lnTo>
                    <a:lnTo>
                      <a:pt x="5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2" name="Freeform 654"/>
              <p:cNvSpPr>
                <a:spLocks noEditPoints="1"/>
              </p:cNvSpPr>
              <p:nvPr/>
            </p:nvSpPr>
            <p:spPr bwMode="auto">
              <a:xfrm>
                <a:off x="3079" y="1805"/>
                <a:ext cx="92" cy="76"/>
              </a:xfrm>
              <a:custGeom>
                <a:avLst/>
                <a:gdLst>
                  <a:gd name="T0" fmla="*/ 54 w 92"/>
                  <a:gd name="T1" fmla="*/ 12 h 76"/>
                  <a:gd name="T2" fmla="*/ 74 w 92"/>
                  <a:gd name="T3" fmla="*/ 20 h 76"/>
                  <a:gd name="T4" fmla="*/ 84 w 92"/>
                  <a:gd name="T5" fmla="*/ 26 h 76"/>
                  <a:gd name="T6" fmla="*/ 84 w 92"/>
                  <a:gd name="T7" fmla="*/ 36 h 76"/>
                  <a:gd name="T8" fmla="*/ 54 w 92"/>
                  <a:gd name="T9" fmla="*/ 32 h 76"/>
                  <a:gd name="T10" fmla="*/ 38 w 92"/>
                  <a:gd name="T11" fmla="*/ 32 h 76"/>
                  <a:gd name="T12" fmla="*/ 44 w 92"/>
                  <a:gd name="T13" fmla="*/ 50 h 76"/>
                  <a:gd name="T14" fmla="*/ 56 w 92"/>
                  <a:gd name="T15" fmla="*/ 62 h 76"/>
                  <a:gd name="T16" fmla="*/ 60 w 92"/>
                  <a:gd name="T17" fmla="*/ 72 h 76"/>
                  <a:gd name="T18" fmla="*/ 38 w 92"/>
                  <a:gd name="T19" fmla="*/ 56 h 76"/>
                  <a:gd name="T20" fmla="*/ 26 w 92"/>
                  <a:gd name="T21" fmla="*/ 40 h 76"/>
                  <a:gd name="T22" fmla="*/ 20 w 92"/>
                  <a:gd name="T23" fmla="*/ 34 h 76"/>
                  <a:gd name="T24" fmla="*/ 4 w 92"/>
                  <a:gd name="T25" fmla="*/ 34 h 76"/>
                  <a:gd name="T26" fmla="*/ 8 w 92"/>
                  <a:gd name="T27" fmla="*/ 22 h 76"/>
                  <a:gd name="T28" fmla="*/ 18 w 92"/>
                  <a:gd name="T29" fmla="*/ 24 h 76"/>
                  <a:gd name="T30" fmla="*/ 34 w 92"/>
                  <a:gd name="T31" fmla="*/ 16 h 76"/>
                  <a:gd name="T32" fmla="*/ 48 w 92"/>
                  <a:gd name="T33" fmla="*/ 4 h 76"/>
                  <a:gd name="T34" fmla="*/ 48 w 92"/>
                  <a:gd name="T35" fmla="*/ 0 h 76"/>
                  <a:gd name="T36" fmla="*/ 38 w 92"/>
                  <a:gd name="T37" fmla="*/ 8 h 76"/>
                  <a:gd name="T38" fmla="*/ 26 w 92"/>
                  <a:gd name="T39" fmla="*/ 18 h 76"/>
                  <a:gd name="T40" fmla="*/ 12 w 92"/>
                  <a:gd name="T41" fmla="*/ 20 h 76"/>
                  <a:gd name="T42" fmla="*/ 10 w 92"/>
                  <a:gd name="T43" fmla="*/ 18 h 76"/>
                  <a:gd name="T44" fmla="*/ 8 w 92"/>
                  <a:gd name="T45" fmla="*/ 18 h 76"/>
                  <a:gd name="T46" fmla="*/ 2 w 92"/>
                  <a:gd name="T47" fmla="*/ 24 h 76"/>
                  <a:gd name="T48" fmla="*/ 0 w 92"/>
                  <a:gd name="T49" fmla="*/ 26 h 76"/>
                  <a:gd name="T50" fmla="*/ 0 w 92"/>
                  <a:gd name="T51" fmla="*/ 34 h 76"/>
                  <a:gd name="T52" fmla="*/ 2 w 92"/>
                  <a:gd name="T53" fmla="*/ 36 h 76"/>
                  <a:gd name="T54" fmla="*/ 10 w 92"/>
                  <a:gd name="T55" fmla="*/ 40 h 76"/>
                  <a:gd name="T56" fmla="*/ 12 w 92"/>
                  <a:gd name="T57" fmla="*/ 40 h 76"/>
                  <a:gd name="T58" fmla="*/ 20 w 92"/>
                  <a:gd name="T59" fmla="*/ 38 h 76"/>
                  <a:gd name="T60" fmla="*/ 22 w 92"/>
                  <a:gd name="T61" fmla="*/ 42 h 76"/>
                  <a:gd name="T62" fmla="*/ 24 w 92"/>
                  <a:gd name="T63" fmla="*/ 42 h 76"/>
                  <a:gd name="T64" fmla="*/ 26 w 92"/>
                  <a:gd name="T65" fmla="*/ 50 h 76"/>
                  <a:gd name="T66" fmla="*/ 36 w 92"/>
                  <a:gd name="T67" fmla="*/ 58 h 76"/>
                  <a:gd name="T68" fmla="*/ 36 w 92"/>
                  <a:gd name="T69" fmla="*/ 58 h 76"/>
                  <a:gd name="T70" fmla="*/ 58 w 92"/>
                  <a:gd name="T71" fmla="*/ 74 h 76"/>
                  <a:gd name="T72" fmla="*/ 60 w 92"/>
                  <a:gd name="T73" fmla="*/ 76 h 76"/>
                  <a:gd name="T74" fmla="*/ 62 w 92"/>
                  <a:gd name="T75" fmla="*/ 76 h 76"/>
                  <a:gd name="T76" fmla="*/ 64 w 92"/>
                  <a:gd name="T77" fmla="*/ 72 h 76"/>
                  <a:gd name="T78" fmla="*/ 66 w 92"/>
                  <a:gd name="T79" fmla="*/ 68 h 76"/>
                  <a:gd name="T80" fmla="*/ 64 w 92"/>
                  <a:gd name="T81" fmla="*/ 62 h 76"/>
                  <a:gd name="T82" fmla="*/ 50 w 92"/>
                  <a:gd name="T83" fmla="*/ 52 h 76"/>
                  <a:gd name="T84" fmla="*/ 44 w 92"/>
                  <a:gd name="T85" fmla="*/ 38 h 76"/>
                  <a:gd name="T86" fmla="*/ 48 w 92"/>
                  <a:gd name="T87" fmla="*/ 34 h 76"/>
                  <a:gd name="T88" fmla="*/ 54 w 92"/>
                  <a:gd name="T89" fmla="*/ 36 h 76"/>
                  <a:gd name="T90" fmla="*/ 70 w 92"/>
                  <a:gd name="T91" fmla="*/ 38 h 76"/>
                  <a:gd name="T92" fmla="*/ 84 w 92"/>
                  <a:gd name="T93" fmla="*/ 40 h 76"/>
                  <a:gd name="T94" fmla="*/ 84 w 92"/>
                  <a:gd name="T95" fmla="*/ 40 h 76"/>
                  <a:gd name="T96" fmla="*/ 92 w 92"/>
                  <a:gd name="T97" fmla="*/ 34 h 76"/>
                  <a:gd name="T98" fmla="*/ 92 w 92"/>
                  <a:gd name="T99" fmla="*/ 32 h 76"/>
                  <a:gd name="T100" fmla="*/ 88 w 92"/>
                  <a:gd name="T101" fmla="*/ 24 h 76"/>
                  <a:gd name="T102" fmla="*/ 86 w 92"/>
                  <a:gd name="T103" fmla="*/ 18 h 76"/>
                  <a:gd name="T104" fmla="*/ 82 w 92"/>
                  <a:gd name="T105" fmla="*/ 14 h 76"/>
                  <a:gd name="T106" fmla="*/ 82 w 92"/>
                  <a:gd name="T107" fmla="*/ 14 h 76"/>
                  <a:gd name="T108" fmla="*/ 68 w 92"/>
                  <a:gd name="T109" fmla="*/ 16 h 76"/>
                  <a:gd name="T110" fmla="*/ 50 w 92"/>
                  <a:gd name="T111" fmla="*/ 2 h 76"/>
                  <a:gd name="T112" fmla="*/ 48 w 92"/>
                  <a:gd name="T11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76">
                    <a:moveTo>
                      <a:pt x="48" y="4"/>
                    </a:moveTo>
                    <a:lnTo>
                      <a:pt x="54" y="12"/>
                    </a:lnTo>
                    <a:lnTo>
                      <a:pt x="66" y="20"/>
                    </a:lnTo>
                    <a:lnTo>
                      <a:pt x="74" y="20"/>
                    </a:lnTo>
                    <a:lnTo>
                      <a:pt x="82" y="18"/>
                    </a:lnTo>
                    <a:lnTo>
                      <a:pt x="84" y="26"/>
                    </a:lnTo>
                    <a:lnTo>
                      <a:pt x="88" y="32"/>
                    </a:lnTo>
                    <a:lnTo>
                      <a:pt x="84" y="36"/>
                    </a:lnTo>
                    <a:lnTo>
                      <a:pt x="70" y="34"/>
                    </a:lnTo>
                    <a:lnTo>
                      <a:pt x="54" y="32"/>
                    </a:lnTo>
                    <a:lnTo>
                      <a:pt x="50" y="30"/>
                    </a:lnTo>
                    <a:lnTo>
                      <a:pt x="38" y="32"/>
                    </a:lnTo>
                    <a:lnTo>
                      <a:pt x="40" y="38"/>
                    </a:lnTo>
                    <a:lnTo>
                      <a:pt x="44" y="50"/>
                    </a:lnTo>
                    <a:lnTo>
                      <a:pt x="48" y="56"/>
                    </a:lnTo>
                    <a:lnTo>
                      <a:pt x="56" y="62"/>
                    </a:lnTo>
                    <a:lnTo>
                      <a:pt x="62" y="66"/>
                    </a:lnTo>
                    <a:lnTo>
                      <a:pt x="60" y="72"/>
                    </a:lnTo>
                    <a:lnTo>
                      <a:pt x="50" y="62"/>
                    </a:lnTo>
                    <a:lnTo>
                      <a:pt x="38" y="56"/>
                    </a:lnTo>
                    <a:lnTo>
                      <a:pt x="30" y="48"/>
                    </a:lnTo>
                    <a:lnTo>
                      <a:pt x="26" y="40"/>
                    </a:lnTo>
                    <a:lnTo>
                      <a:pt x="24" y="34"/>
                    </a:lnTo>
                    <a:lnTo>
                      <a:pt x="20" y="34"/>
                    </a:lnTo>
                    <a:lnTo>
                      <a:pt x="12" y="36"/>
                    </a:lnTo>
                    <a:lnTo>
                      <a:pt x="4" y="34"/>
                    </a:lnTo>
                    <a:lnTo>
                      <a:pt x="4" y="26"/>
                    </a:lnTo>
                    <a:lnTo>
                      <a:pt x="8" y="22"/>
                    </a:lnTo>
                    <a:lnTo>
                      <a:pt x="12" y="24"/>
                    </a:lnTo>
                    <a:lnTo>
                      <a:pt x="18" y="24"/>
                    </a:lnTo>
                    <a:lnTo>
                      <a:pt x="28" y="22"/>
                    </a:lnTo>
                    <a:lnTo>
                      <a:pt x="34" y="16"/>
                    </a:lnTo>
                    <a:lnTo>
                      <a:pt x="40" y="12"/>
                    </a:lnTo>
                    <a:lnTo>
                      <a:pt x="48" y="4"/>
                    </a:lnTo>
                    <a:close/>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3" name="Freeform 655"/>
              <p:cNvSpPr>
                <a:spLocks/>
              </p:cNvSpPr>
              <p:nvPr/>
            </p:nvSpPr>
            <p:spPr bwMode="auto">
              <a:xfrm>
                <a:off x="3083" y="1809"/>
                <a:ext cx="84" cy="68"/>
              </a:xfrm>
              <a:custGeom>
                <a:avLst/>
                <a:gdLst>
                  <a:gd name="T0" fmla="*/ 44 w 84"/>
                  <a:gd name="T1" fmla="*/ 0 h 68"/>
                  <a:gd name="T2" fmla="*/ 50 w 84"/>
                  <a:gd name="T3" fmla="*/ 8 h 68"/>
                  <a:gd name="T4" fmla="*/ 62 w 84"/>
                  <a:gd name="T5" fmla="*/ 16 h 68"/>
                  <a:gd name="T6" fmla="*/ 70 w 84"/>
                  <a:gd name="T7" fmla="*/ 16 h 68"/>
                  <a:gd name="T8" fmla="*/ 78 w 84"/>
                  <a:gd name="T9" fmla="*/ 14 h 68"/>
                  <a:gd name="T10" fmla="*/ 80 w 84"/>
                  <a:gd name="T11" fmla="*/ 22 h 68"/>
                  <a:gd name="T12" fmla="*/ 84 w 84"/>
                  <a:gd name="T13" fmla="*/ 28 h 68"/>
                  <a:gd name="T14" fmla="*/ 80 w 84"/>
                  <a:gd name="T15" fmla="*/ 32 h 68"/>
                  <a:gd name="T16" fmla="*/ 66 w 84"/>
                  <a:gd name="T17" fmla="*/ 30 h 68"/>
                  <a:gd name="T18" fmla="*/ 50 w 84"/>
                  <a:gd name="T19" fmla="*/ 28 h 68"/>
                  <a:gd name="T20" fmla="*/ 46 w 84"/>
                  <a:gd name="T21" fmla="*/ 26 h 68"/>
                  <a:gd name="T22" fmla="*/ 34 w 84"/>
                  <a:gd name="T23" fmla="*/ 28 h 68"/>
                  <a:gd name="T24" fmla="*/ 36 w 84"/>
                  <a:gd name="T25" fmla="*/ 34 h 68"/>
                  <a:gd name="T26" fmla="*/ 40 w 84"/>
                  <a:gd name="T27" fmla="*/ 46 h 68"/>
                  <a:gd name="T28" fmla="*/ 44 w 84"/>
                  <a:gd name="T29" fmla="*/ 52 h 68"/>
                  <a:gd name="T30" fmla="*/ 52 w 84"/>
                  <a:gd name="T31" fmla="*/ 58 h 68"/>
                  <a:gd name="T32" fmla="*/ 58 w 84"/>
                  <a:gd name="T33" fmla="*/ 62 h 68"/>
                  <a:gd name="T34" fmla="*/ 56 w 84"/>
                  <a:gd name="T35" fmla="*/ 68 h 68"/>
                  <a:gd name="T36" fmla="*/ 46 w 84"/>
                  <a:gd name="T37" fmla="*/ 58 h 68"/>
                  <a:gd name="T38" fmla="*/ 34 w 84"/>
                  <a:gd name="T39" fmla="*/ 52 h 68"/>
                  <a:gd name="T40" fmla="*/ 26 w 84"/>
                  <a:gd name="T41" fmla="*/ 44 h 68"/>
                  <a:gd name="T42" fmla="*/ 22 w 84"/>
                  <a:gd name="T43" fmla="*/ 36 h 68"/>
                  <a:gd name="T44" fmla="*/ 20 w 84"/>
                  <a:gd name="T45" fmla="*/ 30 h 68"/>
                  <a:gd name="T46" fmla="*/ 16 w 84"/>
                  <a:gd name="T47" fmla="*/ 30 h 68"/>
                  <a:gd name="T48" fmla="*/ 8 w 84"/>
                  <a:gd name="T49" fmla="*/ 32 h 68"/>
                  <a:gd name="T50" fmla="*/ 0 w 84"/>
                  <a:gd name="T51" fmla="*/ 30 h 68"/>
                  <a:gd name="T52" fmla="*/ 0 w 84"/>
                  <a:gd name="T53" fmla="*/ 22 h 68"/>
                  <a:gd name="T54" fmla="*/ 4 w 84"/>
                  <a:gd name="T55" fmla="*/ 18 h 68"/>
                  <a:gd name="T56" fmla="*/ 8 w 84"/>
                  <a:gd name="T57" fmla="*/ 20 h 68"/>
                  <a:gd name="T58" fmla="*/ 14 w 84"/>
                  <a:gd name="T59" fmla="*/ 20 h 68"/>
                  <a:gd name="T60" fmla="*/ 24 w 84"/>
                  <a:gd name="T61" fmla="*/ 18 h 68"/>
                  <a:gd name="T62" fmla="*/ 30 w 84"/>
                  <a:gd name="T63" fmla="*/ 12 h 68"/>
                  <a:gd name="T64" fmla="*/ 36 w 84"/>
                  <a:gd name="T65" fmla="*/ 8 h 68"/>
                  <a:gd name="T66" fmla="*/ 44 w 84"/>
                  <a:gd name="T6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68">
                    <a:moveTo>
                      <a:pt x="44" y="0"/>
                    </a:moveTo>
                    <a:lnTo>
                      <a:pt x="50" y="8"/>
                    </a:lnTo>
                    <a:lnTo>
                      <a:pt x="62" y="16"/>
                    </a:lnTo>
                    <a:lnTo>
                      <a:pt x="70" y="16"/>
                    </a:lnTo>
                    <a:lnTo>
                      <a:pt x="78" y="14"/>
                    </a:lnTo>
                    <a:lnTo>
                      <a:pt x="80" y="22"/>
                    </a:lnTo>
                    <a:lnTo>
                      <a:pt x="84" y="28"/>
                    </a:lnTo>
                    <a:lnTo>
                      <a:pt x="80" y="32"/>
                    </a:lnTo>
                    <a:lnTo>
                      <a:pt x="66" y="30"/>
                    </a:lnTo>
                    <a:lnTo>
                      <a:pt x="50" y="28"/>
                    </a:lnTo>
                    <a:lnTo>
                      <a:pt x="46" y="26"/>
                    </a:lnTo>
                    <a:lnTo>
                      <a:pt x="34" y="28"/>
                    </a:lnTo>
                    <a:lnTo>
                      <a:pt x="36" y="34"/>
                    </a:lnTo>
                    <a:lnTo>
                      <a:pt x="40" y="46"/>
                    </a:lnTo>
                    <a:lnTo>
                      <a:pt x="44" y="52"/>
                    </a:lnTo>
                    <a:lnTo>
                      <a:pt x="52" y="58"/>
                    </a:lnTo>
                    <a:lnTo>
                      <a:pt x="58" y="62"/>
                    </a:lnTo>
                    <a:lnTo>
                      <a:pt x="56" y="68"/>
                    </a:lnTo>
                    <a:lnTo>
                      <a:pt x="46" y="58"/>
                    </a:lnTo>
                    <a:lnTo>
                      <a:pt x="34" y="52"/>
                    </a:lnTo>
                    <a:lnTo>
                      <a:pt x="26" y="44"/>
                    </a:lnTo>
                    <a:lnTo>
                      <a:pt x="22" y="36"/>
                    </a:lnTo>
                    <a:lnTo>
                      <a:pt x="20" y="30"/>
                    </a:lnTo>
                    <a:lnTo>
                      <a:pt x="16" y="30"/>
                    </a:lnTo>
                    <a:lnTo>
                      <a:pt x="8" y="32"/>
                    </a:lnTo>
                    <a:lnTo>
                      <a:pt x="0" y="30"/>
                    </a:lnTo>
                    <a:lnTo>
                      <a:pt x="0" y="22"/>
                    </a:lnTo>
                    <a:lnTo>
                      <a:pt x="4" y="18"/>
                    </a:lnTo>
                    <a:lnTo>
                      <a:pt x="8" y="20"/>
                    </a:lnTo>
                    <a:lnTo>
                      <a:pt x="14" y="20"/>
                    </a:lnTo>
                    <a:lnTo>
                      <a:pt x="24" y="18"/>
                    </a:lnTo>
                    <a:lnTo>
                      <a:pt x="30" y="12"/>
                    </a:lnTo>
                    <a:lnTo>
                      <a:pt x="36" y="8"/>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4" name="Freeform 656"/>
              <p:cNvSpPr>
                <a:spLocks/>
              </p:cNvSpPr>
              <p:nvPr/>
            </p:nvSpPr>
            <p:spPr bwMode="auto">
              <a:xfrm>
                <a:off x="3079" y="1805"/>
                <a:ext cx="92" cy="76"/>
              </a:xfrm>
              <a:custGeom>
                <a:avLst/>
                <a:gdLst>
                  <a:gd name="T0" fmla="*/ 48 w 92"/>
                  <a:gd name="T1" fmla="*/ 0 h 76"/>
                  <a:gd name="T2" fmla="*/ 38 w 92"/>
                  <a:gd name="T3" fmla="*/ 8 h 76"/>
                  <a:gd name="T4" fmla="*/ 26 w 92"/>
                  <a:gd name="T5" fmla="*/ 18 h 76"/>
                  <a:gd name="T6" fmla="*/ 12 w 92"/>
                  <a:gd name="T7" fmla="*/ 20 h 76"/>
                  <a:gd name="T8" fmla="*/ 10 w 92"/>
                  <a:gd name="T9" fmla="*/ 18 h 76"/>
                  <a:gd name="T10" fmla="*/ 8 w 92"/>
                  <a:gd name="T11" fmla="*/ 18 h 76"/>
                  <a:gd name="T12" fmla="*/ 2 w 92"/>
                  <a:gd name="T13" fmla="*/ 24 h 76"/>
                  <a:gd name="T14" fmla="*/ 0 w 92"/>
                  <a:gd name="T15" fmla="*/ 26 h 76"/>
                  <a:gd name="T16" fmla="*/ 0 w 92"/>
                  <a:gd name="T17" fmla="*/ 34 h 76"/>
                  <a:gd name="T18" fmla="*/ 2 w 92"/>
                  <a:gd name="T19" fmla="*/ 36 h 76"/>
                  <a:gd name="T20" fmla="*/ 10 w 92"/>
                  <a:gd name="T21" fmla="*/ 40 h 76"/>
                  <a:gd name="T22" fmla="*/ 12 w 92"/>
                  <a:gd name="T23" fmla="*/ 40 h 76"/>
                  <a:gd name="T24" fmla="*/ 20 w 92"/>
                  <a:gd name="T25" fmla="*/ 38 h 76"/>
                  <a:gd name="T26" fmla="*/ 22 w 92"/>
                  <a:gd name="T27" fmla="*/ 42 h 76"/>
                  <a:gd name="T28" fmla="*/ 24 w 92"/>
                  <a:gd name="T29" fmla="*/ 42 h 76"/>
                  <a:gd name="T30" fmla="*/ 26 w 92"/>
                  <a:gd name="T31" fmla="*/ 50 h 76"/>
                  <a:gd name="T32" fmla="*/ 36 w 92"/>
                  <a:gd name="T33" fmla="*/ 58 h 76"/>
                  <a:gd name="T34" fmla="*/ 36 w 92"/>
                  <a:gd name="T35" fmla="*/ 58 h 76"/>
                  <a:gd name="T36" fmla="*/ 58 w 92"/>
                  <a:gd name="T37" fmla="*/ 74 h 76"/>
                  <a:gd name="T38" fmla="*/ 60 w 92"/>
                  <a:gd name="T39" fmla="*/ 76 h 76"/>
                  <a:gd name="T40" fmla="*/ 62 w 92"/>
                  <a:gd name="T41" fmla="*/ 76 h 76"/>
                  <a:gd name="T42" fmla="*/ 64 w 92"/>
                  <a:gd name="T43" fmla="*/ 72 h 76"/>
                  <a:gd name="T44" fmla="*/ 66 w 92"/>
                  <a:gd name="T45" fmla="*/ 68 h 76"/>
                  <a:gd name="T46" fmla="*/ 64 w 92"/>
                  <a:gd name="T47" fmla="*/ 62 h 76"/>
                  <a:gd name="T48" fmla="*/ 50 w 92"/>
                  <a:gd name="T49" fmla="*/ 52 h 76"/>
                  <a:gd name="T50" fmla="*/ 44 w 92"/>
                  <a:gd name="T51" fmla="*/ 38 h 76"/>
                  <a:gd name="T52" fmla="*/ 48 w 92"/>
                  <a:gd name="T53" fmla="*/ 34 h 76"/>
                  <a:gd name="T54" fmla="*/ 54 w 92"/>
                  <a:gd name="T55" fmla="*/ 36 h 76"/>
                  <a:gd name="T56" fmla="*/ 70 w 92"/>
                  <a:gd name="T57" fmla="*/ 38 h 76"/>
                  <a:gd name="T58" fmla="*/ 84 w 92"/>
                  <a:gd name="T59" fmla="*/ 40 h 76"/>
                  <a:gd name="T60" fmla="*/ 84 w 92"/>
                  <a:gd name="T61" fmla="*/ 40 h 76"/>
                  <a:gd name="T62" fmla="*/ 92 w 92"/>
                  <a:gd name="T63" fmla="*/ 34 h 76"/>
                  <a:gd name="T64" fmla="*/ 92 w 92"/>
                  <a:gd name="T65" fmla="*/ 32 h 76"/>
                  <a:gd name="T66" fmla="*/ 88 w 92"/>
                  <a:gd name="T67" fmla="*/ 24 h 76"/>
                  <a:gd name="T68" fmla="*/ 86 w 92"/>
                  <a:gd name="T69" fmla="*/ 18 h 76"/>
                  <a:gd name="T70" fmla="*/ 82 w 92"/>
                  <a:gd name="T71" fmla="*/ 14 h 76"/>
                  <a:gd name="T72" fmla="*/ 82 w 92"/>
                  <a:gd name="T73" fmla="*/ 14 h 76"/>
                  <a:gd name="T74" fmla="*/ 68 w 92"/>
                  <a:gd name="T75" fmla="*/ 16 h 76"/>
                  <a:gd name="T76" fmla="*/ 50 w 92"/>
                  <a:gd name="T77" fmla="*/ 2 h 76"/>
                  <a:gd name="T78" fmla="*/ 48 w 92"/>
                  <a:gd name="T7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6">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5" name="Freeform 657"/>
              <p:cNvSpPr>
                <a:spLocks/>
              </p:cNvSpPr>
              <p:nvPr/>
            </p:nvSpPr>
            <p:spPr bwMode="auto">
              <a:xfrm>
                <a:off x="3115" y="1829"/>
                <a:ext cx="60" cy="56"/>
              </a:xfrm>
              <a:custGeom>
                <a:avLst/>
                <a:gdLst>
                  <a:gd name="T0" fmla="*/ 42 w 60"/>
                  <a:gd name="T1" fmla="*/ 56 h 56"/>
                  <a:gd name="T2" fmla="*/ 42 w 60"/>
                  <a:gd name="T3" fmla="*/ 56 h 56"/>
                  <a:gd name="T4" fmla="*/ 40 w 60"/>
                  <a:gd name="T5" fmla="*/ 54 h 56"/>
                  <a:gd name="T6" fmla="*/ 24 w 60"/>
                  <a:gd name="T7" fmla="*/ 44 h 56"/>
                  <a:gd name="T8" fmla="*/ 16 w 60"/>
                  <a:gd name="T9" fmla="*/ 36 h 56"/>
                  <a:gd name="T10" fmla="*/ 10 w 60"/>
                  <a:gd name="T11" fmla="*/ 32 h 56"/>
                  <a:gd name="T12" fmla="*/ 6 w 60"/>
                  <a:gd name="T13" fmla="*/ 26 h 56"/>
                  <a:gd name="T14" fmla="*/ 2 w 60"/>
                  <a:gd name="T15" fmla="*/ 12 h 56"/>
                  <a:gd name="T16" fmla="*/ 0 w 60"/>
                  <a:gd name="T17" fmla="*/ 6 h 56"/>
                  <a:gd name="T18" fmla="*/ 0 w 60"/>
                  <a:gd name="T19" fmla="*/ 6 h 56"/>
                  <a:gd name="T20" fmla="*/ 0 w 60"/>
                  <a:gd name="T21" fmla="*/ 4 h 56"/>
                  <a:gd name="T22" fmla="*/ 0 w 60"/>
                  <a:gd name="T23" fmla="*/ 4 h 56"/>
                  <a:gd name="T24" fmla="*/ 2 w 60"/>
                  <a:gd name="T25" fmla="*/ 2 h 56"/>
                  <a:gd name="T26" fmla="*/ 12 w 60"/>
                  <a:gd name="T27" fmla="*/ 0 h 56"/>
                  <a:gd name="T28" fmla="*/ 26 w 60"/>
                  <a:gd name="T29" fmla="*/ 2 h 56"/>
                  <a:gd name="T30" fmla="*/ 48 w 60"/>
                  <a:gd name="T31" fmla="*/ 6 h 56"/>
                  <a:gd name="T32" fmla="*/ 54 w 60"/>
                  <a:gd name="T33" fmla="*/ 6 h 56"/>
                  <a:gd name="T34" fmla="*/ 54 w 60"/>
                  <a:gd name="T35" fmla="*/ 6 h 56"/>
                  <a:gd name="T36" fmla="*/ 56 w 60"/>
                  <a:gd name="T37" fmla="*/ 8 h 56"/>
                  <a:gd name="T38" fmla="*/ 58 w 60"/>
                  <a:gd name="T39" fmla="*/ 16 h 56"/>
                  <a:gd name="T40" fmla="*/ 58 w 60"/>
                  <a:gd name="T41" fmla="*/ 16 h 56"/>
                  <a:gd name="T42" fmla="*/ 58 w 60"/>
                  <a:gd name="T43" fmla="*/ 18 h 56"/>
                  <a:gd name="T44" fmla="*/ 54 w 60"/>
                  <a:gd name="T45" fmla="*/ 20 h 56"/>
                  <a:gd name="T46" fmla="*/ 60 w 60"/>
                  <a:gd name="T47" fmla="*/ 26 h 56"/>
                  <a:gd name="T48" fmla="*/ 60 w 60"/>
                  <a:gd name="T49" fmla="*/ 26 h 56"/>
                  <a:gd name="T50" fmla="*/ 60 w 60"/>
                  <a:gd name="T51" fmla="*/ 30 h 56"/>
                  <a:gd name="T52" fmla="*/ 52 w 60"/>
                  <a:gd name="T53" fmla="*/ 34 h 56"/>
                  <a:gd name="T54" fmla="*/ 50 w 60"/>
                  <a:gd name="T55" fmla="*/ 42 h 56"/>
                  <a:gd name="T56" fmla="*/ 50 w 60"/>
                  <a:gd name="T57" fmla="*/ 42 h 56"/>
                  <a:gd name="T58" fmla="*/ 48 w 60"/>
                  <a:gd name="T59" fmla="*/ 44 h 56"/>
                  <a:gd name="T60" fmla="*/ 44 w 60"/>
                  <a:gd name="T61" fmla="*/ 44 h 56"/>
                  <a:gd name="T62" fmla="*/ 44 w 60"/>
                  <a:gd name="T63" fmla="*/ 54 h 56"/>
                  <a:gd name="T64" fmla="*/ 44 w 60"/>
                  <a:gd name="T65" fmla="*/ 54 h 56"/>
                  <a:gd name="T66" fmla="*/ 42 w 60"/>
                  <a:gd name="T67" fmla="*/ 54 h 56"/>
                  <a:gd name="T68" fmla="*/ 42 w 60"/>
                  <a:gd name="T69" fmla="*/ 54 h 56"/>
                  <a:gd name="T70" fmla="*/ 42 w 60"/>
                  <a:gd name="T71" fmla="*/ 56 h 56"/>
                  <a:gd name="T72" fmla="*/ 42 w 60"/>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56">
                    <a:moveTo>
                      <a:pt x="42" y="56"/>
                    </a:moveTo>
                    <a:lnTo>
                      <a:pt x="42" y="56"/>
                    </a:lnTo>
                    <a:lnTo>
                      <a:pt x="40" y="54"/>
                    </a:lnTo>
                    <a:lnTo>
                      <a:pt x="24" y="44"/>
                    </a:lnTo>
                    <a:lnTo>
                      <a:pt x="16" y="36"/>
                    </a:lnTo>
                    <a:lnTo>
                      <a:pt x="10" y="32"/>
                    </a:lnTo>
                    <a:lnTo>
                      <a:pt x="6" y="26"/>
                    </a:lnTo>
                    <a:lnTo>
                      <a:pt x="2" y="12"/>
                    </a:lnTo>
                    <a:lnTo>
                      <a:pt x="0" y="6"/>
                    </a:lnTo>
                    <a:lnTo>
                      <a:pt x="0" y="6"/>
                    </a:lnTo>
                    <a:lnTo>
                      <a:pt x="0" y="4"/>
                    </a:lnTo>
                    <a:lnTo>
                      <a:pt x="0" y="4"/>
                    </a:lnTo>
                    <a:lnTo>
                      <a:pt x="2" y="2"/>
                    </a:lnTo>
                    <a:lnTo>
                      <a:pt x="12" y="0"/>
                    </a:lnTo>
                    <a:lnTo>
                      <a:pt x="26" y="2"/>
                    </a:lnTo>
                    <a:lnTo>
                      <a:pt x="48" y="6"/>
                    </a:lnTo>
                    <a:lnTo>
                      <a:pt x="54" y="6"/>
                    </a:lnTo>
                    <a:lnTo>
                      <a:pt x="54" y="6"/>
                    </a:lnTo>
                    <a:lnTo>
                      <a:pt x="56" y="8"/>
                    </a:lnTo>
                    <a:lnTo>
                      <a:pt x="58" y="16"/>
                    </a:lnTo>
                    <a:lnTo>
                      <a:pt x="58" y="16"/>
                    </a:lnTo>
                    <a:lnTo>
                      <a:pt x="58" y="18"/>
                    </a:lnTo>
                    <a:lnTo>
                      <a:pt x="54" y="20"/>
                    </a:lnTo>
                    <a:lnTo>
                      <a:pt x="60" y="26"/>
                    </a:lnTo>
                    <a:lnTo>
                      <a:pt x="60" y="26"/>
                    </a:lnTo>
                    <a:lnTo>
                      <a:pt x="60" y="30"/>
                    </a:lnTo>
                    <a:lnTo>
                      <a:pt x="52" y="34"/>
                    </a:lnTo>
                    <a:lnTo>
                      <a:pt x="50" y="42"/>
                    </a:lnTo>
                    <a:lnTo>
                      <a:pt x="50" y="42"/>
                    </a:lnTo>
                    <a:lnTo>
                      <a:pt x="48" y="44"/>
                    </a:lnTo>
                    <a:lnTo>
                      <a:pt x="44" y="44"/>
                    </a:lnTo>
                    <a:lnTo>
                      <a:pt x="44" y="54"/>
                    </a:lnTo>
                    <a:lnTo>
                      <a:pt x="44" y="54"/>
                    </a:lnTo>
                    <a:lnTo>
                      <a:pt x="42" y="54"/>
                    </a:lnTo>
                    <a:lnTo>
                      <a:pt x="42" y="54"/>
                    </a:lnTo>
                    <a:lnTo>
                      <a:pt x="42" y="56"/>
                    </a:lnTo>
                    <a:lnTo>
                      <a:pt x="4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6" name="Freeform 658"/>
              <p:cNvSpPr>
                <a:spLocks noEditPoints="1"/>
              </p:cNvSpPr>
              <p:nvPr/>
            </p:nvSpPr>
            <p:spPr bwMode="auto">
              <a:xfrm>
                <a:off x="3113" y="1827"/>
                <a:ext cx="64" cy="60"/>
              </a:xfrm>
              <a:custGeom>
                <a:avLst/>
                <a:gdLst>
                  <a:gd name="T0" fmla="*/ 28 w 64"/>
                  <a:gd name="T1" fmla="*/ 6 h 60"/>
                  <a:gd name="T2" fmla="*/ 56 w 64"/>
                  <a:gd name="T3" fmla="*/ 10 h 60"/>
                  <a:gd name="T4" fmla="*/ 54 w 64"/>
                  <a:gd name="T5" fmla="*/ 22 h 60"/>
                  <a:gd name="T6" fmla="*/ 52 w 64"/>
                  <a:gd name="T7" fmla="*/ 36 h 60"/>
                  <a:gd name="T8" fmla="*/ 44 w 64"/>
                  <a:gd name="T9" fmla="*/ 44 h 60"/>
                  <a:gd name="T10" fmla="*/ 36 w 64"/>
                  <a:gd name="T11" fmla="*/ 50 h 60"/>
                  <a:gd name="T12" fmla="*/ 18 w 64"/>
                  <a:gd name="T13" fmla="*/ 36 h 60"/>
                  <a:gd name="T14" fmla="*/ 10 w 64"/>
                  <a:gd name="T15" fmla="*/ 26 h 60"/>
                  <a:gd name="T16" fmla="*/ 4 w 64"/>
                  <a:gd name="T17" fmla="*/ 6 h 60"/>
                  <a:gd name="T18" fmla="*/ 16 w 64"/>
                  <a:gd name="T19" fmla="*/ 0 h 60"/>
                  <a:gd name="T20" fmla="*/ 14 w 64"/>
                  <a:gd name="T21" fmla="*/ 0 h 60"/>
                  <a:gd name="T22" fmla="*/ 4 w 64"/>
                  <a:gd name="T23" fmla="*/ 2 h 60"/>
                  <a:gd name="T24" fmla="*/ 0 w 64"/>
                  <a:gd name="T25" fmla="*/ 4 h 60"/>
                  <a:gd name="T26" fmla="*/ 2 w 64"/>
                  <a:gd name="T27" fmla="*/ 16 h 60"/>
                  <a:gd name="T28" fmla="*/ 6 w 64"/>
                  <a:gd name="T29" fmla="*/ 28 h 60"/>
                  <a:gd name="T30" fmla="*/ 10 w 64"/>
                  <a:gd name="T31" fmla="*/ 34 h 60"/>
                  <a:gd name="T32" fmla="*/ 10 w 64"/>
                  <a:gd name="T33" fmla="*/ 36 h 60"/>
                  <a:gd name="T34" fmla="*/ 26 w 64"/>
                  <a:gd name="T35" fmla="*/ 46 h 60"/>
                  <a:gd name="T36" fmla="*/ 40 w 64"/>
                  <a:gd name="T37" fmla="*/ 58 h 60"/>
                  <a:gd name="T38" fmla="*/ 44 w 64"/>
                  <a:gd name="T39" fmla="*/ 60 h 60"/>
                  <a:gd name="T40" fmla="*/ 44 w 64"/>
                  <a:gd name="T41" fmla="*/ 58 h 60"/>
                  <a:gd name="T42" fmla="*/ 48 w 64"/>
                  <a:gd name="T43" fmla="*/ 56 h 60"/>
                  <a:gd name="T44" fmla="*/ 50 w 64"/>
                  <a:gd name="T45" fmla="*/ 48 h 60"/>
                  <a:gd name="T46" fmla="*/ 54 w 64"/>
                  <a:gd name="T47" fmla="*/ 46 h 60"/>
                  <a:gd name="T48" fmla="*/ 56 w 64"/>
                  <a:gd name="T49" fmla="*/ 38 h 60"/>
                  <a:gd name="T50" fmla="*/ 62 w 64"/>
                  <a:gd name="T51" fmla="*/ 32 h 60"/>
                  <a:gd name="T52" fmla="*/ 64 w 64"/>
                  <a:gd name="T53" fmla="*/ 28 h 60"/>
                  <a:gd name="T54" fmla="*/ 60 w 64"/>
                  <a:gd name="T55" fmla="*/ 20 h 60"/>
                  <a:gd name="T56" fmla="*/ 62 w 64"/>
                  <a:gd name="T57" fmla="*/ 18 h 60"/>
                  <a:gd name="T58" fmla="*/ 60 w 64"/>
                  <a:gd name="T59" fmla="*/ 10 h 60"/>
                  <a:gd name="T60" fmla="*/ 56 w 64"/>
                  <a:gd name="T61" fmla="*/ 6 h 60"/>
                  <a:gd name="T62" fmla="*/ 28 w 64"/>
                  <a:gd name="T63" fmla="*/ 2 h 60"/>
                  <a:gd name="T64" fmla="*/ 16 w 64"/>
                  <a:gd name="T65" fmla="*/ 0 h 60"/>
                  <a:gd name="T66" fmla="*/ 16 w 64"/>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0">
                    <a:moveTo>
                      <a:pt x="16" y="4"/>
                    </a:moveTo>
                    <a:lnTo>
                      <a:pt x="28" y="6"/>
                    </a:lnTo>
                    <a:lnTo>
                      <a:pt x="50" y="10"/>
                    </a:lnTo>
                    <a:lnTo>
                      <a:pt x="56" y="10"/>
                    </a:lnTo>
                    <a:lnTo>
                      <a:pt x="58" y="18"/>
                    </a:lnTo>
                    <a:lnTo>
                      <a:pt x="54" y="22"/>
                    </a:lnTo>
                    <a:lnTo>
                      <a:pt x="60" y="30"/>
                    </a:lnTo>
                    <a:lnTo>
                      <a:pt x="52" y="36"/>
                    </a:lnTo>
                    <a:lnTo>
                      <a:pt x="50" y="44"/>
                    </a:lnTo>
                    <a:lnTo>
                      <a:pt x="44" y="44"/>
                    </a:lnTo>
                    <a:lnTo>
                      <a:pt x="44" y="56"/>
                    </a:lnTo>
                    <a:lnTo>
                      <a:pt x="36" y="50"/>
                    </a:lnTo>
                    <a:lnTo>
                      <a:pt x="28" y="44"/>
                    </a:lnTo>
                    <a:lnTo>
                      <a:pt x="18" y="36"/>
                    </a:lnTo>
                    <a:lnTo>
                      <a:pt x="14" y="32"/>
                    </a:lnTo>
                    <a:lnTo>
                      <a:pt x="10" y="26"/>
                    </a:lnTo>
                    <a:lnTo>
                      <a:pt x="6" y="14"/>
                    </a:lnTo>
                    <a:lnTo>
                      <a:pt x="4" y="6"/>
                    </a:lnTo>
                    <a:lnTo>
                      <a:pt x="16" y="4"/>
                    </a:lnTo>
                    <a:close/>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7" name="Freeform 659"/>
              <p:cNvSpPr>
                <a:spLocks/>
              </p:cNvSpPr>
              <p:nvPr/>
            </p:nvSpPr>
            <p:spPr bwMode="auto">
              <a:xfrm>
                <a:off x="3117" y="1831"/>
                <a:ext cx="56" cy="52"/>
              </a:xfrm>
              <a:custGeom>
                <a:avLst/>
                <a:gdLst>
                  <a:gd name="T0" fmla="*/ 12 w 56"/>
                  <a:gd name="T1" fmla="*/ 0 h 52"/>
                  <a:gd name="T2" fmla="*/ 24 w 56"/>
                  <a:gd name="T3" fmla="*/ 2 h 52"/>
                  <a:gd name="T4" fmla="*/ 46 w 56"/>
                  <a:gd name="T5" fmla="*/ 6 h 52"/>
                  <a:gd name="T6" fmla="*/ 52 w 56"/>
                  <a:gd name="T7" fmla="*/ 6 h 52"/>
                  <a:gd name="T8" fmla="*/ 54 w 56"/>
                  <a:gd name="T9" fmla="*/ 14 h 52"/>
                  <a:gd name="T10" fmla="*/ 50 w 56"/>
                  <a:gd name="T11" fmla="*/ 18 h 52"/>
                  <a:gd name="T12" fmla="*/ 56 w 56"/>
                  <a:gd name="T13" fmla="*/ 26 h 52"/>
                  <a:gd name="T14" fmla="*/ 48 w 56"/>
                  <a:gd name="T15" fmla="*/ 32 h 52"/>
                  <a:gd name="T16" fmla="*/ 46 w 56"/>
                  <a:gd name="T17" fmla="*/ 40 h 52"/>
                  <a:gd name="T18" fmla="*/ 40 w 56"/>
                  <a:gd name="T19" fmla="*/ 40 h 52"/>
                  <a:gd name="T20" fmla="*/ 40 w 56"/>
                  <a:gd name="T21" fmla="*/ 52 h 52"/>
                  <a:gd name="T22" fmla="*/ 32 w 56"/>
                  <a:gd name="T23" fmla="*/ 46 h 52"/>
                  <a:gd name="T24" fmla="*/ 24 w 56"/>
                  <a:gd name="T25" fmla="*/ 40 h 52"/>
                  <a:gd name="T26" fmla="*/ 14 w 56"/>
                  <a:gd name="T27" fmla="*/ 32 h 52"/>
                  <a:gd name="T28" fmla="*/ 10 w 56"/>
                  <a:gd name="T29" fmla="*/ 28 h 52"/>
                  <a:gd name="T30" fmla="*/ 6 w 56"/>
                  <a:gd name="T31" fmla="*/ 22 h 52"/>
                  <a:gd name="T32" fmla="*/ 2 w 56"/>
                  <a:gd name="T33" fmla="*/ 10 h 52"/>
                  <a:gd name="T34" fmla="*/ 0 w 56"/>
                  <a:gd name="T35" fmla="*/ 2 h 52"/>
                  <a:gd name="T36" fmla="*/ 12 w 56"/>
                  <a:gd name="T3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2">
                    <a:moveTo>
                      <a:pt x="12" y="0"/>
                    </a:moveTo>
                    <a:lnTo>
                      <a:pt x="24" y="2"/>
                    </a:lnTo>
                    <a:lnTo>
                      <a:pt x="46" y="6"/>
                    </a:lnTo>
                    <a:lnTo>
                      <a:pt x="52" y="6"/>
                    </a:lnTo>
                    <a:lnTo>
                      <a:pt x="54" y="14"/>
                    </a:lnTo>
                    <a:lnTo>
                      <a:pt x="50" y="18"/>
                    </a:lnTo>
                    <a:lnTo>
                      <a:pt x="56" y="26"/>
                    </a:lnTo>
                    <a:lnTo>
                      <a:pt x="48" y="32"/>
                    </a:lnTo>
                    <a:lnTo>
                      <a:pt x="46" y="40"/>
                    </a:lnTo>
                    <a:lnTo>
                      <a:pt x="40" y="40"/>
                    </a:lnTo>
                    <a:lnTo>
                      <a:pt x="40" y="52"/>
                    </a:lnTo>
                    <a:lnTo>
                      <a:pt x="32" y="46"/>
                    </a:lnTo>
                    <a:lnTo>
                      <a:pt x="24" y="40"/>
                    </a:lnTo>
                    <a:lnTo>
                      <a:pt x="14" y="32"/>
                    </a:lnTo>
                    <a:lnTo>
                      <a:pt x="10" y="28"/>
                    </a:lnTo>
                    <a:lnTo>
                      <a:pt x="6" y="22"/>
                    </a:lnTo>
                    <a:lnTo>
                      <a:pt x="2" y="10"/>
                    </a:lnTo>
                    <a:lnTo>
                      <a:pt x="0" y="2"/>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8" name="Freeform 660"/>
              <p:cNvSpPr>
                <a:spLocks/>
              </p:cNvSpPr>
              <p:nvPr/>
            </p:nvSpPr>
            <p:spPr bwMode="auto">
              <a:xfrm>
                <a:off x="3113" y="1827"/>
                <a:ext cx="64" cy="60"/>
              </a:xfrm>
              <a:custGeom>
                <a:avLst/>
                <a:gdLst>
                  <a:gd name="T0" fmla="*/ 16 w 64"/>
                  <a:gd name="T1" fmla="*/ 0 h 60"/>
                  <a:gd name="T2" fmla="*/ 16 w 64"/>
                  <a:gd name="T3" fmla="*/ 0 h 60"/>
                  <a:gd name="T4" fmla="*/ 14 w 64"/>
                  <a:gd name="T5" fmla="*/ 0 h 60"/>
                  <a:gd name="T6" fmla="*/ 4 w 64"/>
                  <a:gd name="T7" fmla="*/ 2 h 60"/>
                  <a:gd name="T8" fmla="*/ 4 w 64"/>
                  <a:gd name="T9" fmla="*/ 2 h 60"/>
                  <a:gd name="T10" fmla="*/ 0 w 64"/>
                  <a:gd name="T11" fmla="*/ 4 h 60"/>
                  <a:gd name="T12" fmla="*/ 0 w 64"/>
                  <a:gd name="T13" fmla="*/ 4 h 60"/>
                  <a:gd name="T14" fmla="*/ 0 w 64"/>
                  <a:gd name="T15" fmla="*/ 8 h 60"/>
                  <a:gd name="T16" fmla="*/ 2 w 64"/>
                  <a:gd name="T17" fmla="*/ 16 h 60"/>
                  <a:gd name="T18" fmla="*/ 6 w 64"/>
                  <a:gd name="T19" fmla="*/ 28 h 60"/>
                  <a:gd name="T20" fmla="*/ 6 w 64"/>
                  <a:gd name="T21" fmla="*/ 28 h 60"/>
                  <a:gd name="T22" fmla="*/ 6 w 64"/>
                  <a:gd name="T23" fmla="*/ 28 h 60"/>
                  <a:gd name="T24" fmla="*/ 10 w 64"/>
                  <a:gd name="T25" fmla="*/ 34 h 60"/>
                  <a:gd name="T26" fmla="*/ 10 w 64"/>
                  <a:gd name="T27" fmla="*/ 34 h 60"/>
                  <a:gd name="T28" fmla="*/ 10 w 64"/>
                  <a:gd name="T29" fmla="*/ 36 h 60"/>
                  <a:gd name="T30" fmla="*/ 16 w 64"/>
                  <a:gd name="T31" fmla="*/ 38 h 60"/>
                  <a:gd name="T32" fmla="*/ 26 w 64"/>
                  <a:gd name="T33" fmla="*/ 46 h 60"/>
                  <a:gd name="T34" fmla="*/ 34 w 64"/>
                  <a:gd name="T35" fmla="*/ 52 h 60"/>
                  <a:gd name="T36" fmla="*/ 40 w 64"/>
                  <a:gd name="T37" fmla="*/ 58 h 60"/>
                  <a:gd name="T38" fmla="*/ 40 w 64"/>
                  <a:gd name="T39" fmla="*/ 58 h 60"/>
                  <a:gd name="T40" fmla="*/ 44 w 64"/>
                  <a:gd name="T41" fmla="*/ 60 h 60"/>
                  <a:gd name="T42" fmla="*/ 44 w 64"/>
                  <a:gd name="T43" fmla="*/ 60 h 60"/>
                  <a:gd name="T44" fmla="*/ 44 w 64"/>
                  <a:gd name="T45" fmla="*/ 58 h 60"/>
                  <a:gd name="T46" fmla="*/ 44 w 64"/>
                  <a:gd name="T47" fmla="*/ 58 h 60"/>
                  <a:gd name="T48" fmla="*/ 48 w 64"/>
                  <a:gd name="T49" fmla="*/ 56 h 60"/>
                  <a:gd name="T50" fmla="*/ 48 w 64"/>
                  <a:gd name="T51" fmla="*/ 48 h 60"/>
                  <a:gd name="T52" fmla="*/ 50 w 64"/>
                  <a:gd name="T53" fmla="*/ 48 h 60"/>
                  <a:gd name="T54" fmla="*/ 50 w 64"/>
                  <a:gd name="T55" fmla="*/ 48 h 60"/>
                  <a:gd name="T56" fmla="*/ 54 w 64"/>
                  <a:gd name="T57" fmla="*/ 46 h 60"/>
                  <a:gd name="T58" fmla="*/ 54 w 64"/>
                  <a:gd name="T59" fmla="*/ 44 h 60"/>
                  <a:gd name="T60" fmla="*/ 56 w 64"/>
                  <a:gd name="T61" fmla="*/ 38 h 60"/>
                  <a:gd name="T62" fmla="*/ 62 w 64"/>
                  <a:gd name="T63" fmla="*/ 32 h 60"/>
                  <a:gd name="T64" fmla="*/ 62 w 64"/>
                  <a:gd name="T65" fmla="*/ 32 h 60"/>
                  <a:gd name="T66" fmla="*/ 64 w 64"/>
                  <a:gd name="T67" fmla="*/ 30 h 60"/>
                  <a:gd name="T68" fmla="*/ 64 w 64"/>
                  <a:gd name="T69" fmla="*/ 28 h 60"/>
                  <a:gd name="T70" fmla="*/ 60 w 64"/>
                  <a:gd name="T71" fmla="*/ 22 h 60"/>
                  <a:gd name="T72" fmla="*/ 60 w 64"/>
                  <a:gd name="T73" fmla="*/ 20 h 60"/>
                  <a:gd name="T74" fmla="*/ 60 w 64"/>
                  <a:gd name="T75" fmla="*/ 20 h 60"/>
                  <a:gd name="T76" fmla="*/ 62 w 64"/>
                  <a:gd name="T77" fmla="*/ 18 h 60"/>
                  <a:gd name="T78" fmla="*/ 60 w 64"/>
                  <a:gd name="T79" fmla="*/ 10 h 60"/>
                  <a:gd name="T80" fmla="*/ 60 w 64"/>
                  <a:gd name="T81" fmla="*/ 10 h 60"/>
                  <a:gd name="T82" fmla="*/ 58 w 64"/>
                  <a:gd name="T83" fmla="*/ 8 h 60"/>
                  <a:gd name="T84" fmla="*/ 56 w 64"/>
                  <a:gd name="T85" fmla="*/ 6 h 60"/>
                  <a:gd name="T86" fmla="*/ 50 w 64"/>
                  <a:gd name="T87" fmla="*/ 6 h 60"/>
                  <a:gd name="T88" fmla="*/ 28 w 64"/>
                  <a:gd name="T89" fmla="*/ 2 h 60"/>
                  <a:gd name="T90" fmla="*/ 16 w 64"/>
                  <a:gd name="T91" fmla="*/ 0 h 60"/>
                  <a:gd name="T92" fmla="*/ 16 w 64"/>
                  <a:gd name="T93" fmla="*/ 0 h 60"/>
                  <a:gd name="T94" fmla="*/ 16 w 64"/>
                  <a:gd name="T95" fmla="*/ 0 h 60"/>
                  <a:gd name="T96" fmla="*/ 16 w 64"/>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60">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9" name="Freeform 661"/>
              <p:cNvSpPr>
                <a:spLocks/>
              </p:cNvSpPr>
              <p:nvPr/>
            </p:nvSpPr>
            <p:spPr bwMode="auto">
              <a:xfrm>
                <a:off x="3155" y="1819"/>
                <a:ext cx="64" cy="70"/>
              </a:xfrm>
              <a:custGeom>
                <a:avLst/>
                <a:gdLst>
                  <a:gd name="T0" fmla="*/ 14 w 64"/>
                  <a:gd name="T1" fmla="*/ 70 h 70"/>
                  <a:gd name="T2" fmla="*/ 6 w 64"/>
                  <a:gd name="T3" fmla="*/ 66 h 70"/>
                  <a:gd name="T4" fmla="*/ 0 w 64"/>
                  <a:gd name="T5" fmla="*/ 62 h 70"/>
                  <a:gd name="T6" fmla="*/ 0 w 64"/>
                  <a:gd name="T7" fmla="*/ 50 h 70"/>
                  <a:gd name="T8" fmla="*/ 2 w 64"/>
                  <a:gd name="T9" fmla="*/ 48 h 70"/>
                  <a:gd name="T10" fmla="*/ 8 w 64"/>
                  <a:gd name="T11" fmla="*/ 42 h 70"/>
                  <a:gd name="T12" fmla="*/ 8 w 64"/>
                  <a:gd name="T13" fmla="*/ 42 h 70"/>
                  <a:gd name="T14" fmla="*/ 10 w 64"/>
                  <a:gd name="T15" fmla="*/ 32 h 70"/>
                  <a:gd name="T16" fmla="*/ 10 w 64"/>
                  <a:gd name="T17" fmla="*/ 30 h 70"/>
                  <a:gd name="T18" fmla="*/ 12 w 64"/>
                  <a:gd name="T19" fmla="*/ 22 h 70"/>
                  <a:gd name="T20" fmla="*/ 8 w 64"/>
                  <a:gd name="T21" fmla="*/ 22 h 70"/>
                  <a:gd name="T22" fmla="*/ 6 w 64"/>
                  <a:gd name="T23" fmla="*/ 22 h 70"/>
                  <a:gd name="T24" fmla="*/ 10 w 64"/>
                  <a:gd name="T25" fmla="*/ 16 h 70"/>
                  <a:gd name="T26" fmla="*/ 4 w 64"/>
                  <a:gd name="T27" fmla="*/ 6 h 70"/>
                  <a:gd name="T28" fmla="*/ 12 w 64"/>
                  <a:gd name="T29" fmla="*/ 0 h 70"/>
                  <a:gd name="T30" fmla="*/ 14 w 64"/>
                  <a:gd name="T31" fmla="*/ 0 h 70"/>
                  <a:gd name="T32" fmla="*/ 30 w 64"/>
                  <a:gd name="T33" fmla="*/ 0 h 70"/>
                  <a:gd name="T34" fmla="*/ 34 w 64"/>
                  <a:gd name="T35" fmla="*/ 8 h 70"/>
                  <a:gd name="T36" fmla="*/ 46 w 64"/>
                  <a:gd name="T37" fmla="*/ 24 h 70"/>
                  <a:gd name="T38" fmla="*/ 60 w 64"/>
                  <a:gd name="T39" fmla="*/ 26 h 70"/>
                  <a:gd name="T40" fmla="*/ 62 w 64"/>
                  <a:gd name="T41" fmla="*/ 36 h 70"/>
                  <a:gd name="T42" fmla="*/ 60 w 64"/>
                  <a:gd name="T43" fmla="*/ 38 h 70"/>
                  <a:gd name="T44" fmla="*/ 60 w 64"/>
                  <a:gd name="T45" fmla="*/ 46 h 70"/>
                  <a:gd name="T46" fmla="*/ 64 w 64"/>
                  <a:gd name="T47" fmla="*/ 50 h 70"/>
                  <a:gd name="T48" fmla="*/ 60 w 64"/>
                  <a:gd name="T49" fmla="*/ 62 h 70"/>
                  <a:gd name="T50" fmla="*/ 58 w 64"/>
                  <a:gd name="T51" fmla="*/ 64 h 70"/>
                  <a:gd name="T52" fmla="*/ 40 w 64"/>
                  <a:gd name="T53" fmla="*/ 68 h 70"/>
                  <a:gd name="T54" fmla="*/ 32 w 64"/>
                  <a:gd name="T55" fmla="*/ 68 h 70"/>
                  <a:gd name="T56" fmla="*/ 24 w 64"/>
                  <a:gd name="T57" fmla="*/ 64 h 70"/>
                  <a:gd name="T58" fmla="*/ 16 w 64"/>
                  <a:gd name="T59" fmla="*/ 64 h 70"/>
                  <a:gd name="T60" fmla="*/ 16 w 64"/>
                  <a:gd name="T61" fmla="*/ 70 h 70"/>
                  <a:gd name="T62" fmla="*/ 14 w 64"/>
                  <a:gd name="T63" fmla="*/ 70 h 70"/>
                  <a:gd name="T64" fmla="*/ 14 w 64"/>
                  <a:gd name="T6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0">
                    <a:moveTo>
                      <a:pt x="14" y="70"/>
                    </a:moveTo>
                    <a:lnTo>
                      <a:pt x="14" y="70"/>
                    </a:lnTo>
                    <a:lnTo>
                      <a:pt x="12" y="70"/>
                    </a:lnTo>
                    <a:lnTo>
                      <a:pt x="6" y="66"/>
                    </a:lnTo>
                    <a:lnTo>
                      <a:pt x="0" y="62"/>
                    </a:lnTo>
                    <a:lnTo>
                      <a:pt x="0" y="62"/>
                    </a:lnTo>
                    <a:lnTo>
                      <a:pt x="0" y="60"/>
                    </a:lnTo>
                    <a:lnTo>
                      <a:pt x="0" y="50"/>
                    </a:lnTo>
                    <a:lnTo>
                      <a:pt x="0" y="50"/>
                    </a:lnTo>
                    <a:lnTo>
                      <a:pt x="2" y="48"/>
                    </a:lnTo>
                    <a:lnTo>
                      <a:pt x="6" y="48"/>
                    </a:lnTo>
                    <a:lnTo>
                      <a:pt x="8" y="42"/>
                    </a:lnTo>
                    <a:lnTo>
                      <a:pt x="8" y="42"/>
                    </a:lnTo>
                    <a:lnTo>
                      <a:pt x="8" y="42"/>
                    </a:lnTo>
                    <a:lnTo>
                      <a:pt x="14" y="38"/>
                    </a:lnTo>
                    <a:lnTo>
                      <a:pt x="10" y="32"/>
                    </a:lnTo>
                    <a:lnTo>
                      <a:pt x="10" y="32"/>
                    </a:lnTo>
                    <a:lnTo>
                      <a:pt x="10" y="30"/>
                    </a:lnTo>
                    <a:lnTo>
                      <a:pt x="12" y="26"/>
                    </a:lnTo>
                    <a:lnTo>
                      <a:pt x="12" y="22"/>
                    </a:lnTo>
                    <a:lnTo>
                      <a:pt x="8" y="22"/>
                    </a:lnTo>
                    <a:lnTo>
                      <a:pt x="8" y="22"/>
                    </a:lnTo>
                    <a:lnTo>
                      <a:pt x="6" y="22"/>
                    </a:lnTo>
                    <a:lnTo>
                      <a:pt x="6" y="22"/>
                    </a:lnTo>
                    <a:lnTo>
                      <a:pt x="6" y="18"/>
                    </a:lnTo>
                    <a:lnTo>
                      <a:pt x="10" y="16"/>
                    </a:lnTo>
                    <a:lnTo>
                      <a:pt x="4" y="6"/>
                    </a:lnTo>
                    <a:lnTo>
                      <a:pt x="4" y="6"/>
                    </a:lnTo>
                    <a:lnTo>
                      <a:pt x="6" y="4"/>
                    </a:lnTo>
                    <a:lnTo>
                      <a:pt x="12" y="0"/>
                    </a:lnTo>
                    <a:lnTo>
                      <a:pt x="12" y="0"/>
                    </a:lnTo>
                    <a:lnTo>
                      <a:pt x="14" y="0"/>
                    </a:lnTo>
                    <a:lnTo>
                      <a:pt x="30" y="0"/>
                    </a:lnTo>
                    <a:lnTo>
                      <a:pt x="30" y="0"/>
                    </a:lnTo>
                    <a:lnTo>
                      <a:pt x="32" y="0"/>
                    </a:lnTo>
                    <a:lnTo>
                      <a:pt x="34" y="8"/>
                    </a:lnTo>
                    <a:lnTo>
                      <a:pt x="40" y="14"/>
                    </a:lnTo>
                    <a:lnTo>
                      <a:pt x="46" y="24"/>
                    </a:lnTo>
                    <a:lnTo>
                      <a:pt x="60" y="26"/>
                    </a:lnTo>
                    <a:lnTo>
                      <a:pt x="60" y="26"/>
                    </a:lnTo>
                    <a:lnTo>
                      <a:pt x="62" y="28"/>
                    </a:lnTo>
                    <a:lnTo>
                      <a:pt x="62" y="36"/>
                    </a:lnTo>
                    <a:lnTo>
                      <a:pt x="62" y="36"/>
                    </a:lnTo>
                    <a:lnTo>
                      <a:pt x="60" y="38"/>
                    </a:lnTo>
                    <a:lnTo>
                      <a:pt x="56" y="40"/>
                    </a:lnTo>
                    <a:lnTo>
                      <a:pt x="60" y="46"/>
                    </a:lnTo>
                    <a:lnTo>
                      <a:pt x="64" y="50"/>
                    </a:lnTo>
                    <a:lnTo>
                      <a:pt x="64" y="50"/>
                    </a:lnTo>
                    <a:lnTo>
                      <a:pt x="64" y="52"/>
                    </a:lnTo>
                    <a:lnTo>
                      <a:pt x="60" y="62"/>
                    </a:lnTo>
                    <a:lnTo>
                      <a:pt x="60" y="62"/>
                    </a:lnTo>
                    <a:lnTo>
                      <a:pt x="58" y="64"/>
                    </a:lnTo>
                    <a:lnTo>
                      <a:pt x="48" y="66"/>
                    </a:lnTo>
                    <a:lnTo>
                      <a:pt x="40" y="68"/>
                    </a:lnTo>
                    <a:lnTo>
                      <a:pt x="32" y="68"/>
                    </a:lnTo>
                    <a:lnTo>
                      <a:pt x="32" y="68"/>
                    </a:lnTo>
                    <a:lnTo>
                      <a:pt x="32" y="68"/>
                    </a:lnTo>
                    <a:lnTo>
                      <a:pt x="24" y="64"/>
                    </a:lnTo>
                    <a:lnTo>
                      <a:pt x="20" y="62"/>
                    </a:lnTo>
                    <a:lnTo>
                      <a:pt x="16" y="64"/>
                    </a:lnTo>
                    <a:lnTo>
                      <a:pt x="16" y="70"/>
                    </a:lnTo>
                    <a:lnTo>
                      <a:pt x="16" y="70"/>
                    </a:lnTo>
                    <a:lnTo>
                      <a:pt x="14" y="70"/>
                    </a:lnTo>
                    <a:lnTo>
                      <a:pt x="14" y="70"/>
                    </a:lnTo>
                    <a:lnTo>
                      <a:pt x="14" y="70"/>
                    </a:lnTo>
                    <a:lnTo>
                      <a:pt x="14"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0" name="Freeform 662"/>
              <p:cNvSpPr>
                <a:spLocks noEditPoints="1"/>
              </p:cNvSpPr>
              <p:nvPr/>
            </p:nvSpPr>
            <p:spPr bwMode="auto">
              <a:xfrm>
                <a:off x="3153" y="1817"/>
                <a:ext cx="68" cy="74"/>
              </a:xfrm>
              <a:custGeom>
                <a:avLst/>
                <a:gdLst>
                  <a:gd name="T0" fmla="*/ 34 w 68"/>
                  <a:gd name="T1" fmla="*/ 10 h 74"/>
                  <a:gd name="T2" fmla="*/ 48 w 68"/>
                  <a:gd name="T3" fmla="*/ 28 h 74"/>
                  <a:gd name="T4" fmla="*/ 62 w 68"/>
                  <a:gd name="T5" fmla="*/ 38 h 74"/>
                  <a:gd name="T6" fmla="*/ 62 w 68"/>
                  <a:gd name="T7" fmla="*/ 48 h 74"/>
                  <a:gd name="T8" fmla="*/ 60 w 68"/>
                  <a:gd name="T9" fmla="*/ 64 h 74"/>
                  <a:gd name="T10" fmla="*/ 42 w 68"/>
                  <a:gd name="T11" fmla="*/ 68 h 74"/>
                  <a:gd name="T12" fmla="*/ 28 w 68"/>
                  <a:gd name="T13" fmla="*/ 64 h 74"/>
                  <a:gd name="T14" fmla="*/ 18 w 68"/>
                  <a:gd name="T15" fmla="*/ 66 h 74"/>
                  <a:gd name="T16" fmla="*/ 8 w 68"/>
                  <a:gd name="T17" fmla="*/ 66 h 74"/>
                  <a:gd name="T18" fmla="*/ 4 w 68"/>
                  <a:gd name="T19" fmla="*/ 52 h 74"/>
                  <a:gd name="T20" fmla="*/ 12 w 68"/>
                  <a:gd name="T21" fmla="*/ 44 h 74"/>
                  <a:gd name="T22" fmla="*/ 14 w 68"/>
                  <a:gd name="T23" fmla="*/ 32 h 74"/>
                  <a:gd name="T24" fmla="*/ 16 w 68"/>
                  <a:gd name="T25" fmla="*/ 22 h 74"/>
                  <a:gd name="T26" fmla="*/ 14 w 68"/>
                  <a:gd name="T27" fmla="*/ 18 h 74"/>
                  <a:gd name="T28" fmla="*/ 16 w 68"/>
                  <a:gd name="T29" fmla="*/ 4 h 74"/>
                  <a:gd name="T30" fmla="*/ 32 w 68"/>
                  <a:gd name="T31" fmla="*/ 0 h 74"/>
                  <a:gd name="T32" fmla="*/ 16 w 68"/>
                  <a:gd name="T33" fmla="*/ 0 h 74"/>
                  <a:gd name="T34" fmla="*/ 6 w 68"/>
                  <a:gd name="T35" fmla="*/ 4 h 74"/>
                  <a:gd name="T36" fmla="*/ 4 w 68"/>
                  <a:gd name="T37" fmla="*/ 6 h 74"/>
                  <a:gd name="T38" fmla="*/ 8 w 68"/>
                  <a:gd name="T39" fmla="*/ 18 h 74"/>
                  <a:gd name="T40" fmla="*/ 8 w 68"/>
                  <a:gd name="T41" fmla="*/ 20 h 74"/>
                  <a:gd name="T42" fmla="*/ 6 w 68"/>
                  <a:gd name="T43" fmla="*/ 24 h 74"/>
                  <a:gd name="T44" fmla="*/ 8 w 68"/>
                  <a:gd name="T45" fmla="*/ 26 h 74"/>
                  <a:gd name="T46" fmla="*/ 12 w 68"/>
                  <a:gd name="T47" fmla="*/ 26 h 74"/>
                  <a:gd name="T48" fmla="*/ 10 w 68"/>
                  <a:gd name="T49" fmla="*/ 30 h 74"/>
                  <a:gd name="T50" fmla="*/ 10 w 68"/>
                  <a:gd name="T51" fmla="*/ 32 h 74"/>
                  <a:gd name="T52" fmla="*/ 14 w 68"/>
                  <a:gd name="T53" fmla="*/ 38 h 74"/>
                  <a:gd name="T54" fmla="*/ 10 w 68"/>
                  <a:gd name="T55" fmla="*/ 42 h 74"/>
                  <a:gd name="T56" fmla="*/ 8 w 68"/>
                  <a:gd name="T57" fmla="*/ 48 h 74"/>
                  <a:gd name="T58" fmla="*/ 4 w 68"/>
                  <a:gd name="T59" fmla="*/ 48 h 74"/>
                  <a:gd name="T60" fmla="*/ 0 w 68"/>
                  <a:gd name="T61" fmla="*/ 52 h 74"/>
                  <a:gd name="T62" fmla="*/ 0 w 68"/>
                  <a:gd name="T63" fmla="*/ 62 h 74"/>
                  <a:gd name="T64" fmla="*/ 0 w 68"/>
                  <a:gd name="T65" fmla="*/ 66 h 74"/>
                  <a:gd name="T66" fmla="*/ 14 w 68"/>
                  <a:gd name="T67" fmla="*/ 74 h 74"/>
                  <a:gd name="T68" fmla="*/ 16 w 68"/>
                  <a:gd name="T69" fmla="*/ 74 h 74"/>
                  <a:gd name="T70" fmla="*/ 16 w 68"/>
                  <a:gd name="T71" fmla="*/ 74 h 74"/>
                  <a:gd name="T72" fmla="*/ 20 w 68"/>
                  <a:gd name="T73" fmla="*/ 72 h 74"/>
                  <a:gd name="T74" fmla="*/ 22 w 68"/>
                  <a:gd name="T75" fmla="*/ 66 h 74"/>
                  <a:gd name="T76" fmla="*/ 32 w 68"/>
                  <a:gd name="T77" fmla="*/ 72 h 74"/>
                  <a:gd name="T78" fmla="*/ 34 w 68"/>
                  <a:gd name="T79" fmla="*/ 72 h 74"/>
                  <a:gd name="T80" fmla="*/ 42 w 68"/>
                  <a:gd name="T81" fmla="*/ 72 h 74"/>
                  <a:gd name="T82" fmla="*/ 52 w 68"/>
                  <a:gd name="T83" fmla="*/ 70 h 74"/>
                  <a:gd name="T84" fmla="*/ 60 w 68"/>
                  <a:gd name="T85" fmla="*/ 68 h 74"/>
                  <a:gd name="T86" fmla="*/ 68 w 68"/>
                  <a:gd name="T87" fmla="*/ 56 h 74"/>
                  <a:gd name="T88" fmla="*/ 68 w 68"/>
                  <a:gd name="T89" fmla="*/ 52 h 74"/>
                  <a:gd name="T90" fmla="*/ 62 w 68"/>
                  <a:gd name="T91" fmla="*/ 42 h 74"/>
                  <a:gd name="T92" fmla="*/ 64 w 68"/>
                  <a:gd name="T93" fmla="*/ 42 h 74"/>
                  <a:gd name="T94" fmla="*/ 66 w 68"/>
                  <a:gd name="T95" fmla="*/ 30 h 74"/>
                  <a:gd name="T96" fmla="*/ 64 w 68"/>
                  <a:gd name="T97" fmla="*/ 26 h 74"/>
                  <a:gd name="T98" fmla="*/ 50 w 68"/>
                  <a:gd name="T99" fmla="*/ 24 h 74"/>
                  <a:gd name="T100" fmla="*/ 38 w 68"/>
                  <a:gd name="T101" fmla="*/ 8 h 74"/>
                  <a:gd name="T102" fmla="*/ 36 w 68"/>
                  <a:gd name="T103" fmla="*/ 2 h 74"/>
                  <a:gd name="T104" fmla="*/ 32 w 68"/>
                  <a:gd name="T10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74">
                    <a:moveTo>
                      <a:pt x="32" y="4"/>
                    </a:moveTo>
                    <a:lnTo>
                      <a:pt x="34" y="10"/>
                    </a:lnTo>
                    <a:lnTo>
                      <a:pt x="40" y="18"/>
                    </a:lnTo>
                    <a:lnTo>
                      <a:pt x="48" y="28"/>
                    </a:lnTo>
                    <a:lnTo>
                      <a:pt x="62" y="30"/>
                    </a:lnTo>
                    <a:lnTo>
                      <a:pt x="62" y="38"/>
                    </a:lnTo>
                    <a:lnTo>
                      <a:pt x="56" y="42"/>
                    </a:lnTo>
                    <a:lnTo>
                      <a:pt x="62" y="48"/>
                    </a:lnTo>
                    <a:lnTo>
                      <a:pt x="64" y="54"/>
                    </a:lnTo>
                    <a:lnTo>
                      <a:pt x="60" y="64"/>
                    </a:lnTo>
                    <a:lnTo>
                      <a:pt x="50" y="66"/>
                    </a:lnTo>
                    <a:lnTo>
                      <a:pt x="42" y="68"/>
                    </a:lnTo>
                    <a:lnTo>
                      <a:pt x="34" y="68"/>
                    </a:lnTo>
                    <a:lnTo>
                      <a:pt x="28" y="64"/>
                    </a:lnTo>
                    <a:lnTo>
                      <a:pt x="20" y="62"/>
                    </a:lnTo>
                    <a:lnTo>
                      <a:pt x="18" y="66"/>
                    </a:lnTo>
                    <a:lnTo>
                      <a:pt x="16" y="70"/>
                    </a:lnTo>
                    <a:lnTo>
                      <a:pt x="8" y="66"/>
                    </a:lnTo>
                    <a:lnTo>
                      <a:pt x="4" y="62"/>
                    </a:lnTo>
                    <a:lnTo>
                      <a:pt x="4" y="52"/>
                    </a:lnTo>
                    <a:lnTo>
                      <a:pt x="10" y="52"/>
                    </a:lnTo>
                    <a:lnTo>
                      <a:pt x="12" y="44"/>
                    </a:lnTo>
                    <a:lnTo>
                      <a:pt x="18" y="40"/>
                    </a:lnTo>
                    <a:lnTo>
                      <a:pt x="14" y="32"/>
                    </a:lnTo>
                    <a:lnTo>
                      <a:pt x="18" y="30"/>
                    </a:lnTo>
                    <a:lnTo>
                      <a:pt x="16" y="22"/>
                    </a:lnTo>
                    <a:lnTo>
                      <a:pt x="10" y="22"/>
                    </a:lnTo>
                    <a:lnTo>
                      <a:pt x="14" y="18"/>
                    </a:lnTo>
                    <a:lnTo>
                      <a:pt x="8" y="6"/>
                    </a:lnTo>
                    <a:lnTo>
                      <a:pt x="16" y="4"/>
                    </a:lnTo>
                    <a:lnTo>
                      <a:pt x="32" y="4"/>
                    </a:lnTo>
                    <a:close/>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1" name="Freeform 663"/>
              <p:cNvSpPr>
                <a:spLocks/>
              </p:cNvSpPr>
              <p:nvPr/>
            </p:nvSpPr>
            <p:spPr bwMode="auto">
              <a:xfrm>
                <a:off x="3157" y="1821"/>
                <a:ext cx="60" cy="66"/>
              </a:xfrm>
              <a:custGeom>
                <a:avLst/>
                <a:gdLst>
                  <a:gd name="T0" fmla="*/ 28 w 60"/>
                  <a:gd name="T1" fmla="*/ 0 h 66"/>
                  <a:gd name="T2" fmla="*/ 30 w 60"/>
                  <a:gd name="T3" fmla="*/ 6 h 66"/>
                  <a:gd name="T4" fmla="*/ 36 w 60"/>
                  <a:gd name="T5" fmla="*/ 14 h 66"/>
                  <a:gd name="T6" fmla="*/ 44 w 60"/>
                  <a:gd name="T7" fmla="*/ 24 h 66"/>
                  <a:gd name="T8" fmla="*/ 58 w 60"/>
                  <a:gd name="T9" fmla="*/ 26 h 66"/>
                  <a:gd name="T10" fmla="*/ 58 w 60"/>
                  <a:gd name="T11" fmla="*/ 34 h 66"/>
                  <a:gd name="T12" fmla="*/ 52 w 60"/>
                  <a:gd name="T13" fmla="*/ 38 h 66"/>
                  <a:gd name="T14" fmla="*/ 58 w 60"/>
                  <a:gd name="T15" fmla="*/ 44 h 66"/>
                  <a:gd name="T16" fmla="*/ 60 w 60"/>
                  <a:gd name="T17" fmla="*/ 50 h 66"/>
                  <a:gd name="T18" fmla="*/ 56 w 60"/>
                  <a:gd name="T19" fmla="*/ 60 h 66"/>
                  <a:gd name="T20" fmla="*/ 46 w 60"/>
                  <a:gd name="T21" fmla="*/ 62 h 66"/>
                  <a:gd name="T22" fmla="*/ 38 w 60"/>
                  <a:gd name="T23" fmla="*/ 64 h 66"/>
                  <a:gd name="T24" fmla="*/ 30 w 60"/>
                  <a:gd name="T25" fmla="*/ 64 h 66"/>
                  <a:gd name="T26" fmla="*/ 24 w 60"/>
                  <a:gd name="T27" fmla="*/ 60 h 66"/>
                  <a:gd name="T28" fmla="*/ 16 w 60"/>
                  <a:gd name="T29" fmla="*/ 58 h 66"/>
                  <a:gd name="T30" fmla="*/ 14 w 60"/>
                  <a:gd name="T31" fmla="*/ 62 h 66"/>
                  <a:gd name="T32" fmla="*/ 12 w 60"/>
                  <a:gd name="T33" fmla="*/ 66 h 66"/>
                  <a:gd name="T34" fmla="*/ 4 w 60"/>
                  <a:gd name="T35" fmla="*/ 62 h 66"/>
                  <a:gd name="T36" fmla="*/ 0 w 60"/>
                  <a:gd name="T37" fmla="*/ 58 h 66"/>
                  <a:gd name="T38" fmla="*/ 0 w 60"/>
                  <a:gd name="T39" fmla="*/ 48 h 66"/>
                  <a:gd name="T40" fmla="*/ 6 w 60"/>
                  <a:gd name="T41" fmla="*/ 48 h 66"/>
                  <a:gd name="T42" fmla="*/ 8 w 60"/>
                  <a:gd name="T43" fmla="*/ 40 h 66"/>
                  <a:gd name="T44" fmla="*/ 14 w 60"/>
                  <a:gd name="T45" fmla="*/ 36 h 66"/>
                  <a:gd name="T46" fmla="*/ 10 w 60"/>
                  <a:gd name="T47" fmla="*/ 28 h 66"/>
                  <a:gd name="T48" fmla="*/ 14 w 60"/>
                  <a:gd name="T49" fmla="*/ 26 h 66"/>
                  <a:gd name="T50" fmla="*/ 12 w 60"/>
                  <a:gd name="T51" fmla="*/ 18 h 66"/>
                  <a:gd name="T52" fmla="*/ 6 w 60"/>
                  <a:gd name="T53" fmla="*/ 18 h 66"/>
                  <a:gd name="T54" fmla="*/ 10 w 60"/>
                  <a:gd name="T55" fmla="*/ 14 h 66"/>
                  <a:gd name="T56" fmla="*/ 4 w 60"/>
                  <a:gd name="T57" fmla="*/ 2 h 66"/>
                  <a:gd name="T58" fmla="*/ 12 w 60"/>
                  <a:gd name="T59" fmla="*/ 0 h 66"/>
                  <a:gd name="T60" fmla="*/ 28 w 60"/>
                  <a:gd name="T6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66">
                    <a:moveTo>
                      <a:pt x="28" y="0"/>
                    </a:moveTo>
                    <a:lnTo>
                      <a:pt x="30" y="6"/>
                    </a:lnTo>
                    <a:lnTo>
                      <a:pt x="36" y="14"/>
                    </a:lnTo>
                    <a:lnTo>
                      <a:pt x="44" y="24"/>
                    </a:lnTo>
                    <a:lnTo>
                      <a:pt x="58" y="26"/>
                    </a:lnTo>
                    <a:lnTo>
                      <a:pt x="58" y="34"/>
                    </a:lnTo>
                    <a:lnTo>
                      <a:pt x="52" y="38"/>
                    </a:lnTo>
                    <a:lnTo>
                      <a:pt x="58" y="44"/>
                    </a:lnTo>
                    <a:lnTo>
                      <a:pt x="60" y="50"/>
                    </a:lnTo>
                    <a:lnTo>
                      <a:pt x="56" y="60"/>
                    </a:lnTo>
                    <a:lnTo>
                      <a:pt x="46" y="62"/>
                    </a:lnTo>
                    <a:lnTo>
                      <a:pt x="38" y="64"/>
                    </a:lnTo>
                    <a:lnTo>
                      <a:pt x="30" y="64"/>
                    </a:lnTo>
                    <a:lnTo>
                      <a:pt x="24" y="60"/>
                    </a:lnTo>
                    <a:lnTo>
                      <a:pt x="16" y="58"/>
                    </a:lnTo>
                    <a:lnTo>
                      <a:pt x="14" y="62"/>
                    </a:lnTo>
                    <a:lnTo>
                      <a:pt x="12" y="66"/>
                    </a:lnTo>
                    <a:lnTo>
                      <a:pt x="4" y="62"/>
                    </a:lnTo>
                    <a:lnTo>
                      <a:pt x="0" y="58"/>
                    </a:lnTo>
                    <a:lnTo>
                      <a:pt x="0" y="48"/>
                    </a:lnTo>
                    <a:lnTo>
                      <a:pt x="6" y="48"/>
                    </a:lnTo>
                    <a:lnTo>
                      <a:pt x="8" y="40"/>
                    </a:lnTo>
                    <a:lnTo>
                      <a:pt x="14" y="36"/>
                    </a:lnTo>
                    <a:lnTo>
                      <a:pt x="10" y="28"/>
                    </a:lnTo>
                    <a:lnTo>
                      <a:pt x="14" y="26"/>
                    </a:lnTo>
                    <a:lnTo>
                      <a:pt x="12" y="18"/>
                    </a:lnTo>
                    <a:lnTo>
                      <a:pt x="6" y="18"/>
                    </a:lnTo>
                    <a:lnTo>
                      <a:pt x="10" y="14"/>
                    </a:lnTo>
                    <a:lnTo>
                      <a:pt x="4" y="2"/>
                    </a:lnTo>
                    <a:lnTo>
                      <a:pt x="12"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2" name="Freeform 664"/>
              <p:cNvSpPr>
                <a:spLocks/>
              </p:cNvSpPr>
              <p:nvPr/>
            </p:nvSpPr>
            <p:spPr bwMode="auto">
              <a:xfrm>
                <a:off x="3153" y="1817"/>
                <a:ext cx="68" cy="74"/>
              </a:xfrm>
              <a:custGeom>
                <a:avLst/>
                <a:gdLst>
                  <a:gd name="T0" fmla="*/ 16 w 68"/>
                  <a:gd name="T1" fmla="*/ 0 h 74"/>
                  <a:gd name="T2" fmla="*/ 14 w 68"/>
                  <a:gd name="T3" fmla="*/ 0 h 74"/>
                  <a:gd name="T4" fmla="*/ 6 w 68"/>
                  <a:gd name="T5" fmla="*/ 4 h 74"/>
                  <a:gd name="T6" fmla="*/ 4 w 68"/>
                  <a:gd name="T7" fmla="*/ 8 h 74"/>
                  <a:gd name="T8" fmla="*/ 8 w 68"/>
                  <a:gd name="T9" fmla="*/ 20 h 74"/>
                  <a:gd name="T10" fmla="*/ 6 w 68"/>
                  <a:gd name="T11" fmla="*/ 22 h 74"/>
                  <a:gd name="T12" fmla="*/ 6 w 68"/>
                  <a:gd name="T13" fmla="*/ 24 h 74"/>
                  <a:gd name="T14" fmla="*/ 10 w 68"/>
                  <a:gd name="T15" fmla="*/ 26 h 74"/>
                  <a:gd name="T16" fmla="*/ 12 w 68"/>
                  <a:gd name="T17" fmla="*/ 28 h 74"/>
                  <a:gd name="T18" fmla="*/ 10 w 68"/>
                  <a:gd name="T19" fmla="*/ 30 h 74"/>
                  <a:gd name="T20" fmla="*/ 10 w 68"/>
                  <a:gd name="T21" fmla="*/ 36 h 74"/>
                  <a:gd name="T22" fmla="*/ 10 w 68"/>
                  <a:gd name="T23" fmla="*/ 42 h 74"/>
                  <a:gd name="T24" fmla="*/ 8 w 68"/>
                  <a:gd name="T25" fmla="*/ 44 h 74"/>
                  <a:gd name="T26" fmla="*/ 4 w 68"/>
                  <a:gd name="T27" fmla="*/ 48 h 74"/>
                  <a:gd name="T28" fmla="*/ 2 w 68"/>
                  <a:gd name="T29" fmla="*/ 48 h 74"/>
                  <a:gd name="T30" fmla="*/ 0 w 68"/>
                  <a:gd name="T31" fmla="*/ 62 h 74"/>
                  <a:gd name="T32" fmla="*/ 0 w 68"/>
                  <a:gd name="T33" fmla="*/ 64 h 74"/>
                  <a:gd name="T34" fmla="*/ 6 w 68"/>
                  <a:gd name="T35" fmla="*/ 68 h 74"/>
                  <a:gd name="T36" fmla="*/ 14 w 68"/>
                  <a:gd name="T37" fmla="*/ 74 h 74"/>
                  <a:gd name="T38" fmla="*/ 16 w 68"/>
                  <a:gd name="T39" fmla="*/ 74 h 74"/>
                  <a:gd name="T40" fmla="*/ 16 w 68"/>
                  <a:gd name="T41" fmla="*/ 74 h 74"/>
                  <a:gd name="T42" fmla="*/ 20 w 68"/>
                  <a:gd name="T43" fmla="*/ 68 h 74"/>
                  <a:gd name="T44" fmla="*/ 26 w 68"/>
                  <a:gd name="T45" fmla="*/ 68 h 74"/>
                  <a:gd name="T46" fmla="*/ 32 w 68"/>
                  <a:gd name="T47" fmla="*/ 72 h 74"/>
                  <a:gd name="T48" fmla="*/ 42 w 68"/>
                  <a:gd name="T49" fmla="*/ 72 h 74"/>
                  <a:gd name="T50" fmla="*/ 44 w 68"/>
                  <a:gd name="T51" fmla="*/ 72 h 74"/>
                  <a:gd name="T52" fmla="*/ 60 w 68"/>
                  <a:gd name="T53" fmla="*/ 68 h 74"/>
                  <a:gd name="T54" fmla="*/ 62 w 68"/>
                  <a:gd name="T55" fmla="*/ 66 h 74"/>
                  <a:gd name="T56" fmla="*/ 68 w 68"/>
                  <a:gd name="T57" fmla="*/ 56 h 74"/>
                  <a:gd name="T58" fmla="*/ 64 w 68"/>
                  <a:gd name="T59" fmla="*/ 46 h 74"/>
                  <a:gd name="T60" fmla="*/ 64 w 68"/>
                  <a:gd name="T61" fmla="*/ 42 h 74"/>
                  <a:gd name="T62" fmla="*/ 66 w 68"/>
                  <a:gd name="T63" fmla="*/ 38 h 74"/>
                  <a:gd name="T64" fmla="*/ 66 w 68"/>
                  <a:gd name="T65" fmla="*/ 30 h 74"/>
                  <a:gd name="T66" fmla="*/ 62 w 68"/>
                  <a:gd name="T67" fmla="*/ 26 h 74"/>
                  <a:gd name="T68" fmla="*/ 44 w 68"/>
                  <a:gd name="T69" fmla="*/ 14 h 74"/>
                  <a:gd name="T70" fmla="*/ 36 w 68"/>
                  <a:gd name="T71" fmla="*/ 2 h 74"/>
                  <a:gd name="T72" fmla="*/ 36 w 68"/>
                  <a:gd name="T73" fmla="*/ 0 h 74"/>
                  <a:gd name="T74" fmla="*/ 32 w 68"/>
                  <a:gd name="T7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74">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3" name="Freeform 665"/>
              <p:cNvSpPr>
                <a:spLocks/>
              </p:cNvSpPr>
              <p:nvPr/>
            </p:nvSpPr>
            <p:spPr bwMode="auto">
              <a:xfrm>
                <a:off x="3183" y="1881"/>
                <a:ext cx="42" cy="32"/>
              </a:xfrm>
              <a:custGeom>
                <a:avLst/>
                <a:gdLst>
                  <a:gd name="T0" fmla="*/ 6 w 42"/>
                  <a:gd name="T1" fmla="*/ 32 h 32"/>
                  <a:gd name="T2" fmla="*/ 6 w 42"/>
                  <a:gd name="T3" fmla="*/ 32 h 32"/>
                  <a:gd name="T4" fmla="*/ 6 w 42"/>
                  <a:gd name="T5" fmla="*/ 30 h 32"/>
                  <a:gd name="T6" fmla="*/ 0 w 42"/>
                  <a:gd name="T7" fmla="*/ 20 h 32"/>
                  <a:gd name="T8" fmla="*/ 0 w 42"/>
                  <a:gd name="T9" fmla="*/ 20 h 32"/>
                  <a:gd name="T10" fmla="*/ 0 w 42"/>
                  <a:gd name="T11" fmla="*/ 18 h 32"/>
                  <a:gd name="T12" fmla="*/ 2 w 42"/>
                  <a:gd name="T13" fmla="*/ 6 h 32"/>
                  <a:gd name="T14" fmla="*/ 2 w 42"/>
                  <a:gd name="T15" fmla="*/ 6 h 32"/>
                  <a:gd name="T16" fmla="*/ 4 w 42"/>
                  <a:gd name="T17" fmla="*/ 4 h 32"/>
                  <a:gd name="T18" fmla="*/ 10 w 42"/>
                  <a:gd name="T19" fmla="*/ 4 h 32"/>
                  <a:gd name="T20" fmla="*/ 20 w 42"/>
                  <a:gd name="T21" fmla="*/ 0 h 32"/>
                  <a:gd name="T22" fmla="*/ 30 w 42"/>
                  <a:gd name="T23" fmla="*/ 0 h 32"/>
                  <a:gd name="T24" fmla="*/ 30 w 42"/>
                  <a:gd name="T25" fmla="*/ 0 h 32"/>
                  <a:gd name="T26" fmla="*/ 30 w 42"/>
                  <a:gd name="T27" fmla="*/ 0 h 32"/>
                  <a:gd name="T28" fmla="*/ 30 w 42"/>
                  <a:gd name="T29" fmla="*/ 0 h 32"/>
                  <a:gd name="T30" fmla="*/ 32 w 42"/>
                  <a:gd name="T31" fmla="*/ 0 h 32"/>
                  <a:gd name="T32" fmla="*/ 34 w 42"/>
                  <a:gd name="T33" fmla="*/ 6 h 32"/>
                  <a:gd name="T34" fmla="*/ 40 w 42"/>
                  <a:gd name="T35" fmla="*/ 12 h 32"/>
                  <a:gd name="T36" fmla="*/ 40 w 42"/>
                  <a:gd name="T37" fmla="*/ 12 h 32"/>
                  <a:gd name="T38" fmla="*/ 40 w 42"/>
                  <a:gd name="T39" fmla="*/ 12 h 32"/>
                  <a:gd name="T40" fmla="*/ 42 w 42"/>
                  <a:gd name="T41" fmla="*/ 18 h 32"/>
                  <a:gd name="T42" fmla="*/ 42 w 42"/>
                  <a:gd name="T43" fmla="*/ 18 h 32"/>
                  <a:gd name="T44" fmla="*/ 42 w 42"/>
                  <a:gd name="T45" fmla="*/ 20 h 32"/>
                  <a:gd name="T46" fmla="*/ 34 w 42"/>
                  <a:gd name="T47" fmla="*/ 26 h 32"/>
                  <a:gd name="T48" fmla="*/ 34 w 42"/>
                  <a:gd name="T49" fmla="*/ 26 h 32"/>
                  <a:gd name="T50" fmla="*/ 32 w 42"/>
                  <a:gd name="T51" fmla="*/ 26 h 32"/>
                  <a:gd name="T52" fmla="*/ 20 w 42"/>
                  <a:gd name="T53" fmla="*/ 28 h 32"/>
                  <a:gd name="T54" fmla="*/ 8 w 42"/>
                  <a:gd name="T55" fmla="*/ 32 h 32"/>
                  <a:gd name="T56" fmla="*/ 8 w 42"/>
                  <a:gd name="T57" fmla="*/ 32 h 32"/>
                  <a:gd name="T58" fmla="*/ 6 w 42"/>
                  <a:gd name="T59" fmla="*/ 32 h 32"/>
                  <a:gd name="T60" fmla="*/ 6 w 4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32">
                    <a:moveTo>
                      <a:pt x="6" y="32"/>
                    </a:moveTo>
                    <a:lnTo>
                      <a:pt x="6" y="32"/>
                    </a:lnTo>
                    <a:lnTo>
                      <a:pt x="6" y="30"/>
                    </a:lnTo>
                    <a:lnTo>
                      <a:pt x="0" y="20"/>
                    </a:lnTo>
                    <a:lnTo>
                      <a:pt x="0" y="20"/>
                    </a:lnTo>
                    <a:lnTo>
                      <a:pt x="0" y="18"/>
                    </a:lnTo>
                    <a:lnTo>
                      <a:pt x="2" y="6"/>
                    </a:lnTo>
                    <a:lnTo>
                      <a:pt x="2" y="6"/>
                    </a:lnTo>
                    <a:lnTo>
                      <a:pt x="4" y="4"/>
                    </a:lnTo>
                    <a:lnTo>
                      <a:pt x="10" y="4"/>
                    </a:lnTo>
                    <a:lnTo>
                      <a:pt x="20" y="0"/>
                    </a:lnTo>
                    <a:lnTo>
                      <a:pt x="30" y="0"/>
                    </a:lnTo>
                    <a:lnTo>
                      <a:pt x="30" y="0"/>
                    </a:lnTo>
                    <a:lnTo>
                      <a:pt x="30" y="0"/>
                    </a:lnTo>
                    <a:lnTo>
                      <a:pt x="30" y="0"/>
                    </a:lnTo>
                    <a:lnTo>
                      <a:pt x="32" y="0"/>
                    </a:lnTo>
                    <a:lnTo>
                      <a:pt x="34" y="6"/>
                    </a:lnTo>
                    <a:lnTo>
                      <a:pt x="40" y="12"/>
                    </a:lnTo>
                    <a:lnTo>
                      <a:pt x="40" y="12"/>
                    </a:lnTo>
                    <a:lnTo>
                      <a:pt x="40" y="12"/>
                    </a:lnTo>
                    <a:lnTo>
                      <a:pt x="42" y="18"/>
                    </a:lnTo>
                    <a:lnTo>
                      <a:pt x="42" y="18"/>
                    </a:lnTo>
                    <a:lnTo>
                      <a:pt x="42" y="20"/>
                    </a:lnTo>
                    <a:lnTo>
                      <a:pt x="34" y="26"/>
                    </a:lnTo>
                    <a:lnTo>
                      <a:pt x="34" y="26"/>
                    </a:lnTo>
                    <a:lnTo>
                      <a:pt x="32" y="26"/>
                    </a:lnTo>
                    <a:lnTo>
                      <a:pt x="20" y="28"/>
                    </a:lnTo>
                    <a:lnTo>
                      <a:pt x="8" y="32"/>
                    </a:lnTo>
                    <a:lnTo>
                      <a:pt x="8"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4" name="Freeform 666"/>
              <p:cNvSpPr>
                <a:spLocks noEditPoints="1"/>
              </p:cNvSpPr>
              <p:nvPr/>
            </p:nvSpPr>
            <p:spPr bwMode="auto">
              <a:xfrm>
                <a:off x="3181" y="1879"/>
                <a:ext cx="46" cy="36"/>
              </a:xfrm>
              <a:custGeom>
                <a:avLst/>
                <a:gdLst>
                  <a:gd name="T0" fmla="*/ 32 w 46"/>
                  <a:gd name="T1" fmla="*/ 4 h 36"/>
                  <a:gd name="T2" fmla="*/ 34 w 46"/>
                  <a:gd name="T3" fmla="*/ 10 h 36"/>
                  <a:gd name="T4" fmla="*/ 40 w 46"/>
                  <a:gd name="T5" fmla="*/ 16 h 36"/>
                  <a:gd name="T6" fmla="*/ 42 w 46"/>
                  <a:gd name="T7" fmla="*/ 20 h 36"/>
                  <a:gd name="T8" fmla="*/ 34 w 46"/>
                  <a:gd name="T9" fmla="*/ 26 h 36"/>
                  <a:gd name="T10" fmla="*/ 22 w 46"/>
                  <a:gd name="T11" fmla="*/ 28 h 36"/>
                  <a:gd name="T12" fmla="*/ 8 w 46"/>
                  <a:gd name="T13" fmla="*/ 32 h 36"/>
                  <a:gd name="T14" fmla="*/ 4 w 46"/>
                  <a:gd name="T15" fmla="*/ 20 h 36"/>
                  <a:gd name="T16" fmla="*/ 6 w 46"/>
                  <a:gd name="T17" fmla="*/ 8 h 36"/>
                  <a:gd name="T18" fmla="*/ 12 w 46"/>
                  <a:gd name="T19" fmla="*/ 8 h 36"/>
                  <a:gd name="T20" fmla="*/ 22 w 46"/>
                  <a:gd name="T21" fmla="*/ 4 h 36"/>
                  <a:gd name="T22" fmla="*/ 32 w 46"/>
                  <a:gd name="T23" fmla="*/ 4 h 36"/>
                  <a:gd name="T24" fmla="*/ 32 w 46"/>
                  <a:gd name="T25" fmla="*/ 0 h 36"/>
                  <a:gd name="T26" fmla="*/ 32 w 46"/>
                  <a:gd name="T27" fmla="*/ 0 h 36"/>
                  <a:gd name="T28" fmla="*/ 32 w 46"/>
                  <a:gd name="T29" fmla="*/ 0 h 36"/>
                  <a:gd name="T30" fmla="*/ 22 w 46"/>
                  <a:gd name="T31" fmla="*/ 0 h 36"/>
                  <a:gd name="T32" fmla="*/ 22 w 46"/>
                  <a:gd name="T33" fmla="*/ 0 h 36"/>
                  <a:gd name="T34" fmla="*/ 22 w 46"/>
                  <a:gd name="T35" fmla="*/ 2 h 36"/>
                  <a:gd name="T36" fmla="*/ 12 w 46"/>
                  <a:gd name="T37" fmla="*/ 4 h 36"/>
                  <a:gd name="T38" fmla="*/ 6 w 46"/>
                  <a:gd name="T39" fmla="*/ 4 h 36"/>
                  <a:gd name="T40" fmla="*/ 6 w 46"/>
                  <a:gd name="T41" fmla="*/ 4 h 36"/>
                  <a:gd name="T42" fmla="*/ 2 w 46"/>
                  <a:gd name="T43" fmla="*/ 6 h 36"/>
                  <a:gd name="T44" fmla="*/ 2 w 46"/>
                  <a:gd name="T45" fmla="*/ 8 h 36"/>
                  <a:gd name="T46" fmla="*/ 0 w 46"/>
                  <a:gd name="T47" fmla="*/ 20 h 36"/>
                  <a:gd name="T48" fmla="*/ 0 w 46"/>
                  <a:gd name="T49" fmla="*/ 20 h 36"/>
                  <a:gd name="T50" fmla="*/ 0 w 46"/>
                  <a:gd name="T51" fmla="*/ 22 h 36"/>
                  <a:gd name="T52" fmla="*/ 6 w 46"/>
                  <a:gd name="T53" fmla="*/ 34 h 36"/>
                  <a:gd name="T54" fmla="*/ 6 w 46"/>
                  <a:gd name="T55" fmla="*/ 34 h 36"/>
                  <a:gd name="T56" fmla="*/ 8 w 46"/>
                  <a:gd name="T57" fmla="*/ 36 h 36"/>
                  <a:gd name="T58" fmla="*/ 8 w 46"/>
                  <a:gd name="T59" fmla="*/ 36 h 36"/>
                  <a:gd name="T60" fmla="*/ 10 w 46"/>
                  <a:gd name="T61" fmla="*/ 36 h 36"/>
                  <a:gd name="T62" fmla="*/ 24 w 46"/>
                  <a:gd name="T63" fmla="*/ 32 h 36"/>
                  <a:gd name="T64" fmla="*/ 34 w 46"/>
                  <a:gd name="T65" fmla="*/ 30 h 36"/>
                  <a:gd name="T66" fmla="*/ 34 w 46"/>
                  <a:gd name="T67" fmla="*/ 30 h 36"/>
                  <a:gd name="T68" fmla="*/ 36 w 46"/>
                  <a:gd name="T69" fmla="*/ 30 h 36"/>
                  <a:gd name="T70" fmla="*/ 44 w 46"/>
                  <a:gd name="T71" fmla="*/ 24 h 36"/>
                  <a:gd name="T72" fmla="*/ 44 w 46"/>
                  <a:gd name="T73" fmla="*/ 24 h 36"/>
                  <a:gd name="T74" fmla="*/ 46 w 46"/>
                  <a:gd name="T75" fmla="*/ 22 h 36"/>
                  <a:gd name="T76" fmla="*/ 46 w 46"/>
                  <a:gd name="T77" fmla="*/ 20 h 36"/>
                  <a:gd name="T78" fmla="*/ 44 w 46"/>
                  <a:gd name="T79" fmla="*/ 14 h 36"/>
                  <a:gd name="T80" fmla="*/ 44 w 46"/>
                  <a:gd name="T81" fmla="*/ 14 h 36"/>
                  <a:gd name="T82" fmla="*/ 42 w 46"/>
                  <a:gd name="T83" fmla="*/ 12 h 36"/>
                  <a:gd name="T84" fmla="*/ 38 w 46"/>
                  <a:gd name="T85" fmla="*/ 8 h 36"/>
                  <a:gd name="T86" fmla="*/ 36 w 46"/>
                  <a:gd name="T87" fmla="*/ 2 h 36"/>
                  <a:gd name="T88" fmla="*/ 36 w 46"/>
                  <a:gd name="T89" fmla="*/ 2 h 36"/>
                  <a:gd name="T90" fmla="*/ 34 w 46"/>
                  <a:gd name="T91" fmla="*/ 0 h 36"/>
                  <a:gd name="T92" fmla="*/ 32 w 46"/>
                  <a:gd name="T93" fmla="*/ 0 h 36"/>
                  <a:gd name="T94" fmla="*/ 32 w 46"/>
                  <a:gd name="T9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36">
                    <a:moveTo>
                      <a:pt x="32" y="4"/>
                    </a:moveTo>
                    <a:lnTo>
                      <a:pt x="34" y="10"/>
                    </a:lnTo>
                    <a:lnTo>
                      <a:pt x="40" y="16"/>
                    </a:lnTo>
                    <a:lnTo>
                      <a:pt x="42" y="20"/>
                    </a:lnTo>
                    <a:lnTo>
                      <a:pt x="34" y="26"/>
                    </a:lnTo>
                    <a:lnTo>
                      <a:pt x="22" y="28"/>
                    </a:lnTo>
                    <a:lnTo>
                      <a:pt x="8" y="32"/>
                    </a:lnTo>
                    <a:lnTo>
                      <a:pt x="4" y="20"/>
                    </a:lnTo>
                    <a:lnTo>
                      <a:pt x="6" y="8"/>
                    </a:lnTo>
                    <a:lnTo>
                      <a:pt x="12" y="8"/>
                    </a:lnTo>
                    <a:lnTo>
                      <a:pt x="22" y="4"/>
                    </a:lnTo>
                    <a:lnTo>
                      <a:pt x="32" y="4"/>
                    </a:lnTo>
                    <a:close/>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5" name="Freeform 667"/>
              <p:cNvSpPr>
                <a:spLocks/>
              </p:cNvSpPr>
              <p:nvPr/>
            </p:nvSpPr>
            <p:spPr bwMode="auto">
              <a:xfrm>
                <a:off x="3185" y="1883"/>
                <a:ext cx="38" cy="28"/>
              </a:xfrm>
              <a:custGeom>
                <a:avLst/>
                <a:gdLst>
                  <a:gd name="T0" fmla="*/ 28 w 38"/>
                  <a:gd name="T1" fmla="*/ 0 h 28"/>
                  <a:gd name="T2" fmla="*/ 30 w 38"/>
                  <a:gd name="T3" fmla="*/ 6 h 28"/>
                  <a:gd name="T4" fmla="*/ 36 w 38"/>
                  <a:gd name="T5" fmla="*/ 12 h 28"/>
                  <a:gd name="T6" fmla="*/ 38 w 38"/>
                  <a:gd name="T7" fmla="*/ 16 h 28"/>
                  <a:gd name="T8" fmla="*/ 30 w 38"/>
                  <a:gd name="T9" fmla="*/ 22 h 28"/>
                  <a:gd name="T10" fmla="*/ 18 w 38"/>
                  <a:gd name="T11" fmla="*/ 24 h 28"/>
                  <a:gd name="T12" fmla="*/ 4 w 38"/>
                  <a:gd name="T13" fmla="*/ 28 h 28"/>
                  <a:gd name="T14" fmla="*/ 0 w 38"/>
                  <a:gd name="T15" fmla="*/ 16 h 28"/>
                  <a:gd name="T16" fmla="*/ 2 w 38"/>
                  <a:gd name="T17" fmla="*/ 4 h 28"/>
                  <a:gd name="T18" fmla="*/ 8 w 38"/>
                  <a:gd name="T19" fmla="*/ 4 h 28"/>
                  <a:gd name="T20" fmla="*/ 18 w 38"/>
                  <a:gd name="T21" fmla="*/ 0 h 28"/>
                  <a:gd name="T22" fmla="*/ 28 w 3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8">
                    <a:moveTo>
                      <a:pt x="28" y="0"/>
                    </a:moveTo>
                    <a:lnTo>
                      <a:pt x="30" y="6"/>
                    </a:lnTo>
                    <a:lnTo>
                      <a:pt x="36" y="12"/>
                    </a:lnTo>
                    <a:lnTo>
                      <a:pt x="38" y="16"/>
                    </a:lnTo>
                    <a:lnTo>
                      <a:pt x="30" y="22"/>
                    </a:lnTo>
                    <a:lnTo>
                      <a:pt x="18" y="24"/>
                    </a:lnTo>
                    <a:lnTo>
                      <a:pt x="4" y="28"/>
                    </a:lnTo>
                    <a:lnTo>
                      <a:pt x="0" y="16"/>
                    </a:lnTo>
                    <a:lnTo>
                      <a:pt x="2" y="4"/>
                    </a:lnTo>
                    <a:lnTo>
                      <a:pt x="8" y="4"/>
                    </a:lnTo>
                    <a:lnTo>
                      <a:pt x="1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6" name="Freeform 668"/>
              <p:cNvSpPr>
                <a:spLocks/>
              </p:cNvSpPr>
              <p:nvPr/>
            </p:nvSpPr>
            <p:spPr bwMode="auto">
              <a:xfrm>
                <a:off x="3181" y="1879"/>
                <a:ext cx="46" cy="36"/>
              </a:xfrm>
              <a:custGeom>
                <a:avLst/>
                <a:gdLst>
                  <a:gd name="T0" fmla="*/ 32 w 46"/>
                  <a:gd name="T1" fmla="*/ 0 h 36"/>
                  <a:gd name="T2" fmla="*/ 32 w 46"/>
                  <a:gd name="T3" fmla="*/ 0 h 36"/>
                  <a:gd name="T4" fmla="*/ 32 w 46"/>
                  <a:gd name="T5" fmla="*/ 0 h 36"/>
                  <a:gd name="T6" fmla="*/ 22 w 46"/>
                  <a:gd name="T7" fmla="*/ 0 h 36"/>
                  <a:gd name="T8" fmla="*/ 22 w 46"/>
                  <a:gd name="T9" fmla="*/ 0 h 36"/>
                  <a:gd name="T10" fmla="*/ 22 w 46"/>
                  <a:gd name="T11" fmla="*/ 2 h 36"/>
                  <a:gd name="T12" fmla="*/ 12 w 46"/>
                  <a:gd name="T13" fmla="*/ 4 h 36"/>
                  <a:gd name="T14" fmla="*/ 6 w 46"/>
                  <a:gd name="T15" fmla="*/ 4 h 36"/>
                  <a:gd name="T16" fmla="*/ 6 w 46"/>
                  <a:gd name="T17" fmla="*/ 4 h 36"/>
                  <a:gd name="T18" fmla="*/ 2 w 46"/>
                  <a:gd name="T19" fmla="*/ 6 h 36"/>
                  <a:gd name="T20" fmla="*/ 2 w 46"/>
                  <a:gd name="T21" fmla="*/ 8 h 36"/>
                  <a:gd name="T22" fmla="*/ 0 w 46"/>
                  <a:gd name="T23" fmla="*/ 20 h 36"/>
                  <a:gd name="T24" fmla="*/ 0 w 46"/>
                  <a:gd name="T25" fmla="*/ 20 h 36"/>
                  <a:gd name="T26" fmla="*/ 0 w 46"/>
                  <a:gd name="T27" fmla="*/ 22 h 36"/>
                  <a:gd name="T28" fmla="*/ 6 w 46"/>
                  <a:gd name="T29" fmla="*/ 34 h 36"/>
                  <a:gd name="T30" fmla="*/ 6 w 46"/>
                  <a:gd name="T31" fmla="*/ 34 h 36"/>
                  <a:gd name="T32" fmla="*/ 8 w 46"/>
                  <a:gd name="T33" fmla="*/ 36 h 36"/>
                  <a:gd name="T34" fmla="*/ 8 w 46"/>
                  <a:gd name="T35" fmla="*/ 36 h 36"/>
                  <a:gd name="T36" fmla="*/ 10 w 46"/>
                  <a:gd name="T37" fmla="*/ 36 h 36"/>
                  <a:gd name="T38" fmla="*/ 24 w 46"/>
                  <a:gd name="T39" fmla="*/ 32 h 36"/>
                  <a:gd name="T40" fmla="*/ 34 w 46"/>
                  <a:gd name="T41" fmla="*/ 30 h 36"/>
                  <a:gd name="T42" fmla="*/ 34 w 46"/>
                  <a:gd name="T43" fmla="*/ 30 h 36"/>
                  <a:gd name="T44" fmla="*/ 36 w 46"/>
                  <a:gd name="T45" fmla="*/ 30 h 36"/>
                  <a:gd name="T46" fmla="*/ 44 w 46"/>
                  <a:gd name="T47" fmla="*/ 24 h 36"/>
                  <a:gd name="T48" fmla="*/ 44 w 46"/>
                  <a:gd name="T49" fmla="*/ 24 h 36"/>
                  <a:gd name="T50" fmla="*/ 46 w 46"/>
                  <a:gd name="T51" fmla="*/ 22 h 36"/>
                  <a:gd name="T52" fmla="*/ 46 w 46"/>
                  <a:gd name="T53" fmla="*/ 20 h 36"/>
                  <a:gd name="T54" fmla="*/ 44 w 46"/>
                  <a:gd name="T55" fmla="*/ 14 h 36"/>
                  <a:gd name="T56" fmla="*/ 44 w 46"/>
                  <a:gd name="T57" fmla="*/ 14 h 36"/>
                  <a:gd name="T58" fmla="*/ 42 w 46"/>
                  <a:gd name="T59" fmla="*/ 12 h 36"/>
                  <a:gd name="T60" fmla="*/ 38 w 46"/>
                  <a:gd name="T61" fmla="*/ 8 h 36"/>
                  <a:gd name="T62" fmla="*/ 36 w 46"/>
                  <a:gd name="T63" fmla="*/ 2 h 36"/>
                  <a:gd name="T64" fmla="*/ 36 w 46"/>
                  <a:gd name="T65" fmla="*/ 2 h 36"/>
                  <a:gd name="T66" fmla="*/ 34 w 46"/>
                  <a:gd name="T67" fmla="*/ 0 h 36"/>
                  <a:gd name="T68" fmla="*/ 32 w 46"/>
                  <a:gd name="T69" fmla="*/ 0 h 36"/>
                  <a:gd name="T70" fmla="*/ 32 w 4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6">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7" name="Freeform 669"/>
              <p:cNvSpPr>
                <a:spLocks/>
              </p:cNvSpPr>
              <p:nvPr/>
            </p:nvSpPr>
            <p:spPr bwMode="auto">
              <a:xfrm>
                <a:off x="3071" y="1953"/>
                <a:ext cx="42" cy="26"/>
              </a:xfrm>
              <a:custGeom>
                <a:avLst/>
                <a:gdLst>
                  <a:gd name="T0" fmla="*/ 32 w 42"/>
                  <a:gd name="T1" fmla="*/ 26 h 26"/>
                  <a:gd name="T2" fmla="*/ 32 w 42"/>
                  <a:gd name="T3" fmla="*/ 26 h 26"/>
                  <a:gd name="T4" fmla="*/ 32 w 42"/>
                  <a:gd name="T5" fmla="*/ 26 h 26"/>
                  <a:gd name="T6" fmla="*/ 24 w 42"/>
                  <a:gd name="T7" fmla="*/ 18 h 26"/>
                  <a:gd name="T8" fmla="*/ 16 w 42"/>
                  <a:gd name="T9" fmla="*/ 18 h 26"/>
                  <a:gd name="T10" fmla="*/ 16 w 42"/>
                  <a:gd name="T11" fmla="*/ 18 h 26"/>
                  <a:gd name="T12" fmla="*/ 14 w 42"/>
                  <a:gd name="T13" fmla="*/ 18 h 26"/>
                  <a:gd name="T14" fmla="*/ 10 w 42"/>
                  <a:gd name="T15" fmla="*/ 14 h 26"/>
                  <a:gd name="T16" fmla="*/ 0 w 42"/>
                  <a:gd name="T17" fmla="*/ 12 h 26"/>
                  <a:gd name="T18" fmla="*/ 0 w 42"/>
                  <a:gd name="T19" fmla="*/ 12 h 26"/>
                  <a:gd name="T20" fmla="*/ 0 w 42"/>
                  <a:gd name="T21" fmla="*/ 10 h 26"/>
                  <a:gd name="T22" fmla="*/ 0 w 42"/>
                  <a:gd name="T23" fmla="*/ 10 h 26"/>
                  <a:gd name="T24" fmla="*/ 0 w 42"/>
                  <a:gd name="T25" fmla="*/ 10 h 26"/>
                  <a:gd name="T26" fmla="*/ 2 w 42"/>
                  <a:gd name="T27" fmla="*/ 2 h 26"/>
                  <a:gd name="T28" fmla="*/ 2 w 42"/>
                  <a:gd name="T29" fmla="*/ 2 h 26"/>
                  <a:gd name="T30" fmla="*/ 4 w 42"/>
                  <a:gd name="T31" fmla="*/ 0 h 26"/>
                  <a:gd name="T32" fmla="*/ 40 w 42"/>
                  <a:gd name="T33" fmla="*/ 0 h 26"/>
                  <a:gd name="T34" fmla="*/ 40 w 42"/>
                  <a:gd name="T35" fmla="*/ 0 h 26"/>
                  <a:gd name="T36" fmla="*/ 42 w 42"/>
                  <a:gd name="T37" fmla="*/ 2 h 26"/>
                  <a:gd name="T38" fmla="*/ 42 w 42"/>
                  <a:gd name="T39" fmla="*/ 6 h 26"/>
                  <a:gd name="T40" fmla="*/ 42 w 42"/>
                  <a:gd name="T41" fmla="*/ 6 h 26"/>
                  <a:gd name="T42" fmla="*/ 42 w 42"/>
                  <a:gd name="T43" fmla="*/ 8 h 26"/>
                  <a:gd name="T44" fmla="*/ 36 w 42"/>
                  <a:gd name="T45" fmla="*/ 12 h 26"/>
                  <a:gd name="T46" fmla="*/ 38 w 42"/>
                  <a:gd name="T47" fmla="*/ 18 h 26"/>
                  <a:gd name="T48" fmla="*/ 38 w 42"/>
                  <a:gd name="T49" fmla="*/ 18 h 26"/>
                  <a:gd name="T50" fmla="*/ 38 w 42"/>
                  <a:gd name="T51" fmla="*/ 20 h 26"/>
                  <a:gd name="T52" fmla="*/ 34 w 42"/>
                  <a:gd name="T53" fmla="*/ 26 h 26"/>
                  <a:gd name="T54" fmla="*/ 34 w 42"/>
                  <a:gd name="T55" fmla="*/ 26 h 26"/>
                  <a:gd name="T56" fmla="*/ 34 w 42"/>
                  <a:gd name="T57" fmla="*/ 26 h 26"/>
                  <a:gd name="T58" fmla="*/ 34 w 42"/>
                  <a:gd name="T59" fmla="*/ 26 h 26"/>
                  <a:gd name="T60" fmla="*/ 32 w 42"/>
                  <a:gd name="T61" fmla="*/ 26 h 26"/>
                  <a:gd name="T62" fmla="*/ 32 w 42"/>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26">
                    <a:moveTo>
                      <a:pt x="32" y="26"/>
                    </a:moveTo>
                    <a:lnTo>
                      <a:pt x="32" y="26"/>
                    </a:lnTo>
                    <a:lnTo>
                      <a:pt x="32" y="26"/>
                    </a:lnTo>
                    <a:lnTo>
                      <a:pt x="24" y="18"/>
                    </a:lnTo>
                    <a:lnTo>
                      <a:pt x="16" y="18"/>
                    </a:lnTo>
                    <a:lnTo>
                      <a:pt x="16" y="18"/>
                    </a:lnTo>
                    <a:lnTo>
                      <a:pt x="14" y="18"/>
                    </a:lnTo>
                    <a:lnTo>
                      <a:pt x="10" y="14"/>
                    </a:lnTo>
                    <a:lnTo>
                      <a:pt x="0" y="12"/>
                    </a:lnTo>
                    <a:lnTo>
                      <a:pt x="0" y="12"/>
                    </a:lnTo>
                    <a:lnTo>
                      <a:pt x="0" y="10"/>
                    </a:lnTo>
                    <a:lnTo>
                      <a:pt x="0" y="10"/>
                    </a:lnTo>
                    <a:lnTo>
                      <a:pt x="0" y="10"/>
                    </a:lnTo>
                    <a:lnTo>
                      <a:pt x="2" y="2"/>
                    </a:lnTo>
                    <a:lnTo>
                      <a:pt x="2" y="2"/>
                    </a:lnTo>
                    <a:lnTo>
                      <a:pt x="4" y="0"/>
                    </a:lnTo>
                    <a:lnTo>
                      <a:pt x="40" y="0"/>
                    </a:lnTo>
                    <a:lnTo>
                      <a:pt x="40" y="0"/>
                    </a:lnTo>
                    <a:lnTo>
                      <a:pt x="42" y="2"/>
                    </a:lnTo>
                    <a:lnTo>
                      <a:pt x="42" y="6"/>
                    </a:lnTo>
                    <a:lnTo>
                      <a:pt x="42" y="6"/>
                    </a:lnTo>
                    <a:lnTo>
                      <a:pt x="42" y="8"/>
                    </a:lnTo>
                    <a:lnTo>
                      <a:pt x="36" y="12"/>
                    </a:lnTo>
                    <a:lnTo>
                      <a:pt x="38" y="18"/>
                    </a:lnTo>
                    <a:lnTo>
                      <a:pt x="38" y="18"/>
                    </a:lnTo>
                    <a:lnTo>
                      <a:pt x="38" y="20"/>
                    </a:lnTo>
                    <a:lnTo>
                      <a:pt x="34" y="26"/>
                    </a:lnTo>
                    <a:lnTo>
                      <a:pt x="34" y="26"/>
                    </a:lnTo>
                    <a:lnTo>
                      <a:pt x="34" y="26"/>
                    </a:lnTo>
                    <a:lnTo>
                      <a:pt x="34" y="26"/>
                    </a:lnTo>
                    <a:lnTo>
                      <a:pt x="32" y="26"/>
                    </a:lnTo>
                    <a:lnTo>
                      <a:pt x="3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8" name="Freeform 670"/>
              <p:cNvSpPr>
                <a:spLocks noEditPoints="1"/>
              </p:cNvSpPr>
              <p:nvPr/>
            </p:nvSpPr>
            <p:spPr bwMode="auto">
              <a:xfrm>
                <a:off x="3069" y="1951"/>
                <a:ext cx="46" cy="30"/>
              </a:xfrm>
              <a:custGeom>
                <a:avLst/>
                <a:gdLst>
                  <a:gd name="T0" fmla="*/ 42 w 46"/>
                  <a:gd name="T1" fmla="*/ 4 h 30"/>
                  <a:gd name="T2" fmla="*/ 42 w 46"/>
                  <a:gd name="T3" fmla="*/ 8 h 30"/>
                  <a:gd name="T4" fmla="*/ 36 w 46"/>
                  <a:gd name="T5" fmla="*/ 14 h 30"/>
                  <a:gd name="T6" fmla="*/ 38 w 46"/>
                  <a:gd name="T7" fmla="*/ 20 h 30"/>
                  <a:gd name="T8" fmla="*/ 34 w 46"/>
                  <a:gd name="T9" fmla="*/ 26 h 30"/>
                  <a:gd name="T10" fmla="*/ 28 w 46"/>
                  <a:gd name="T11" fmla="*/ 18 h 30"/>
                  <a:gd name="T12" fmla="*/ 18 w 46"/>
                  <a:gd name="T13" fmla="*/ 18 h 30"/>
                  <a:gd name="T14" fmla="*/ 12 w 46"/>
                  <a:gd name="T15" fmla="*/ 14 h 30"/>
                  <a:gd name="T16" fmla="*/ 4 w 46"/>
                  <a:gd name="T17" fmla="*/ 12 h 30"/>
                  <a:gd name="T18" fmla="*/ 6 w 46"/>
                  <a:gd name="T19" fmla="*/ 4 h 30"/>
                  <a:gd name="T20" fmla="*/ 18 w 46"/>
                  <a:gd name="T21" fmla="*/ 4 h 30"/>
                  <a:gd name="T22" fmla="*/ 28 w 46"/>
                  <a:gd name="T23" fmla="*/ 4 h 30"/>
                  <a:gd name="T24" fmla="*/ 42 w 46"/>
                  <a:gd name="T25" fmla="*/ 4 h 30"/>
                  <a:gd name="T26" fmla="*/ 42 w 46"/>
                  <a:gd name="T27" fmla="*/ 0 h 30"/>
                  <a:gd name="T28" fmla="*/ 28 w 46"/>
                  <a:gd name="T29" fmla="*/ 0 h 30"/>
                  <a:gd name="T30" fmla="*/ 18 w 46"/>
                  <a:gd name="T31" fmla="*/ 0 h 30"/>
                  <a:gd name="T32" fmla="*/ 6 w 46"/>
                  <a:gd name="T33" fmla="*/ 0 h 30"/>
                  <a:gd name="T34" fmla="*/ 6 w 46"/>
                  <a:gd name="T35" fmla="*/ 0 h 30"/>
                  <a:gd name="T36" fmla="*/ 2 w 46"/>
                  <a:gd name="T37" fmla="*/ 0 h 30"/>
                  <a:gd name="T38" fmla="*/ 2 w 46"/>
                  <a:gd name="T39" fmla="*/ 4 h 30"/>
                  <a:gd name="T40" fmla="*/ 0 w 46"/>
                  <a:gd name="T41" fmla="*/ 10 h 30"/>
                  <a:gd name="T42" fmla="*/ 0 w 46"/>
                  <a:gd name="T43" fmla="*/ 10 h 30"/>
                  <a:gd name="T44" fmla="*/ 0 w 46"/>
                  <a:gd name="T45" fmla="*/ 14 h 30"/>
                  <a:gd name="T46" fmla="*/ 0 w 46"/>
                  <a:gd name="T47" fmla="*/ 14 h 30"/>
                  <a:gd name="T48" fmla="*/ 2 w 46"/>
                  <a:gd name="T49" fmla="*/ 16 h 30"/>
                  <a:gd name="T50" fmla="*/ 10 w 46"/>
                  <a:gd name="T51" fmla="*/ 18 h 30"/>
                  <a:gd name="T52" fmla="*/ 16 w 46"/>
                  <a:gd name="T53" fmla="*/ 22 h 30"/>
                  <a:gd name="T54" fmla="*/ 16 w 46"/>
                  <a:gd name="T55" fmla="*/ 22 h 30"/>
                  <a:gd name="T56" fmla="*/ 18 w 46"/>
                  <a:gd name="T57" fmla="*/ 22 h 30"/>
                  <a:gd name="T58" fmla="*/ 26 w 46"/>
                  <a:gd name="T59" fmla="*/ 22 h 30"/>
                  <a:gd name="T60" fmla="*/ 32 w 46"/>
                  <a:gd name="T61" fmla="*/ 30 h 30"/>
                  <a:gd name="T62" fmla="*/ 32 w 46"/>
                  <a:gd name="T63" fmla="*/ 30 h 30"/>
                  <a:gd name="T64" fmla="*/ 34 w 46"/>
                  <a:gd name="T65" fmla="*/ 30 h 30"/>
                  <a:gd name="T66" fmla="*/ 34 w 46"/>
                  <a:gd name="T67" fmla="*/ 30 h 30"/>
                  <a:gd name="T68" fmla="*/ 36 w 46"/>
                  <a:gd name="T69" fmla="*/ 30 h 30"/>
                  <a:gd name="T70" fmla="*/ 36 w 46"/>
                  <a:gd name="T71" fmla="*/ 30 h 30"/>
                  <a:gd name="T72" fmla="*/ 38 w 46"/>
                  <a:gd name="T73" fmla="*/ 28 h 30"/>
                  <a:gd name="T74" fmla="*/ 42 w 46"/>
                  <a:gd name="T75" fmla="*/ 24 h 30"/>
                  <a:gd name="T76" fmla="*/ 42 w 46"/>
                  <a:gd name="T77" fmla="*/ 24 h 30"/>
                  <a:gd name="T78" fmla="*/ 42 w 46"/>
                  <a:gd name="T79" fmla="*/ 20 h 30"/>
                  <a:gd name="T80" fmla="*/ 42 w 46"/>
                  <a:gd name="T81" fmla="*/ 14 h 30"/>
                  <a:gd name="T82" fmla="*/ 46 w 46"/>
                  <a:gd name="T83" fmla="*/ 10 h 30"/>
                  <a:gd name="T84" fmla="*/ 46 w 46"/>
                  <a:gd name="T85" fmla="*/ 10 h 30"/>
                  <a:gd name="T86" fmla="*/ 46 w 46"/>
                  <a:gd name="T87" fmla="*/ 8 h 30"/>
                  <a:gd name="T88" fmla="*/ 46 w 46"/>
                  <a:gd name="T89" fmla="*/ 4 h 30"/>
                  <a:gd name="T90" fmla="*/ 46 w 46"/>
                  <a:gd name="T91" fmla="*/ 4 h 30"/>
                  <a:gd name="T92" fmla="*/ 46 w 46"/>
                  <a:gd name="T93" fmla="*/ 2 h 30"/>
                  <a:gd name="T94" fmla="*/ 42 w 46"/>
                  <a:gd name="T95" fmla="*/ 0 h 30"/>
                  <a:gd name="T96" fmla="*/ 42 w 46"/>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0">
                    <a:moveTo>
                      <a:pt x="42" y="4"/>
                    </a:moveTo>
                    <a:lnTo>
                      <a:pt x="42" y="8"/>
                    </a:lnTo>
                    <a:lnTo>
                      <a:pt x="36" y="14"/>
                    </a:lnTo>
                    <a:lnTo>
                      <a:pt x="38" y="20"/>
                    </a:lnTo>
                    <a:lnTo>
                      <a:pt x="34" y="26"/>
                    </a:lnTo>
                    <a:lnTo>
                      <a:pt x="28" y="18"/>
                    </a:lnTo>
                    <a:lnTo>
                      <a:pt x="18" y="18"/>
                    </a:lnTo>
                    <a:lnTo>
                      <a:pt x="12" y="14"/>
                    </a:lnTo>
                    <a:lnTo>
                      <a:pt x="4" y="12"/>
                    </a:lnTo>
                    <a:lnTo>
                      <a:pt x="6" y="4"/>
                    </a:lnTo>
                    <a:lnTo>
                      <a:pt x="18" y="4"/>
                    </a:lnTo>
                    <a:lnTo>
                      <a:pt x="28" y="4"/>
                    </a:lnTo>
                    <a:lnTo>
                      <a:pt x="42" y="4"/>
                    </a:lnTo>
                    <a:close/>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9" name="Freeform 671"/>
              <p:cNvSpPr>
                <a:spLocks/>
              </p:cNvSpPr>
              <p:nvPr/>
            </p:nvSpPr>
            <p:spPr bwMode="auto">
              <a:xfrm>
                <a:off x="3073" y="1955"/>
                <a:ext cx="38" cy="22"/>
              </a:xfrm>
              <a:custGeom>
                <a:avLst/>
                <a:gdLst>
                  <a:gd name="T0" fmla="*/ 38 w 38"/>
                  <a:gd name="T1" fmla="*/ 0 h 22"/>
                  <a:gd name="T2" fmla="*/ 38 w 38"/>
                  <a:gd name="T3" fmla="*/ 4 h 22"/>
                  <a:gd name="T4" fmla="*/ 32 w 38"/>
                  <a:gd name="T5" fmla="*/ 10 h 22"/>
                  <a:gd name="T6" fmla="*/ 34 w 38"/>
                  <a:gd name="T7" fmla="*/ 16 h 22"/>
                  <a:gd name="T8" fmla="*/ 30 w 38"/>
                  <a:gd name="T9" fmla="*/ 22 h 22"/>
                  <a:gd name="T10" fmla="*/ 24 w 38"/>
                  <a:gd name="T11" fmla="*/ 14 h 22"/>
                  <a:gd name="T12" fmla="*/ 14 w 38"/>
                  <a:gd name="T13" fmla="*/ 14 h 22"/>
                  <a:gd name="T14" fmla="*/ 8 w 38"/>
                  <a:gd name="T15" fmla="*/ 10 h 22"/>
                  <a:gd name="T16" fmla="*/ 0 w 38"/>
                  <a:gd name="T17" fmla="*/ 8 h 22"/>
                  <a:gd name="T18" fmla="*/ 2 w 38"/>
                  <a:gd name="T19" fmla="*/ 0 h 22"/>
                  <a:gd name="T20" fmla="*/ 14 w 38"/>
                  <a:gd name="T21" fmla="*/ 0 h 22"/>
                  <a:gd name="T22" fmla="*/ 24 w 38"/>
                  <a:gd name="T23" fmla="*/ 0 h 22"/>
                  <a:gd name="T24" fmla="*/ 38 w 3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38" y="0"/>
                    </a:moveTo>
                    <a:lnTo>
                      <a:pt x="38" y="4"/>
                    </a:lnTo>
                    <a:lnTo>
                      <a:pt x="32" y="10"/>
                    </a:lnTo>
                    <a:lnTo>
                      <a:pt x="34" y="16"/>
                    </a:lnTo>
                    <a:lnTo>
                      <a:pt x="30" y="22"/>
                    </a:lnTo>
                    <a:lnTo>
                      <a:pt x="24" y="14"/>
                    </a:lnTo>
                    <a:lnTo>
                      <a:pt x="14" y="14"/>
                    </a:lnTo>
                    <a:lnTo>
                      <a:pt x="8" y="10"/>
                    </a:lnTo>
                    <a:lnTo>
                      <a:pt x="0" y="8"/>
                    </a:lnTo>
                    <a:lnTo>
                      <a:pt x="2" y="0"/>
                    </a:lnTo>
                    <a:lnTo>
                      <a:pt x="14" y="0"/>
                    </a:lnTo>
                    <a:lnTo>
                      <a:pt x="24"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0" name="Freeform 672"/>
              <p:cNvSpPr>
                <a:spLocks/>
              </p:cNvSpPr>
              <p:nvPr/>
            </p:nvSpPr>
            <p:spPr bwMode="auto">
              <a:xfrm>
                <a:off x="3069" y="1951"/>
                <a:ext cx="46" cy="30"/>
              </a:xfrm>
              <a:custGeom>
                <a:avLst/>
                <a:gdLst>
                  <a:gd name="T0" fmla="*/ 42 w 46"/>
                  <a:gd name="T1" fmla="*/ 0 h 30"/>
                  <a:gd name="T2" fmla="*/ 28 w 46"/>
                  <a:gd name="T3" fmla="*/ 0 h 30"/>
                  <a:gd name="T4" fmla="*/ 18 w 46"/>
                  <a:gd name="T5" fmla="*/ 0 h 30"/>
                  <a:gd name="T6" fmla="*/ 6 w 46"/>
                  <a:gd name="T7" fmla="*/ 0 h 30"/>
                  <a:gd name="T8" fmla="*/ 6 w 46"/>
                  <a:gd name="T9" fmla="*/ 0 h 30"/>
                  <a:gd name="T10" fmla="*/ 2 w 46"/>
                  <a:gd name="T11" fmla="*/ 0 h 30"/>
                  <a:gd name="T12" fmla="*/ 2 w 46"/>
                  <a:gd name="T13" fmla="*/ 4 h 30"/>
                  <a:gd name="T14" fmla="*/ 0 w 46"/>
                  <a:gd name="T15" fmla="*/ 10 h 30"/>
                  <a:gd name="T16" fmla="*/ 0 w 46"/>
                  <a:gd name="T17" fmla="*/ 10 h 30"/>
                  <a:gd name="T18" fmla="*/ 0 w 46"/>
                  <a:gd name="T19" fmla="*/ 14 h 30"/>
                  <a:gd name="T20" fmla="*/ 0 w 46"/>
                  <a:gd name="T21" fmla="*/ 14 h 30"/>
                  <a:gd name="T22" fmla="*/ 2 w 46"/>
                  <a:gd name="T23" fmla="*/ 16 h 30"/>
                  <a:gd name="T24" fmla="*/ 10 w 46"/>
                  <a:gd name="T25" fmla="*/ 18 h 30"/>
                  <a:gd name="T26" fmla="*/ 16 w 46"/>
                  <a:gd name="T27" fmla="*/ 22 h 30"/>
                  <a:gd name="T28" fmla="*/ 16 w 46"/>
                  <a:gd name="T29" fmla="*/ 22 h 30"/>
                  <a:gd name="T30" fmla="*/ 18 w 46"/>
                  <a:gd name="T31" fmla="*/ 22 h 30"/>
                  <a:gd name="T32" fmla="*/ 26 w 46"/>
                  <a:gd name="T33" fmla="*/ 22 h 30"/>
                  <a:gd name="T34" fmla="*/ 32 w 46"/>
                  <a:gd name="T35" fmla="*/ 30 h 30"/>
                  <a:gd name="T36" fmla="*/ 32 w 46"/>
                  <a:gd name="T37" fmla="*/ 30 h 30"/>
                  <a:gd name="T38" fmla="*/ 34 w 46"/>
                  <a:gd name="T39" fmla="*/ 30 h 30"/>
                  <a:gd name="T40" fmla="*/ 34 w 46"/>
                  <a:gd name="T41" fmla="*/ 30 h 30"/>
                  <a:gd name="T42" fmla="*/ 36 w 46"/>
                  <a:gd name="T43" fmla="*/ 30 h 30"/>
                  <a:gd name="T44" fmla="*/ 36 w 46"/>
                  <a:gd name="T45" fmla="*/ 30 h 30"/>
                  <a:gd name="T46" fmla="*/ 38 w 46"/>
                  <a:gd name="T47" fmla="*/ 28 h 30"/>
                  <a:gd name="T48" fmla="*/ 42 w 46"/>
                  <a:gd name="T49" fmla="*/ 24 h 30"/>
                  <a:gd name="T50" fmla="*/ 42 w 46"/>
                  <a:gd name="T51" fmla="*/ 24 h 30"/>
                  <a:gd name="T52" fmla="*/ 42 w 46"/>
                  <a:gd name="T53" fmla="*/ 20 h 30"/>
                  <a:gd name="T54" fmla="*/ 42 w 46"/>
                  <a:gd name="T55" fmla="*/ 14 h 30"/>
                  <a:gd name="T56" fmla="*/ 46 w 46"/>
                  <a:gd name="T57" fmla="*/ 10 h 30"/>
                  <a:gd name="T58" fmla="*/ 46 w 46"/>
                  <a:gd name="T59" fmla="*/ 10 h 30"/>
                  <a:gd name="T60" fmla="*/ 46 w 46"/>
                  <a:gd name="T61" fmla="*/ 8 h 30"/>
                  <a:gd name="T62" fmla="*/ 46 w 46"/>
                  <a:gd name="T63" fmla="*/ 4 h 30"/>
                  <a:gd name="T64" fmla="*/ 46 w 46"/>
                  <a:gd name="T65" fmla="*/ 4 h 30"/>
                  <a:gd name="T66" fmla="*/ 46 w 46"/>
                  <a:gd name="T67" fmla="*/ 2 h 30"/>
                  <a:gd name="T68" fmla="*/ 42 w 46"/>
                  <a:gd name="T69" fmla="*/ 0 h 30"/>
                  <a:gd name="T70" fmla="*/ 42 w 46"/>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0">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1" name="Freeform 673"/>
              <p:cNvSpPr>
                <a:spLocks/>
              </p:cNvSpPr>
              <p:nvPr/>
            </p:nvSpPr>
            <p:spPr bwMode="auto">
              <a:xfrm>
                <a:off x="2987" y="1801"/>
                <a:ext cx="172" cy="162"/>
              </a:xfrm>
              <a:custGeom>
                <a:avLst/>
                <a:gdLst>
                  <a:gd name="T0" fmla="*/ 130 w 172"/>
                  <a:gd name="T1" fmla="*/ 160 h 162"/>
                  <a:gd name="T2" fmla="*/ 126 w 172"/>
                  <a:gd name="T3" fmla="*/ 154 h 162"/>
                  <a:gd name="T4" fmla="*/ 128 w 172"/>
                  <a:gd name="T5" fmla="*/ 126 h 162"/>
                  <a:gd name="T6" fmla="*/ 116 w 172"/>
                  <a:gd name="T7" fmla="*/ 120 h 162"/>
                  <a:gd name="T8" fmla="*/ 108 w 172"/>
                  <a:gd name="T9" fmla="*/ 118 h 162"/>
                  <a:gd name="T10" fmla="*/ 86 w 172"/>
                  <a:gd name="T11" fmla="*/ 104 h 162"/>
                  <a:gd name="T12" fmla="*/ 74 w 172"/>
                  <a:gd name="T13" fmla="*/ 90 h 162"/>
                  <a:gd name="T14" fmla="*/ 50 w 172"/>
                  <a:gd name="T15" fmla="*/ 80 h 162"/>
                  <a:gd name="T16" fmla="*/ 46 w 172"/>
                  <a:gd name="T17" fmla="*/ 58 h 162"/>
                  <a:gd name="T18" fmla="*/ 20 w 172"/>
                  <a:gd name="T19" fmla="*/ 56 h 162"/>
                  <a:gd name="T20" fmla="*/ 18 w 172"/>
                  <a:gd name="T21" fmla="*/ 62 h 162"/>
                  <a:gd name="T22" fmla="*/ 10 w 172"/>
                  <a:gd name="T23" fmla="*/ 64 h 162"/>
                  <a:gd name="T24" fmla="*/ 10 w 172"/>
                  <a:gd name="T25" fmla="*/ 64 h 162"/>
                  <a:gd name="T26" fmla="*/ 4 w 172"/>
                  <a:gd name="T27" fmla="*/ 56 h 162"/>
                  <a:gd name="T28" fmla="*/ 0 w 172"/>
                  <a:gd name="T29" fmla="*/ 40 h 162"/>
                  <a:gd name="T30" fmla="*/ 2 w 172"/>
                  <a:gd name="T31" fmla="*/ 32 h 162"/>
                  <a:gd name="T32" fmla="*/ 2 w 172"/>
                  <a:gd name="T33" fmla="*/ 30 h 162"/>
                  <a:gd name="T34" fmla="*/ 2 w 172"/>
                  <a:gd name="T35" fmla="*/ 22 h 162"/>
                  <a:gd name="T36" fmla="*/ 14 w 172"/>
                  <a:gd name="T37" fmla="*/ 18 h 162"/>
                  <a:gd name="T38" fmla="*/ 18 w 172"/>
                  <a:gd name="T39" fmla="*/ 16 h 162"/>
                  <a:gd name="T40" fmla="*/ 20 w 172"/>
                  <a:gd name="T41" fmla="*/ 16 h 162"/>
                  <a:gd name="T42" fmla="*/ 32 w 172"/>
                  <a:gd name="T43" fmla="*/ 20 h 162"/>
                  <a:gd name="T44" fmla="*/ 32 w 172"/>
                  <a:gd name="T45" fmla="*/ 10 h 162"/>
                  <a:gd name="T46" fmla="*/ 34 w 172"/>
                  <a:gd name="T47" fmla="*/ 10 h 162"/>
                  <a:gd name="T48" fmla="*/ 46 w 172"/>
                  <a:gd name="T49" fmla="*/ 14 h 162"/>
                  <a:gd name="T50" fmla="*/ 52 w 172"/>
                  <a:gd name="T51" fmla="*/ 6 h 162"/>
                  <a:gd name="T52" fmla="*/ 60 w 172"/>
                  <a:gd name="T53" fmla="*/ 2 h 162"/>
                  <a:gd name="T54" fmla="*/ 76 w 172"/>
                  <a:gd name="T55" fmla="*/ 0 h 162"/>
                  <a:gd name="T56" fmla="*/ 84 w 172"/>
                  <a:gd name="T57" fmla="*/ 10 h 162"/>
                  <a:gd name="T58" fmla="*/ 100 w 172"/>
                  <a:gd name="T59" fmla="*/ 8 h 162"/>
                  <a:gd name="T60" fmla="*/ 100 w 172"/>
                  <a:gd name="T61" fmla="*/ 10 h 162"/>
                  <a:gd name="T62" fmla="*/ 94 w 172"/>
                  <a:gd name="T63" fmla="*/ 24 h 162"/>
                  <a:gd name="T64" fmla="*/ 78 w 172"/>
                  <a:gd name="T65" fmla="*/ 32 h 162"/>
                  <a:gd name="T66" fmla="*/ 92 w 172"/>
                  <a:gd name="T67" fmla="*/ 60 h 162"/>
                  <a:gd name="T68" fmla="*/ 102 w 172"/>
                  <a:gd name="T69" fmla="*/ 66 h 162"/>
                  <a:gd name="T70" fmla="*/ 118 w 172"/>
                  <a:gd name="T71" fmla="*/ 92 h 162"/>
                  <a:gd name="T72" fmla="*/ 132 w 172"/>
                  <a:gd name="T73" fmla="*/ 92 h 162"/>
                  <a:gd name="T74" fmla="*/ 136 w 172"/>
                  <a:gd name="T75" fmla="*/ 98 h 162"/>
                  <a:gd name="T76" fmla="*/ 134 w 172"/>
                  <a:gd name="T77" fmla="*/ 100 h 162"/>
                  <a:gd name="T78" fmla="*/ 160 w 172"/>
                  <a:gd name="T79" fmla="*/ 112 h 162"/>
                  <a:gd name="T80" fmla="*/ 170 w 172"/>
                  <a:gd name="T81" fmla="*/ 124 h 162"/>
                  <a:gd name="T82" fmla="*/ 170 w 172"/>
                  <a:gd name="T83" fmla="*/ 128 h 162"/>
                  <a:gd name="T84" fmla="*/ 164 w 172"/>
                  <a:gd name="T85" fmla="*/ 132 h 162"/>
                  <a:gd name="T86" fmla="*/ 156 w 172"/>
                  <a:gd name="T87" fmla="*/ 126 h 162"/>
                  <a:gd name="T88" fmla="*/ 142 w 172"/>
                  <a:gd name="T89" fmla="*/ 128 h 162"/>
                  <a:gd name="T90" fmla="*/ 152 w 172"/>
                  <a:gd name="T91" fmla="*/ 140 h 162"/>
                  <a:gd name="T92" fmla="*/ 152 w 172"/>
                  <a:gd name="T93" fmla="*/ 142 h 162"/>
                  <a:gd name="T94" fmla="*/ 144 w 172"/>
                  <a:gd name="T95" fmla="*/ 150 h 162"/>
                  <a:gd name="T96" fmla="*/ 132 w 172"/>
                  <a:gd name="T97"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 h="162">
                    <a:moveTo>
                      <a:pt x="132" y="162"/>
                    </a:moveTo>
                    <a:lnTo>
                      <a:pt x="132" y="162"/>
                    </a:lnTo>
                    <a:lnTo>
                      <a:pt x="130" y="160"/>
                    </a:lnTo>
                    <a:lnTo>
                      <a:pt x="126" y="156"/>
                    </a:lnTo>
                    <a:lnTo>
                      <a:pt x="126" y="156"/>
                    </a:lnTo>
                    <a:lnTo>
                      <a:pt x="126" y="154"/>
                    </a:lnTo>
                    <a:lnTo>
                      <a:pt x="128" y="146"/>
                    </a:lnTo>
                    <a:lnTo>
                      <a:pt x="132" y="134"/>
                    </a:lnTo>
                    <a:lnTo>
                      <a:pt x="128" y="126"/>
                    </a:lnTo>
                    <a:lnTo>
                      <a:pt x="118" y="122"/>
                    </a:lnTo>
                    <a:lnTo>
                      <a:pt x="118" y="122"/>
                    </a:lnTo>
                    <a:lnTo>
                      <a:pt x="116" y="120"/>
                    </a:lnTo>
                    <a:lnTo>
                      <a:pt x="116" y="118"/>
                    </a:lnTo>
                    <a:lnTo>
                      <a:pt x="108" y="118"/>
                    </a:lnTo>
                    <a:lnTo>
                      <a:pt x="108" y="118"/>
                    </a:lnTo>
                    <a:lnTo>
                      <a:pt x="106" y="116"/>
                    </a:lnTo>
                    <a:lnTo>
                      <a:pt x="98" y="104"/>
                    </a:lnTo>
                    <a:lnTo>
                      <a:pt x="86" y="104"/>
                    </a:lnTo>
                    <a:lnTo>
                      <a:pt x="86" y="104"/>
                    </a:lnTo>
                    <a:lnTo>
                      <a:pt x="84" y="104"/>
                    </a:lnTo>
                    <a:lnTo>
                      <a:pt x="74" y="90"/>
                    </a:lnTo>
                    <a:lnTo>
                      <a:pt x="68" y="86"/>
                    </a:lnTo>
                    <a:lnTo>
                      <a:pt x="50" y="80"/>
                    </a:lnTo>
                    <a:lnTo>
                      <a:pt x="50" y="80"/>
                    </a:lnTo>
                    <a:lnTo>
                      <a:pt x="50" y="78"/>
                    </a:lnTo>
                    <a:lnTo>
                      <a:pt x="48" y="64"/>
                    </a:lnTo>
                    <a:lnTo>
                      <a:pt x="46" y="58"/>
                    </a:lnTo>
                    <a:lnTo>
                      <a:pt x="36" y="54"/>
                    </a:lnTo>
                    <a:lnTo>
                      <a:pt x="26" y="52"/>
                    </a:lnTo>
                    <a:lnTo>
                      <a:pt x="20" y="56"/>
                    </a:lnTo>
                    <a:lnTo>
                      <a:pt x="20" y="60"/>
                    </a:lnTo>
                    <a:lnTo>
                      <a:pt x="20" y="60"/>
                    </a:lnTo>
                    <a:lnTo>
                      <a:pt x="18" y="62"/>
                    </a:lnTo>
                    <a:lnTo>
                      <a:pt x="10" y="64"/>
                    </a:lnTo>
                    <a:lnTo>
                      <a:pt x="10" y="64"/>
                    </a:lnTo>
                    <a:lnTo>
                      <a:pt x="10" y="64"/>
                    </a:lnTo>
                    <a:lnTo>
                      <a:pt x="10" y="64"/>
                    </a:lnTo>
                    <a:lnTo>
                      <a:pt x="10" y="64"/>
                    </a:lnTo>
                    <a:lnTo>
                      <a:pt x="10" y="64"/>
                    </a:lnTo>
                    <a:lnTo>
                      <a:pt x="8" y="62"/>
                    </a:lnTo>
                    <a:lnTo>
                      <a:pt x="8" y="56"/>
                    </a:lnTo>
                    <a:lnTo>
                      <a:pt x="4" y="56"/>
                    </a:lnTo>
                    <a:lnTo>
                      <a:pt x="4" y="56"/>
                    </a:lnTo>
                    <a:lnTo>
                      <a:pt x="2" y="54"/>
                    </a:lnTo>
                    <a:lnTo>
                      <a:pt x="0" y="40"/>
                    </a:lnTo>
                    <a:lnTo>
                      <a:pt x="0" y="40"/>
                    </a:lnTo>
                    <a:lnTo>
                      <a:pt x="0" y="40"/>
                    </a:lnTo>
                    <a:lnTo>
                      <a:pt x="2" y="32"/>
                    </a:lnTo>
                    <a:lnTo>
                      <a:pt x="2" y="30"/>
                    </a:lnTo>
                    <a:lnTo>
                      <a:pt x="2" y="30"/>
                    </a:lnTo>
                    <a:lnTo>
                      <a:pt x="2" y="30"/>
                    </a:lnTo>
                    <a:lnTo>
                      <a:pt x="2" y="24"/>
                    </a:lnTo>
                    <a:lnTo>
                      <a:pt x="2" y="24"/>
                    </a:lnTo>
                    <a:lnTo>
                      <a:pt x="2" y="22"/>
                    </a:lnTo>
                    <a:lnTo>
                      <a:pt x="14" y="20"/>
                    </a:lnTo>
                    <a:lnTo>
                      <a:pt x="14" y="18"/>
                    </a:lnTo>
                    <a:lnTo>
                      <a:pt x="14" y="18"/>
                    </a:lnTo>
                    <a:lnTo>
                      <a:pt x="14" y="16"/>
                    </a:lnTo>
                    <a:lnTo>
                      <a:pt x="18" y="16"/>
                    </a:lnTo>
                    <a:lnTo>
                      <a:pt x="18" y="16"/>
                    </a:lnTo>
                    <a:lnTo>
                      <a:pt x="20" y="14"/>
                    </a:lnTo>
                    <a:lnTo>
                      <a:pt x="20" y="14"/>
                    </a:lnTo>
                    <a:lnTo>
                      <a:pt x="20" y="16"/>
                    </a:lnTo>
                    <a:lnTo>
                      <a:pt x="26" y="18"/>
                    </a:lnTo>
                    <a:lnTo>
                      <a:pt x="30" y="20"/>
                    </a:lnTo>
                    <a:lnTo>
                      <a:pt x="32" y="20"/>
                    </a:lnTo>
                    <a:lnTo>
                      <a:pt x="32" y="12"/>
                    </a:lnTo>
                    <a:lnTo>
                      <a:pt x="32" y="12"/>
                    </a:lnTo>
                    <a:lnTo>
                      <a:pt x="32" y="10"/>
                    </a:lnTo>
                    <a:lnTo>
                      <a:pt x="32" y="10"/>
                    </a:lnTo>
                    <a:lnTo>
                      <a:pt x="34" y="10"/>
                    </a:lnTo>
                    <a:lnTo>
                      <a:pt x="34" y="10"/>
                    </a:lnTo>
                    <a:lnTo>
                      <a:pt x="34" y="10"/>
                    </a:lnTo>
                    <a:lnTo>
                      <a:pt x="40" y="14"/>
                    </a:lnTo>
                    <a:lnTo>
                      <a:pt x="46" y="14"/>
                    </a:lnTo>
                    <a:lnTo>
                      <a:pt x="50" y="8"/>
                    </a:lnTo>
                    <a:lnTo>
                      <a:pt x="50" y="8"/>
                    </a:lnTo>
                    <a:lnTo>
                      <a:pt x="52" y="6"/>
                    </a:lnTo>
                    <a:lnTo>
                      <a:pt x="60" y="6"/>
                    </a:lnTo>
                    <a:lnTo>
                      <a:pt x="60" y="2"/>
                    </a:lnTo>
                    <a:lnTo>
                      <a:pt x="60" y="2"/>
                    </a:lnTo>
                    <a:lnTo>
                      <a:pt x="62" y="0"/>
                    </a:lnTo>
                    <a:lnTo>
                      <a:pt x="76" y="0"/>
                    </a:lnTo>
                    <a:lnTo>
                      <a:pt x="76" y="0"/>
                    </a:lnTo>
                    <a:lnTo>
                      <a:pt x="78" y="2"/>
                    </a:lnTo>
                    <a:lnTo>
                      <a:pt x="78" y="6"/>
                    </a:lnTo>
                    <a:lnTo>
                      <a:pt x="84" y="10"/>
                    </a:lnTo>
                    <a:lnTo>
                      <a:pt x="84" y="10"/>
                    </a:lnTo>
                    <a:lnTo>
                      <a:pt x="100" y="8"/>
                    </a:lnTo>
                    <a:lnTo>
                      <a:pt x="100" y="8"/>
                    </a:lnTo>
                    <a:lnTo>
                      <a:pt x="100" y="8"/>
                    </a:lnTo>
                    <a:lnTo>
                      <a:pt x="100" y="8"/>
                    </a:lnTo>
                    <a:lnTo>
                      <a:pt x="100" y="10"/>
                    </a:lnTo>
                    <a:lnTo>
                      <a:pt x="96" y="18"/>
                    </a:lnTo>
                    <a:lnTo>
                      <a:pt x="94" y="24"/>
                    </a:lnTo>
                    <a:lnTo>
                      <a:pt x="94" y="24"/>
                    </a:lnTo>
                    <a:lnTo>
                      <a:pt x="92" y="26"/>
                    </a:lnTo>
                    <a:lnTo>
                      <a:pt x="88" y="28"/>
                    </a:lnTo>
                    <a:lnTo>
                      <a:pt x="78" y="32"/>
                    </a:lnTo>
                    <a:lnTo>
                      <a:pt x="78" y="48"/>
                    </a:lnTo>
                    <a:lnTo>
                      <a:pt x="84" y="54"/>
                    </a:lnTo>
                    <a:lnTo>
                      <a:pt x="92" y="60"/>
                    </a:lnTo>
                    <a:lnTo>
                      <a:pt x="102" y="66"/>
                    </a:lnTo>
                    <a:lnTo>
                      <a:pt x="102" y="66"/>
                    </a:lnTo>
                    <a:lnTo>
                      <a:pt x="102" y="66"/>
                    </a:lnTo>
                    <a:lnTo>
                      <a:pt x="104" y="78"/>
                    </a:lnTo>
                    <a:lnTo>
                      <a:pt x="110" y="86"/>
                    </a:lnTo>
                    <a:lnTo>
                      <a:pt x="118" y="92"/>
                    </a:lnTo>
                    <a:lnTo>
                      <a:pt x="132" y="92"/>
                    </a:lnTo>
                    <a:lnTo>
                      <a:pt x="132" y="92"/>
                    </a:lnTo>
                    <a:lnTo>
                      <a:pt x="132" y="92"/>
                    </a:lnTo>
                    <a:lnTo>
                      <a:pt x="136" y="96"/>
                    </a:lnTo>
                    <a:lnTo>
                      <a:pt x="136" y="96"/>
                    </a:lnTo>
                    <a:lnTo>
                      <a:pt x="136" y="98"/>
                    </a:lnTo>
                    <a:lnTo>
                      <a:pt x="136" y="98"/>
                    </a:lnTo>
                    <a:lnTo>
                      <a:pt x="136" y="98"/>
                    </a:lnTo>
                    <a:lnTo>
                      <a:pt x="134" y="100"/>
                    </a:lnTo>
                    <a:lnTo>
                      <a:pt x="138" y="102"/>
                    </a:lnTo>
                    <a:lnTo>
                      <a:pt x="146" y="106"/>
                    </a:lnTo>
                    <a:lnTo>
                      <a:pt x="160" y="112"/>
                    </a:lnTo>
                    <a:lnTo>
                      <a:pt x="166" y="118"/>
                    </a:lnTo>
                    <a:lnTo>
                      <a:pt x="170" y="124"/>
                    </a:lnTo>
                    <a:lnTo>
                      <a:pt x="170" y="124"/>
                    </a:lnTo>
                    <a:lnTo>
                      <a:pt x="172" y="126"/>
                    </a:lnTo>
                    <a:lnTo>
                      <a:pt x="172" y="126"/>
                    </a:lnTo>
                    <a:lnTo>
                      <a:pt x="170" y="128"/>
                    </a:lnTo>
                    <a:lnTo>
                      <a:pt x="164" y="130"/>
                    </a:lnTo>
                    <a:lnTo>
                      <a:pt x="164" y="130"/>
                    </a:lnTo>
                    <a:lnTo>
                      <a:pt x="164" y="132"/>
                    </a:lnTo>
                    <a:lnTo>
                      <a:pt x="164" y="132"/>
                    </a:lnTo>
                    <a:lnTo>
                      <a:pt x="162" y="130"/>
                    </a:lnTo>
                    <a:lnTo>
                      <a:pt x="156" y="126"/>
                    </a:lnTo>
                    <a:lnTo>
                      <a:pt x="150" y="120"/>
                    </a:lnTo>
                    <a:lnTo>
                      <a:pt x="146" y="122"/>
                    </a:lnTo>
                    <a:lnTo>
                      <a:pt x="142" y="128"/>
                    </a:lnTo>
                    <a:lnTo>
                      <a:pt x="148" y="134"/>
                    </a:lnTo>
                    <a:lnTo>
                      <a:pt x="150" y="136"/>
                    </a:lnTo>
                    <a:lnTo>
                      <a:pt x="152" y="140"/>
                    </a:lnTo>
                    <a:lnTo>
                      <a:pt x="152" y="140"/>
                    </a:lnTo>
                    <a:lnTo>
                      <a:pt x="152" y="142"/>
                    </a:lnTo>
                    <a:lnTo>
                      <a:pt x="152" y="142"/>
                    </a:lnTo>
                    <a:lnTo>
                      <a:pt x="152" y="144"/>
                    </a:lnTo>
                    <a:lnTo>
                      <a:pt x="146" y="146"/>
                    </a:lnTo>
                    <a:lnTo>
                      <a:pt x="144" y="150"/>
                    </a:lnTo>
                    <a:lnTo>
                      <a:pt x="138" y="158"/>
                    </a:lnTo>
                    <a:lnTo>
                      <a:pt x="132" y="162"/>
                    </a:lnTo>
                    <a:lnTo>
                      <a:pt x="132" y="162"/>
                    </a:lnTo>
                    <a:lnTo>
                      <a:pt x="132" y="162"/>
                    </a:lnTo>
                    <a:lnTo>
                      <a:pt x="132"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2" name="Freeform 674"/>
              <p:cNvSpPr>
                <a:spLocks noEditPoints="1"/>
              </p:cNvSpPr>
              <p:nvPr/>
            </p:nvSpPr>
            <p:spPr bwMode="auto">
              <a:xfrm>
                <a:off x="2985" y="1799"/>
                <a:ext cx="176" cy="166"/>
              </a:xfrm>
              <a:custGeom>
                <a:avLst/>
                <a:gdLst>
                  <a:gd name="T0" fmla="*/ 102 w 176"/>
                  <a:gd name="T1" fmla="*/ 12 h 166"/>
                  <a:gd name="T2" fmla="*/ 78 w 176"/>
                  <a:gd name="T3" fmla="*/ 34 h 166"/>
                  <a:gd name="T4" fmla="*/ 94 w 176"/>
                  <a:gd name="T5" fmla="*/ 64 h 166"/>
                  <a:gd name="T6" fmla="*/ 120 w 176"/>
                  <a:gd name="T7" fmla="*/ 96 h 166"/>
                  <a:gd name="T8" fmla="*/ 138 w 176"/>
                  <a:gd name="T9" fmla="*/ 106 h 166"/>
                  <a:gd name="T10" fmla="*/ 172 w 176"/>
                  <a:gd name="T11" fmla="*/ 128 h 166"/>
                  <a:gd name="T12" fmla="*/ 146 w 176"/>
                  <a:gd name="T13" fmla="*/ 122 h 166"/>
                  <a:gd name="T14" fmla="*/ 154 w 176"/>
                  <a:gd name="T15" fmla="*/ 144 h 166"/>
                  <a:gd name="T16" fmla="*/ 134 w 176"/>
                  <a:gd name="T17" fmla="*/ 162 h 166"/>
                  <a:gd name="T18" fmla="*/ 132 w 176"/>
                  <a:gd name="T19" fmla="*/ 126 h 166"/>
                  <a:gd name="T20" fmla="*/ 102 w 176"/>
                  <a:gd name="T21" fmla="*/ 104 h 166"/>
                  <a:gd name="T22" fmla="*/ 54 w 176"/>
                  <a:gd name="T23" fmla="*/ 80 h 166"/>
                  <a:gd name="T24" fmla="*/ 26 w 176"/>
                  <a:gd name="T25" fmla="*/ 50 h 166"/>
                  <a:gd name="T26" fmla="*/ 12 w 176"/>
                  <a:gd name="T27" fmla="*/ 56 h 166"/>
                  <a:gd name="T28" fmla="*/ 6 w 176"/>
                  <a:gd name="T29" fmla="*/ 32 h 166"/>
                  <a:gd name="T30" fmla="*/ 22 w 176"/>
                  <a:gd name="T31" fmla="*/ 18 h 166"/>
                  <a:gd name="T32" fmla="*/ 36 w 176"/>
                  <a:gd name="T33" fmla="*/ 14 h 166"/>
                  <a:gd name="T34" fmla="*/ 62 w 176"/>
                  <a:gd name="T35" fmla="*/ 10 h 166"/>
                  <a:gd name="T36" fmla="*/ 102 w 176"/>
                  <a:gd name="T37" fmla="*/ 12 h 166"/>
                  <a:gd name="T38" fmla="*/ 62 w 176"/>
                  <a:gd name="T39" fmla="*/ 2 h 166"/>
                  <a:gd name="T40" fmla="*/ 54 w 176"/>
                  <a:gd name="T41" fmla="*/ 6 h 166"/>
                  <a:gd name="T42" fmla="*/ 38 w 176"/>
                  <a:gd name="T43" fmla="*/ 10 h 166"/>
                  <a:gd name="T44" fmla="*/ 34 w 176"/>
                  <a:gd name="T45" fmla="*/ 10 h 166"/>
                  <a:gd name="T46" fmla="*/ 32 w 176"/>
                  <a:gd name="T47" fmla="*/ 20 h 166"/>
                  <a:gd name="T48" fmla="*/ 22 w 176"/>
                  <a:gd name="T49" fmla="*/ 14 h 166"/>
                  <a:gd name="T50" fmla="*/ 16 w 176"/>
                  <a:gd name="T51" fmla="*/ 18 h 166"/>
                  <a:gd name="T52" fmla="*/ 4 w 176"/>
                  <a:gd name="T53" fmla="*/ 22 h 166"/>
                  <a:gd name="T54" fmla="*/ 2 w 176"/>
                  <a:gd name="T55" fmla="*/ 32 h 166"/>
                  <a:gd name="T56" fmla="*/ 0 w 176"/>
                  <a:gd name="T57" fmla="*/ 40 h 166"/>
                  <a:gd name="T58" fmla="*/ 2 w 176"/>
                  <a:gd name="T59" fmla="*/ 56 h 166"/>
                  <a:gd name="T60" fmla="*/ 8 w 176"/>
                  <a:gd name="T61" fmla="*/ 64 h 166"/>
                  <a:gd name="T62" fmla="*/ 12 w 176"/>
                  <a:gd name="T63" fmla="*/ 68 h 166"/>
                  <a:gd name="T64" fmla="*/ 20 w 176"/>
                  <a:gd name="T65" fmla="*/ 66 h 166"/>
                  <a:gd name="T66" fmla="*/ 38 w 176"/>
                  <a:gd name="T67" fmla="*/ 58 h 166"/>
                  <a:gd name="T68" fmla="*/ 50 w 176"/>
                  <a:gd name="T69" fmla="*/ 80 h 166"/>
                  <a:gd name="T70" fmla="*/ 86 w 176"/>
                  <a:gd name="T71" fmla="*/ 106 h 166"/>
                  <a:gd name="T72" fmla="*/ 106 w 176"/>
                  <a:gd name="T73" fmla="*/ 120 h 166"/>
                  <a:gd name="T74" fmla="*/ 118 w 176"/>
                  <a:gd name="T75" fmla="*/ 124 h 166"/>
                  <a:gd name="T76" fmla="*/ 130 w 176"/>
                  <a:gd name="T77" fmla="*/ 136 h 166"/>
                  <a:gd name="T78" fmla="*/ 126 w 176"/>
                  <a:gd name="T79" fmla="*/ 158 h 166"/>
                  <a:gd name="T80" fmla="*/ 134 w 176"/>
                  <a:gd name="T81" fmla="*/ 166 h 166"/>
                  <a:gd name="T82" fmla="*/ 142 w 176"/>
                  <a:gd name="T83" fmla="*/ 160 h 166"/>
                  <a:gd name="T84" fmla="*/ 150 w 176"/>
                  <a:gd name="T85" fmla="*/ 148 h 166"/>
                  <a:gd name="T86" fmla="*/ 156 w 176"/>
                  <a:gd name="T87" fmla="*/ 146 h 166"/>
                  <a:gd name="T88" fmla="*/ 154 w 176"/>
                  <a:gd name="T89" fmla="*/ 138 h 166"/>
                  <a:gd name="T90" fmla="*/ 152 w 176"/>
                  <a:gd name="T91" fmla="*/ 124 h 166"/>
                  <a:gd name="T92" fmla="*/ 166 w 176"/>
                  <a:gd name="T93" fmla="*/ 136 h 166"/>
                  <a:gd name="T94" fmla="*/ 174 w 176"/>
                  <a:gd name="T95" fmla="*/ 132 h 166"/>
                  <a:gd name="T96" fmla="*/ 170 w 176"/>
                  <a:gd name="T97" fmla="*/ 120 h 166"/>
                  <a:gd name="T98" fmla="*/ 164 w 176"/>
                  <a:gd name="T99" fmla="*/ 112 h 166"/>
                  <a:gd name="T100" fmla="*/ 140 w 176"/>
                  <a:gd name="T101" fmla="*/ 102 h 166"/>
                  <a:gd name="T102" fmla="*/ 140 w 176"/>
                  <a:gd name="T103" fmla="*/ 96 h 166"/>
                  <a:gd name="T104" fmla="*/ 120 w 176"/>
                  <a:gd name="T105" fmla="*/ 92 h 166"/>
                  <a:gd name="T106" fmla="*/ 106 w 176"/>
                  <a:gd name="T107" fmla="*/ 68 h 166"/>
                  <a:gd name="T108" fmla="*/ 82 w 176"/>
                  <a:gd name="T109" fmla="*/ 50 h 166"/>
                  <a:gd name="T110" fmla="*/ 96 w 176"/>
                  <a:gd name="T111" fmla="*/ 30 h 166"/>
                  <a:gd name="T112" fmla="*/ 104 w 176"/>
                  <a:gd name="T113" fmla="*/ 14 h 166"/>
                  <a:gd name="T114" fmla="*/ 104 w 176"/>
                  <a:gd name="T115" fmla="*/ 8 h 166"/>
                  <a:gd name="T116" fmla="*/ 102 w 176"/>
                  <a:gd name="T117" fmla="*/ 8 h 166"/>
                  <a:gd name="T118" fmla="*/ 100 w 176"/>
                  <a:gd name="T119" fmla="*/ 8 h 166"/>
                  <a:gd name="T120" fmla="*/ 82 w 176"/>
                  <a:gd name="T121"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166">
                    <a:moveTo>
                      <a:pt x="78" y="4"/>
                    </a:moveTo>
                    <a:lnTo>
                      <a:pt x="78" y="10"/>
                    </a:lnTo>
                    <a:lnTo>
                      <a:pt x="86" y="14"/>
                    </a:lnTo>
                    <a:lnTo>
                      <a:pt x="102" y="12"/>
                    </a:lnTo>
                    <a:lnTo>
                      <a:pt x="96" y="18"/>
                    </a:lnTo>
                    <a:lnTo>
                      <a:pt x="94" y="26"/>
                    </a:lnTo>
                    <a:lnTo>
                      <a:pt x="88" y="28"/>
                    </a:lnTo>
                    <a:lnTo>
                      <a:pt x="78" y="34"/>
                    </a:lnTo>
                    <a:lnTo>
                      <a:pt x="78" y="42"/>
                    </a:lnTo>
                    <a:lnTo>
                      <a:pt x="78" y="50"/>
                    </a:lnTo>
                    <a:lnTo>
                      <a:pt x="84" y="58"/>
                    </a:lnTo>
                    <a:lnTo>
                      <a:pt x="94" y="64"/>
                    </a:lnTo>
                    <a:lnTo>
                      <a:pt x="102" y="68"/>
                    </a:lnTo>
                    <a:lnTo>
                      <a:pt x="104" y="80"/>
                    </a:lnTo>
                    <a:lnTo>
                      <a:pt x="110" y="88"/>
                    </a:lnTo>
                    <a:lnTo>
                      <a:pt x="120" y="96"/>
                    </a:lnTo>
                    <a:lnTo>
                      <a:pt x="134" y="96"/>
                    </a:lnTo>
                    <a:lnTo>
                      <a:pt x="136" y="100"/>
                    </a:lnTo>
                    <a:lnTo>
                      <a:pt x="134" y="100"/>
                    </a:lnTo>
                    <a:lnTo>
                      <a:pt x="138" y="106"/>
                    </a:lnTo>
                    <a:lnTo>
                      <a:pt x="148" y="110"/>
                    </a:lnTo>
                    <a:lnTo>
                      <a:pt x="160" y="116"/>
                    </a:lnTo>
                    <a:lnTo>
                      <a:pt x="168" y="122"/>
                    </a:lnTo>
                    <a:lnTo>
                      <a:pt x="172" y="128"/>
                    </a:lnTo>
                    <a:lnTo>
                      <a:pt x="166" y="132"/>
                    </a:lnTo>
                    <a:lnTo>
                      <a:pt x="160" y="126"/>
                    </a:lnTo>
                    <a:lnTo>
                      <a:pt x="154" y="120"/>
                    </a:lnTo>
                    <a:lnTo>
                      <a:pt x="146" y="122"/>
                    </a:lnTo>
                    <a:lnTo>
                      <a:pt x="142" y="130"/>
                    </a:lnTo>
                    <a:lnTo>
                      <a:pt x="148" y="136"/>
                    </a:lnTo>
                    <a:lnTo>
                      <a:pt x="152" y="140"/>
                    </a:lnTo>
                    <a:lnTo>
                      <a:pt x="154" y="144"/>
                    </a:lnTo>
                    <a:lnTo>
                      <a:pt x="146" y="146"/>
                    </a:lnTo>
                    <a:lnTo>
                      <a:pt x="144" y="150"/>
                    </a:lnTo>
                    <a:lnTo>
                      <a:pt x="138" y="158"/>
                    </a:lnTo>
                    <a:lnTo>
                      <a:pt x="134" y="162"/>
                    </a:lnTo>
                    <a:lnTo>
                      <a:pt x="130" y="156"/>
                    </a:lnTo>
                    <a:lnTo>
                      <a:pt x="132" y="150"/>
                    </a:lnTo>
                    <a:lnTo>
                      <a:pt x="136" y="136"/>
                    </a:lnTo>
                    <a:lnTo>
                      <a:pt x="132" y="126"/>
                    </a:lnTo>
                    <a:lnTo>
                      <a:pt x="120" y="122"/>
                    </a:lnTo>
                    <a:lnTo>
                      <a:pt x="120" y="118"/>
                    </a:lnTo>
                    <a:lnTo>
                      <a:pt x="110" y="118"/>
                    </a:lnTo>
                    <a:lnTo>
                      <a:pt x="102" y="104"/>
                    </a:lnTo>
                    <a:lnTo>
                      <a:pt x="88" y="104"/>
                    </a:lnTo>
                    <a:lnTo>
                      <a:pt x="78" y="90"/>
                    </a:lnTo>
                    <a:lnTo>
                      <a:pt x="70" y="86"/>
                    </a:lnTo>
                    <a:lnTo>
                      <a:pt x="54" y="80"/>
                    </a:lnTo>
                    <a:lnTo>
                      <a:pt x="52" y="66"/>
                    </a:lnTo>
                    <a:lnTo>
                      <a:pt x="50" y="58"/>
                    </a:lnTo>
                    <a:lnTo>
                      <a:pt x="40" y="54"/>
                    </a:lnTo>
                    <a:lnTo>
                      <a:pt x="26" y="50"/>
                    </a:lnTo>
                    <a:lnTo>
                      <a:pt x="22" y="56"/>
                    </a:lnTo>
                    <a:lnTo>
                      <a:pt x="20" y="62"/>
                    </a:lnTo>
                    <a:lnTo>
                      <a:pt x="12" y="64"/>
                    </a:lnTo>
                    <a:lnTo>
                      <a:pt x="12" y="56"/>
                    </a:lnTo>
                    <a:lnTo>
                      <a:pt x="6" y="56"/>
                    </a:lnTo>
                    <a:lnTo>
                      <a:pt x="4" y="42"/>
                    </a:lnTo>
                    <a:lnTo>
                      <a:pt x="6" y="34"/>
                    </a:lnTo>
                    <a:lnTo>
                      <a:pt x="6" y="32"/>
                    </a:lnTo>
                    <a:lnTo>
                      <a:pt x="6" y="26"/>
                    </a:lnTo>
                    <a:lnTo>
                      <a:pt x="18" y="24"/>
                    </a:lnTo>
                    <a:lnTo>
                      <a:pt x="18" y="20"/>
                    </a:lnTo>
                    <a:lnTo>
                      <a:pt x="22" y="18"/>
                    </a:lnTo>
                    <a:lnTo>
                      <a:pt x="26" y="22"/>
                    </a:lnTo>
                    <a:lnTo>
                      <a:pt x="32" y="24"/>
                    </a:lnTo>
                    <a:lnTo>
                      <a:pt x="36" y="22"/>
                    </a:lnTo>
                    <a:lnTo>
                      <a:pt x="36" y="14"/>
                    </a:lnTo>
                    <a:lnTo>
                      <a:pt x="40" y="18"/>
                    </a:lnTo>
                    <a:lnTo>
                      <a:pt x="50" y="18"/>
                    </a:lnTo>
                    <a:lnTo>
                      <a:pt x="54" y="10"/>
                    </a:lnTo>
                    <a:lnTo>
                      <a:pt x="62" y="10"/>
                    </a:lnTo>
                    <a:lnTo>
                      <a:pt x="64" y="4"/>
                    </a:lnTo>
                    <a:lnTo>
                      <a:pt x="78" y="4"/>
                    </a:lnTo>
                    <a:close/>
                    <a:moveTo>
                      <a:pt x="102" y="12"/>
                    </a:moveTo>
                    <a:lnTo>
                      <a:pt x="102" y="12"/>
                    </a:lnTo>
                    <a:close/>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3" name="Freeform 675"/>
              <p:cNvSpPr>
                <a:spLocks/>
              </p:cNvSpPr>
              <p:nvPr/>
            </p:nvSpPr>
            <p:spPr bwMode="auto">
              <a:xfrm>
                <a:off x="2989" y="1803"/>
                <a:ext cx="168" cy="158"/>
              </a:xfrm>
              <a:custGeom>
                <a:avLst/>
                <a:gdLst>
                  <a:gd name="T0" fmla="*/ 74 w 168"/>
                  <a:gd name="T1" fmla="*/ 6 h 158"/>
                  <a:gd name="T2" fmla="*/ 98 w 168"/>
                  <a:gd name="T3" fmla="*/ 8 h 158"/>
                  <a:gd name="T4" fmla="*/ 90 w 168"/>
                  <a:gd name="T5" fmla="*/ 22 h 158"/>
                  <a:gd name="T6" fmla="*/ 74 w 168"/>
                  <a:gd name="T7" fmla="*/ 30 h 158"/>
                  <a:gd name="T8" fmla="*/ 74 w 168"/>
                  <a:gd name="T9" fmla="*/ 46 h 158"/>
                  <a:gd name="T10" fmla="*/ 90 w 168"/>
                  <a:gd name="T11" fmla="*/ 60 h 158"/>
                  <a:gd name="T12" fmla="*/ 100 w 168"/>
                  <a:gd name="T13" fmla="*/ 76 h 158"/>
                  <a:gd name="T14" fmla="*/ 116 w 168"/>
                  <a:gd name="T15" fmla="*/ 92 h 158"/>
                  <a:gd name="T16" fmla="*/ 132 w 168"/>
                  <a:gd name="T17" fmla="*/ 96 h 158"/>
                  <a:gd name="T18" fmla="*/ 134 w 168"/>
                  <a:gd name="T19" fmla="*/ 102 h 158"/>
                  <a:gd name="T20" fmla="*/ 156 w 168"/>
                  <a:gd name="T21" fmla="*/ 112 h 158"/>
                  <a:gd name="T22" fmla="*/ 168 w 168"/>
                  <a:gd name="T23" fmla="*/ 124 h 158"/>
                  <a:gd name="T24" fmla="*/ 156 w 168"/>
                  <a:gd name="T25" fmla="*/ 122 h 158"/>
                  <a:gd name="T26" fmla="*/ 142 w 168"/>
                  <a:gd name="T27" fmla="*/ 118 h 158"/>
                  <a:gd name="T28" fmla="*/ 144 w 168"/>
                  <a:gd name="T29" fmla="*/ 132 h 158"/>
                  <a:gd name="T30" fmla="*/ 150 w 168"/>
                  <a:gd name="T31" fmla="*/ 140 h 158"/>
                  <a:gd name="T32" fmla="*/ 140 w 168"/>
                  <a:gd name="T33" fmla="*/ 146 h 158"/>
                  <a:gd name="T34" fmla="*/ 130 w 168"/>
                  <a:gd name="T35" fmla="*/ 158 h 158"/>
                  <a:gd name="T36" fmla="*/ 128 w 168"/>
                  <a:gd name="T37" fmla="*/ 146 h 158"/>
                  <a:gd name="T38" fmla="*/ 128 w 168"/>
                  <a:gd name="T39" fmla="*/ 122 h 158"/>
                  <a:gd name="T40" fmla="*/ 116 w 168"/>
                  <a:gd name="T41" fmla="*/ 114 h 158"/>
                  <a:gd name="T42" fmla="*/ 98 w 168"/>
                  <a:gd name="T43" fmla="*/ 100 h 158"/>
                  <a:gd name="T44" fmla="*/ 74 w 168"/>
                  <a:gd name="T45" fmla="*/ 86 h 158"/>
                  <a:gd name="T46" fmla="*/ 50 w 168"/>
                  <a:gd name="T47" fmla="*/ 76 h 158"/>
                  <a:gd name="T48" fmla="*/ 46 w 168"/>
                  <a:gd name="T49" fmla="*/ 54 h 158"/>
                  <a:gd name="T50" fmla="*/ 22 w 168"/>
                  <a:gd name="T51" fmla="*/ 46 h 158"/>
                  <a:gd name="T52" fmla="*/ 16 w 168"/>
                  <a:gd name="T53" fmla="*/ 58 h 158"/>
                  <a:gd name="T54" fmla="*/ 8 w 168"/>
                  <a:gd name="T55" fmla="*/ 52 h 158"/>
                  <a:gd name="T56" fmla="*/ 0 w 168"/>
                  <a:gd name="T57" fmla="*/ 38 h 158"/>
                  <a:gd name="T58" fmla="*/ 2 w 168"/>
                  <a:gd name="T59" fmla="*/ 28 h 158"/>
                  <a:gd name="T60" fmla="*/ 14 w 168"/>
                  <a:gd name="T61" fmla="*/ 20 h 158"/>
                  <a:gd name="T62" fmla="*/ 18 w 168"/>
                  <a:gd name="T63" fmla="*/ 14 h 158"/>
                  <a:gd name="T64" fmla="*/ 28 w 168"/>
                  <a:gd name="T65" fmla="*/ 20 h 158"/>
                  <a:gd name="T66" fmla="*/ 32 w 168"/>
                  <a:gd name="T67" fmla="*/ 10 h 158"/>
                  <a:gd name="T68" fmla="*/ 46 w 168"/>
                  <a:gd name="T69" fmla="*/ 14 h 158"/>
                  <a:gd name="T70" fmla="*/ 58 w 168"/>
                  <a:gd name="T71" fmla="*/ 6 h 158"/>
                  <a:gd name="T72" fmla="*/ 74 w 168"/>
                  <a:gd name="T7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74" y="0"/>
                    </a:moveTo>
                    <a:lnTo>
                      <a:pt x="74" y="6"/>
                    </a:lnTo>
                    <a:lnTo>
                      <a:pt x="82" y="10"/>
                    </a:lnTo>
                    <a:lnTo>
                      <a:pt x="98" y="8"/>
                    </a:lnTo>
                    <a:lnTo>
                      <a:pt x="92" y="14"/>
                    </a:lnTo>
                    <a:lnTo>
                      <a:pt x="90" y="22"/>
                    </a:lnTo>
                    <a:lnTo>
                      <a:pt x="84" y="24"/>
                    </a:lnTo>
                    <a:lnTo>
                      <a:pt x="74" y="30"/>
                    </a:lnTo>
                    <a:lnTo>
                      <a:pt x="74" y="38"/>
                    </a:lnTo>
                    <a:lnTo>
                      <a:pt x="74" y="46"/>
                    </a:lnTo>
                    <a:lnTo>
                      <a:pt x="80" y="54"/>
                    </a:lnTo>
                    <a:lnTo>
                      <a:pt x="90" y="60"/>
                    </a:lnTo>
                    <a:lnTo>
                      <a:pt x="98" y="64"/>
                    </a:lnTo>
                    <a:lnTo>
                      <a:pt x="100" y="76"/>
                    </a:lnTo>
                    <a:lnTo>
                      <a:pt x="106" y="84"/>
                    </a:lnTo>
                    <a:lnTo>
                      <a:pt x="116" y="92"/>
                    </a:lnTo>
                    <a:lnTo>
                      <a:pt x="130" y="92"/>
                    </a:lnTo>
                    <a:lnTo>
                      <a:pt x="132" y="96"/>
                    </a:lnTo>
                    <a:lnTo>
                      <a:pt x="130" y="96"/>
                    </a:lnTo>
                    <a:lnTo>
                      <a:pt x="134" y="102"/>
                    </a:lnTo>
                    <a:lnTo>
                      <a:pt x="144" y="106"/>
                    </a:lnTo>
                    <a:lnTo>
                      <a:pt x="156" y="112"/>
                    </a:lnTo>
                    <a:lnTo>
                      <a:pt x="164" y="118"/>
                    </a:lnTo>
                    <a:lnTo>
                      <a:pt x="168" y="124"/>
                    </a:lnTo>
                    <a:lnTo>
                      <a:pt x="162" y="128"/>
                    </a:lnTo>
                    <a:lnTo>
                      <a:pt x="156" y="122"/>
                    </a:lnTo>
                    <a:lnTo>
                      <a:pt x="150" y="116"/>
                    </a:lnTo>
                    <a:lnTo>
                      <a:pt x="142" y="118"/>
                    </a:lnTo>
                    <a:lnTo>
                      <a:pt x="138" y="126"/>
                    </a:lnTo>
                    <a:lnTo>
                      <a:pt x="144" y="132"/>
                    </a:lnTo>
                    <a:lnTo>
                      <a:pt x="148" y="136"/>
                    </a:lnTo>
                    <a:lnTo>
                      <a:pt x="150" y="140"/>
                    </a:lnTo>
                    <a:lnTo>
                      <a:pt x="142" y="142"/>
                    </a:lnTo>
                    <a:lnTo>
                      <a:pt x="140" y="146"/>
                    </a:lnTo>
                    <a:lnTo>
                      <a:pt x="134" y="154"/>
                    </a:lnTo>
                    <a:lnTo>
                      <a:pt x="130" y="158"/>
                    </a:lnTo>
                    <a:lnTo>
                      <a:pt x="126" y="152"/>
                    </a:lnTo>
                    <a:lnTo>
                      <a:pt x="128" y="146"/>
                    </a:lnTo>
                    <a:lnTo>
                      <a:pt x="132" y="132"/>
                    </a:lnTo>
                    <a:lnTo>
                      <a:pt x="128" y="122"/>
                    </a:lnTo>
                    <a:lnTo>
                      <a:pt x="116" y="118"/>
                    </a:lnTo>
                    <a:lnTo>
                      <a:pt x="116" y="114"/>
                    </a:lnTo>
                    <a:lnTo>
                      <a:pt x="106" y="114"/>
                    </a:lnTo>
                    <a:lnTo>
                      <a:pt x="98" y="100"/>
                    </a:lnTo>
                    <a:lnTo>
                      <a:pt x="84" y="100"/>
                    </a:lnTo>
                    <a:lnTo>
                      <a:pt x="74" y="86"/>
                    </a:lnTo>
                    <a:lnTo>
                      <a:pt x="66" y="82"/>
                    </a:lnTo>
                    <a:lnTo>
                      <a:pt x="50" y="76"/>
                    </a:lnTo>
                    <a:lnTo>
                      <a:pt x="48" y="62"/>
                    </a:lnTo>
                    <a:lnTo>
                      <a:pt x="46" y="54"/>
                    </a:lnTo>
                    <a:lnTo>
                      <a:pt x="36" y="50"/>
                    </a:lnTo>
                    <a:lnTo>
                      <a:pt x="22" y="46"/>
                    </a:lnTo>
                    <a:lnTo>
                      <a:pt x="18" y="52"/>
                    </a:lnTo>
                    <a:lnTo>
                      <a:pt x="16" y="58"/>
                    </a:lnTo>
                    <a:lnTo>
                      <a:pt x="8" y="60"/>
                    </a:lnTo>
                    <a:lnTo>
                      <a:pt x="8" y="52"/>
                    </a:lnTo>
                    <a:lnTo>
                      <a:pt x="2" y="52"/>
                    </a:lnTo>
                    <a:lnTo>
                      <a:pt x="0" y="38"/>
                    </a:lnTo>
                    <a:lnTo>
                      <a:pt x="2" y="30"/>
                    </a:lnTo>
                    <a:lnTo>
                      <a:pt x="2" y="28"/>
                    </a:lnTo>
                    <a:lnTo>
                      <a:pt x="2" y="22"/>
                    </a:lnTo>
                    <a:lnTo>
                      <a:pt x="14" y="20"/>
                    </a:lnTo>
                    <a:lnTo>
                      <a:pt x="14" y="16"/>
                    </a:lnTo>
                    <a:lnTo>
                      <a:pt x="18" y="14"/>
                    </a:lnTo>
                    <a:lnTo>
                      <a:pt x="22" y="18"/>
                    </a:lnTo>
                    <a:lnTo>
                      <a:pt x="28" y="20"/>
                    </a:lnTo>
                    <a:lnTo>
                      <a:pt x="32" y="18"/>
                    </a:lnTo>
                    <a:lnTo>
                      <a:pt x="32" y="10"/>
                    </a:lnTo>
                    <a:lnTo>
                      <a:pt x="36" y="14"/>
                    </a:lnTo>
                    <a:lnTo>
                      <a:pt x="46" y="14"/>
                    </a:lnTo>
                    <a:lnTo>
                      <a:pt x="50" y="6"/>
                    </a:lnTo>
                    <a:lnTo>
                      <a:pt x="58" y="6"/>
                    </a:lnTo>
                    <a:lnTo>
                      <a:pt x="60"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4" name="Line 676"/>
              <p:cNvSpPr>
                <a:spLocks noChangeShapeType="1"/>
              </p:cNvSpPr>
              <p:nvPr/>
            </p:nvSpPr>
            <p:spPr bwMode="auto">
              <a:xfrm>
                <a:off x="3087" y="181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5" name="Freeform 677"/>
              <p:cNvSpPr>
                <a:spLocks/>
              </p:cNvSpPr>
              <p:nvPr/>
            </p:nvSpPr>
            <p:spPr bwMode="auto">
              <a:xfrm>
                <a:off x="2985" y="1799"/>
                <a:ext cx="176" cy="166"/>
              </a:xfrm>
              <a:custGeom>
                <a:avLst/>
                <a:gdLst>
                  <a:gd name="T0" fmla="*/ 64 w 176"/>
                  <a:gd name="T1" fmla="*/ 0 h 166"/>
                  <a:gd name="T2" fmla="*/ 60 w 176"/>
                  <a:gd name="T3" fmla="*/ 6 h 166"/>
                  <a:gd name="T4" fmla="*/ 50 w 176"/>
                  <a:gd name="T5" fmla="*/ 8 h 166"/>
                  <a:gd name="T6" fmla="*/ 38 w 176"/>
                  <a:gd name="T7" fmla="*/ 10 h 166"/>
                  <a:gd name="T8" fmla="*/ 36 w 176"/>
                  <a:gd name="T9" fmla="*/ 10 h 166"/>
                  <a:gd name="T10" fmla="*/ 32 w 176"/>
                  <a:gd name="T11" fmla="*/ 12 h 166"/>
                  <a:gd name="T12" fmla="*/ 28 w 176"/>
                  <a:gd name="T13" fmla="*/ 18 h 166"/>
                  <a:gd name="T14" fmla="*/ 22 w 176"/>
                  <a:gd name="T15" fmla="*/ 14 h 166"/>
                  <a:gd name="T16" fmla="*/ 16 w 176"/>
                  <a:gd name="T17" fmla="*/ 18 h 166"/>
                  <a:gd name="T18" fmla="*/ 14 w 176"/>
                  <a:gd name="T19" fmla="*/ 20 h 166"/>
                  <a:gd name="T20" fmla="*/ 4 w 176"/>
                  <a:gd name="T21" fmla="*/ 22 h 166"/>
                  <a:gd name="T22" fmla="*/ 2 w 176"/>
                  <a:gd name="T23" fmla="*/ 32 h 166"/>
                  <a:gd name="T24" fmla="*/ 2 w 176"/>
                  <a:gd name="T25" fmla="*/ 34 h 166"/>
                  <a:gd name="T26" fmla="*/ 0 w 176"/>
                  <a:gd name="T27" fmla="*/ 42 h 166"/>
                  <a:gd name="T28" fmla="*/ 2 w 176"/>
                  <a:gd name="T29" fmla="*/ 60 h 166"/>
                  <a:gd name="T30" fmla="*/ 8 w 176"/>
                  <a:gd name="T31" fmla="*/ 64 h 166"/>
                  <a:gd name="T32" fmla="*/ 10 w 176"/>
                  <a:gd name="T33" fmla="*/ 66 h 166"/>
                  <a:gd name="T34" fmla="*/ 14 w 176"/>
                  <a:gd name="T35" fmla="*/ 68 h 166"/>
                  <a:gd name="T36" fmla="*/ 24 w 176"/>
                  <a:gd name="T37" fmla="*/ 62 h 166"/>
                  <a:gd name="T38" fmla="*/ 38 w 176"/>
                  <a:gd name="T39" fmla="*/ 58 h 166"/>
                  <a:gd name="T40" fmla="*/ 50 w 176"/>
                  <a:gd name="T41" fmla="*/ 80 h 166"/>
                  <a:gd name="T42" fmla="*/ 70 w 176"/>
                  <a:gd name="T43" fmla="*/ 90 h 166"/>
                  <a:gd name="T44" fmla="*/ 86 w 176"/>
                  <a:gd name="T45" fmla="*/ 106 h 166"/>
                  <a:gd name="T46" fmla="*/ 106 w 176"/>
                  <a:gd name="T47" fmla="*/ 120 h 166"/>
                  <a:gd name="T48" fmla="*/ 116 w 176"/>
                  <a:gd name="T49" fmla="*/ 122 h 166"/>
                  <a:gd name="T50" fmla="*/ 120 w 176"/>
                  <a:gd name="T51" fmla="*/ 126 h 166"/>
                  <a:gd name="T52" fmla="*/ 128 w 176"/>
                  <a:gd name="T53" fmla="*/ 148 h 166"/>
                  <a:gd name="T54" fmla="*/ 126 w 176"/>
                  <a:gd name="T55" fmla="*/ 158 h 166"/>
                  <a:gd name="T56" fmla="*/ 134 w 176"/>
                  <a:gd name="T57" fmla="*/ 166 h 166"/>
                  <a:gd name="T58" fmla="*/ 140 w 176"/>
                  <a:gd name="T59" fmla="*/ 162 h 166"/>
                  <a:gd name="T60" fmla="*/ 148 w 176"/>
                  <a:gd name="T61" fmla="*/ 154 h 166"/>
                  <a:gd name="T62" fmla="*/ 150 w 176"/>
                  <a:gd name="T63" fmla="*/ 148 h 166"/>
                  <a:gd name="T64" fmla="*/ 156 w 176"/>
                  <a:gd name="T65" fmla="*/ 146 h 166"/>
                  <a:gd name="T66" fmla="*/ 154 w 176"/>
                  <a:gd name="T67" fmla="*/ 138 h 166"/>
                  <a:gd name="T68" fmla="*/ 150 w 176"/>
                  <a:gd name="T69" fmla="*/ 134 h 166"/>
                  <a:gd name="T70" fmla="*/ 152 w 176"/>
                  <a:gd name="T71" fmla="*/ 124 h 166"/>
                  <a:gd name="T72" fmla="*/ 162 w 176"/>
                  <a:gd name="T73" fmla="*/ 134 h 166"/>
                  <a:gd name="T74" fmla="*/ 168 w 176"/>
                  <a:gd name="T75" fmla="*/ 134 h 166"/>
                  <a:gd name="T76" fmla="*/ 176 w 176"/>
                  <a:gd name="T77" fmla="*/ 128 h 166"/>
                  <a:gd name="T78" fmla="*/ 170 w 176"/>
                  <a:gd name="T79" fmla="*/ 120 h 166"/>
                  <a:gd name="T80" fmla="*/ 164 w 176"/>
                  <a:gd name="T81" fmla="*/ 112 h 166"/>
                  <a:gd name="T82" fmla="*/ 150 w 176"/>
                  <a:gd name="T83" fmla="*/ 106 h 166"/>
                  <a:gd name="T84" fmla="*/ 140 w 176"/>
                  <a:gd name="T85" fmla="*/ 102 h 166"/>
                  <a:gd name="T86" fmla="*/ 140 w 176"/>
                  <a:gd name="T87" fmla="*/ 96 h 166"/>
                  <a:gd name="T88" fmla="*/ 134 w 176"/>
                  <a:gd name="T89" fmla="*/ 92 h 166"/>
                  <a:gd name="T90" fmla="*/ 108 w 176"/>
                  <a:gd name="T91" fmla="*/ 78 h 166"/>
                  <a:gd name="T92" fmla="*/ 104 w 176"/>
                  <a:gd name="T93" fmla="*/ 66 h 166"/>
                  <a:gd name="T94" fmla="*/ 82 w 176"/>
                  <a:gd name="T95" fmla="*/ 50 h 166"/>
                  <a:gd name="T96" fmla="*/ 90 w 176"/>
                  <a:gd name="T97" fmla="*/ 32 h 166"/>
                  <a:gd name="T98" fmla="*/ 98 w 176"/>
                  <a:gd name="T99" fmla="*/ 26 h 166"/>
                  <a:gd name="T100" fmla="*/ 104 w 176"/>
                  <a:gd name="T101" fmla="*/ 14 h 166"/>
                  <a:gd name="T102" fmla="*/ 104 w 176"/>
                  <a:gd name="T103" fmla="*/ 8 h 166"/>
                  <a:gd name="T104" fmla="*/ 102 w 176"/>
                  <a:gd name="T105" fmla="*/ 8 h 166"/>
                  <a:gd name="T106" fmla="*/ 100 w 176"/>
                  <a:gd name="T107" fmla="*/ 8 h 166"/>
                  <a:gd name="T108" fmla="*/ 88 w 176"/>
                  <a:gd name="T109" fmla="*/ 10 h 166"/>
                  <a:gd name="T110" fmla="*/ 82 w 176"/>
                  <a:gd name="T111" fmla="*/ 4 h 166"/>
                  <a:gd name="T112" fmla="*/ 78 w 176"/>
                  <a:gd name="T11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66">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6" name="Freeform 678"/>
              <p:cNvSpPr>
                <a:spLocks/>
              </p:cNvSpPr>
              <p:nvPr/>
            </p:nvSpPr>
            <p:spPr bwMode="auto">
              <a:xfrm>
                <a:off x="3277" y="1773"/>
                <a:ext cx="48" cy="60"/>
              </a:xfrm>
              <a:custGeom>
                <a:avLst/>
                <a:gdLst>
                  <a:gd name="T0" fmla="*/ 18 w 48"/>
                  <a:gd name="T1" fmla="*/ 60 h 60"/>
                  <a:gd name="T2" fmla="*/ 18 w 48"/>
                  <a:gd name="T3" fmla="*/ 60 h 60"/>
                  <a:gd name="T4" fmla="*/ 18 w 48"/>
                  <a:gd name="T5" fmla="*/ 60 h 60"/>
                  <a:gd name="T6" fmla="*/ 14 w 48"/>
                  <a:gd name="T7" fmla="*/ 48 h 60"/>
                  <a:gd name="T8" fmla="*/ 14 w 48"/>
                  <a:gd name="T9" fmla="*/ 48 h 60"/>
                  <a:gd name="T10" fmla="*/ 14 w 48"/>
                  <a:gd name="T11" fmla="*/ 46 h 60"/>
                  <a:gd name="T12" fmla="*/ 18 w 48"/>
                  <a:gd name="T13" fmla="*/ 36 h 60"/>
                  <a:gd name="T14" fmla="*/ 16 w 48"/>
                  <a:gd name="T15" fmla="*/ 34 h 60"/>
                  <a:gd name="T16" fmla="*/ 12 w 48"/>
                  <a:gd name="T17" fmla="*/ 28 h 60"/>
                  <a:gd name="T18" fmla="*/ 4 w 48"/>
                  <a:gd name="T19" fmla="*/ 20 h 60"/>
                  <a:gd name="T20" fmla="*/ 4 w 48"/>
                  <a:gd name="T21" fmla="*/ 20 h 60"/>
                  <a:gd name="T22" fmla="*/ 4 w 48"/>
                  <a:gd name="T23" fmla="*/ 20 h 60"/>
                  <a:gd name="T24" fmla="*/ 2 w 48"/>
                  <a:gd name="T25" fmla="*/ 12 h 60"/>
                  <a:gd name="T26" fmla="*/ 0 w 48"/>
                  <a:gd name="T27" fmla="*/ 6 h 60"/>
                  <a:gd name="T28" fmla="*/ 0 w 48"/>
                  <a:gd name="T29" fmla="*/ 6 h 60"/>
                  <a:gd name="T30" fmla="*/ 0 w 48"/>
                  <a:gd name="T31" fmla="*/ 4 h 60"/>
                  <a:gd name="T32" fmla="*/ 4 w 48"/>
                  <a:gd name="T33" fmla="*/ 2 h 60"/>
                  <a:gd name="T34" fmla="*/ 4 w 48"/>
                  <a:gd name="T35" fmla="*/ 2 h 60"/>
                  <a:gd name="T36" fmla="*/ 6 w 48"/>
                  <a:gd name="T37" fmla="*/ 0 h 60"/>
                  <a:gd name="T38" fmla="*/ 6 w 48"/>
                  <a:gd name="T39" fmla="*/ 0 h 60"/>
                  <a:gd name="T40" fmla="*/ 18 w 48"/>
                  <a:gd name="T41" fmla="*/ 2 h 60"/>
                  <a:gd name="T42" fmla="*/ 28 w 48"/>
                  <a:gd name="T43" fmla="*/ 6 h 60"/>
                  <a:gd name="T44" fmla="*/ 28 w 48"/>
                  <a:gd name="T45" fmla="*/ 6 h 60"/>
                  <a:gd name="T46" fmla="*/ 30 w 48"/>
                  <a:gd name="T47" fmla="*/ 8 h 60"/>
                  <a:gd name="T48" fmla="*/ 36 w 48"/>
                  <a:gd name="T49" fmla="*/ 22 h 60"/>
                  <a:gd name="T50" fmla="*/ 44 w 48"/>
                  <a:gd name="T51" fmla="*/ 26 h 60"/>
                  <a:gd name="T52" fmla="*/ 44 w 48"/>
                  <a:gd name="T53" fmla="*/ 26 h 60"/>
                  <a:gd name="T54" fmla="*/ 46 w 48"/>
                  <a:gd name="T55" fmla="*/ 28 h 60"/>
                  <a:gd name="T56" fmla="*/ 48 w 48"/>
                  <a:gd name="T57" fmla="*/ 36 h 60"/>
                  <a:gd name="T58" fmla="*/ 48 w 48"/>
                  <a:gd name="T59" fmla="*/ 36 h 60"/>
                  <a:gd name="T60" fmla="*/ 48 w 48"/>
                  <a:gd name="T61" fmla="*/ 38 h 60"/>
                  <a:gd name="T62" fmla="*/ 46 w 48"/>
                  <a:gd name="T63" fmla="*/ 42 h 60"/>
                  <a:gd name="T64" fmla="*/ 46 w 48"/>
                  <a:gd name="T65" fmla="*/ 42 h 60"/>
                  <a:gd name="T66" fmla="*/ 44 w 48"/>
                  <a:gd name="T67" fmla="*/ 44 h 60"/>
                  <a:gd name="T68" fmla="*/ 36 w 48"/>
                  <a:gd name="T69" fmla="*/ 44 h 60"/>
                  <a:gd name="T70" fmla="*/ 30 w 48"/>
                  <a:gd name="T71" fmla="*/ 42 h 60"/>
                  <a:gd name="T72" fmla="*/ 30 w 48"/>
                  <a:gd name="T73" fmla="*/ 48 h 60"/>
                  <a:gd name="T74" fmla="*/ 30 w 48"/>
                  <a:gd name="T75" fmla="*/ 48 h 60"/>
                  <a:gd name="T76" fmla="*/ 30 w 48"/>
                  <a:gd name="T77" fmla="*/ 48 h 60"/>
                  <a:gd name="T78" fmla="*/ 24 w 48"/>
                  <a:gd name="T79" fmla="*/ 56 h 60"/>
                  <a:gd name="T80" fmla="*/ 20 w 48"/>
                  <a:gd name="T81" fmla="*/ 60 h 60"/>
                  <a:gd name="T82" fmla="*/ 20 w 48"/>
                  <a:gd name="T83" fmla="*/ 60 h 60"/>
                  <a:gd name="T84" fmla="*/ 20 w 48"/>
                  <a:gd name="T85" fmla="*/ 60 h 60"/>
                  <a:gd name="T86" fmla="*/ 20 w 48"/>
                  <a:gd name="T87" fmla="*/ 60 h 60"/>
                  <a:gd name="T88" fmla="*/ 18 w 48"/>
                  <a:gd name="T89" fmla="*/ 60 h 60"/>
                  <a:gd name="T90" fmla="*/ 18 w 48"/>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60">
                    <a:moveTo>
                      <a:pt x="18" y="60"/>
                    </a:moveTo>
                    <a:lnTo>
                      <a:pt x="18" y="60"/>
                    </a:lnTo>
                    <a:lnTo>
                      <a:pt x="18" y="60"/>
                    </a:lnTo>
                    <a:lnTo>
                      <a:pt x="14" y="48"/>
                    </a:lnTo>
                    <a:lnTo>
                      <a:pt x="14" y="48"/>
                    </a:lnTo>
                    <a:lnTo>
                      <a:pt x="14" y="46"/>
                    </a:lnTo>
                    <a:lnTo>
                      <a:pt x="18" y="36"/>
                    </a:lnTo>
                    <a:lnTo>
                      <a:pt x="16" y="34"/>
                    </a:lnTo>
                    <a:lnTo>
                      <a:pt x="12" y="28"/>
                    </a:lnTo>
                    <a:lnTo>
                      <a:pt x="4" y="20"/>
                    </a:lnTo>
                    <a:lnTo>
                      <a:pt x="4" y="20"/>
                    </a:lnTo>
                    <a:lnTo>
                      <a:pt x="4" y="20"/>
                    </a:lnTo>
                    <a:lnTo>
                      <a:pt x="2" y="12"/>
                    </a:lnTo>
                    <a:lnTo>
                      <a:pt x="0" y="6"/>
                    </a:lnTo>
                    <a:lnTo>
                      <a:pt x="0" y="6"/>
                    </a:lnTo>
                    <a:lnTo>
                      <a:pt x="0" y="4"/>
                    </a:lnTo>
                    <a:lnTo>
                      <a:pt x="4" y="2"/>
                    </a:lnTo>
                    <a:lnTo>
                      <a:pt x="4" y="2"/>
                    </a:lnTo>
                    <a:lnTo>
                      <a:pt x="6" y="0"/>
                    </a:lnTo>
                    <a:lnTo>
                      <a:pt x="6" y="0"/>
                    </a:lnTo>
                    <a:lnTo>
                      <a:pt x="18" y="2"/>
                    </a:lnTo>
                    <a:lnTo>
                      <a:pt x="28" y="6"/>
                    </a:lnTo>
                    <a:lnTo>
                      <a:pt x="28" y="6"/>
                    </a:lnTo>
                    <a:lnTo>
                      <a:pt x="30" y="8"/>
                    </a:lnTo>
                    <a:lnTo>
                      <a:pt x="36" y="22"/>
                    </a:lnTo>
                    <a:lnTo>
                      <a:pt x="44" y="26"/>
                    </a:lnTo>
                    <a:lnTo>
                      <a:pt x="44" y="26"/>
                    </a:lnTo>
                    <a:lnTo>
                      <a:pt x="46" y="28"/>
                    </a:lnTo>
                    <a:lnTo>
                      <a:pt x="48" y="36"/>
                    </a:lnTo>
                    <a:lnTo>
                      <a:pt x="48" y="36"/>
                    </a:lnTo>
                    <a:lnTo>
                      <a:pt x="48" y="38"/>
                    </a:lnTo>
                    <a:lnTo>
                      <a:pt x="46" y="42"/>
                    </a:lnTo>
                    <a:lnTo>
                      <a:pt x="46" y="42"/>
                    </a:lnTo>
                    <a:lnTo>
                      <a:pt x="44" y="44"/>
                    </a:lnTo>
                    <a:lnTo>
                      <a:pt x="36" y="44"/>
                    </a:lnTo>
                    <a:lnTo>
                      <a:pt x="30" y="42"/>
                    </a:lnTo>
                    <a:lnTo>
                      <a:pt x="30" y="48"/>
                    </a:lnTo>
                    <a:lnTo>
                      <a:pt x="30" y="48"/>
                    </a:lnTo>
                    <a:lnTo>
                      <a:pt x="30" y="48"/>
                    </a:lnTo>
                    <a:lnTo>
                      <a:pt x="24" y="56"/>
                    </a:lnTo>
                    <a:lnTo>
                      <a:pt x="20" y="60"/>
                    </a:lnTo>
                    <a:lnTo>
                      <a:pt x="20" y="60"/>
                    </a:lnTo>
                    <a:lnTo>
                      <a:pt x="20" y="60"/>
                    </a:lnTo>
                    <a:lnTo>
                      <a:pt x="20"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7" name="Freeform 679"/>
              <p:cNvSpPr>
                <a:spLocks noEditPoints="1"/>
              </p:cNvSpPr>
              <p:nvPr/>
            </p:nvSpPr>
            <p:spPr bwMode="auto">
              <a:xfrm>
                <a:off x="3275" y="1771"/>
                <a:ext cx="52" cy="64"/>
              </a:xfrm>
              <a:custGeom>
                <a:avLst/>
                <a:gdLst>
                  <a:gd name="T0" fmla="*/ 20 w 52"/>
                  <a:gd name="T1" fmla="*/ 6 h 64"/>
                  <a:gd name="T2" fmla="*/ 34 w 52"/>
                  <a:gd name="T3" fmla="*/ 18 h 64"/>
                  <a:gd name="T4" fmla="*/ 46 w 52"/>
                  <a:gd name="T5" fmla="*/ 30 h 64"/>
                  <a:gd name="T6" fmla="*/ 46 w 52"/>
                  <a:gd name="T7" fmla="*/ 44 h 64"/>
                  <a:gd name="T8" fmla="*/ 30 w 52"/>
                  <a:gd name="T9" fmla="*/ 42 h 64"/>
                  <a:gd name="T10" fmla="*/ 24 w 52"/>
                  <a:gd name="T11" fmla="*/ 56 h 64"/>
                  <a:gd name="T12" fmla="*/ 18 w 52"/>
                  <a:gd name="T13" fmla="*/ 50 h 64"/>
                  <a:gd name="T14" fmla="*/ 20 w 52"/>
                  <a:gd name="T15" fmla="*/ 34 h 64"/>
                  <a:gd name="T16" fmla="*/ 8 w 52"/>
                  <a:gd name="T17" fmla="*/ 22 h 64"/>
                  <a:gd name="T18" fmla="*/ 4 w 52"/>
                  <a:gd name="T19" fmla="*/ 8 h 64"/>
                  <a:gd name="T20" fmla="*/ 8 w 52"/>
                  <a:gd name="T21" fmla="*/ 0 h 64"/>
                  <a:gd name="T22" fmla="*/ 4 w 52"/>
                  <a:gd name="T23" fmla="*/ 2 h 64"/>
                  <a:gd name="T24" fmla="*/ 2 w 52"/>
                  <a:gd name="T25" fmla="*/ 6 h 64"/>
                  <a:gd name="T26" fmla="*/ 2 w 52"/>
                  <a:gd name="T27" fmla="*/ 16 h 64"/>
                  <a:gd name="T28" fmla="*/ 4 w 52"/>
                  <a:gd name="T29" fmla="*/ 22 h 64"/>
                  <a:gd name="T30" fmla="*/ 14 w 52"/>
                  <a:gd name="T31" fmla="*/ 32 h 64"/>
                  <a:gd name="T32" fmla="*/ 18 w 52"/>
                  <a:gd name="T33" fmla="*/ 38 h 64"/>
                  <a:gd name="T34" fmla="*/ 14 w 52"/>
                  <a:gd name="T35" fmla="*/ 48 h 64"/>
                  <a:gd name="T36" fmla="*/ 18 w 52"/>
                  <a:gd name="T37" fmla="*/ 62 h 64"/>
                  <a:gd name="T38" fmla="*/ 20 w 52"/>
                  <a:gd name="T39" fmla="*/ 64 h 64"/>
                  <a:gd name="T40" fmla="*/ 22 w 52"/>
                  <a:gd name="T41" fmla="*/ 64 h 64"/>
                  <a:gd name="T42" fmla="*/ 24 w 52"/>
                  <a:gd name="T43" fmla="*/ 64 h 64"/>
                  <a:gd name="T44" fmla="*/ 28 w 52"/>
                  <a:gd name="T45" fmla="*/ 60 h 64"/>
                  <a:gd name="T46" fmla="*/ 34 w 52"/>
                  <a:gd name="T47" fmla="*/ 52 h 64"/>
                  <a:gd name="T48" fmla="*/ 34 w 52"/>
                  <a:gd name="T49" fmla="*/ 50 h 64"/>
                  <a:gd name="T50" fmla="*/ 38 w 52"/>
                  <a:gd name="T51" fmla="*/ 48 h 64"/>
                  <a:gd name="T52" fmla="*/ 38 w 52"/>
                  <a:gd name="T53" fmla="*/ 48 h 64"/>
                  <a:gd name="T54" fmla="*/ 46 w 52"/>
                  <a:gd name="T55" fmla="*/ 48 h 64"/>
                  <a:gd name="T56" fmla="*/ 52 w 52"/>
                  <a:gd name="T57" fmla="*/ 40 h 64"/>
                  <a:gd name="T58" fmla="*/ 52 w 52"/>
                  <a:gd name="T59" fmla="*/ 36 h 64"/>
                  <a:gd name="T60" fmla="*/ 50 w 52"/>
                  <a:gd name="T61" fmla="*/ 28 h 64"/>
                  <a:gd name="T62" fmla="*/ 40 w 52"/>
                  <a:gd name="T63" fmla="*/ 22 h 64"/>
                  <a:gd name="T64" fmla="*/ 34 w 52"/>
                  <a:gd name="T65" fmla="*/ 8 h 64"/>
                  <a:gd name="T66" fmla="*/ 32 w 52"/>
                  <a:gd name="T67" fmla="*/ 6 h 64"/>
                  <a:gd name="T68" fmla="*/ 22 w 52"/>
                  <a:gd name="T69" fmla="*/ 2 h 64"/>
                  <a:gd name="T70" fmla="*/ 8 w 52"/>
                  <a:gd name="T71" fmla="*/ 0 h 64"/>
                  <a:gd name="T72" fmla="*/ 8 w 52"/>
                  <a:gd name="T7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8" y="4"/>
                    </a:moveTo>
                    <a:lnTo>
                      <a:pt x="20" y="6"/>
                    </a:lnTo>
                    <a:lnTo>
                      <a:pt x="30" y="10"/>
                    </a:lnTo>
                    <a:lnTo>
                      <a:pt x="34" y="18"/>
                    </a:lnTo>
                    <a:lnTo>
                      <a:pt x="36" y="26"/>
                    </a:lnTo>
                    <a:lnTo>
                      <a:pt x="46" y="30"/>
                    </a:lnTo>
                    <a:lnTo>
                      <a:pt x="48" y="38"/>
                    </a:lnTo>
                    <a:lnTo>
                      <a:pt x="46" y="44"/>
                    </a:lnTo>
                    <a:lnTo>
                      <a:pt x="38" y="44"/>
                    </a:lnTo>
                    <a:lnTo>
                      <a:pt x="30" y="42"/>
                    </a:lnTo>
                    <a:lnTo>
                      <a:pt x="30" y="50"/>
                    </a:lnTo>
                    <a:lnTo>
                      <a:pt x="24" y="56"/>
                    </a:lnTo>
                    <a:lnTo>
                      <a:pt x="22" y="60"/>
                    </a:lnTo>
                    <a:lnTo>
                      <a:pt x="18" y="50"/>
                    </a:lnTo>
                    <a:lnTo>
                      <a:pt x="22" y="38"/>
                    </a:lnTo>
                    <a:lnTo>
                      <a:pt x="20" y="34"/>
                    </a:lnTo>
                    <a:lnTo>
                      <a:pt x="16" y="28"/>
                    </a:lnTo>
                    <a:lnTo>
                      <a:pt x="8" y="22"/>
                    </a:lnTo>
                    <a:lnTo>
                      <a:pt x="6" y="14"/>
                    </a:lnTo>
                    <a:lnTo>
                      <a:pt x="4" y="8"/>
                    </a:lnTo>
                    <a:lnTo>
                      <a:pt x="8" y="4"/>
                    </a:lnTo>
                    <a:close/>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8" name="Freeform 680"/>
              <p:cNvSpPr>
                <a:spLocks/>
              </p:cNvSpPr>
              <p:nvPr/>
            </p:nvSpPr>
            <p:spPr bwMode="auto">
              <a:xfrm>
                <a:off x="3279" y="1775"/>
                <a:ext cx="44" cy="56"/>
              </a:xfrm>
              <a:custGeom>
                <a:avLst/>
                <a:gdLst>
                  <a:gd name="T0" fmla="*/ 4 w 44"/>
                  <a:gd name="T1" fmla="*/ 0 h 56"/>
                  <a:gd name="T2" fmla="*/ 16 w 44"/>
                  <a:gd name="T3" fmla="*/ 2 h 56"/>
                  <a:gd name="T4" fmla="*/ 26 w 44"/>
                  <a:gd name="T5" fmla="*/ 6 h 56"/>
                  <a:gd name="T6" fmla="*/ 30 w 44"/>
                  <a:gd name="T7" fmla="*/ 14 h 56"/>
                  <a:gd name="T8" fmla="*/ 32 w 44"/>
                  <a:gd name="T9" fmla="*/ 22 h 56"/>
                  <a:gd name="T10" fmla="*/ 42 w 44"/>
                  <a:gd name="T11" fmla="*/ 26 h 56"/>
                  <a:gd name="T12" fmla="*/ 44 w 44"/>
                  <a:gd name="T13" fmla="*/ 34 h 56"/>
                  <a:gd name="T14" fmla="*/ 42 w 44"/>
                  <a:gd name="T15" fmla="*/ 40 h 56"/>
                  <a:gd name="T16" fmla="*/ 34 w 44"/>
                  <a:gd name="T17" fmla="*/ 40 h 56"/>
                  <a:gd name="T18" fmla="*/ 26 w 44"/>
                  <a:gd name="T19" fmla="*/ 38 h 56"/>
                  <a:gd name="T20" fmla="*/ 26 w 44"/>
                  <a:gd name="T21" fmla="*/ 46 h 56"/>
                  <a:gd name="T22" fmla="*/ 20 w 44"/>
                  <a:gd name="T23" fmla="*/ 52 h 56"/>
                  <a:gd name="T24" fmla="*/ 18 w 44"/>
                  <a:gd name="T25" fmla="*/ 56 h 56"/>
                  <a:gd name="T26" fmla="*/ 14 w 44"/>
                  <a:gd name="T27" fmla="*/ 46 h 56"/>
                  <a:gd name="T28" fmla="*/ 18 w 44"/>
                  <a:gd name="T29" fmla="*/ 34 h 56"/>
                  <a:gd name="T30" fmla="*/ 16 w 44"/>
                  <a:gd name="T31" fmla="*/ 30 h 56"/>
                  <a:gd name="T32" fmla="*/ 12 w 44"/>
                  <a:gd name="T33" fmla="*/ 24 h 56"/>
                  <a:gd name="T34" fmla="*/ 4 w 44"/>
                  <a:gd name="T35" fmla="*/ 18 h 56"/>
                  <a:gd name="T36" fmla="*/ 2 w 44"/>
                  <a:gd name="T37" fmla="*/ 10 h 56"/>
                  <a:gd name="T38" fmla="*/ 0 w 44"/>
                  <a:gd name="T39" fmla="*/ 4 h 56"/>
                  <a:gd name="T40" fmla="*/ 4 w 4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6">
                    <a:moveTo>
                      <a:pt x="4" y="0"/>
                    </a:moveTo>
                    <a:lnTo>
                      <a:pt x="16" y="2"/>
                    </a:lnTo>
                    <a:lnTo>
                      <a:pt x="26" y="6"/>
                    </a:lnTo>
                    <a:lnTo>
                      <a:pt x="30" y="14"/>
                    </a:lnTo>
                    <a:lnTo>
                      <a:pt x="32" y="22"/>
                    </a:lnTo>
                    <a:lnTo>
                      <a:pt x="42" y="26"/>
                    </a:lnTo>
                    <a:lnTo>
                      <a:pt x="44" y="34"/>
                    </a:lnTo>
                    <a:lnTo>
                      <a:pt x="42" y="40"/>
                    </a:lnTo>
                    <a:lnTo>
                      <a:pt x="34" y="40"/>
                    </a:lnTo>
                    <a:lnTo>
                      <a:pt x="26" y="38"/>
                    </a:lnTo>
                    <a:lnTo>
                      <a:pt x="26" y="46"/>
                    </a:lnTo>
                    <a:lnTo>
                      <a:pt x="20" y="52"/>
                    </a:lnTo>
                    <a:lnTo>
                      <a:pt x="18" y="56"/>
                    </a:lnTo>
                    <a:lnTo>
                      <a:pt x="14" y="46"/>
                    </a:lnTo>
                    <a:lnTo>
                      <a:pt x="18" y="34"/>
                    </a:lnTo>
                    <a:lnTo>
                      <a:pt x="16" y="30"/>
                    </a:lnTo>
                    <a:lnTo>
                      <a:pt x="12" y="24"/>
                    </a:lnTo>
                    <a:lnTo>
                      <a:pt x="4" y="18"/>
                    </a:lnTo>
                    <a:lnTo>
                      <a:pt x="2" y="10"/>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9" name="Freeform 681"/>
              <p:cNvSpPr>
                <a:spLocks/>
              </p:cNvSpPr>
              <p:nvPr/>
            </p:nvSpPr>
            <p:spPr bwMode="auto">
              <a:xfrm>
                <a:off x="3275" y="1771"/>
                <a:ext cx="52" cy="64"/>
              </a:xfrm>
              <a:custGeom>
                <a:avLst/>
                <a:gdLst>
                  <a:gd name="T0" fmla="*/ 8 w 52"/>
                  <a:gd name="T1" fmla="*/ 0 h 64"/>
                  <a:gd name="T2" fmla="*/ 8 w 52"/>
                  <a:gd name="T3" fmla="*/ 0 h 64"/>
                  <a:gd name="T4" fmla="*/ 4 w 52"/>
                  <a:gd name="T5" fmla="*/ 2 h 64"/>
                  <a:gd name="T6" fmla="*/ 2 w 52"/>
                  <a:gd name="T7" fmla="*/ 6 h 64"/>
                  <a:gd name="T8" fmla="*/ 2 w 52"/>
                  <a:gd name="T9" fmla="*/ 6 h 64"/>
                  <a:gd name="T10" fmla="*/ 0 w 52"/>
                  <a:gd name="T11" fmla="*/ 10 h 64"/>
                  <a:gd name="T12" fmla="*/ 2 w 52"/>
                  <a:gd name="T13" fmla="*/ 16 h 64"/>
                  <a:gd name="T14" fmla="*/ 4 w 52"/>
                  <a:gd name="T15" fmla="*/ 22 h 64"/>
                  <a:gd name="T16" fmla="*/ 4 w 52"/>
                  <a:gd name="T17" fmla="*/ 22 h 64"/>
                  <a:gd name="T18" fmla="*/ 4 w 52"/>
                  <a:gd name="T19" fmla="*/ 24 h 64"/>
                  <a:gd name="T20" fmla="*/ 14 w 52"/>
                  <a:gd name="T21" fmla="*/ 32 h 64"/>
                  <a:gd name="T22" fmla="*/ 16 w 52"/>
                  <a:gd name="T23" fmla="*/ 36 h 64"/>
                  <a:gd name="T24" fmla="*/ 18 w 52"/>
                  <a:gd name="T25" fmla="*/ 38 h 64"/>
                  <a:gd name="T26" fmla="*/ 14 w 52"/>
                  <a:gd name="T27" fmla="*/ 48 h 64"/>
                  <a:gd name="T28" fmla="*/ 14 w 52"/>
                  <a:gd name="T29" fmla="*/ 48 h 64"/>
                  <a:gd name="T30" fmla="*/ 14 w 52"/>
                  <a:gd name="T31" fmla="*/ 50 h 64"/>
                  <a:gd name="T32" fmla="*/ 18 w 52"/>
                  <a:gd name="T33" fmla="*/ 62 h 64"/>
                  <a:gd name="T34" fmla="*/ 18 w 52"/>
                  <a:gd name="T35" fmla="*/ 62 h 64"/>
                  <a:gd name="T36" fmla="*/ 20 w 52"/>
                  <a:gd name="T37" fmla="*/ 64 h 64"/>
                  <a:gd name="T38" fmla="*/ 20 w 52"/>
                  <a:gd name="T39" fmla="*/ 64 h 64"/>
                  <a:gd name="T40" fmla="*/ 22 w 52"/>
                  <a:gd name="T41" fmla="*/ 64 h 64"/>
                  <a:gd name="T42" fmla="*/ 22 w 52"/>
                  <a:gd name="T43" fmla="*/ 64 h 64"/>
                  <a:gd name="T44" fmla="*/ 24 w 52"/>
                  <a:gd name="T45" fmla="*/ 64 h 64"/>
                  <a:gd name="T46" fmla="*/ 28 w 52"/>
                  <a:gd name="T47" fmla="*/ 60 h 64"/>
                  <a:gd name="T48" fmla="*/ 28 w 52"/>
                  <a:gd name="T49" fmla="*/ 60 h 64"/>
                  <a:gd name="T50" fmla="*/ 28 w 52"/>
                  <a:gd name="T51" fmla="*/ 60 h 64"/>
                  <a:gd name="T52" fmla="*/ 34 w 52"/>
                  <a:gd name="T53" fmla="*/ 52 h 64"/>
                  <a:gd name="T54" fmla="*/ 34 w 52"/>
                  <a:gd name="T55" fmla="*/ 52 h 64"/>
                  <a:gd name="T56" fmla="*/ 34 w 52"/>
                  <a:gd name="T57" fmla="*/ 50 h 64"/>
                  <a:gd name="T58" fmla="*/ 34 w 52"/>
                  <a:gd name="T59" fmla="*/ 46 h 64"/>
                  <a:gd name="T60" fmla="*/ 38 w 52"/>
                  <a:gd name="T61" fmla="*/ 48 h 64"/>
                  <a:gd name="T62" fmla="*/ 38 w 52"/>
                  <a:gd name="T63" fmla="*/ 48 h 64"/>
                  <a:gd name="T64" fmla="*/ 38 w 52"/>
                  <a:gd name="T65" fmla="*/ 48 h 64"/>
                  <a:gd name="T66" fmla="*/ 46 w 52"/>
                  <a:gd name="T67" fmla="*/ 48 h 64"/>
                  <a:gd name="T68" fmla="*/ 46 w 52"/>
                  <a:gd name="T69" fmla="*/ 48 h 64"/>
                  <a:gd name="T70" fmla="*/ 48 w 52"/>
                  <a:gd name="T71" fmla="*/ 46 h 64"/>
                  <a:gd name="T72" fmla="*/ 52 w 52"/>
                  <a:gd name="T73" fmla="*/ 40 h 64"/>
                  <a:gd name="T74" fmla="*/ 52 w 52"/>
                  <a:gd name="T75" fmla="*/ 40 h 64"/>
                  <a:gd name="T76" fmla="*/ 52 w 52"/>
                  <a:gd name="T77" fmla="*/ 36 h 64"/>
                  <a:gd name="T78" fmla="*/ 50 w 52"/>
                  <a:gd name="T79" fmla="*/ 28 h 64"/>
                  <a:gd name="T80" fmla="*/ 50 w 52"/>
                  <a:gd name="T81" fmla="*/ 28 h 64"/>
                  <a:gd name="T82" fmla="*/ 48 w 52"/>
                  <a:gd name="T83" fmla="*/ 28 h 64"/>
                  <a:gd name="T84" fmla="*/ 40 w 52"/>
                  <a:gd name="T85" fmla="*/ 22 h 64"/>
                  <a:gd name="T86" fmla="*/ 38 w 52"/>
                  <a:gd name="T87" fmla="*/ 16 h 64"/>
                  <a:gd name="T88" fmla="*/ 34 w 52"/>
                  <a:gd name="T89" fmla="*/ 8 h 64"/>
                  <a:gd name="T90" fmla="*/ 34 w 52"/>
                  <a:gd name="T91" fmla="*/ 8 h 64"/>
                  <a:gd name="T92" fmla="*/ 32 w 52"/>
                  <a:gd name="T93" fmla="*/ 6 h 64"/>
                  <a:gd name="T94" fmla="*/ 22 w 52"/>
                  <a:gd name="T95" fmla="*/ 2 h 64"/>
                  <a:gd name="T96" fmla="*/ 22 w 52"/>
                  <a:gd name="T97" fmla="*/ 2 h 64"/>
                  <a:gd name="T98" fmla="*/ 20 w 52"/>
                  <a:gd name="T99" fmla="*/ 2 h 64"/>
                  <a:gd name="T100" fmla="*/ 8 w 52"/>
                  <a:gd name="T101" fmla="*/ 0 h 64"/>
                  <a:gd name="T102" fmla="*/ 8 w 52"/>
                  <a:gd name="T103" fmla="*/ 0 h 64"/>
                  <a:gd name="T104" fmla="*/ 8 w 52"/>
                  <a:gd name="T105" fmla="*/ 0 h 64"/>
                  <a:gd name="T106" fmla="*/ 8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0" name="Freeform 682"/>
              <p:cNvSpPr>
                <a:spLocks/>
              </p:cNvSpPr>
              <p:nvPr/>
            </p:nvSpPr>
            <p:spPr bwMode="auto">
              <a:xfrm>
                <a:off x="3205" y="1701"/>
                <a:ext cx="260" cy="150"/>
              </a:xfrm>
              <a:custGeom>
                <a:avLst/>
                <a:gdLst>
                  <a:gd name="T0" fmla="*/ 166 w 260"/>
                  <a:gd name="T1" fmla="*/ 148 h 150"/>
                  <a:gd name="T2" fmla="*/ 154 w 260"/>
                  <a:gd name="T3" fmla="*/ 130 h 150"/>
                  <a:gd name="T4" fmla="*/ 152 w 260"/>
                  <a:gd name="T5" fmla="*/ 130 h 150"/>
                  <a:gd name="T6" fmla="*/ 166 w 260"/>
                  <a:gd name="T7" fmla="*/ 120 h 150"/>
                  <a:gd name="T8" fmla="*/ 148 w 260"/>
                  <a:gd name="T9" fmla="*/ 120 h 150"/>
                  <a:gd name="T10" fmla="*/ 132 w 260"/>
                  <a:gd name="T11" fmla="*/ 110 h 150"/>
                  <a:gd name="T12" fmla="*/ 128 w 260"/>
                  <a:gd name="T13" fmla="*/ 116 h 150"/>
                  <a:gd name="T14" fmla="*/ 112 w 260"/>
                  <a:gd name="T15" fmla="*/ 136 h 150"/>
                  <a:gd name="T16" fmla="*/ 110 w 260"/>
                  <a:gd name="T17" fmla="*/ 136 h 150"/>
                  <a:gd name="T18" fmla="*/ 108 w 260"/>
                  <a:gd name="T19" fmla="*/ 136 h 150"/>
                  <a:gd name="T20" fmla="*/ 102 w 260"/>
                  <a:gd name="T21" fmla="*/ 134 h 150"/>
                  <a:gd name="T22" fmla="*/ 100 w 260"/>
                  <a:gd name="T23" fmla="*/ 134 h 150"/>
                  <a:gd name="T24" fmla="*/ 90 w 260"/>
                  <a:gd name="T25" fmla="*/ 132 h 150"/>
                  <a:gd name="T26" fmla="*/ 90 w 260"/>
                  <a:gd name="T27" fmla="*/ 128 h 150"/>
                  <a:gd name="T28" fmla="*/ 98 w 260"/>
                  <a:gd name="T29" fmla="*/ 110 h 150"/>
                  <a:gd name="T30" fmla="*/ 100 w 260"/>
                  <a:gd name="T31" fmla="*/ 108 h 150"/>
                  <a:gd name="T32" fmla="*/ 118 w 260"/>
                  <a:gd name="T33" fmla="*/ 108 h 150"/>
                  <a:gd name="T34" fmla="*/ 106 w 260"/>
                  <a:gd name="T35" fmla="*/ 96 h 150"/>
                  <a:gd name="T36" fmla="*/ 88 w 260"/>
                  <a:gd name="T37" fmla="*/ 78 h 150"/>
                  <a:gd name="T38" fmla="*/ 74 w 260"/>
                  <a:gd name="T39" fmla="*/ 80 h 150"/>
                  <a:gd name="T40" fmla="*/ 64 w 260"/>
                  <a:gd name="T41" fmla="*/ 80 h 150"/>
                  <a:gd name="T42" fmla="*/ 60 w 260"/>
                  <a:gd name="T43" fmla="*/ 88 h 150"/>
                  <a:gd name="T44" fmla="*/ 40 w 260"/>
                  <a:gd name="T45" fmla="*/ 88 h 150"/>
                  <a:gd name="T46" fmla="*/ 12 w 260"/>
                  <a:gd name="T47" fmla="*/ 90 h 150"/>
                  <a:gd name="T48" fmla="*/ 8 w 260"/>
                  <a:gd name="T49" fmla="*/ 88 h 150"/>
                  <a:gd name="T50" fmla="*/ 0 w 260"/>
                  <a:gd name="T51" fmla="*/ 78 h 150"/>
                  <a:gd name="T52" fmla="*/ 6 w 260"/>
                  <a:gd name="T53" fmla="*/ 60 h 150"/>
                  <a:gd name="T54" fmla="*/ 20 w 260"/>
                  <a:gd name="T55" fmla="*/ 38 h 150"/>
                  <a:gd name="T56" fmla="*/ 24 w 260"/>
                  <a:gd name="T57" fmla="*/ 16 h 150"/>
                  <a:gd name="T58" fmla="*/ 32 w 260"/>
                  <a:gd name="T59" fmla="*/ 4 h 150"/>
                  <a:gd name="T60" fmla="*/ 34 w 260"/>
                  <a:gd name="T61" fmla="*/ 4 h 150"/>
                  <a:gd name="T62" fmla="*/ 102 w 260"/>
                  <a:gd name="T63" fmla="*/ 12 h 150"/>
                  <a:gd name="T64" fmla="*/ 106 w 260"/>
                  <a:gd name="T65" fmla="*/ 18 h 150"/>
                  <a:gd name="T66" fmla="*/ 124 w 260"/>
                  <a:gd name="T67" fmla="*/ 4 h 150"/>
                  <a:gd name="T68" fmla="*/ 136 w 260"/>
                  <a:gd name="T69" fmla="*/ 2 h 150"/>
                  <a:gd name="T70" fmla="*/ 138 w 260"/>
                  <a:gd name="T71" fmla="*/ 2 h 150"/>
                  <a:gd name="T72" fmla="*/ 152 w 260"/>
                  <a:gd name="T73" fmla="*/ 0 h 150"/>
                  <a:gd name="T74" fmla="*/ 174 w 260"/>
                  <a:gd name="T75" fmla="*/ 0 h 150"/>
                  <a:gd name="T76" fmla="*/ 180 w 260"/>
                  <a:gd name="T77" fmla="*/ 10 h 150"/>
                  <a:gd name="T78" fmla="*/ 178 w 260"/>
                  <a:gd name="T79" fmla="*/ 20 h 150"/>
                  <a:gd name="T80" fmla="*/ 194 w 260"/>
                  <a:gd name="T81" fmla="*/ 24 h 150"/>
                  <a:gd name="T82" fmla="*/ 224 w 260"/>
                  <a:gd name="T83" fmla="*/ 38 h 150"/>
                  <a:gd name="T84" fmla="*/ 244 w 260"/>
                  <a:gd name="T85" fmla="*/ 44 h 150"/>
                  <a:gd name="T86" fmla="*/ 260 w 260"/>
                  <a:gd name="T87" fmla="*/ 52 h 150"/>
                  <a:gd name="T88" fmla="*/ 260 w 260"/>
                  <a:gd name="T89" fmla="*/ 72 h 150"/>
                  <a:gd name="T90" fmla="*/ 258 w 260"/>
                  <a:gd name="T91" fmla="*/ 86 h 150"/>
                  <a:gd name="T92" fmla="*/ 234 w 260"/>
                  <a:gd name="T93" fmla="*/ 98 h 150"/>
                  <a:gd name="T94" fmla="*/ 220 w 260"/>
                  <a:gd name="T95" fmla="*/ 106 h 150"/>
                  <a:gd name="T96" fmla="*/ 176 w 260"/>
                  <a:gd name="T97" fmla="*/ 120 h 150"/>
                  <a:gd name="T98" fmla="*/ 182 w 260"/>
                  <a:gd name="T99" fmla="*/ 122 h 150"/>
                  <a:gd name="T100" fmla="*/ 192 w 260"/>
                  <a:gd name="T101" fmla="*/ 130 h 150"/>
                  <a:gd name="T102" fmla="*/ 210 w 260"/>
                  <a:gd name="T103" fmla="*/ 130 h 150"/>
                  <a:gd name="T104" fmla="*/ 216 w 260"/>
                  <a:gd name="T105" fmla="*/ 130 h 150"/>
                  <a:gd name="T106" fmla="*/ 220 w 260"/>
                  <a:gd name="T107" fmla="*/ 138 h 150"/>
                  <a:gd name="T108" fmla="*/ 220 w 260"/>
                  <a:gd name="T109" fmla="*/ 140 h 150"/>
                  <a:gd name="T110" fmla="*/ 184 w 260"/>
                  <a:gd name="T111" fmla="*/ 144 h 150"/>
                  <a:gd name="T112" fmla="*/ 176 w 260"/>
                  <a:gd name="T11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0" h="150">
                    <a:moveTo>
                      <a:pt x="168" y="150"/>
                    </a:moveTo>
                    <a:lnTo>
                      <a:pt x="168" y="150"/>
                    </a:lnTo>
                    <a:lnTo>
                      <a:pt x="166" y="148"/>
                    </a:lnTo>
                    <a:lnTo>
                      <a:pt x="166" y="140"/>
                    </a:lnTo>
                    <a:lnTo>
                      <a:pt x="162" y="136"/>
                    </a:lnTo>
                    <a:lnTo>
                      <a:pt x="154" y="130"/>
                    </a:lnTo>
                    <a:lnTo>
                      <a:pt x="154" y="130"/>
                    </a:lnTo>
                    <a:lnTo>
                      <a:pt x="152" y="130"/>
                    </a:lnTo>
                    <a:lnTo>
                      <a:pt x="152" y="130"/>
                    </a:lnTo>
                    <a:lnTo>
                      <a:pt x="154" y="128"/>
                    </a:lnTo>
                    <a:lnTo>
                      <a:pt x="158" y="124"/>
                    </a:lnTo>
                    <a:lnTo>
                      <a:pt x="166" y="120"/>
                    </a:lnTo>
                    <a:lnTo>
                      <a:pt x="166" y="120"/>
                    </a:lnTo>
                    <a:lnTo>
                      <a:pt x="148" y="120"/>
                    </a:lnTo>
                    <a:lnTo>
                      <a:pt x="148" y="120"/>
                    </a:lnTo>
                    <a:lnTo>
                      <a:pt x="146" y="118"/>
                    </a:lnTo>
                    <a:lnTo>
                      <a:pt x="142" y="110"/>
                    </a:lnTo>
                    <a:lnTo>
                      <a:pt x="132" y="110"/>
                    </a:lnTo>
                    <a:lnTo>
                      <a:pt x="128" y="110"/>
                    </a:lnTo>
                    <a:lnTo>
                      <a:pt x="128" y="116"/>
                    </a:lnTo>
                    <a:lnTo>
                      <a:pt x="128" y="116"/>
                    </a:lnTo>
                    <a:lnTo>
                      <a:pt x="126" y="118"/>
                    </a:lnTo>
                    <a:lnTo>
                      <a:pt x="116" y="126"/>
                    </a:lnTo>
                    <a:lnTo>
                      <a:pt x="112" y="136"/>
                    </a:lnTo>
                    <a:lnTo>
                      <a:pt x="112" y="136"/>
                    </a:lnTo>
                    <a:lnTo>
                      <a:pt x="110" y="136"/>
                    </a:lnTo>
                    <a:lnTo>
                      <a:pt x="110" y="136"/>
                    </a:lnTo>
                    <a:lnTo>
                      <a:pt x="110" y="136"/>
                    </a:lnTo>
                    <a:lnTo>
                      <a:pt x="110" y="136"/>
                    </a:lnTo>
                    <a:lnTo>
                      <a:pt x="108" y="136"/>
                    </a:lnTo>
                    <a:lnTo>
                      <a:pt x="104" y="132"/>
                    </a:lnTo>
                    <a:lnTo>
                      <a:pt x="102" y="134"/>
                    </a:lnTo>
                    <a:lnTo>
                      <a:pt x="102" y="134"/>
                    </a:lnTo>
                    <a:lnTo>
                      <a:pt x="100" y="134"/>
                    </a:lnTo>
                    <a:lnTo>
                      <a:pt x="100" y="134"/>
                    </a:lnTo>
                    <a:lnTo>
                      <a:pt x="100" y="134"/>
                    </a:lnTo>
                    <a:lnTo>
                      <a:pt x="92" y="132"/>
                    </a:lnTo>
                    <a:lnTo>
                      <a:pt x="92" y="132"/>
                    </a:lnTo>
                    <a:lnTo>
                      <a:pt x="90" y="132"/>
                    </a:lnTo>
                    <a:lnTo>
                      <a:pt x="90" y="130"/>
                    </a:lnTo>
                    <a:lnTo>
                      <a:pt x="90" y="130"/>
                    </a:lnTo>
                    <a:lnTo>
                      <a:pt x="90" y="128"/>
                    </a:lnTo>
                    <a:lnTo>
                      <a:pt x="98" y="118"/>
                    </a:lnTo>
                    <a:lnTo>
                      <a:pt x="98" y="110"/>
                    </a:lnTo>
                    <a:lnTo>
                      <a:pt x="98" y="110"/>
                    </a:lnTo>
                    <a:lnTo>
                      <a:pt x="100" y="110"/>
                    </a:lnTo>
                    <a:lnTo>
                      <a:pt x="100" y="110"/>
                    </a:lnTo>
                    <a:lnTo>
                      <a:pt x="100" y="108"/>
                    </a:lnTo>
                    <a:lnTo>
                      <a:pt x="100" y="108"/>
                    </a:lnTo>
                    <a:lnTo>
                      <a:pt x="116" y="110"/>
                    </a:lnTo>
                    <a:lnTo>
                      <a:pt x="118" y="108"/>
                    </a:lnTo>
                    <a:lnTo>
                      <a:pt x="116" y="102"/>
                    </a:lnTo>
                    <a:lnTo>
                      <a:pt x="106" y="96"/>
                    </a:lnTo>
                    <a:lnTo>
                      <a:pt x="106" y="96"/>
                    </a:lnTo>
                    <a:lnTo>
                      <a:pt x="106" y="96"/>
                    </a:lnTo>
                    <a:lnTo>
                      <a:pt x="98" y="82"/>
                    </a:lnTo>
                    <a:lnTo>
                      <a:pt x="88" y="78"/>
                    </a:lnTo>
                    <a:lnTo>
                      <a:pt x="80" y="76"/>
                    </a:lnTo>
                    <a:lnTo>
                      <a:pt x="78" y="76"/>
                    </a:lnTo>
                    <a:lnTo>
                      <a:pt x="74" y="80"/>
                    </a:lnTo>
                    <a:lnTo>
                      <a:pt x="74" y="80"/>
                    </a:lnTo>
                    <a:lnTo>
                      <a:pt x="74" y="80"/>
                    </a:lnTo>
                    <a:lnTo>
                      <a:pt x="64" y="80"/>
                    </a:lnTo>
                    <a:lnTo>
                      <a:pt x="60" y="86"/>
                    </a:lnTo>
                    <a:lnTo>
                      <a:pt x="60" y="86"/>
                    </a:lnTo>
                    <a:lnTo>
                      <a:pt x="60" y="88"/>
                    </a:lnTo>
                    <a:lnTo>
                      <a:pt x="42" y="88"/>
                    </a:lnTo>
                    <a:lnTo>
                      <a:pt x="42" y="88"/>
                    </a:lnTo>
                    <a:lnTo>
                      <a:pt x="40" y="88"/>
                    </a:lnTo>
                    <a:lnTo>
                      <a:pt x="30" y="82"/>
                    </a:lnTo>
                    <a:lnTo>
                      <a:pt x="12" y="90"/>
                    </a:lnTo>
                    <a:lnTo>
                      <a:pt x="12" y="90"/>
                    </a:lnTo>
                    <a:lnTo>
                      <a:pt x="10" y="90"/>
                    </a:lnTo>
                    <a:lnTo>
                      <a:pt x="10" y="90"/>
                    </a:lnTo>
                    <a:lnTo>
                      <a:pt x="8" y="88"/>
                    </a:lnTo>
                    <a:lnTo>
                      <a:pt x="6" y="82"/>
                    </a:lnTo>
                    <a:lnTo>
                      <a:pt x="0" y="78"/>
                    </a:lnTo>
                    <a:lnTo>
                      <a:pt x="0" y="78"/>
                    </a:lnTo>
                    <a:lnTo>
                      <a:pt x="0" y="76"/>
                    </a:lnTo>
                    <a:lnTo>
                      <a:pt x="4" y="70"/>
                    </a:lnTo>
                    <a:lnTo>
                      <a:pt x="6" y="60"/>
                    </a:lnTo>
                    <a:lnTo>
                      <a:pt x="8" y="54"/>
                    </a:lnTo>
                    <a:lnTo>
                      <a:pt x="16" y="42"/>
                    </a:lnTo>
                    <a:lnTo>
                      <a:pt x="20" y="38"/>
                    </a:lnTo>
                    <a:lnTo>
                      <a:pt x="28" y="34"/>
                    </a:lnTo>
                    <a:lnTo>
                      <a:pt x="24" y="24"/>
                    </a:lnTo>
                    <a:lnTo>
                      <a:pt x="24" y="16"/>
                    </a:lnTo>
                    <a:lnTo>
                      <a:pt x="24" y="16"/>
                    </a:lnTo>
                    <a:lnTo>
                      <a:pt x="24" y="16"/>
                    </a:lnTo>
                    <a:lnTo>
                      <a:pt x="32" y="4"/>
                    </a:lnTo>
                    <a:lnTo>
                      <a:pt x="32" y="4"/>
                    </a:lnTo>
                    <a:lnTo>
                      <a:pt x="34" y="4"/>
                    </a:lnTo>
                    <a:lnTo>
                      <a:pt x="34" y="4"/>
                    </a:lnTo>
                    <a:lnTo>
                      <a:pt x="34" y="4"/>
                    </a:lnTo>
                    <a:lnTo>
                      <a:pt x="78" y="12"/>
                    </a:lnTo>
                    <a:lnTo>
                      <a:pt x="102" y="12"/>
                    </a:lnTo>
                    <a:lnTo>
                      <a:pt x="102" y="12"/>
                    </a:lnTo>
                    <a:lnTo>
                      <a:pt x="104" y="14"/>
                    </a:lnTo>
                    <a:lnTo>
                      <a:pt x="106" y="18"/>
                    </a:lnTo>
                    <a:lnTo>
                      <a:pt x="120" y="20"/>
                    </a:lnTo>
                    <a:lnTo>
                      <a:pt x="124" y="4"/>
                    </a:lnTo>
                    <a:lnTo>
                      <a:pt x="124" y="4"/>
                    </a:lnTo>
                    <a:lnTo>
                      <a:pt x="126" y="4"/>
                    </a:lnTo>
                    <a:lnTo>
                      <a:pt x="136" y="2"/>
                    </a:lnTo>
                    <a:lnTo>
                      <a:pt x="136" y="2"/>
                    </a:lnTo>
                    <a:lnTo>
                      <a:pt x="136" y="2"/>
                    </a:lnTo>
                    <a:lnTo>
                      <a:pt x="136" y="2"/>
                    </a:lnTo>
                    <a:lnTo>
                      <a:pt x="138" y="2"/>
                    </a:lnTo>
                    <a:lnTo>
                      <a:pt x="144" y="4"/>
                    </a:lnTo>
                    <a:lnTo>
                      <a:pt x="148" y="4"/>
                    </a:lnTo>
                    <a:lnTo>
                      <a:pt x="152" y="0"/>
                    </a:lnTo>
                    <a:lnTo>
                      <a:pt x="152" y="0"/>
                    </a:lnTo>
                    <a:lnTo>
                      <a:pt x="152" y="0"/>
                    </a:lnTo>
                    <a:lnTo>
                      <a:pt x="174" y="0"/>
                    </a:lnTo>
                    <a:lnTo>
                      <a:pt x="174" y="0"/>
                    </a:lnTo>
                    <a:lnTo>
                      <a:pt x="176" y="0"/>
                    </a:lnTo>
                    <a:lnTo>
                      <a:pt x="180" y="10"/>
                    </a:lnTo>
                    <a:lnTo>
                      <a:pt x="180" y="10"/>
                    </a:lnTo>
                    <a:lnTo>
                      <a:pt x="180" y="10"/>
                    </a:lnTo>
                    <a:lnTo>
                      <a:pt x="178" y="20"/>
                    </a:lnTo>
                    <a:lnTo>
                      <a:pt x="192" y="24"/>
                    </a:lnTo>
                    <a:lnTo>
                      <a:pt x="192" y="24"/>
                    </a:lnTo>
                    <a:lnTo>
                      <a:pt x="194" y="24"/>
                    </a:lnTo>
                    <a:lnTo>
                      <a:pt x="198" y="36"/>
                    </a:lnTo>
                    <a:lnTo>
                      <a:pt x="224" y="38"/>
                    </a:lnTo>
                    <a:lnTo>
                      <a:pt x="224" y="38"/>
                    </a:lnTo>
                    <a:lnTo>
                      <a:pt x="226" y="40"/>
                    </a:lnTo>
                    <a:lnTo>
                      <a:pt x="228" y="44"/>
                    </a:lnTo>
                    <a:lnTo>
                      <a:pt x="244" y="44"/>
                    </a:lnTo>
                    <a:lnTo>
                      <a:pt x="244" y="44"/>
                    </a:lnTo>
                    <a:lnTo>
                      <a:pt x="246" y="44"/>
                    </a:lnTo>
                    <a:lnTo>
                      <a:pt x="260" y="52"/>
                    </a:lnTo>
                    <a:lnTo>
                      <a:pt x="260" y="52"/>
                    </a:lnTo>
                    <a:lnTo>
                      <a:pt x="260" y="54"/>
                    </a:lnTo>
                    <a:lnTo>
                      <a:pt x="260" y="72"/>
                    </a:lnTo>
                    <a:lnTo>
                      <a:pt x="258" y="84"/>
                    </a:lnTo>
                    <a:lnTo>
                      <a:pt x="258" y="84"/>
                    </a:lnTo>
                    <a:lnTo>
                      <a:pt x="258" y="86"/>
                    </a:lnTo>
                    <a:lnTo>
                      <a:pt x="244" y="90"/>
                    </a:lnTo>
                    <a:lnTo>
                      <a:pt x="236" y="92"/>
                    </a:lnTo>
                    <a:lnTo>
                      <a:pt x="234" y="98"/>
                    </a:lnTo>
                    <a:lnTo>
                      <a:pt x="234" y="98"/>
                    </a:lnTo>
                    <a:lnTo>
                      <a:pt x="232" y="100"/>
                    </a:lnTo>
                    <a:lnTo>
                      <a:pt x="220" y="106"/>
                    </a:lnTo>
                    <a:lnTo>
                      <a:pt x="204" y="110"/>
                    </a:lnTo>
                    <a:lnTo>
                      <a:pt x="190" y="116"/>
                    </a:lnTo>
                    <a:lnTo>
                      <a:pt x="176" y="120"/>
                    </a:lnTo>
                    <a:lnTo>
                      <a:pt x="176" y="120"/>
                    </a:lnTo>
                    <a:lnTo>
                      <a:pt x="182" y="122"/>
                    </a:lnTo>
                    <a:lnTo>
                      <a:pt x="182" y="122"/>
                    </a:lnTo>
                    <a:lnTo>
                      <a:pt x="182" y="122"/>
                    </a:lnTo>
                    <a:lnTo>
                      <a:pt x="188" y="128"/>
                    </a:lnTo>
                    <a:lnTo>
                      <a:pt x="192" y="130"/>
                    </a:lnTo>
                    <a:lnTo>
                      <a:pt x="196" y="130"/>
                    </a:lnTo>
                    <a:lnTo>
                      <a:pt x="196" y="130"/>
                    </a:lnTo>
                    <a:lnTo>
                      <a:pt x="210" y="130"/>
                    </a:lnTo>
                    <a:lnTo>
                      <a:pt x="210" y="130"/>
                    </a:lnTo>
                    <a:lnTo>
                      <a:pt x="210" y="130"/>
                    </a:lnTo>
                    <a:lnTo>
                      <a:pt x="216" y="130"/>
                    </a:lnTo>
                    <a:lnTo>
                      <a:pt x="216" y="130"/>
                    </a:lnTo>
                    <a:lnTo>
                      <a:pt x="218" y="132"/>
                    </a:lnTo>
                    <a:lnTo>
                      <a:pt x="220" y="138"/>
                    </a:lnTo>
                    <a:lnTo>
                      <a:pt x="220" y="138"/>
                    </a:lnTo>
                    <a:lnTo>
                      <a:pt x="220" y="140"/>
                    </a:lnTo>
                    <a:lnTo>
                      <a:pt x="220" y="140"/>
                    </a:lnTo>
                    <a:lnTo>
                      <a:pt x="218" y="140"/>
                    </a:lnTo>
                    <a:lnTo>
                      <a:pt x="190" y="140"/>
                    </a:lnTo>
                    <a:lnTo>
                      <a:pt x="184" y="144"/>
                    </a:lnTo>
                    <a:lnTo>
                      <a:pt x="178" y="150"/>
                    </a:lnTo>
                    <a:lnTo>
                      <a:pt x="178" y="150"/>
                    </a:lnTo>
                    <a:lnTo>
                      <a:pt x="176" y="150"/>
                    </a:lnTo>
                    <a:lnTo>
                      <a:pt x="168"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1" name="Freeform 683"/>
              <p:cNvSpPr>
                <a:spLocks noEditPoints="1"/>
              </p:cNvSpPr>
              <p:nvPr/>
            </p:nvSpPr>
            <p:spPr bwMode="auto">
              <a:xfrm>
                <a:off x="3203" y="1699"/>
                <a:ext cx="264" cy="154"/>
              </a:xfrm>
              <a:custGeom>
                <a:avLst/>
                <a:gdLst>
                  <a:gd name="T0" fmla="*/ 198 w 264"/>
                  <a:gd name="T1" fmla="*/ 40 h 154"/>
                  <a:gd name="T2" fmla="*/ 260 w 264"/>
                  <a:gd name="T3" fmla="*/ 74 h 154"/>
                  <a:gd name="T4" fmla="*/ 222 w 264"/>
                  <a:gd name="T5" fmla="*/ 106 h 154"/>
                  <a:gd name="T6" fmla="*/ 184 w 264"/>
                  <a:gd name="T7" fmla="*/ 126 h 154"/>
                  <a:gd name="T8" fmla="*/ 218 w 264"/>
                  <a:gd name="T9" fmla="*/ 134 h 154"/>
                  <a:gd name="T10" fmla="*/ 186 w 264"/>
                  <a:gd name="T11" fmla="*/ 144 h 154"/>
                  <a:gd name="T12" fmla="*/ 156 w 264"/>
                  <a:gd name="T13" fmla="*/ 132 h 154"/>
                  <a:gd name="T14" fmla="*/ 146 w 264"/>
                  <a:gd name="T15" fmla="*/ 110 h 154"/>
                  <a:gd name="T16" fmla="*/ 112 w 264"/>
                  <a:gd name="T17" fmla="*/ 136 h 154"/>
                  <a:gd name="T18" fmla="*/ 102 w 264"/>
                  <a:gd name="T19" fmla="*/ 120 h 154"/>
                  <a:gd name="T20" fmla="*/ 110 w 264"/>
                  <a:gd name="T21" fmla="*/ 96 h 154"/>
                  <a:gd name="T22" fmla="*/ 76 w 264"/>
                  <a:gd name="T23" fmla="*/ 80 h 154"/>
                  <a:gd name="T24" fmla="*/ 12 w 264"/>
                  <a:gd name="T25" fmla="*/ 90 h 154"/>
                  <a:gd name="T26" fmla="*/ 12 w 264"/>
                  <a:gd name="T27" fmla="*/ 56 h 154"/>
                  <a:gd name="T28" fmla="*/ 28 w 264"/>
                  <a:gd name="T29" fmla="*/ 18 h 154"/>
                  <a:gd name="T30" fmla="*/ 124 w 264"/>
                  <a:gd name="T31" fmla="*/ 24 h 154"/>
                  <a:gd name="T32" fmla="*/ 154 w 264"/>
                  <a:gd name="T33" fmla="*/ 4 h 154"/>
                  <a:gd name="T34" fmla="*/ 154 w 264"/>
                  <a:gd name="T35" fmla="*/ 0 h 154"/>
                  <a:gd name="T36" fmla="*/ 140 w 264"/>
                  <a:gd name="T37" fmla="*/ 2 h 154"/>
                  <a:gd name="T38" fmla="*/ 126 w 264"/>
                  <a:gd name="T39" fmla="*/ 4 h 154"/>
                  <a:gd name="T40" fmla="*/ 110 w 264"/>
                  <a:gd name="T41" fmla="*/ 18 h 154"/>
                  <a:gd name="T42" fmla="*/ 80 w 264"/>
                  <a:gd name="T43" fmla="*/ 12 h 154"/>
                  <a:gd name="T44" fmla="*/ 32 w 264"/>
                  <a:gd name="T45" fmla="*/ 6 h 154"/>
                  <a:gd name="T46" fmla="*/ 24 w 264"/>
                  <a:gd name="T47" fmla="*/ 26 h 154"/>
                  <a:gd name="T48" fmla="*/ 20 w 264"/>
                  <a:gd name="T49" fmla="*/ 40 h 154"/>
                  <a:gd name="T50" fmla="*/ 10 w 264"/>
                  <a:gd name="T51" fmla="*/ 54 h 154"/>
                  <a:gd name="T52" fmla="*/ 0 w 264"/>
                  <a:gd name="T53" fmla="*/ 76 h 154"/>
                  <a:gd name="T54" fmla="*/ 8 w 264"/>
                  <a:gd name="T55" fmla="*/ 92 h 154"/>
                  <a:gd name="T56" fmla="*/ 32 w 264"/>
                  <a:gd name="T57" fmla="*/ 86 h 154"/>
                  <a:gd name="T58" fmla="*/ 62 w 264"/>
                  <a:gd name="T59" fmla="*/ 92 h 154"/>
                  <a:gd name="T60" fmla="*/ 76 w 264"/>
                  <a:gd name="T61" fmla="*/ 84 h 154"/>
                  <a:gd name="T62" fmla="*/ 100 w 264"/>
                  <a:gd name="T63" fmla="*/ 86 h 154"/>
                  <a:gd name="T64" fmla="*/ 118 w 264"/>
                  <a:gd name="T65" fmla="*/ 110 h 154"/>
                  <a:gd name="T66" fmla="*/ 102 w 264"/>
                  <a:gd name="T67" fmla="*/ 108 h 154"/>
                  <a:gd name="T68" fmla="*/ 90 w 264"/>
                  <a:gd name="T69" fmla="*/ 128 h 154"/>
                  <a:gd name="T70" fmla="*/ 90 w 264"/>
                  <a:gd name="T71" fmla="*/ 136 h 154"/>
                  <a:gd name="T72" fmla="*/ 102 w 264"/>
                  <a:gd name="T73" fmla="*/ 138 h 154"/>
                  <a:gd name="T74" fmla="*/ 112 w 264"/>
                  <a:gd name="T75" fmla="*/ 140 h 154"/>
                  <a:gd name="T76" fmla="*/ 120 w 264"/>
                  <a:gd name="T77" fmla="*/ 128 h 154"/>
                  <a:gd name="T78" fmla="*/ 136 w 264"/>
                  <a:gd name="T79" fmla="*/ 114 h 154"/>
                  <a:gd name="T80" fmla="*/ 150 w 264"/>
                  <a:gd name="T81" fmla="*/ 124 h 154"/>
                  <a:gd name="T82" fmla="*/ 152 w 264"/>
                  <a:gd name="T83" fmla="*/ 132 h 154"/>
                  <a:gd name="T84" fmla="*/ 166 w 264"/>
                  <a:gd name="T85" fmla="*/ 150 h 154"/>
                  <a:gd name="T86" fmla="*/ 180 w 264"/>
                  <a:gd name="T87" fmla="*/ 152 h 154"/>
                  <a:gd name="T88" fmla="*/ 220 w 264"/>
                  <a:gd name="T89" fmla="*/ 144 h 154"/>
                  <a:gd name="T90" fmla="*/ 222 w 264"/>
                  <a:gd name="T91" fmla="*/ 134 h 154"/>
                  <a:gd name="T92" fmla="*/ 212 w 264"/>
                  <a:gd name="T93" fmla="*/ 130 h 154"/>
                  <a:gd name="T94" fmla="*/ 192 w 264"/>
                  <a:gd name="T95" fmla="*/ 128 h 154"/>
                  <a:gd name="T96" fmla="*/ 192 w 264"/>
                  <a:gd name="T97" fmla="*/ 120 h 154"/>
                  <a:gd name="T98" fmla="*/ 222 w 264"/>
                  <a:gd name="T99" fmla="*/ 110 h 154"/>
                  <a:gd name="T100" fmla="*/ 246 w 264"/>
                  <a:gd name="T101" fmla="*/ 94 h 154"/>
                  <a:gd name="T102" fmla="*/ 264 w 264"/>
                  <a:gd name="T103" fmla="*/ 76 h 154"/>
                  <a:gd name="T104" fmla="*/ 262 w 264"/>
                  <a:gd name="T105" fmla="*/ 54 h 154"/>
                  <a:gd name="T106" fmla="*/ 230 w 264"/>
                  <a:gd name="T107" fmla="*/ 40 h 154"/>
                  <a:gd name="T108" fmla="*/ 198 w 264"/>
                  <a:gd name="T109" fmla="*/ 26 h 154"/>
                  <a:gd name="T110" fmla="*/ 184 w 264"/>
                  <a:gd name="T111" fmla="*/ 14 h 154"/>
                  <a:gd name="T112" fmla="*/ 176 w 264"/>
                  <a:gd name="T11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154">
                    <a:moveTo>
                      <a:pt x="176" y="4"/>
                    </a:moveTo>
                    <a:lnTo>
                      <a:pt x="180" y="12"/>
                    </a:lnTo>
                    <a:lnTo>
                      <a:pt x="178" y="24"/>
                    </a:lnTo>
                    <a:lnTo>
                      <a:pt x="194" y="28"/>
                    </a:lnTo>
                    <a:lnTo>
                      <a:pt x="198" y="40"/>
                    </a:lnTo>
                    <a:lnTo>
                      <a:pt x="226" y="42"/>
                    </a:lnTo>
                    <a:lnTo>
                      <a:pt x="228" y="48"/>
                    </a:lnTo>
                    <a:lnTo>
                      <a:pt x="246" y="48"/>
                    </a:lnTo>
                    <a:lnTo>
                      <a:pt x="260" y="56"/>
                    </a:lnTo>
                    <a:lnTo>
                      <a:pt x="260" y="74"/>
                    </a:lnTo>
                    <a:lnTo>
                      <a:pt x="260" y="86"/>
                    </a:lnTo>
                    <a:lnTo>
                      <a:pt x="244" y="90"/>
                    </a:lnTo>
                    <a:lnTo>
                      <a:pt x="236" y="92"/>
                    </a:lnTo>
                    <a:lnTo>
                      <a:pt x="234" y="100"/>
                    </a:lnTo>
                    <a:lnTo>
                      <a:pt x="222" y="106"/>
                    </a:lnTo>
                    <a:lnTo>
                      <a:pt x="206" y="110"/>
                    </a:lnTo>
                    <a:lnTo>
                      <a:pt x="190" y="116"/>
                    </a:lnTo>
                    <a:lnTo>
                      <a:pt x="176" y="120"/>
                    </a:lnTo>
                    <a:lnTo>
                      <a:pt x="174" y="124"/>
                    </a:lnTo>
                    <a:lnTo>
                      <a:pt x="184" y="126"/>
                    </a:lnTo>
                    <a:lnTo>
                      <a:pt x="188" y="132"/>
                    </a:lnTo>
                    <a:lnTo>
                      <a:pt x="192" y="134"/>
                    </a:lnTo>
                    <a:lnTo>
                      <a:pt x="198" y="134"/>
                    </a:lnTo>
                    <a:lnTo>
                      <a:pt x="212" y="134"/>
                    </a:lnTo>
                    <a:lnTo>
                      <a:pt x="218" y="134"/>
                    </a:lnTo>
                    <a:lnTo>
                      <a:pt x="220" y="140"/>
                    </a:lnTo>
                    <a:lnTo>
                      <a:pt x="214" y="140"/>
                    </a:lnTo>
                    <a:lnTo>
                      <a:pt x="202" y="140"/>
                    </a:lnTo>
                    <a:lnTo>
                      <a:pt x="192" y="140"/>
                    </a:lnTo>
                    <a:lnTo>
                      <a:pt x="186" y="144"/>
                    </a:lnTo>
                    <a:lnTo>
                      <a:pt x="178" y="150"/>
                    </a:lnTo>
                    <a:lnTo>
                      <a:pt x="170" y="150"/>
                    </a:lnTo>
                    <a:lnTo>
                      <a:pt x="170" y="142"/>
                    </a:lnTo>
                    <a:lnTo>
                      <a:pt x="166" y="136"/>
                    </a:lnTo>
                    <a:lnTo>
                      <a:pt x="156" y="132"/>
                    </a:lnTo>
                    <a:lnTo>
                      <a:pt x="162" y="128"/>
                    </a:lnTo>
                    <a:lnTo>
                      <a:pt x="170" y="124"/>
                    </a:lnTo>
                    <a:lnTo>
                      <a:pt x="170" y="120"/>
                    </a:lnTo>
                    <a:lnTo>
                      <a:pt x="150" y="120"/>
                    </a:lnTo>
                    <a:lnTo>
                      <a:pt x="146" y="110"/>
                    </a:lnTo>
                    <a:lnTo>
                      <a:pt x="134" y="110"/>
                    </a:lnTo>
                    <a:lnTo>
                      <a:pt x="128" y="112"/>
                    </a:lnTo>
                    <a:lnTo>
                      <a:pt x="128" y="118"/>
                    </a:lnTo>
                    <a:lnTo>
                      <a:pt x="116" y="126"/>
                    </a:lnTo>
                    <a:lnTo>
                      <a:pt x="112" y="136"/>
                    </a:lnTo>
                    <a:lnTo>
                      <a:pt x="106" y="132"/>
                    </a:lnTo>
                    <a:lnTo>
                      <a:pt x="102" y="134"/>
                    </a:lnTo>
                    <a:lnTo>
                      <a:pt x="94" y="134"/>
                    </a:lnTo>
                    <a:lnTo>
                      <a:pt x="94" y="132"/>
                    </a:lnTo>
                    <a:lnTo>
                      <a:pt x="102" y="120"/>
                    </a:lnTo>
                    <a:lnTo>
                      <a:pt x="102" y="112"/>
                    </a:lnTo>
                    <a:lnTo>
                      <a:pt x="118" y="114"/>
                    </a:lnTo>
                    <a:lnTo>
                      <a:pt x="122" y="110"/>
                    </a:lnTo>
                    <a:lnTo>
                      <a:pt x="118" y="102"/>
                    </a:lnTo>
                    <a:lnTo>
                      <a:pt x="110" y="96"/>
                    </a:lnTo>
                    <a:lnTo>
                      <a:pt x="102" y="82"/>
                    </a:lnTo>
                    <a:lnTo>
                      <a:pt x="92" y="78"/>
                    </a:lnTo>
                    <a:lnTo>
                      <a:pt x="82" y="76"/>
                    </a:lnTo>
                    <a:lnTo>
                      <a:pt x="80" y="76"/>
                    </a:lnTo>
                    <a:lnTo>
                      <a:pt x="76" y="80"/>
                    </a:lnTo>
                    <a:lnTo>
                      <a:pt x="64" y="80"/>
                    </a:lnTo>
                    <a:lnTo>
                      <a:pt x="62" y="88"/>
                    </a:lnTo>
                    <a:lnTo>
                      <a:pt x="44" y="88"/>
                    </a:lnTo>
                    <a:lnTo>
                      <a:pt x="32" y="82"/>
                    </a:lnTo>
                    <a:lnTo>
                      <a:pt x="12" y="90"/>
                    </a:lnTo>
                    <a:lnTo>
                      <a:pt x="8" y="82"/>
                    </a:lnTo>
                    <a:lnTo>
                      <a:pt x="4" y="78"/>
                    </a:lnTo>
                    <a:lnTo>
                      <a:pt x="8" y="72"/>
                    </a:lnTo>
                    <a:lnTo>
                      <a:pt x="10" y="64"/>
                    </a:lnTo>
                    <a:lnTo>
                      <a:pt x="12" y="56"/>
                    </a:lnTo>
                    <a:lnTo>
                      <a:pt x="20" y="46"/>
                    </a:lnTo>
                    <a:lnTo>
                      <a:pt x="24" y="42"/>
                    </a:lnTo>
                    <a:lnTo>
                      <a:pt x="32" y="36"/>
                    </a:lnTo>
                    <a:lnTo>
                      <a:pt x="28" y="26"/>
                    </a:lnTo>
                    <a:lnTo>
                      <a:pt x="28" y="18"/>
                    </a:lnTo>
                    <a:lnTo>
                      <a:pt x="36" y="8"/>
                    </a:lnTo>
                    <a:lnTo>
                      <a:pt x="80" y="16"/>
                    </a:lnTo>
                    <a:lnTo>
                      <a:pt x="104" y="16"/>
                    </a:lnTo>
                    <a:lnTo>
                      <a:pt x="106" y="22"/>
                    </a:lnTo>
                    <a:lnTo>
                      <a:pt x="124" y="24"/>
                    </a:lnTo>
                    <a:lnTo>
                      <a:pt x="128" y="8"/>
                    </a:lnTo>
                    <a:lnTo>
                      <a:pt x="138" y="6"/>
                    </a:lnTo>
                    <a:lnTo>
                      <a:pt x="146" y="10"/>
                    </a:lnTo>
                    <a:lnTo>
                      <a:pt x="152" y="8"/>
                    </a:lnTo>
                    <a:lnTo>
                      <a:pt x="154" y="4"/>
                    </a:lnTo>
                    <a:lnTo>
                      <a:pt x="162" y="4"/>
                    </a:lnTo>
                    <a:lnTo>
                      <a:pt x="176" y="4"/>
                    </a:lnTo>
                    <a:close/>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2" name="Freeform 684"/>
              <p:cNvSpPr>
                <a:spLocks/>
              </p:cNvSpPr>
              <p:nvPr/>
            </p:nvSpPr>
            <p:spPr bwMode="auto">
              <a:xfrm>
                <a:off x="3207" y="1703"/>
                <a:ext cx="256" cy="146"/>
              </a:xfrm>
              <a:custGeom>
                <a:avLst/>
                <a:gdLst>
                  <a:gd name="T0" fmla="*/ 176 w 256"/>
                  <a:gd name="T1" fmla="*/ 8 h 146"/>
                  <a:gd name="T2" fmla="*/ 190 w 256"/>
                  <a:gd name="T3" fmla="*/ 24 h 146"/>
                  <a:gd name="T4" fmla="*/ 222 w 256"/>
                  <a:gd name="T5" fmla="*/ 38 h 146"/>
                  <a:gd name="T6" fmla="*/ 242 w 256"/>
                  <a:gd name="T7" fmla="*/ 44 h 146"/>
                  <a:gd name="T8" fmla="*/ 256 w 256"/>
                  <a:gd name="T9" fmla="*/ 70 h 146"/>
                  <a:gd name="T10" fmla="*/ 240 w 256"/>
                  <a:gd name="T11" fmla="*/ 86 h 146"/>
                  <a:gd name="T12" fmla="*/ 230 w 256"/>
                  <a:gd name="T13" fmla="*/ 96 h 146"/>
                  <a:gd name="T14" fmla="*/ 202 w 256"/>
                  <a:gd name="T15" fmla="*/ 106 h 146"/>
                  <a:gd name="T16" fmla="*/ 172 w 256"/>
                  <a:gd name="T17" fmla="*/ 116 h 146"/>
                  <a:gd name="T18" fmla="*/ 180 w 256"/>
                  <a:gd name="T19" fmla="*/ 122 h 146"/>
                  <a:gd name="T20" fmla="*/ 188 w 256"/>
                  <a:gd name="T21" fmla="*/ 130 h 146"/>
                  <a:gd name="T22" fmla="*/ 208 w 256"/>
                  <a:gd name="T23" fmla="*/ 130 h 146"/>
                  <a:gd name="T24" fmla="*/ 216 w 256"/>
                  <a:gd name="T25" fmla="*/ 136 h 146"/>
                  <a:gd name="T26" fmla="*/ 198 w 256"/>
                  <a:gd name="T27" fmla="*/ 136 h 146"/>
                  <a:gd name="T28" fmla="*/ 182 w 256"/>
                  <a:gd name="T29" fmla="*/ 140 h 146"/>
                  <a:gd name="T30" fmla="*/ 166 w 256"/>
                  <a:gd name="T31" fmla="*/ 146 h 146"/>
                  <a:gd name="T32" fmla="*/ 162 w 256"/>
                  <a:gd name="T33" fmla="*/ 132 h 146"/>
                  <a:gd name="T34" fmla="*/ 158 w 256"/>
                  <a:gd name="T35" fmla="*/ 124 h 146"/>
                  <a:gd name="T36" fmla="*/ 166 w 256"/>
                  <a:gd name="T37" fmla="*/ 116 h 146"/>
                  <a:gd name="T38" fmla="*/ 142 w 256"/>
                  <a:gd name="T39" fmla="*/ 106 h 146"/>
                  <a:gd name="T40" fmla="*/ 124 w 256"/>
                  <a:gd name="T41" fmla="*/ 108 h 146"/>
                  <a:gd name="T42" fmla="*/ 112 w 256"/>
                  <a:gd name="T43" fmla="*/ 122 h 146"/>
                  <a:gd name="T44" fmla="*/ 102 w 256"/>
                  <a:gd name="T45" fmla="*/ 128 h 146"/>
                  <a:gd name="T46" fmla="*/ 90 w 256"/>
                  <a:gd name="T47" fmla="*/ 130 h 146"/>
                  <a:gd name="T48" fmla="*/ 98 w 256"/>
                  <a:gd name="T49" fmla="*/ 116 h 146"/>
                  <a:gd name="T50" fmla="*/ 114 w 256"/>
                  <a:gd name="T51" fmla="*/ 110 h 146"/>
                  <a:gd name="T52" fmla="*/ 114 w 256"/>
                  <a:gd name="T53" fmla="*/ 98 h 146"/>
                  <a:gd name="T54" fmla="*/ 98 w 256"/>
                  <a:gd name="T55" fmla="*/ 78 h 146"/>
                  <a:gd name="T56" fmla="*/ 78 w 256"/>
                  <a:gd name="T57" fmla="*/ 72 h 146"/>
                  <a:gd name="T58" fmla="*/ 72 w 256"/>
                  <a:gd name="T59" fmla="*/ 76 h 146"/>
                  <a:gd name="T60" fmla="*/ 58 w 256"/>
                  <a:gd name="T61" fmla="*/ 84 h 146"/>
                  <a:gd name="T62" fmla="*/ 28 w 256"/>
                  <a:gd name="T63" fmla="*/ 78 h 146"/>
                  <a:gd name="T64" fmla="*/ 4 w 256"/>
                  <a:gd name="T65" fmla="*/ 78 h 146"/>
                  <a:gd name="T66" fmla="*/ 4 w 256"/>
                  <a:gd name="T67" fmla="*/ 68 h 146"/>
                  <a:gd name="T68" fmla="*/ 8 w 256"/>
                  <a:gd name="T69" fmla="*/ 52 h 146"/>
                  <a:gd name="T70" fmla="*/ 20 w 256"/>
                  <a:gd name="T71" fmla="*/ 38 h 146"/>
                  <a:gd name="T72" fmla="*/ 24 w 256"/>
                  <a:gd name="T73" fmla="*/ 22 h 146"/>
                  <a:gd name="T74" fmla="*/ 32 w 256"/>
                  <a:gd name="T75" fmla="*/ 4 h 146"/>
                  <a:gd name="T76" fmla="*/ 100 w 256"/>
                  <a:gd name="T77" fmla="*/ 12 h 146"/>
                  <a:gd name="T78" fmla="*/ 120 w 256"/>
                  <a:gd name="T79" fmla="*/ 20 h 146"/>
                  <a:gd name="T80" fmla="*/ 134 w 256"/>
                  <a:gd name="T81" fmla="*/ 2 h 146"/>
                  <a:gd name="T82" fmla="*/ 148 w 256"/>
                  <a:gd name="T83" fmla="*/ 4 h 146"/>
                  <a:gd name="T84" fmla="*/ 158 w 256"/>
                  <a:gd name="T8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146">
                    <a:moveTo>
                      <a:pt x="172" y="0"/>
                    </a:moveTo>
                    <a:lnTo>
                      <a:pt x="176" y="8"/>
                    </a:lnTo>
                    <a:lnTo>
                      <a:pt x="174" y="20"/>
                    </a:lnTo>
                    <a:lnTo>
                      <a:pt x="190" y="24"/>
                    </a:lnTo>
                    <a:lnTo>
                      <a:pt x="194" y="36"/>
                    </a:lnTo>
                    <a:lnTo>
                      <a:pt x="222" y="38"/>
                    </a:lnTo>
                    <a:lnTo>
                      <a:pt x="224" y="44"/>
                    </a:lnTo>
                    <a:lnTo>
                      <a:pt x="242" y="44"/>
                    </a:lnTo>
                    <a:lnTo>
                      <a:pt x="256" y="52"/>
                    </a:lnTo>
                    <a:lnTo>
                      <a:pt x="256" y="70"/>
                    </a:lnTo>
                    <a:lnTo>
                      <a:pt x="256" y="82"/>
                    </a:lnTo>
                    <a:lnTo>
                      <a:pt x="240" y="86"/>
                    </a:lnTo>
                    <a:lnTo>
                      <a:pt x="232" y="88"/>
                    </a:lnTo>
                    <a:lnTo>
                      <a:pt x="230" y="96"/>
                    </a:lnTo>
                    <a:lnTo>
                      <a:pt x="218" y="102"/>
                    </a:lnTo>
                    <a:lnTo>
                      <a:pt x="202" y="106"/>
                    </a:lnTo>
                    <a:lnTo>
                      <a:pt x="186" y="112"/>
                    </a:lnTo>
                    <a:lnTo>
                      <a:pt x="172" y="116"/>
                    </a:lnTo>
                    <a:lnTo>
                      <a:pt x="170" y="120"/>
                    </a:lnTo>
                    <a:lnTo>
                      <a:pt x="180" y="122"/>
                    </a:lnTo>
                    <a:lnTo>
                      <a:pt x="184" y="128"/>
                    </a:lnTo>
                    <a:lnTo>
                      <a:pt x="188" y="130"/>
                    </a:lnTo>
                    <a:lnTo>
                      <a:pt x="194" y="130"/>
                    </a:lnTo>
                    <a:lnTo>
                      <a:pt x="208" y="130"/>
                    </a:lnTo>
                    <a:lnTo>
                      <a:pt x="214" y="130"/>
                    </a:lnTo>
                    <a:lnTo>
                      <a:pt x="216" y="136"/>
                    </a:lnTo>
                    <a:lnTo>
                      <a:pt x="210" y="136"/>
                    </a:lnTo>
                    <a:lnTo>
                      <a:pt x="198" y="136"/>
                    </a:lnTo>
                    <a:lnTo>
                      <a:pt x="188" y="136"/>
                    </a:lnTo>
                    <a:lnTo>
                      <a:pt x="182" y="140"/>
                    </a:lnTo>
                    <a:lnTo>
                      <a:pt x="174" y="146"/>
                    </a:lnTo>
                    <a:lnTo>
                      <a:pt x="166" y="146"/>
                    </a:lnTo>
                    <a:lnTo>
                      <a:pt x="166" y="138"/>
                    </a:lnTo>
                    <a:lnTo>
                      <a:pt x="162" y="132"/>
                    </a:lnTo>
                    <a:lnTo>
                      <a:pt x="152" y="128"/>
                    </a:lnTo>
                    <a:lnTo>
                      <a:pt x="158" y="124"/>
                    </a:lnTo>
                    <a:lnTo>
                      <a:pt x="166" y="120"/>
                    </a:lnTo>
                    <a:lnTo>
                      <a:pt x="166" y="116"/>
                    </a:lnTo>
                    <a:lnTo>
                      <a:pt x="146" y="116"/>
                    </a:lnTo>
                    <a:lnTo>
                      <a:pt x="142" y="106"/>
                    </a:lnTo>
                    <a:lnTo>
                      <a:pt x="130" y="106"/>
                    </a:lnTo>
                    <a:lnTo>
                      <a:pt x="124" y="108"/>
                    </a:lnTo>
                    <a:lnTo>
                      <a:pt x="124" y="114"/>
                    </a:lnTo>
                    <a:lnTo>
                      <a:pt x="112" y="122"/>
                    </a:lnTo>
                    <a:lnTo>
                      <a:pt x="108" y="132"/>
                    </a:lnTo>
                    <a:lnTo>
                      <a:pt x="102" y="128"/>
                    </a:lnTo>
                    <a:lnTo>
                      <a:pt x="98" y="130"/>
                    </a:lnTo>
                    <a:lnTo>
                      <a:pt x="90" y="130"/>
                    </a:lnTo>
                    <a:lnTo>
                      <a:pt x="90" y="128"/>
                    </a:lnTo>
                    <a:lnTo>
                      <a:pt x="98" y="116"/>
                    </a:lnTo>
                    <a:lnTo>
                      <a:pt x="98" y="108"/>
                    </a:lnTo>
                    <a:lnTo>
                      <a:pt x="114" y="110"/>
                    </a:lnTo>
                    <a:lnTo>
                      <a:pt x="118" y="106"/>
                    </a:lnTo>
                    <a:lnTo>
                      <a:pt x="114" y="98"/>
                    </a:lnTo>
                    <a:lnTo>
                      <a:pt x="106" y="92"/>
                    </a:lnTo>
                    <a:lnTo>
                      <a:pt x="98" y="78"/>
                    </a:lnTo>
                    <a:lnTo>
                      <a:pt x="88" y="74"/>
                    </a:lnTo>
                    <a:lnTo>
                      <a:pt x="78" y="72"/>
                    </a:lnTo>
                    <a:lnTo>
                      <a:pt x="76" y="72"/>
                    </a:lnTo>
                    <a:lnTo>
                      <a:pt x="72" y="76"/>
                    </a:lnTo>
                    <a:lnTo>
                      <a:pt x="60" y="76"/>
                    </a:lnTo>
                    <a:lnTo>
                      <a:pt x="58" y="84"/>
                    </a:lnTo>
                    <a:lnTo>
                      <a:pt x="40" y="84"/>
                    </a:lnTo>
                    <a:lnTo>
                      <a:pt x="28" y="78"/>
                    </a:lnTo>
                    <a:lnTo>
                      <a:pt x="8" y="86"/>
                    </a:lnTo>
                    <a:lnTo>
                      <a:pt x="4" y="78"/>
                    </a:lnTo>
                    <a:lnTo>
                      <a:pt x="0" y="74"/>
                    </a:lnTo>
                    <a:lnTo>
                      <a:pt x="4" y="68"/>
                    </a:lnTo>
                    <a:lnTo>
                      <a:pt x="6" y="60"/>
                    </a:lnTo>
                    <a:lnTo>
                      <a:pt x="8" y="52"/>
                    </a:lnTo>
                    <a:lnTo>
                      <a:pt x="16" y="42"/>
                    </a:lnTo>
                    <a:lnTo>
                      <a:pt x="20" y="38"/>
                    </a:lnTo>
                    <a:lnTo>
                      <a:pt x="28" y="32"/>
                    </a:lnTo>
                    <a:lnTo>
                      <a:pt x="24" y="22"/>
                    </a:lnTo>
                    <a:lnTo>
                      <a:pt x="24" y="14"/>
                    </a:lnTo>
                    <a:lnTo>
                      <a:pt x="32" y="4"/>
                    </a:lnTo>
                    <a:lnTo>
                      <a:pt x="76" y="12"/>
                    </a:lnTo>
                    <a:lnTo>
                      <a:pt x="100" y="12"/>
                    </a:lnTo>
                    <a:lnTo>
                      <a:pt x="102" y="18"/>
                    </a:lnTo>
                    <a:lnTo>
                      <a:pt x="120" y="20"/>
                    </a:lnTo>
                    <a:lnTo>
                      <a:pt x="124" y="4"/>
                    </a:lnTo>
                    <a:lnTo>
                      <a:pt x="134" y="2"/>
                    </a:lnTo>
                    <a:lnTo>
                      <a:pt x="142" y="6"/>
                    </a:lnTo>
                    <a:lnTo>
                      <a:pt x="148" y="4"/>
                    </a:lnTo>
                    <a:lnTo>
                      <a:pt x="150" y="0"/>
                    </a:lnTo>
                    <a:lnTo>
                      <a:pt x="158" y="0"/>
                    </a:lnTo>
                    <a:lnTo>
                      <a:pt x="1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3" name="Freeform 685"/>
              <p:cNvSpPr>
                <a:spLocks/>
              </p:cNvSpPr>
              <p:nvPr/>
            </p:nvSpPr>
            <p:spPr bwMode="auto">
              <a:xfrm>
                <a:off x="3203" y="1699"/>
                <a:ext cx="264" cy="154"/>
              </a:xfrm>
              <a:custGeom>
                <a:avLst/>
                <a:gdLst>
                  <a:gd name="T0" fmla="*/ 154 w 264"/>
                  <a:gd name="T1" fmla="*/ 0 h 154"/>
                  <a:gd name="T2" fmla="*/ 140 w 264"/>
                  <a:gd name="T3" fmla="*/ 2 h 154"/>
                  <a:gd name="T4" fmla="*/ 138 w 264"/>
                  <a:gd name="T5" fmla="*/ 2 h 154"/>
                  <a:gd name="T6" fmla="*/ 124 w 264"/>
                  <a:gd name="T7" fmla="*/ 6 h 154"/>
                  <a:gd name="T8" fmla="*/ 108 w 264"/>
                  <a:gd name="T9" fmla="*/ 16 h 154"/>
                  <a:gd name="T10" fmla="*/ 36 w 264"/>
                  <a:gd name="T11" fmla="*/ 4 h 154"/>
                  <a:gd name="T12" fmla="*/ 32 w 264"/>
                  <a:gd name="T13" fmla="*/ 6 h 154"/>
                  <a:gd name="T14" fmla="*/ 24 w 264"/>
                  <a:gd name="T15" fmla="*/ 26 h 154"/>
                  <a:gd name="T16" fmla="*/ 22 w 264"/>
                  <a:gd name="T17" fmla="*/ 38 h 154"/>
                  <a:gd name="T18" fmla="*/ 16 w 264"/>
                  <a:gd name="T19" fmla="*/ 42 h 154"/>
                  <a:gd name="T20" fmla="*/ 8 w 264"/>
                  <a:gd name="T21" fmla="*/ 56 h 154"/>
                  <a:gd name="T22" fmla="*/ 0 w 264"/>
                  <a:gd name="T23" fmla="*/ 76 h 154"/>
                  <a:gd name="T24" fmla="*/ 8 w 264"/>
                  <a:gd name="T25" fmla="*/ 92 h 154"/>
                  <a:gd name="T26" fmla="*/ 12 w 264"/>
                  <a:gd name="T27" fmla="*/ 94 h 154"/>
                  <a:gd name="T28" fmla="*/ 42 w 264"/>
                  <a:gd name="T29" fmla="*/ 90 h 154"/>
                  <a:gd name="T30" fmla="*/ 64 w 264"/>
                  <a:gd name="T31" fmla="*/ 90 h 154"/>
                  <a:gd name="T32" fmla="*/ 76 w 264"/>
                  <a:gd name="T33" fmla="*/ 84 h 154"/>
                  <a:gd name="T34" fmla="*/ 90 w 264"/>
                  <a:gd name="T35" fmla="*/ 82 h 154"/>
                  <a:gd name="T36" fmla="*/ 108 w 264"/>
                  <a:gd name="T37" fmla="*/ 100 h 154"/>
                  <a:gd name="T38" fmla="*/ 102 w 264"/>
                  <a:gd name="T39" fmla="*/ 108 h 154"/>
                  <a:gd name="T40" fmla="*/ 100 w 264"/>
                  <a:gd name="T41" fmla="*/ 110 h 154"/>
                  <a:gd name="T42" fmla="*/ 90 w 264"/>
                  <a:gd name="T43" fmla="*/ 128 h 154"/>
                  <a:gd name="T44" fmla="*/ 90 w 264"/>
                  <a:gd name="T45" fmla="*/ 134 h 154"/>
                  <a:gd name="T46" fmla="*/ 102 w 264"/>
                  <a:gd name="T47" fmla="*/ 138 h 154"/>
                  <a:gd name="T48" fmla="*/ 106 w 264"/>
                  <a:gd name="T49" fmla="*/ 136 h 154"/>
                  <a:gd name="T50" fmla="*/ 112 w 264"/>
                  <a:gd name="T51" fmla="*/ 140 h 154"/>
                  <a:gd name="T52" fmla="*/ 120 w 264"/>
                  <a:gd name="T53" fmla="*/ 128 h 154"/>
                  <a:gd name="T54" fmla="*/ 132 w 264"/>
                  <a:gd name="T55" fmla="*/ 114 h 154"/>
                  <a:gd name="T56" fmla="*/ 146 w 264"/>
                  <a:gd name="T57" fmla="*/ 122 h 154"/>
                  <a:gd name="T58" fmla="*/ 154 w 264"/>
                  <a:gd name="T59" fmla="*/ 128 h 154"/>
                  <a:gd name="T60" fmla="*/ 154 w 264"/>
                  <a:gd name="T61" fmla="*/ 134 h 154"/>
                  <a:gd name="T62" fmla="*/ 166 w 264"/>
                  <a:gd name="T63" fmla="*/ 150 h 154"/>
                  <a:gd name="T64" fmla="*/ 178 w 264"/>
                  <a:gd name="T65" fmla="*/ 154 h 154"/>
                  <a:gd name="T66" fmla="*/ 202 w 264"/>
                  <a:gd name="T67" fmla="*/ 144 h 154"/>
                  <a:gd name="T68" fmla="*/ 222 w 264"/>
                  <a:gd name="T69" fmla="*/ 142 h 154"/>
                  <a:gd name="T70" fmla="*/ 222 w 264"/>
                  <a:gd name="T71" fmla="*/ 134 h 154"/>
                  <a:gd name="T72" fmla="*/ 212 w 264"/>
                  <a:gd name="T73" fmla="*/ 130 h 154"/>
                  <a:gd name="T74" fmla="*/ 194 w 264"/>
                  <a:gd name="T75" fmla="*/ 130 h 154"/>
                  <a:gd name="T76" fmla="*/ 186 w 264"/>
                  <a:gd name="T77" fmla="*/ 122 h 154"/>
                  <a:gd name="T78" fmla="*/ 206 w 264"/>
                  <a:gd name="T79" fmla="*/ 114 h 154"/>
                  <a:gd name="T80" fmla="*/ 236 w 264"/>
                  <a:gd name="T81" fmla="*/ 104 h 154"/>
                  <a:gd name="T82" fmla="*/ 246 w 264"/>
                  <a:gd name="T83" fmla="*/ 94 h 154"/>
                  <a:gd name="T84" fmla="*/ 262 w 264"/>
                  <a:gd name="T85" fmla="*/ 86 h 154"/>
                  <a:gd name="T86" fmla="*/ 264 w 264"/>
                  <a:gd name="T87" fmla="*/ 56 h 154"/>
                  <a:gd name="T88" fmla="*/ 248 w 264"/>
                  <a:gd name="T89" fmla="*/ 44 h 154"/>
                  <a:gd name="T90" fmla="*/ 230 w 264"/>
                  <a:gd name="T91" fmla="*/ 40 h 154"/>
                  <a:gd name="T92" fmla="*/ 198 w 264"/>
                  <a:gd name="T93" fmla="*/ 26 h 154"/>
                  <a:gd name="T94" fmla="*/ 184 w 264"/>
                  <a:gd name="T95" fmla="*/ 14 h 154"/>
                  <a:gd name="T96" fmla="*/ 180 w 264"/>
                  <a:gd name="T97"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4" h="154">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4" name="Freeform 686"/>
              <p:cNvSpPr>
                <a:spLocks/>
              </p:cNvSpPr>
              <p:nvPr/>
            </p:nvSpPr>
            <p:spPr bwMode="auto">
              <a:xfrm>
                <a:off x="3183" y="1779"/>
                <a:ext cx="132" cy="82"/>
              </a:xfrm>
              <a:custGeom>
                <a:avLst/>
                <a:gdLst>
                  <a:gd name="T0" fmla="*/ 108 w 132"/>
                  <a:gd name="T1" fmla="*/ 82 h 82"/>
                  <a:gd name="T2" fmla="*/ 96 w 132"/>
                  <a:gd name="T3" fmla="*/ 78 h 82"/>
                  <a:gd name="T4" fmla="*/ 78 w 132"/>
                  <a:gd name="T5" fmla="*/ 80 h 82"/>
                  <a:gd name="T6" fmla="*/ 78 w 132"/>
                  <a:gd name="T7" fmla="*/ 80 h 82"/>
                  <a:gd name="T8" fmla="*/ 30 w 132"/>
                  <a:gd name="T9" fmla="*/ 78 h 82"/>
                  <a:gd name="T10" fmla="*/ 28 w 132"/>
                  <a:gd name="T11" fmla="*/ 76 h 82"/>
                  <a:gd name="T12" fmla="*/ 16 w 132"/>
                  <a:gd name="T13" fmla="*/ 66 h 82"/>
                  <a:gd name="T14" fmla="*/ 14 w 132"/>
                  <a:gd name="T15" fmla="*/ 66 h 82"/>
                  <a:gd name="T16" fmla="*/ 2 w 132"/>
                  <a:gd name="T17" fmla="*/ 48 h 82"/>
                  <a:gd name="T18" fmla="*/ 0 w 132"/>
                  <a:gd name="T19" fmla="*/ 48 h 82"/>
                  <a:gd name="T20" fmla="*/ 0 w 132"/>
                  <a:gd name="T21" fmla="*/ 40 h 82"/>
                  <a:gd name="T22" fmla="*/ 12 w 132"/>
                  <a:gd name="T23" fmla="*/ 26 h 82"/>
                  <a:gd name="T24" fmla="*/ 28 w 132"/>
                  <a:gd name="T25" fmla="*/ 10 h 82"/>
                  <a:gd name="T26" fmla="*/ 50 w 132"/>
                  <a:gd name="T27" fmla="*/ 2 h 82"/>
                  <a:gd name="T28" fmla="*/ 50 w 132"/>
                  <a:gd name="T29" fmla="*/ 2 h 82"/>
                  <a:gd name="T30" fmla="*/ 50 w 132"/>
                  <a:gd name="T31" fmla="*/ 2 h 82"/>
                  <a:gd name="T32" fmla="*/ 78 w 132"/>
                  <a:gd name="T33" fmla="*/ 8 h 82"/>
                  <a:gd name="T34" fmla="*/ 80 w 132"/>
                  <a:gd name="T35" fmla="*/ 2 h 82"/>
                  <a:gd name="T36" fmla="*/ 94 w 132"/>
                  <a:gd name="T37" fmla="*/ 0 h 82"/>
                  <a:gd name="T38" fmla="*/ 96 w 132"/>
                  <a:gd name="T39" fmla="*/ 2 h 82"/>
                  <a:gd name="T40" fmla="*/ 100 w 132"/>
                  <a:gd name="T41" fmla="*/ 14 h 82"/>
                  <a:gd name="T42" fmla="*/ 114 w 132"/>
                  <a:gd name="T43" fmla="*/ 30 h 82"/>
                  <a:gd name="T44" fmla="*/ 114 w 132"/>
                  <a:gd name="T45" fmla="*/ 30 h 82"/>
                  <a:gd name="T46" fmla="*/ 112 w 132"/>
                  <a:gd name="T47" fmla="*/ 48 h 82"/>
                  <a:gd name="T48" fmla="*/ 120 w 132"/>
                  <a:gd name="T49" fmla="*/ 52 h 82"/>
                  <a:gd name="T50" fmla="*/ 122 w 132"/>
                  <a:gd name="T51" fmla="*/ 50 h 82"/>
                  <a:gd name="T52" fmla="*/ 124 w 132"/>
                  <a:gd name="T53" fmla="*/ 48 h 82"/>
                  <a:gd name="T54" fmla="*/ 132 w 132"/>
                  <a:gd name="T55" fmla="*/ 54 h 82"/>
                  <a:gd name="T56" fmla="*/ 132 w 132"/>
                  <a:gd name="T57" fmla="*/ 58 h 82"/>
                  <a:gd name="T58" fmla="*/ 128 w 132"/>
                  <a:gd name="T59" fmla="*/ 62 h 82"/>
                  <a:gd name="T60" fmla="*/ 120 w 132"/>
                  <a:gd name="T61" fmla="*/ 66 h 82"/>
                  <a:gd name="T62" fmla="*/ 116 w 132"/>
                  <a:gd name="T63" fmla="*/ 80 h 82"/>
                  <a:gd name="T64" fmla="*/ 114 w 132"/>
                  <a:gd name="T65"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82">
                    <a:moveTo>
                      <a:pt x="108" y="82"/>
                    </a:moveTo>
                    <a:lnTo>
                      <a:pt x="108" y="82"/>
                    </a:lnTo>
                    <a:lnTo>
                      <a:pt x="108" y="82"/>
                    </a:lnTo>
                    <a:lnTo>
                      <a:pt x="96" y="78"/>
                    </a:lnTo>
                    <a:lnTo>
                      <a:pt x="86" y="74"/>
                    </a:lnTo>
                    <a:lnTo>
                      <a:pt x="78" y="80"/>
                    </a:lnTo>
                    <a:lnTo>
                      <a:pt x="78" y="80"/>
                    </a:lnTo>
                    <a:lnTo>
                      <a:pt x="78" y="80"/>
                    </a:lnTo>
                    <a:lnTo>
                      <a:pt x="40" y="80"/>
                    </a:lnTo>
                    <a:lnTo>
                      <a:pt x="30" y="78"/>
                    </a:lnTo>
                    <a:lnTo>
                      <a:pt x="30" y="78"/>
                    </a:lnTo>
                    <a:lnTo>
                      <a:pt x="28" y="76"/>
                    </a:lnTo>
                    <a:lnTo>
                      <a:pt x="28" y="68"/>
                    </a:lnTo>
                    <a:lnTo>
                      <a:pt x="16" y="66"/>
                    </a:lnTo>
                    <a:lnTo>
                      <a:pt x="16" y="66"/>
                    </a:lnTo>
                    <a:lnTo>
                      <a:pt x="14" y="66"/>
                    </a:lnTo>
                    <a:lnTo>
                      <a:pt x="6" y="56"/>
                    </a:lnTo>
                    <a:lnTo>
                      <a:pt x="2" y="48"/>
                    </a:lnTo>
                    <a:lnTo>
                      <a:pt x="2" y="48"/>
                    </a:lnTo>
                    <a:lnTo>
                      <a:pt x="0" y="48"/>
                    </a:lnTo>
                    <a:lnTo>
                      <a:pt x="0" y="40"/>
                    </a:lnTo>
                    <a:lnTo>
                      <a:pt x="0" y="40"/>
                    </a:lnTo>
                    <a:lnTo>
                      <a:pt x="0" y="40"/>
                    </a:lnTo>
                    <a:lnTo>
                      <a:pt x="12" y="26"/>
                    </a:lnTo>
                    <a:lnTo>
                      <a:pt x="22" y="14"/>
                    </a:lnTo>
                    <a:lnTo>
                      <a:pt x="28" y="10"/>
                    </a:lnTo>
                    <a:lnTo>
                      <a:pt x="42" y="4"/>
                    </a:lnTo>
                    <a:lnTo>
                      <a:pt x="50" y="2"/>
                    </a:lnTo>
                    <a:lnTo>
                      <a:pt x="50" y="2"/>
                    </a:lnTo>
                    <a:lnTo>
                      <a:pt x="50" y="2"/>
                    </a:lnTo>
                    <a:lnTo>
                      <a:pt x="50" y="2"/>
                    </a:lnTo>
                    <a:lnTo>
                      <a:pt x="50" y="2"/>
                    </a:lnTo>
                    <a:lnTo>
                      <a:pt x="62" y="8"/>
                    </a:lnTo>
                    <a:lnTo>
                      <a:pt x="78" y="8"/>
                    </a:lnTo>
                    <a:lnTo>
                      <a:pt x="80" y="2"/>
                    </a:lnTo>
                    <a:lnTo>
                      <a:pt x="80" y="2"/>
                    </a:lnTo>
                    <a:lnTo>
                      <a:pt x="82" y="0"/>
                    </a:lnTo>
                    <a:lnTo>
                      <a:pt x="94" y="0"/>
                    </a:lnTo>
                    <a:lnTo>
                      <a:pt x="94" y="0"/>
                    </a:lnTo>
                    <a:lnTo>
                      <a:pt x="96" y="2"/>
                    </a:lnTo>
                    <a:lnTo>
                      <a:pt x="98" y="10"/>
                    </a:lnTo>
                    <a:lnTo>
                      <a:pt x="100" y="14"/>
                    </a:lnTo>
                    <a:lnTo>
                      <a:pt x="112" y="26"/>
                    </a:lnTo>
                    <a:lnTo>
                      <a:pt x="114" y="30"/>
                    </a:lnTo>
                    <a:lnTo>
                      <a:pt x="114" y="30"/>
                    </a:lnTo>
                    <a:lnTo>
                      <a:pt x="114" y="30"/>
                    </a:lnTo>
                    <a:lnTo>
                      <a:pt x="110" y="38"/>
                    </a:lnTo>
                    <a:lnTo>
                      <a:pt x="112" y="48"/>
                    </a:lnTo>
                    <a:lnTo>
                      <a:pt x="114" y="50"/>
                    </a:lnTo>
                    <a:lnTo>
                      <a:pt x="120" y="52"/>
                    </a:lnTo>
                    <a:lnTo>
                      <a:pt x="122" y="50"/>
                    </a:lnTo>
                    <a:lnTo>
                      <a:pt x="122" y="50"/>
                    </a:lnTo>
                    <a:lnTo>
                      <a:pt x="124" y="48"/>
                    </a:lnTo>
                    <a:lnTo>
                      <a:pt x="124" y="48"/>
                    </a:lnTo>
                    <a:lnTo>
                      <a:pt x="126" y="50"/>
                    </a:lnTo>
                    <a:lnTo>
                      <a:pt x="132" y="54"/>
                    </a:lnTo>
                    <a:lnTo>
                      <a:pt x="132" y="54"/>
                    </a:lnTo>
                    <a:lnTo>
                      <a:pt x="132" y="58"/>
                    </a:lnTo>
                    <a:lnTo>
                      <a:pt x="128" y="62"/>
                    </a:lnTo>
                    <a:lnTo>
                      <a:pt x="128" y="62"/>
                    </a:lnTo>
                    <a:lnTo>
                      <a:pt x="126" y="64"/>
                    </a:lnTo>
                    <a:lnTo>
                      <a:pt x="120" y="66"/>
                    </a:lnTo>
                    <a:lnTo>
                      <a:pt x="118" y="70"/>
                    </a:lnTo>
                    <a:lnTo>
                      <a:pt x="116" y="80"/>
                    </a:lnTo>
                    <a:lnTo>
                      <a:pt x="116" y="80"/>
                    </a:lnTo>
                    <a:lnTo>
                      <a:pt x="114" y="82"/>
                    </a:lnTo>
                    <a:lnTo>
                      <a:pt x="10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5" name="Freeform 687"/>
              <p:cNvSpPr>
                <a:spLocks noEditPoints="1"/>
              </p:cNvSpPr>
              <p:nvPr/>
            </p:nvSpPr>
            <p:spPr bwMode="auto">
              <a:xfrm>
                <a:off x="3181" y="1777"/>
                <a:ext cx="136" cy="86"/>
              </a:xfrm>
              <a:custGeom>
                <a:avLst/>
                <a:gdLst>
                  <a:gd name="T0" fmla="*/ 100 w 136"/>
                  <a:gd name="T1" fmla="*/ 12 h 86"/>
                  <a:gd name="T2" fmla="*/ 112 w 136"/>
                  <a:gd name="T3" fmla="*/ 28 h 86"/>
                  <a:gd name="T4" fmla="*/ 110 w 136"/>
                  <a:gd name="T5" fmla="*/ 40 h 86"/>
                  <a:gd name="T6" fmla="*/ 114 w 136"/>
                  <a:gd name="T7" fmla="*/ 54 h 86"/>
                  <a:gd name="T8" fmla="*/ 126 w 136"/>
                  <a:gd name="T9" fmla="*/ 52 h 86"/>
                  <a:gd name="T10" fmla="*/ 128 w 136"/>
                  <a:gd name="T11" fmla="*/ 64 h 86"/>
                  <a:gd name="T12" fmla="*/ 118 w 136"/>
                  <a:gd name="T13" fmla="*/ 72 h 86"/>
                  <a:gd name="T14" fmla="*/ 110 w 136"/>
                  <a:gd name="T15" fmla="*/ 82 h 86"/>
                  <a:gd name="T16" fmla="*/ 86 w 136"/>
                  <a:gd name="T17" fmla="*/ 74 h 86"/>
                  <a:gd name="T18" fmla="*/ 68 w 136"/>
                  <a:gd name="T19" fmla="*/ 80 h 86"/>
                  <a:gd name="T20" fmla="*/ 32 w 136"/>
                  <a:gd name="T21" fmla="*/ 78 h 86"/>
                  <a:gd name="T22" fmla="*/ 18 w 136"/>
                  <a:gd name="T23" fmla="*/ 66 h 86"/>
                  <a:gd name="T24" fmla="*/ 4 w 136"/>
                  <a:gd name="T25" fmla="*/ 50 h 86"/>
                  <a:gd name="T26" fmla="*/ 16 w 136"/>
                  <a:gd name="T27" fmla="*/ 30 h 86"/>
                  <a:gd name="T28" fmla="*/ 32 w 136"/>
                  <a:gd name="T29" fmla="*/ 12 h 86"/>
                  <a:gd name="T30" fmla="*/ 52 w 136"/>
                  <a:gd name="T31" fmla="*/ 6 h 86"/>
                  <a:gd name="T32" fmla="*/ 82 w 136"/>
                  <a:gd name="T33" fmla="*/ 12 h 86"/>
                  <a:gd name="T34" fmla="*/ 96 w 136"/>
                  <a:gd name="T35" fmla="*/ 4 h 86"/>
                  <a:gd name="T36" fmla="*/ 84 w 136"/>
                  <a:gd name="T37" fmla="*/ 0 h 86"/>
                  <a:gd name="T38" fmla="*/ 82 w 136"/>
                  <a:gd name="T39" fmla="*/ 2 h 86"/>
                  <a:gd name="T40" fmla="*/ 64 w 136"/>
                  <a:gd name="T41" fmla="*/ 8 h 86"/>
                  <a:gd name="T42" fmla="*/ 54 w 136"/>
                  <a:gd name="T43" fmla="*/ 2 h 86"/>
                  <a:gd name="T44" fmla="*/ 52 w 136"/>
                  <a:gd name="T45" fmla="*/ 2 h 86"/>
                  <a:gd name="T46" fmla="*/ 44 w 136"/>
                  <a:gd name="T47" fmla="*/ 4 h 86"/>
                  <a:gd name="T48" fmla="*/ 44 w 136"/>
                  <a:gd name="T49" fmla="*/ 4 h 86"/>
                  <a:gd name="T50" fmla="*/ 30 w 136"/>
                  <a:gd name="T51" fmla="*/ 10 h 86"/>
                  <a:gd name="T52" fmla="*/ 22 w 136"/>
                  <a:gd name="T53" fmla="*/ 14 h 86"/>
                  <a:gd name="T54" fmla="*/ 22 w 136"/>
                  <a:gd name="T55" fmla="*/ 16 h 86"/>
                  <a:gd name="T56" fmla="*/ 0 w 136"/>
                  <a:gd name="T57" fmla="*/ 40 h 86"/>
                  <a:gd name="T58" fmla="*/ 0 w 136"/>
                  <a:gd name="T59" fmla="*/ 44 h 86"/>
                  <a:gd name="T60" fmla="*/ 2 w 136"/>
                  <a:gd name="T61" fmla="*/ 50 h 86"/>
                  <a:gd name="T62" fmla="*/ 8 w 136"/>
                  <a:gd name="T63" fmla="*/ 58 h 86"/>
                  <a:gd name="T64" fmla="*/ 14 w 136"/>
                  <a:gd name="T65" fmla="*/ 70 h 86"/>
                  <a:gd name="T66" fmla="*/ 28 w 136"/>
                  <a:gd name="T67" fmla="*/ 72 h 86"/>
                  <a:gd name="T68" fmla="*/ 28 w 136"/>
                  <a:gd name="T69" fmla="*/ 78 h 86"/>
                  <a:gd name="T70" fmla="*/ 30 w 136"/>
                  <a:gd name="T71" fmla="*/ 82 h 86"/>
                  <a:gd name="T72" fmla="*/ 42 w 136"/>
                  <a:gd name="T73" fmla="*/ 84 h 86"/>
                  <a:gd name="T74" fmla="*/ 68 w 136"/>
                  <a:gd name="T75" fmla="*/ 84 h 86"/>
                  <a:gd name="T76" fmla="*/ 80 w 136"/>
                  <a:gd name="T77" fmla="*/ 84 h 86"/>
                  <a:gd name="T78" fmla="*/ 88 w 136"/>
                  <a:gd name="T79" fmla="*/ 78 h 86"/>
                  <a:gd name="T80" fmla="*/ 108 w 136"/>
                  <a:gd name="T81" fmla="*/ 86 h 86"/>
                  <a:gd name="T82" fmla="*/ 110 w 136"/>
                  <a:gd name="T83" fmla="*/ 86 h 86"/>
                  <a:gd name="T84" fmla="*/ 116 w 136"/>
                  <a:gd name="T85" fmla="*/ 86 h 86"/>
                  <a:gd name="T86" fmla="*/ 120 w 136"/>
                  <a:gd name="T87" fmla="*/ 84 h 86"/>
                  <a:gd name="T88" fmla="*/ 124 w 136"/>
                  <a:gd name="T89" fmla="*/ 70 h 86"/>
                  <a:gd name="T90" fmla="*/ 130 w 136"/>
                  <a:gd name="T91" fmla="*/ 68 h 86"/>
                  <a:gd name="T92" fmla="*/ 136 w 136"/>
                  <a:gd name="T93" fmla="*/ 60 h 86"/>
                  <a:gd name="T94" fmla="*/ 136 w 136"/>
                  <a:gd name="T95" fmla="*/ 58 h 86"/>
                  <a:gd name="T96" fmla="*/ 130 w 136"/>
                  <a:gd name="T97" fmla="*/ 50 h 86"/>
                  <a:gd name="T98" fmla="*/ 126 w 136"/>
                  <a:gd name="T99" fmla="*/ 48 h 86"/>
                  <a:gd name="T100" fmla="*/ 124 w 136"/>
                  <a:gd name="T101" fmla="*/ 50 h 86"/>
                  <a:gd name="T102" fmla="*/ 116 w 136"/>
                  <a:gd name="T103" fmla="*/ 52 h 86"/>
                  <a:gd name="T104" fmla="*/ 114 w 136"/>
                  <a:gd name="T105" fmla="*/ 42 h 86"/>
                  <a:gd name="T106" fmla="*/ 118 w 136"/>
                  <a:gd name="T107" fmla="*/ 34 h 86"/>
                  <a:gd name="T108" fmla="*/ 116 w 136"/>
                  <a:gd name="T109" fmla="*/ 26 h 86"/>
                  <a:gd name="T110" fmla="*/ 114 w 136"/>
                  <a:gd name="T111" fmla="*/ 26 h 86"/>
                  <a:gd name="T112" fmla="*/ 102 w 136"/>
                  <a:gd name="T113" fmla="*/ 12 h 86"/>
                  <a:gd name="T114" fmla="*/ 100 w 136"/>
                  <a:gd name="T115" fmla="*/ 2 h 86"/>
                  <a:gd name="T116" fmla="*/ 96 w 136"/>
                  <a:gd name="T1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86">
                    <a:moveTo>
                      <a:pt x="96" y="4"/>
                    </a:moveTo>
                    <a:lnTo>
                      <a:pt x="100" y="12"/>
                    </a:lnTo>
                    <a:lnTo>
                      <a:pt x="100" y="18"/>
                    </a:lnTo>
                    <a:lnTo>
                      <a:pt x="112" y="28"/>
                    </a:lnTo>
                    <a:lnTo>
                      <a:pt x="114" y="32"/>
                    </a:lnTo>
                    <a:lnTo>
                      <a:pt x="110" y="40"/>
                    </a:lnTo>
                    <a:lnTo>
                      <a:pt x="112" y="50"/>
                    </a:lnTo>
                    <a:lnTo>
                      <a:pt x="114" y="54"/>
                    </a:lnTo>
                    <a:lnTo>
                      <a:pt x="122" y="56"/>
                    </a:lnTo>
                    <a:lnTo>
                      <a:pt x="126" y="52"/>
                    </a:lnTo>
                    <a:lnTo>
                      <a:pt x="132" y="58"/>
                    </a:lnTo>
                    <a:lnTo>
                      <a:pt x="128" y="64"/>
                    </a:lnTo>
                    <a:lnTo>
                      <a:pt x="120" y="66"/>
                    </a:lnTo>
                    <a:lnTo>
                      <a:pt x="118" y="72"/>
                    </a:lnTo>
                    <a:lnTo>
                      <a:pt x="116" y="82"/>
                    </a:lnTo>
                    <a:lnTo>
                      <a:pt x="110" y="82"/>
                    </a:lnTo>
                    <a:lnTo>
                      <a:pt x="100" y="78"/>
                    </a:lnTo>
                    <a:lnTo>
                      <a:pt x="86" y="74"/>
                    </a:lnTo>
                    <a:lnTo>
                      <a:pt x="80" y="80"/>
                    </a:lnTo>
                    <a:lnTo>
                      <a:pt x="68" y="80"/>
                    </a:lnTo>
                    <a:lnTo>
                      <a:pt x="42" y="80"/>
                    </a:lnTo>
                    <a:lnTo>
                      <a:pt x="32" y="78"/>
                    </a:lnTo>
                    <a:lnTo>
                      <a:pt x="32" y="68"/>
                    </a:lnTo>
                    <a:lnTo>
                      <a:pt x="18" y="66"/>
                    </a:lnTo>
                    <a:lnTo>
                      <a:pt x="10" y="56"/>
                    </a:lnTo>
                    <a:lnTo>
                      <a:pt x="4" y="50"/>
                    </a:lnTo>
                    <a:lnTo>
                      <a:pt x="4" y="42"/>
                    </a:lnTo>
                    <a:lnTo>
                      <a:pt x="16" y="30"/>
                    </a:lnTo>
                    <a:lnTo>
                      <a:pt x="24" y="18"/>
                    </a:lnTo>
                    <a:lnTo>
                      <a:pt x="32" y="12"/>
                    </a:lnTo>
                    <a:lnTo>
                      <a:pt x="44" y="8"/>
                    </a:lnTo>
                    <a:lnTo>
                      <a:pt x="52" y="6"/>
                    </a:lnTo>
                    <a:lnTo>
                      <a:pt x="62" y="12"/>
                    </a:lnTo>
                    <a:lnTo>
                      <a:pt x="82" y="12"/>
                    </a:lnTo>
                    <a:lnTo>
                      <a:pt x="84" y="4"/>
                    </a:lnTo>
                    <a:lnTo>
                      <a:pt x="96" y="4"/>
                    </a:lnTo>
                    <a:close/>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6" name="Freeform 688"/>
              <p:cNvSpPr>
                <a:spLocks/>
              </p:cNvSpPr>
              <p:nvPr/>
            </p:nvSpPr>
            <p:spPr bwMode="auto">
              <a:xfrm>
                <a:off x="3185" y="1781"/>
                <a:ext cx="128" cy="78"/>
              </a:xfrm>
              <a:custGeom>
                <a:avLst/>
                <a:gdLst>
                  <a:gd name="T0" fmla="*/ 92 w 128"/>
                  <a:gd name="T1" fmla="*/ 0 h 78"/>
                  <a:gd name="T2" fmla="*/ 96 w 128"/>
                  <a:gd name="T3" fmla="*/ 8 h 78"/>
                  <a:gd name="T4" fmla="*/ 96 w 128"/>
                  <a:gd name="T5" fmla="*/ 14 h 78"/>
                  <a:gd name="T6" fmla="*/ 108 w 128"/>
                  <a:gd name="T7" fmla="*/ 24 h 78"/>
                  <a:gd name="T8" fmla="*/ 110 w 128"/>
                  <a:gd name="T9" fmla="*/ 28 h 78"/>
                  <a:gd name="T10" fmla="*/ 106 w 128"/>
                  <a:gd name="T11" fmla="*/ 36 h 78"/>
                  <a:gd name="T12" fmla="*/ 108 w 128"/>
                  <a:gd name="T13" fmla="*/ 46 h 78"/>
                  <a:gd name="T14" fmla="*/ 110 w 128"/>
                  <a:gd name="T15" fmla="*/ 50 h 78"/>
                  <a:gd name="T16" fmla="*/ 118 w 128"/>
                  <a:gd name="T17" fmla="*/ 52 h 78"/>
                  <a:gd name="T18" fmla="*/ 122 w 128"/>
                  <a:gd name="T19" fmla="*/ 48 h 78"/>
                  <a:gd name="T20" fmla="*/ 128 w 128"/>
                  <a:gd name="T21" fmla="*/ 54 h 78"/>
                  <a:gd name="T22" fmla="*/ 124 w 128"/>
                  <a:gd name="T23" fmla="*/ 60 h 78"/>
                  <a:gd name="T24" fmla="*/ 116 w 128"/>
                  <a:gd name="T25" fmla="*/ 62 h 78"/>
                  <a:gd name="T26" fmla="*/ 114 w 128"/>
                  <a:gd name="T27" fmla="*/ 68 h 78"/>
                  <a:gd name="T28" fmla="*/ 112 w 128"/>
                  <a:gd name="T29" fmla="*/ 78 h 78"/>
                  <a:gd name="T30" fmla="*/ 106 w 128"/>
                  <a:gd name="T31" fmla="*/ 78 h 78"/>
                  <a:gd name="T32" fmla="*/ 96 w 128"/>
                  <a:gd name="T33" fmla="*/ 74 h 78"/>
                  <a:gd name="T34" fmla="*/ 82 w 128"/>
                  <a:gd name="T35" fmla="*/ 70 h 78"/>
                  <a:gd name="T36" fmla="*/ 76 w 128"/>
                  <a:gd name="T37" fmla="*/ 76 h 78"/>
                  <a:gd name="T38" fmla="*/ 64 w 128"/>
                  <a:gd name="T39" fmla="*/ 76 h 78"/>
                  <a:gd name="T40" fmla="*/ 38 w 128"/>
                  <a:gd name="T41" fmla="*/ 76 h 78"/>
                  <a:gd name="T42" fmla="*/ 28 w 128"/>
                  <a:gd name="T43" fmla="*/ 74 h 78"/>
                  <a:gd name="T44" fmla="*/ 28 w 128"/>
                  <a:gd name="T45" fmla="*/ 64 h 78"/>
                  <a:gd name="T46" fmla="*/ 14 w 128"/>
                  <a:gd name="T47" fmla="*/ 62 h 78"/>
                  <a:gd name="T48" fmla="*/ 6 w 128"/>
                  <a:gd name="T49" fmla="*/ 52 h 78"/>
                  <a:gd name="T50" fmla="*/ 0 w 128"/>
                  <a:gd name="T51" fmla="*/ 46 h 78"/>
                  <a:gd name="T52" fmla="*/ 0 w 128"/>
                  <a:gd name="T53" fmla="*/ 38 h 78"/>
                  <a:gd name="T54" fmla="*/ 12 w 128"/>
                  <a:gd name="T55" fmla="*/ 26 h 78"/>
                  <a:gd name="T56" fmla="*/ 20 w 128"/>
                  <a:gd name="T57" fmla="*/ 14 h 78"/>
                  <a:gd name="T58" fmla="*/ 28 w 128"/>
                  <a:gd name="T59" fmla="*/ 8 h 78"/>
                  <a:gd name="T60" fmla="*/ 40 w 128"/>
                  <a:gd name="T61" fmla="*/ 4 h 78"/>
                  <a:gd name="T62" fmla="*/ 48 w 128"/>
                  <a:gd name="T63" fmla="*/ 2 h 78"/>
                  <a:gd name="T64" fmla="*/ 58 w 128"/>
                  <a:gd name="T65" fmla="*/ 8 h 78"/>
                  <a:gd name="T66" fmla="*/ 78 w 128"/>
                  <a:gd name="T67" fmla="*/ 8 h 78"/>
                  <a:gd name="T68" fmla="*/ 80 w 128"/>
                  <a:gd name="T69" fmla="*/ 0 h 78"/>
                  <a:gd name="T70" fmla="*/ 92 w 128"/>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78">
                    <a:moveTo>
                      <a:pt x="92" y="0"/>
                    </a:moveTo>
                    <a:lnTo>
                      <a:pt x="96" y="8"/>
                    </a:lnTo>
                    <a:lnTo>
                      <a:pt x="96" y="14"/>
                    </a:lnTo>
                    <a:lnTo>
                      <a:pt x="108" y="24"/>
                    </a:lnTo>
                    <a:lnTo>
                      <a:pt x="110" y="28"/>
                    </a:lnTo>
                    <a:lnTo>
                      <a:pt x="106" y="36"/>
                    </a:lnTo>
                    <a:lnTo>
                      <a:pt x="108" y="46"/>
                    </a:lnTo>
                    <a:lnTo>
                      <a:pt x="110" y="50"/>
                    </a:lnTo>
                    <a:lnTo>
                      <a:pt x="118" y="52"/>
                    </a:lnTo>
                    <a:lnTo>
                      <a:pt x="122" y="48"/>
                    </a:lnTo>
                    <a:lnTo>
                      <a:pt x="128" y="54"/>
                    </a:lnTo>
                    <a:lnTo>
                      <a:pt x="124" y="60"/>
                    </a:lnTo>
                    <a:lnTo>
                      <a:pt x="116" y="62"/>
                    </a:lnTo>
                    <a:lnTo>
                      <a:pt x="114" y="68"/>
                    </a:lnTo>
                    <a:lnTo>
                      <a:pt x="112" y="78"/>
                    </a:lnTo>
                    <a:lnTo>
                      <a:pt x="106" y="78"/>
                    </a:lnTo>
                    <a:lnTo>
                      <a:pt x="96" y="74"/>
                    </a:lnTo>
                    <a:lnTo>
                      <a:pt x="82" y="70"/>
                    </a:lnTo>
                    <a:lnTo>
                      <a:pt x="76" y="76"/>
                    </a:lnTo>
                    <a:lnTo>
                      <a:pt x="64" y="76"/>
                    </a:lnTo>
                    <a:lnTo>
                      <a:pt x="38" y="76"/>
                    </a:lnTo>
                    <a:lnTo>
                      <a:pt x="28" y="74"/>
                    </a:lnTo>
                    <a:lnTo>
                      <a:pt x="28" y="64"/>
                    </a:lnTo>
                    <a:lnTo>
                      <a:pt x="14" y="62"/>
                    </a:lnTo>
                    <a:lnTo>
                      <a:pt x="6" y="52"/>
                    </a:lnTo>
                    <a:lnTo>
                      <a:pt x="0" y="46"/>
                    </a:lnTo>
                    <a:lnTo>
                      <a:pt x="0" y="38"/>
                    </a:lnTo>
                    <a:lnTo>
                      <a:pt x="12" y="26"/>
                    </a:lnTo>
                    <a:lnTo>
                      <a:pt x="20" y="14"/>
                    </a:lnTo>
                    <a:lnTo>
                      <a:pt x="28" y="8"/>
                    </a:lnTo>
                    <a:lnTo>
                      <a:pt x="40" y="4"/>
                    </a:lnTo>
                    <a:lnTo>
                      <a:pt x="48" y="2"/>
                    </a:lnTo>
                    <a:lnTo>
                      <a:pt x="58" y="8"/>
                    </a:lnTo>
                    <a:lnTo>
                      <a:pt x="78" y="8"/>
                    </a:lnTo>
                    <a:lnTo>
                      <a:pt x="80"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7" name="Freeform 689"/>
              <p:cNvSpPr>
                <a:spLocks/>
              </p:cNvSpPr>
              <p:nvPr/>
            </p:nvSpPr>
            <p:spPr bwMode="auto">
              <a:xfrm>
                <a:off x="3181" y="1777"/>
                <a:ext cx="136" cy="86"/>
              </a:xfrm>
              <a:custGeom>
                <a:avLst/>
                <a:gdLst>
                  <a:gd name="T0" fmla="*/ 84 w 136"/>
                  <a:gd name="T1" fmla="*/ 0 h 86"/>
                  <a:gd name="T2" fmla="*/ 82 w 136"/>
                  <a:gd name="T3" fmla="*/ 2 h 86"/>
                  <a:gd name="T4" fmla="*/ 64 w 136"/>
                  <a:gd name="T5" fmla="*/ 8 h 86"/>
                  <a:gd name="T6" fmla="*/ 54 w 136"/>
                  <a:gd name="T7" fmla="*/ 2 h 86"/>
                  <a:gd name="T8" fmla="*/ 52 w 136"/>
                  <a:gd name="T9" fmla="*/ 2 h 86"/>
                  <a:gd name="T10" fmla="*/ 44 w 136"/>
                  <a:gd name="T11" fmla="*/ 4 h 86"/>
                  <a:gd name="T12" fmla="*/ 44 w 136"/>
                  <a:gd name="T13" fmla="*/ 4 h 86"/>
                  <a:gd name="T14" fmla="*/ 30 w 136"/>
                  <a:gd name="T15" fmla="*/ 10 h 86"/>
                  <a:gd name="T16" fmla="*/ 22 w 136"/>
                  <a:gd name="T17" fmla="*/ 14 h 86"/>
                  <a:gd name="T18" fmla="*/ 22 w 136"/>
                  <a:gd name="T19" fmla="*/ 16 h 86"/>
                  <a:gd name="T20" fmla="*/ 0 w 136"/>
                  <a:gd name="T21" fmla="*/ 40 h 86"/>
                  <a:gd name="T22" fmla="*/ 0 w 136"/>
                  <a:gd name="T23" fmla="*/ 44 h 86"/>
                  <a:gd name="T24" fmla="*/ 2 w 136"/>
                  <a:gd name="T25" fmla="*/ 50 h 86"/>
                  <a:gd name="T26" fmla="*/ 8 w 136"/>
                  <a:gd name="T27" fmla="*/ 58 h 86"/>
                  <a:gd name="T28" fmla="*/ 14 w 136"/>
                  <a:gd name="T29" fmla="*/ 70 h 86"/>
                  <a:gd name="T30" fmla="*/ 28 w 136"/>
                  <a:gd name="T31" fmla="*/ 72 h 86"/>
                  <a:gd name="T32" fmla="*/ 28 w 136"/>
                  <a:gd name="T33" fmla="*/ 78 h 86"/>
                  <a:gd name="T34" fmla="*/ 30 w 136"/>
                  <a:gd name="T35" fmla="*/ 82 h 86"/>
                  <a:gd name="T36" fmla="*/ 42 w 136"/>
                  <a:gd name="T37" fmla="*/ 84 h 86"/>
                  <a:gd name="T38" fmla="*/ 68 w 136"/>
                  <a:gd name="T39" fmla="*/ 84 h 86"/>
                  <a:gd name="T40" fmla="*/ 80 w 136"/>
                  <a:gd name="T41" fmla="*/ 84 h 86"/>
                  <a:gd name="T42" fmla="*/ 88 w 136"/>
                  <a:gd name="T43" fmla="*/ 78 h 86"/>
                  <a:gd name="T44" fmla="*/ 108 w 136"/>
                  <a:gd name="T45" fmla="*/ 86 h 86"/>
                  <a:gd name="T46" fmla="*/ 110 w 136"/>
                  <a:gd name="T47" fmla="*/ 86 h 86"/>
                  <a:gd name="T48" fmla="*/ 116 w 136"/>
                  <a:gd name="T49" fmla="*/ 86 h 86"/>
                  <a:gd name="T50" fmla="*/ 120 w 136"/>
                  <a:gd name="T51" fmla="*/ 84 h 86"/>
                  <a:gd name="T52" fmla="*/ 124 w 136"/>
                  <a:gd name="T53" fmla="*/ 70 h 86"/>
                  <a:gd name="T54" fmla="*/ 130 w 136"/>
                  <a:gd name="T55" fmla="*/ 68 h 86"/>
                  <a:gd name="T56" fmla="*/ 136 w 136"/>
                  <a:gd name="T57" fmla="*/ 60 h 86"/>
                  <a:gd name="T58" fmla="*/ 136 w 136"/>
                  <a:gd name="T59" fmla="*/ 58 h 86"/>
                  <a:gd name="T60" fmla="*/ 130 w 136"/>
                  <a:gd name="T61" fmla="*/ 50 h 86"/>
                  <a:gd name="T62" fmla="*/ 126 w 136"/>
                  <a:gd name="T63" fmla="*/ 48 h 86"/>
                  <a:gd name="T64" fmla="*/ 124 w 136"/>
                  <a:gd name="T65" fmla="*/ 50 h 86"/>
                  <a:gd name="T66" fmla="*/ 116 w 136"/>
                  <a:gd name="T67" fmla="*/ 52 h 86"/>
                  <a:gd name="T68" fmla="*/ 114 w 136"/>
                  <a:gd name="T69" fmla="*/ 42 h 86"/>
                  <a:gd name="T70" fmla="*/ 118 w 136"/>
                  <a:gd name="T71" fmla="*/ 34 h 86"/>
                  <a:gd name="T72" fmla="*/ 116 w 136"/>
                  <a:gd name="T73" fmla="*/ 26 h 86"/>
                  <a:gd name="T74" fmla="*/ 114 w 136"/>
                  <a:gd name="T75" fmla="*/ 26 h 86"/>
                  <a:gd name="T76" fmla="*/ 102 w 136"/>
                  <a:gd name="T77" fmla="*/ 12 h 86"/>
                  <a:gd name="T78" fmla="*/ 100 w 136"/>
                  <a:gd name="T79" fmla="*/ 2 h 86"/>
                  <a:gd name="T80" fmla="*/ 96 w 136"/>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6" h="86">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8" name="Freeform 690"/>
              <p:cNvSpPr>
                <a:spLocks/>
              </p:cNvSpPr>
              <p:nvPr/>
            </p:nvSpPr>
            <p:spPr bwMode="auto">
              <a:xfrm>
                <a:off x="3211" y="1853"/>
                <a:ext cx="86" cy="54"/>
              </a:xfrm>
              <a:custGeom>
                <a:avLst/>
                <a:gdLst>
                  <a:gd name="T0" fmla="*/ 36 w 86"/>
                  <a:gd name="T1" fmla="*/ 54 h 54"/>
                  <a:gd name="T2" fmla="*/ 26 w 86"/>
                  <a:gd name="T3" fmla="*/ 50 h 54"/>
                  <a:gd name="T4" fmla="*/ 22 w 86"/>
                  <a:gd name="T5" fmla="*/ 50 h 54"/>
                  <a:gd name="T6" fmla="*/ 14 w 86"/>
                  <a:gd name="T7" fmla="*/ 52 h 54"/>
                  <a:gd name="T8" fmla="*/ 14 w 86"/>
                  <a:gd name="T9" fmla="*/ 52 h 54"/>
                  <a:gd name="T10" fmla="*/ 14 w 86"/>
                  <a:gd name="T11" fmla="*/ 52 h 54"/>
                  <a:gd name="T12" fmla="*/ 14 w 86"/>
                  <a:gd name="T13" fmla="*/ 52 h 54"/>
                  <a:gd name="T14" fmla="*/ 12 w 86"/>
                  <a:gd name="T15" fmla="*/ 50 h 54"/>
                  <a:gd name="T16" fmla="*/ 10 w 86"/>
                  <a:gd name="T17" fmla="*/ 46 h 54"/>
                  <a:gd name="T18" fmla="*/ 4 w 86"/>
                  <a:gd name="T19" fmla="*/ 40 h 54"/>
                  <a:gd name="T20" fmla="*/ 4 w 86"/>
                  <a:gd name="T21" fmla="*/ 40 h 54"/>
                  <a:gd name="T22" fmla="*/ 4 w 86"/>
                  <a:gd name="T23" fmla="*/ 40 h 54"/>
                  <a:gd name="T24" fmla="*/ 2 w 86"/>
                  <a:gd name="T25" fmla="*/ 32 h 54"/>
                  <a:gd name="T26" fmla="*/ 2 w 86"/>
                  <a:gd name="T27" fmla="*/ 32 h 54"/>
                  <a:gd name="T28" fmla="*/ 2 w 86"/>
                  <a:gd name="T29" fmla="*/ 30 h 54"/>
                  <a:gd name="T30" fmla="*/ 8 w 86"/>
                  <a:gd name="T31" fmla="*/ 22 h 54"/>
                  <a:gd name="T32" fmla="*/ 2 w 86"/>
                  <a:gd name="T33" fmla="*/ 14 h 54"/>
                  <a:gd name="T34" fmla="*/ 0 w 86"/>
                  <a:gd name="T35" fmla="*/ 10 h 54"/>
                  <a:gd name="T36" fmla="*/ 0 w 86"/>
                  <a:gd name="T37" fmla="*/ 10 h 54"/>
                  <a:gd name="T38" fmla="*/ 0 w 86"/>
                  <a:gd name="T39" fmla="*/ 6 h 54"/>
                  <a:gd name="T40" fmla="*/ 6 w 86"/>
                  <a:gd name="T41" fmla="*/ 2 h 54"/>
                  <a:gd name="T42" fmla="*/ 6 w 86"/>
                  <a:gd name="T43" fmla="*/ 2 h 54"/>
                  <a:gd name="T44" fmla="*/ 6 w 86"/>
                  <a:gd name="T45" fmla="*/ 2 h 54"/>
                  <a:gd name="T46" fmla="*/ 6 w 86"/>
                  <a:gd name="T47" fmla="*/ 2 h 54"/>
                  <a:gd name="T48" fmla="*/ 6 w 86"/>
                  <a:gd name="T49" fmla="*/ 2 h 54"/>
                  <a:gd name="T50" fmla="*/ 18 w 86"/>
                  <a:gd name="T51" fmla="*/ 6 h 54"/>
                  <a:gd name="T52" fmla="*/ 40 w 86"/>
                  <a:gd name="T53" fmla="*/ 6 h 54"/>
                  <a:gd name="T54" fmla="*/ 50 w 86"/>
                  <a:gd name="T55" fmla="*/ 6 h 54"/>
                  <a:gd name="T56" fmla="*/ 56 w 86"/>
                  <a:gd name="T57" fmla="*/ 0 h 54"/>
                  <a:gd name="T58" fmla="*/ 56 w 86"/>
                  <a:gd name="T59" fmla="*/ 0 h 54"/>
                  <a:gd name="T60" fmla="*/ 58 w 86"/>
                  <a:gd name="T61" fmla="*/ 0 h 54"/>
                  <a:gd name="T62" fmla="*/ 58 w 86"/>
                  <a:gd name="T63" fmla="*/ 0 h 54"/>
                  <a:gd name="T64" fmla="*/ 58 w 86"/>
                  <a:gd name="T65" fmla="*/ 0 h 54"/>
                  <a:gd name="T66" fmla="*/ 70 w 86"/>
                  <a:gd name="T67" fmla="*/ 2 h 54"/>
                  <a:gd name="T68" fmla="*/ 80 w 86"/>
                  <a:gd name="T69" fmla="*/ 8 h 54"/>
                  <a:gd name="T70" fmla="*/ 84 w 86"/>
                  <a:gd name="T71" fmla="*/ 8 h 54"/>
                  <a:gd name="T72" fmla="*/ 84 w 86"/>
                  <a:gd name="T73" fmla="*/ 8 h 54"/>
                  <a:gd name="T74" fmla="*/ 86 w 86"/>
                  <a:gd name="T75" fmla="*/ 10 h 54"/>
                  <a:gd name="T76" fmla="*/ 86 w 86"/>
                  <a:gd name="T77" fmla="*/ 14 h 54"/>
                  <a:gd name="T78" fmla="*/ 86 w 86"/>
                  <a:gd name="T79" fmla="*/ 14 h 54"/>
                  <a:gd name="T80" fmla="*/ 86 w 86"/>
                  <a:gd name="T81" fmla="*/ 16 h 54"/>
                  <a:gd name="T82" fmla="*/ 80 w 86"/>
                  <a:gd name="T83" fmla="*/ 18 h 54"/>
                  <a:gd name="T84" fmla="*/ 80 w 86"/>
                  <a:gd name="T85" fmla="*/ 26 h 54"/>
                  <a:gd name="T86" fmla="*/ 80 w 86"/>
                  <a:gd name="T87" fmla="*/ 26 h 54"/>
                  <a:gd name="T88" fmla="*/ 80 w 86"/>
                  <a:gd name="T89" fmla="*/ 28 h 54"/>
                  <a:gd name="T90" fmla="*/ 74 w 86"/>
                  <a:gd name="T91" fmla="*/ 34 h 54"/>
                  <a:gd name="T92" fmla="*/ 74 w 86"/>
                  <a:gd name="T93" fmla="*/ 34 h 54"/>
                  <a:gd name="T94" fmla="*/ 80 w 86"/>
                  <a:gd name="T95" fmla="*/ 38 h 54"/>
                  <a:gd name="T96" fmla="*/ 80 w 86"/>
                  <a:gd name="T97" fmla="*/ 38 h 54"/>
                  <a:gd name="T98" fmla="*/ 82 w 86"/>
                  <a:gd name="T99" fmla="*/ 40 h 54"/>
                  <a:gd name="T100" fmla="*/ 80 w 86"/>
                  <a:gd name="T101" fmla="*/ 44 h 54"/>
                  <a:gd name="T102" fmla="*/ 80 w 86"/>
                  <a:gd name="T103" fmla="*/ 44 h 54"/>
                  <a:gd name="T104" fmla="*/ 78 w 86"/>
                  <a:gd name="T105" fmla="*/ 44 h 54"/>
                  <a:gd name="T106" fmla="*/ 78 w 86"/>
                  <a:gd name="T107" fmla="*/ 44 h 54"/>
                  <a:gd name="T108" fmla="*/ 78 w 86"/>
                  <a:gd name="T109" fmla="*/ 44 h 54"/>
                  <a:gd name="T110" fmla="*/ 70 w 86"/>
                  <a:gd name="T111" fmla="*/ 42 h 54"/>
                  <a:gd name="T112" fmla="*/ 62 w 86"/>
                  <a:gd name="T113" fmla="*/ 42 h 54"/>
                  <a:gd name="T114" fmla="*/ 58 w 86"/>
                  <a:gd name="T115" fmla="*/ 44 h 54"/>
                  <a:gd name="T116" fmla="*/ 54 w 86"/>
                  <a:gd name="T117" fmla="*/ 48 h 54"/>
                  <a:gd name="T118" fmla="*/ 54 w 86"/>
                  <a:gd name="T119" fmla="*/ 52 h 54"/>
                  <a:gd name="T120" fmla="*/ 54 w 86"/>
                  <a:gd name="T121" fmla="*/ 52 h 54"/>
                  <a:gd name="T122" fmla="*/ 52 w 86"/>
                  <a:gd name="T123" fmla="*/ 54 h 54"/>
                  <a:gd name="T124" fmla="*/ 36 w 86"/>
                  <a:gd name="T1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54">
                    <a:moveTo>
                      <a:pt x="36" y="54"/>
                    </a:moveTo>
                    <a:lnTo>
                      <a:pt x="26" y="50"/>
                    </a:lnTo>
                    <a:lnTo>
                      <a:pt x="22" y="50"/>
                    </a:lnTo>
                    <a:lnTo>
                      <a:pt x="14" y="52"/>
                    </a:lnTo>
                    <a:lnTo>
                      <a:pt x="14" y="52"/>
                    </a:lnTo>
                    <a:lnTo>
                      <a:pt x="14" y="52"/>
                    </a:lnTo>
                    <a:lnTo>
                      <a:pt x="14" y="52"/>
                    </a:lnTo>
                    <a:lnTo>
                      <a:pt x="12" y="50"/>
                    </a:lnTo>
                    <a:lnTo>
                      <a:pt x="10" y="46"/>
                    </a:lnTo>
                    <a:lnTo>
                      <a:pt x="4" y="40"/>
                    </a:lnTo>
                    <a:lnTo>
                      <a:pt x="4" y="40"/>
                    </a:lnTo>
                    <a:lnTo>
                      <a:pt x="4" y="40"/>
                    </a:lnTo>
                    <a:lnTo>
                      <a:pt x="2" y="32"/>
                    </a:lnTo>
                    <a:lnTo>
                      <a:pt x="2" y="32"/>
                    </a:lnTo>
                    <a:lnTo>
                      <a:pt x="2" y="30"/>
                    </a:lnTo>
                    <a:lnTo>
                      <a:pt x="8" y="22"/>
                    </a:lnTo>
                    <a:lnTo>
                      <a:pt x="2" y="14"/>
                    </a:lnTo>
                    <a:lnTo>
                      <a:pt x="0" y="10"/>
                    </a:lnTo>
                    <a:lnTo>
                      <a:pt x="0" y="10"/>
                    </a:lnTo>
                    <a:lnTo>
                      <a:pt x="0" y="6"/>
                    </a:lnTo>
                    <a:lnTo>
                      <a:pt x="6" y="2"/>
                    </a:lnTo>
                    <a:lnTo>
                      <a:pt x="6" y="2"/>
                    </a:lnTo>
                    <a:lnTo>
                      <a:pt x="6" y="2"/>
                    </a:lnTo>
                    <a:lnTo>
                      <a:pt x="6" y="2"/>
                    </a:lnTo>
                    <a:lnTo>
                      <a:pt x="6" y="2"/>
                    </a:lnTo>
                    <a:lnTo>
                      <a:pt x="18" y="6"/>
                    </a:lnTo>
                    <a:lnTo>
                      <a:pt x="40" y="6"/>
                    </a:lnTo>
                    <a:lnTo>
                      <a:pt x="50" y="6"/>
                    </a:lnTo>
                    <a:lnTo>
                      <a:pt x="56" y="0"/>
                    </a:lnTo>
                    <a:lnTo>
                      <a:pt x="56" y="0"/>
                    </a:lnTo>
                    <a:lnTo>
                      <a:pt x="58" y="0"/>
                    </a:lnTo>
                    <a:lnTo>
                      <a:pt x="58" y="0"/>
                    </a:lnTo>
                    <a:lnTo>
                      <a:pt x="58" y="0"/>
                    </a:lnTo>
                    <a:lnTo>
                      <a:pt x="70" y="2"/>
                    </a:lnTo>
                    <a:lnTo>
                      <a:pt x="80" y="8"/>
                    </a:lnTo>
                    <a:lnTo>
                      <a:pt x="84" y="8"/>
                    </a:lnTo>
                    <a:lnTo>
                      <a:pt x="84" y="8"/>
                    </a:lnTo>
                    <a:lnTo>
                      <a:pt x="86" y="10"/>
                    </a:lnTo>
                    <a:lnTo>
                      <a:pt x="86" y="14"/>
                    </a:lnTo>
                    <a:lnTo>
                      <a:pt x="86" y="14"/>
                    </a:lnTo>
                    <a:lnTo>
                      <a:pt x="86" y="16"/>
                    </a:lnTo>
                    <a:lnTo>
                      <a:pt x="80" y="18"/>
                    </a:lnTo>
                    <a:lnTo>
                      <a:pt x="80" y="26"/>
                    </a:lnTo>
                    <a:lnTo>
                      <a:pt x="80" y="26"/>
                    </a:lnTo>
                    <a:lnTo>
                      <a:pt x="80" y="28"/>
                    </a:lnTo>
                    <a:lnTo>
                      <a:pt x="74" y="34"/>
                    </a:lnTo>
                    <a:lnTo>
                      <a:pt x="74" y="34"/>
                    </a:lnTo>
                    <a:lnTo>
                      <a:pt x="80" y="38"/>
                    </a:lnTo>
                    <a:lnTo>
                      <a:pt x="80" y="38"/>
                    </a:lnTo>
                    <a:lnTo>
                      <a:pt x="82" y="40"/>
                    </a:lnTo>
                    <a:lnTo>
                      <a:pt x="80" y="44"/>
                    </a:lnTo>
                    <a:lnTo>
                      <a:pt x="80" y="44"/>
                    </a:lnTo>
                    <a:lnTo>
                      <a:pt x="78" y="44"/>
                    </a:lnTo>
                    <a:lnTo>
                      <a:pt x="78" y="44"/>
                    </a:lnTo>
                    <a:lnTo>
                      <a:pt x="78" y="44"/>
                    </a:lnTo>
                    <a:lnTo>
                      <a:pt x="70" y="42"/>
                    </a:lnTo>
                    <a:lnTo>
                      <a:pt x="62" y="42"/>
                    </a:lnTo>
                    <a:lnTo>
                      <a:pt x="58" y="44"/>
                    </a:lnTo>
                    <a:lnTo>
                      <a:pt x="54" y="48"/>
                    </a:lnTo>
                    <a:lnTo>
                      <a:pt x="54" y="52"/>
                    </a:lnTo>
                    <a:lnTo>
                      <a:pt x="54" y="52"/>
                    </a:lnTo>
                    <a:lnTo>
                      <a:pt x="52" y="54"/>
                    </a:lnTo>
                    <a:lnTo>
                      <a:pt x="3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9" name="Freeform 691"/>
              <p:cNvSpPr>
                <a:spLocks noEditPoints="1"/>
              </p:cNvSpPr>
              <p:nvPr/>
            </p:nvSpPr>
            <p:spPr bwMode="auto">
              <a:xfrm>
                <a:off x="3209" y="1851"/>
                <a:ext cx="90" cy="58"/>
              </a:xfrm>
              <a:custGeom>
                <a:avLst/>
                <a:gdLst>
                  <a:gd name="T0" fmla="*/ 72 w 90"/>
                  <a:gd name="T1" fmla="*/ 6 h 58"/>
                  <a:gd name="T2" fmla="*/ 86 w 90"/>
                  <a:gd name="T3" fmla="*/ 12 h 58"/>
                  <a:gd name="T4" fmla="*/ 80 w 90"/>
                  <a:gd name="T5" fmla="*/ 18 h 58"/>
                  <a:gd name="T6" fmla="*/ 74 w 90"/>
                  <a:gd name="T7" fmla="*/ 36 h 58"/>
                  <a:gd name="T8" fmla="*/ 82 w 90"/>
                  <a:gd name="T9" fmla="*/ 40 h 58"/>
                  <a:gd name="T10" fmla="*/ 72 w 90"/>
                  <a:gd name="T11" fmla="*/ 42 h 58"/>
                  <a:gd name="T12" fmla="*/ 58 w 90"/>
                  <a:gd name="T13" fmla="*/ 44 h 58"/>
                  <a:gd name="T14" fmla="*/ 54 w 90"/>
                  <a:gd name="T15" fmla="*/ 54 h 58"/>
                  <a:gd name="T16" fmla="*/ 38 w 90"/>
                  <a:gd name="T17" fmla="*/ 54 h 58"/>
                  <a:gd name="T18" fmla="*/ 24 w 90"/>
                  <a:gd name="T19" fmla="*/ 50 h 58"/>
                  <a:gd name="T20" fmla="*/ 14 w 90"/>
                  <a:gd name="T21" fmla="*/ 46 h 58"/>
                  <a:gd name="T22" fmla="*/ 6 w 90"/>
                  <a:gd name="T23" fmla="*/ 34 h 58"/>
                  <a:gd name="T24" fmla="*/ 6 w 90"/>
                  <a:gd name="T25" fmla="*/ 16 h 58"/>
                  <a:gd name="T26" fmla="*/ 8 w 90"/>
                  <a:gd name="T27" fmla="*/ 6 h 58"/>
                  <a:gd name="T28" fmla="*/ 42 w 90"/>
                  <a:gd name="T29" fmla="*/ 10 h 58"/>
                  <a:gd name="T30" fmla="*/ 60 w 90"/>
                  <a:gd name="T31" fmla="*/ 4 h 58"/>
                  <a:gd name="T32" fmla="*/ 60 w 90"/>
                  <a:gd name="T33" fmla="*/ 0 h 58"/>
                  <a:gd name="T34" fmla="*/ 50 w 90"/>
                  <a:gd name="T35" fmla="*/ 6 h 58"/>
                  <a:gd name="T36" fmla="*/ 20 w 90"/>
                  <a:gd name="T37" fmla="*/ 6 h 58"/>
                  <a:gd name="T38" fmla="*/ 10 w 90"/>
                  <a:gd name="T39" fmla="*/ 2 h 58"/>
                  <a:gd name="T40" fmla="*/ 8 w 90"/>
                  <a:gd name="T41" fmla="*/ 2 h 58"/>
                  <a:gd name="T42" fmla="*/ 0 w 90"/>
                  <a:gd name="T43" fmla="*/ 6 h 58"/>
                  <a:gd name="T44" fmla="*/ 0 w 90"/>
                  <a:gd name="T45" fmla="*/ 10 h 58"/>
                  <a:gd name="T46" fmla="*/ 4 w 90"/>
                  <a:gd name="T47" fmla="*/ 18 h 58"/>
                  <a:gd name="T48" fmla="*/ 2 w 90"/>
                  <a:gd name="T49" fmla="*/ 32 h 58"/>
                  <a:gd name="T50" fmla="*/ 2 w 90"/>
                  <a:gd name="T51" fmla="*/ 34 h 58"/>
                  <a:gd name="T52" fmla="*/ 4 w 90"/>
                  <a:gd name="T53" fmla="*/ 42 h 58"/>
                  <a:gd name="T54" fmla="*/ 10 w 90"/>
                  <a:gd name="T55" fmla="*/ 48 h 58"/>
                  <a:gd name="T56" fmla="*/ 12 w 90"/>
                  <a:gd name="T57" fmla="*/ 52 h 58"/>
                  <a:gd name="T58" fmla="*/ 16 w 90"/>
                  <a:gd name="T59" fmla="*/ 56 h 58"/>
                  <a:gd name="T60" fmla="*/ 16 w 90"/>
                  <a:gd name="T61" fmla="*/ 56 h 58"/>
                  <a:gd name="T62" fmla="*/ 28 w 90"/>
                  <a:gd name="T63" fmla="*/ 54 h 58"/>
                  <a:gd name="T64" fmla="*/ 36 w 90"/>
                  <a:gd name="T65" fmla="*/ 58 h 58"/>
                  <a:gd name="T66" fmla="*/ 48 w 90"/>
                  <a:gd name="T67" fmla="*/ 58 h 58"/>
                  <a:gd name="T68" fmla="*/ 54 w 90"/>
                  <a:gd name="T69" fmla="*/ 58 h 58"/>
                  <a:gd name="T70" fmla="*/ 58 w 90"/>
                  <a:gd name="T71" fmla="*/ 54 h 58"/>
                  <a:gd name="T72" fmla="*/ 60 w 90"/>
                  <a:gd name="T73" fmla="*/ 48 h 58"/>
                  <a:gd name="T74" fmla="*/ 70 w 90"/>
                  <a:gd name="T75" fmla="*/ 46 h 58"/>
                  <a:gd name="T76" fmla="*/ 80 w 90"/>
                  <a:gd name="T77" fmla="*/ 48 h 58"/>
                  <a:gd name="T78" fmla="*/ 80 w 90"/>
                  <a:gd name="T79" fmla="*/ 48 h 58"/>
                  <a:gd name="T80" fmla="*/ 84 w 90"/>
                  <a:gd name="T81" fmla="*/ 46 h 58"/>
                  <a:gd name="T82" fmla="*/ 86 w 90"/>
                  <a:gd name="T83" fmla="*/ 42 h 58"/>
                  <a:gd name="T84" fmla="*/ 84 w 90"/>
                  <a:gd name="T85" fmla="*/ 38 h 58"/>
                  <a:gd name="T86" fmla="*/ 84 w 90"/>
                  <a:gd name="T87" fmla="*/ 32 h 58"/>
                  <a:gd name="T88" fmla="*/ 84 w 90"/>
                  <a:gd name="T89" fmla="*/ 28 h 58"/>
                  <a:gd name="T90" fmla="*/ 88 w 90"/>
                  <a:gd name="T91" fmla="*/ 20 h 58"/>
                  <a:gd name="T92" fmla="*/ 90 w 90"/>
                  <a:gd name="T93" fmla="*/ 18 h 58"/>
                  <a:gd name="T94" fmla="*/ 90 w 90"/>
                  <a:gd name="T95" fmla="*/ 12 h 58"/>
                  <a:gd name="T96" fmla="*/ 90 w 90"/>
                  <a:gd name="T97" fmla="*/ 10 h 58"/>
                  <a:gd name="T98" fmla="*/ 82 w 90"/>
                  <a:gd name="T99" fmla="*/ 8 h 58"/>
                  <a:gd name="T100" fmla="*/ 74 w 90"/>
                  <a:gd name="T101" fmla="*/ 4 h 58"/>
                  <a:gd name="T102" fmla="*/ 60 w 90"/>
                  <a:gd name="T103" fmla="*/ 0 h 58"/>
                  <a:gd name="T104" fmla="*/ 60 w 90"/>
                  <a:gd name="T10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58">
                    <a:moveTo>
                      <a:pt x="60" y="4"/>
                    </a:moveTo>
                    <a:lnTo>
                      <a:pt x="72" y="6"/>
                    </a:lnTo>
                    <a:lnTo>
                      <a:pt x="82" y="12"/>
                    </a:lnTo>
                    <a:lnTo>
                      <a:pt x="86" y="12"/>
                    </a:lnTo>
                    <a:lnTo>
                      <a:pt x="86" y="16"/>
                    </a:lnTo>
                    <a:lnTo>
                      <a:pt x="80" y="18"/>
                    </a:lnTo>
                    <a:lnTo>
                      <a:pt x="80" y="28"/>
                    </a:lnTo>
                    <a:lnTo>
                      <a:pt x="74" y="36"/>
                    </a:lnTo>
                    <a:lnTo>
                      <a:pt x="74" y="38"/>
                    </a:lnTo>
                    <a:lnTo>
                      <a:pt x="82" y="40"/>
                    </a:lnTo>
                    <a:lnTo>
                      <a:pt x="80" y="44"/>
                    </a:lnTo>
                    <a:lnTo>
                      <a:pt x="72" y="42"/>
                    </a:lnTo>
                    <a:lnTo>
                      <a:pt x="64" y="40"/>
                    </a:lnTo>
                    <a:lnTo>
                      <a:pt x="58" y="44"/>
                    </a:lnTo>
                    <a:lnTo>
                      <a:pt x="54" y="50"/>
                    </a:lnTo>
                    <a:lnTo>
                      <a:pt x="54" y="54"/>
                    </a:lnTo>
                    <a:lnTo>
                      <a:pt x="48" y="54"/>
                    </a:lnTo>
                    <a:lnTo>
                      <a:pt x="38" y="54"/>
                    </a:lnTo>
                    <a:lnTo>
                      <a:pt x="28" y="50"/>
                    </a:lnTo>
                    <a:lnTo>
                      <a:pt x="24" y="50"/>
                    </a:lnTo>
                    <a:lnTo>
                      <a:pt x="16" y="52"/>
                    </a:lnTo>
                    <a:lnTo>
                      <a:pt x="14" y="46"/>
                    </a:lnTo>
                    <a:lnTo>
                      <a:pt x="8" y="40"/>
                    </a:lnTo>
                    <a:lnTo>
                      <a:pt x="6" y="34"/>
                    </a:lnTo>
                    <a:lnTo>
                      <a:pt x="12" y="22"/>
                    </a:lnTo>
                    <a:lnTo>
                      <a:pt x="6" y="16"/>
                    </a:lnTo>
                    <a:lnTo>
                      <a:pt x="4" y="10"/>
                    </a:lnTo>
                    <a:lnTo>
                      <a:pt x="8" y="6"/>
                    </a:lnTo>
                    <a:lnTo>
                      <a:pt x="18" y="10"/>
                    </a:lnTo>
                    <a:lnTo>
                      <a:pt x="42" y="10"/>
                    </a:lnTo>
                    <a:lnTo>
                      <a:pt x="52" y="10"/>
                    </a:lnTo>
                    <a:lnTo>
                      <a:pt x="60" y="4"/>
                    </a:lnTo>
                    <a:close/>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0" name="Freeform 692"/>
              <p:cNvSpPr>
                <a:spLocks/>
              </p:cNvSpPr>
              <p:nvPr/>
            </p:nvSpPr>
            <p:spPr bwMode="auto">
              <a:xfrm>
                <a:off x="3213" y="1855"/>
                <a:ext cx="82" cy="50"/>
              </a:xfrm>
              <a:custGeom>
                <a:avLst/>
                <a:gdLst>
                  <a:gd name="T0" fmla="*/ 56 w 82"/>
                  <a:gd name="T1" fmla="*/ 0 h 50"/>
                  <a:gd name="T2" fmla="*/ 68 w 82"/>
                  <a:gd name="T3" fmla="*/ 2 h 50"/>
                  <a:gd name="T4" fmla="*/ 78 w 82"/>
                  <a:gd name="T5" fmla="*/ 8 h 50"/>
                  <a:gd name="T6" fmla="*/ 82 w 82"/>
                  <a:gd name="T7" fmla="*/ 8 h 50"/>
                  <a:gd name="T8" fmla="*/ 82 w 82"/>
                  <a:gd name="T9" fmla="*/ 12 h 50"/>
                  <a:gd name="T10" fmla="*/ 76 w 82"/>
                  <a:gd name="T11" fmla="*/ 14 h 50"/>
                  <a:gd name="T12" fmla="*/ 76 w 82"/>
                  <a:gd name="T13" fmla="*/ 24 h 50"/>
                  <a:gd name="T14" fmla="*/ 70 w 82"/>
                  <a:gd name="T15" fmla="*/ 32 h 50"/>
                  <a:gd name="T16" fmla="*/ 70 w 82"/>
                  <a:gd name="T17" fmla="*/ 34 h 50"/>
                  <a:gd name="T18" fmla="*/ 78 w 82"/>
                  <a:gd name="T19" fmla="*/ 36 h 50"/>
                  <a:gd name="T20" fmla="*/ 76 w 82"/>
                  <a:gd name="T21" fmla="*/ 40 h 50"/>
                  <a:gd name="T22" fmla="*/ 68 w 82"/>
                  <a:gd name="T23" fmla="*/ 38 h 50"/>
                  <a:gd name="T24" fmla="*/ 60 w 82"/>
                  <a:gd name="T25" fmla="*/ 36 h 50"/>
                  <a:gd name="T26" fmla="*/ 54 w 82"/>
                  <a:gd name="T27" fmla="*/ 40 h 50"/>
                  <a:gd name="T28" fmla="*/ 50 w 82"/>
                  <a:gd name="T29" fmla="*/ 46 h 50"/>
                  <a:gd name="T30" fmla="*/ 50 w 82"/>
                  <a:gd name="T31" fmla="*/ 50 h 50"/>
                  <a:gd name="T32" fmla="*/ 44 w 82"/>
                  <a:gd name="T33" fmla="*/ 50 h 50"/>
                  <a:gd name="T34" fmla="*/ 34 w 82"/>
                  <a:gd name="T35" fmla="*/ 50 h 50"/>
                  <a:gd name="T36" fmla="*/ 24 w 82"/>
                  <a:gd name="T37" fmla="*/ 46 h 50"/>
                  <a:gd name="T38" fmla="*/ 20 w 82"/>
                  <a:gd name="T39" fmla="*/ 46 h 50"/>
                  <a:gd name="T40" fmla="*/ 12 w 82"/>
                  <a:gd name="T41" fmla="*/ 48 h 50"/>
                  <a:gd name="T42" fmla="*/ 10 w 82"/>
                  <a:gd name="T43" fmla="*/ 42 h 50"/>
                  <a:gd name="T44" fmla="*/ 4 w 82"/>
                  <a:gd name="T45" fmla="*/ 36 h 50"/>
                  <a:gd name="T46" fmla="*/ 2 w 82"/>
                  <a:gd name="T47" fmla="*/ 30 h 50"/>
                  <a:gd name="T48" fmla="*/ 8 w 82"/>
                  <a:gd name="T49" fmla="*/ 18 h 50"/>
                  <a:gd name="T50" fmla="*/ 2 w 82"/>
                  <a:gd name="T51" fmla="*/ 12 h 50"/>
                  <a:gd name="T52" fmla="*/ 0 w 82"/>
                  <a:gd name="T53" fmla="*/ 6 h 50"/>
                  <a:gd name="T54" fmla="*/ 4 w 82"/>
                  <a:gd name="T55" fmla="*/ 2 h 50"/>
                  <a:gd name="T56" fmla="*/ 14 w 82"/>
                  <a:gd name="T57" fmla="*/ 6 h 50"/>
                  <a:gd name="T58" fmla="*/ 38 w 82"/>
                  <a:gd name="T59" fmla="*/ 6 h 50"/>
                  <a:gd name="T60" fmla="*/ 48 w 82"/>
                  <a:gd name="T61" fmla="*/ 6 h 50"/>
                  <a:gd name="T62" fmla="*/ 56 w 8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50">
                    <a:moveTo>
                      <a:pt x="56" y="0"/>
                    </a:moveTo>
                    <a:lnTo>
                      <a:pt x="68" y="2"/>
                    </a:lnTo>
                    <a:lnTo>
                      <a:pt x="78" y="8"/>
                    </a:lnTo>
                    <a:lnTo>
                      <a:pt x="82" y="8"/>
                    </a:lnTo>
                    <a:lnTo>
                      <a:pt x="82" y="12"/>
                    </a:lnTo>
                    <a:lnTo>
                      <a:pt x="76" y="14"/>
                    </a:lnTo>
                    <a:lnTo>
                      <a:pt x="76" y="24"/>
                    </a:lnTo>
                    <a:lnTo>
                      <a:pt x="70" y="32"/>
                    </a:lnTo>
                    <a:lnTo>
                      <a:pt x="70" y="34"/>
                    </a:lnTo>
                    <a:lnTo>
                      <a:pt x="78" y="36"/>
                    </a:lnTo>
                    <a:lnTo>
                      <a:pt x="76" y="40"/>
                    </a:lnTo>
                    <a:lnTo>
                      <a:pt x="68" y="38"/>
                    </a:lnTo>
                    <a:lnTo>
                      <a:pt x="60" y="36"/>
                    </a:lnTo>
                    <a:lnTo>
                      <a:pt x="54" y="40"/>
                    </a:lnTo>
                    <a:lnTo>
                      <a:pt x="50" y="46"/>
                    </a:lnTo>
                    <a:lnTo>
                      <a:pt x="50" y="50"/>
                    </a:lnTo>
                    <a:lnTo>
                      <a:pt x="44" y="50"/>
                    </a:lnTo>
                    <a:lnTo>
                      <a:pt x="34" y="50"/>
                    </a:lnTo>
                    <a:lnTo>
                      <a:pt x="24" y="46"/>
                    </a:lnTo>
                    <a:lnTo>
                      <a:pt x="20" y="46"/>
                    </a:lnTo>
                    <a:lnTo>
                      <a:pt x="12" y="48"/>
                    </a:lnTo>
                    <a:lnTo>
                      <a:pt x="10" y="42"/>
                    </a:lnTo>
                    <a:lnTo>
                      <a:pt x="4" y="36"/>
                    </a:lnTo>
                    <a:lnTo>
                      <a:pt x="2" y="30"/>
                    </a:lnTo>
                    <a:lnTo>
                      <a:pt x="8" y="18"/>
                    </a:lnTo>
                    <a:lnTo>
                      <a:pt x="2" y="12"/>
                    </a:lnTo>
                    <a:lnTo>
                      <a:pt x="0" y="6"/>
                    </a:lnTo>
                    <a:lnTo>
                      <a:pt x="4" y="2"/>
                    </a:lnTo>
                    <a:lnTo>
                      <a:pt x="14" y="6"/>
                    </a:lnTo>
                    <a:lnTo>
                      <a:pt x="38" y="6"/>
                    </a:lnTo>
                    <a:lnTo>
                      <a:pt x="48"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1" name="Freeform 693"/>
              <p:cNvSpPr>
                <a:spLocks/>
              </p:cNvSpPr>
              <p:nvPr/>
            </p:nvSpPr>
            <p:spPr bwMode="auto">
              <a:xfrm>
                <a:off x="3209" y="1851"/>
                <a:ext cx="90" cy="58"/>
              </a:xfrm>
              <a:custGeom>
                <a:avLst/>
                <a:gdLst>
                  <a:gd name="T0" fmla="*/ 60 w 90"/>
                  <a:gd name="T1" fmla="*/ 0 h 58"/>
                  <a:gd name="T2" fmla="*/ 50 w 90"/>
                  <a:gd name="T3" fmla="*/ 6 h 58"/>
                  <a:gd name="T4" fmla="*/ 20 w 90"/>
                  <a:gd name="T5" fmla="*/ 6 h 58"/>
                  <a:gd name="T6" fmla="*/ 10 w 90"/>
                  <a:gd name="T7" fmla="*/ 2 h 58"/>
                  <a:gd name="T8" fmla="*/ 8 w 90"/>
                  <a:gd name="T9" fmla="*/ 2 h 58"/>
                  <a:gd name="T10" fmla="*/ 0 w 90"/>
                  <a:gd name="T11" fmla="*/ 6 h 58"/>
                  <a:gd name="T12" fmla="*/ 0 w 90"/>
                  <a:gd name="T13" fmla="*/ 10 h 58"/>
                  <a:gd name="T14" fmla="*/ 4 w 90"/>
                  <a:gd name="T15" fmla="*/ 18 h 58"/>
                  <a:gd name="T16" fmla="*/ 2 w 90"/>
                  <a:gd name="T17" fmla="*/ 32 h 58"/>
                  <a:gd name="T18" fmla="*/ 2 w 90"/>
                  <a:gd name="T19" fmla="*/ 34 h 58"/>
                  <a:gd name="T20" fmla="*/ 4 w 90"/>
                  <a:gd name="T21" fmla="*/ 42 h 58"/>
                  <a:gd name="T22" fmla="*/ 10 w 90"/>
                  <a:gd name="T23" fmla="*/ 48 h 58"/>
                  <a:gd name="T24" fmla="*/ 12 w 90"/>
                  <a:gd name="T25" fmla="*/ 52 h 58"/>
                  <a:gd name="T26" fmla="*/ 16 w 90"/>
                  <a:gd name="T27" fmla="*/ 56 h 58"/>
                  <a:gd name="T28" fmla="*/ 16 w 90"/>
                  <a:gd name="T29" fmla="*/ 56 h 58"/>
                  <a:gd name="T30" fmla="*/ 28 w 90"/>
                  <a:gd name="T31" fmla="*/ 54 h 58"/>
                  <a:gd name="T32" fmla="*/ 36 w 90"/>
                  <a:gd name="T33" fmla="*/ 58 h 58"/>
                  <a:gd name="T34" fmla="*/ 48 w 90"/>
                  <a:gd name="T35" fmla="*/ 58 h 58"/>
                  <a:gd name="T36" fmla="*/ 54 w 90"/>
                  <a:gd name="T37" fmla="*/ 58 h 58"/>
                  <a:gd name="T38" fmla="*/ 58 w 90"/>
                  <a:gd name="T39" fmla="*/ 54 h 58"/>
                  <a:gd name="T40" fmla="*/ 60 w 90"/>
                  <a:gd name="T41" fmla="*/ 48 h 58"/>
                  <a:gd name="T42" fmla="*/ 70 w 90"/>
                  <a:gd name="T43" fmla="*/ 46 h 58"/>
                  <a:gd name="T44" fmla="*/ 80 w 90"/>
                  <a:gd name="T45" fmla="*/ 48 h 58"/>
                  <a:gd name="T46" fmla="*/ 80 w 90"/>
                  <a:gd name="T47" fmla="*/ 48 h 58"/>
                  <a:gd name="T48" fmla="*/ 84 w 90"/>
                  <a:gd name="T49" fmla="*/ 46 h 58"/>
                  <a:gd name="T50" fmla="*/ 86 w 90"/>
                  <a:gd name="T51" fmla="*/ 42 h 58"/>
                  <a:gd name="T52" fmla="*/ 84 w 90"/>
                  <a:gd name="T53" fmla="*/ 38 h 58"/>
                  <a:gd name="T54" fmla="*/ 84 w 90"/>
                  <a:gd name="T55" fmla="*/ 32 h 58"/>
                  <a:gd name="T56" fmla="*/ 84 w 90"/>
                  <a:gd name="T57" fmla="*/ 28 h 58"/>
                  <a:gd name="T58" fmla="*/ 88 w 90"/>
                  <a:gd name="T59" fmla="*/ 20 h 58"/>
                  <a:gd name="T60" fmla="*/ 90 w 90"/>
                  <a:gd name="T61" fmla="*/ 18 h 58"/>
                  <a:gd name="T62" fmla="*/ 90 w 90"/>
                  <a:gd name="T63" fmla="*/ 12 h 58"/>
                  <a:gd name="T64" fmla="*/ 90 w 90"/>
                  <a:gd name="T65" fmla="*/ 10 h 58"/>
                  <a:gd name="T66" fmla="*/ 82 w 90"/>
                  <a:gd name="T67" fmla="*/ 8 h 58"/>
                  <a:gd name="T68" fmla="*/ 74 w 90"/>
                  <a:gd name="T69" fmla="*/ 4 h 58"/>
                  <a:gd name="T70" fmla="*/ 60 w 90"/>
                  <a:gd name="T71" fmla="*/ 0 h 58"/>
                  <a:gd name="T72" fmla="*/ 60 w 90"/>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58">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2" name="Freeform 694"/>
              <p:cNvSpPr>
                <a:spLocks/>
              </p:cNvSpPr>
              <p:nvPr/>
            </p:nvSpPr>
            <p:spPr bwMode="auto">
              <a:xfrm>
                <a:off x="3261" y="1885"/>
                <a:ext cx="42" cy="32"/>
              </a:xfrm>
              <a:custGeom>
                <a:avLst/>
                <a:gdLst>
                  <a:gd name="T0" fmla="*/ 6 w 42"/>
                  <a:gd name="T1" fmla="*/ 32 h 32"/>
                  <a:gd name="T2" fmla="*/ 6 w 42"/>
                  <a:gd name="T3" fmla="*/ 32 h 32"/>
                  <a:gd name="T4" fmla="*/ 4 w 42"/>
                  <a:gd name="T5" fmla="*/ 32 h 32"/>
                  <a:gd name="T6" fmla="*/ 4 w 42"/>
                  <a:gd name="T7" fmla="*/ 32 h 32"/>
                  <a:gd name="T8" fmla="*/ 4 w 42"/>
                  <a:gd name="T9" fmla="*/ 30 h 32"/>
                  <a:gd name="T10" fmla="*/ 4 w 42"/>
                  <a:gd name="T11" fmla="*/ 30 h 32"/>
                  <a:gd name="T12" fmla="*/ 4 w 42"/>
                  <a:gd name="T13" fmla="*/ 30 h 32"/>
                  <a:gd name="T14" fmla="*/ 4 w 42"/>
                  <a:gd name="T15" fmla="*/ 30 h 32"/>
                  <a:gd name="T16" fmla="*/ 2 w 42"/>
                  <a:gd name="T17" fmla="*/ 28 h 32"/>
                  <a:gd name="T18" fmla="*/ 0 w 42"/>
                  <a:gd name="T19" fmla="*/ 22 h 32"/>
                  <a:gd name="T20" fmla="*/ 0 w 42"/>
                  <a:gd name="T21" fmla="*/ 16 h 32"/>
                  <a:gd name="T22" fmla="*/ 0 w 42"/>
                  <a:gd name="T23" fmla="*/ 12 h 32"/>
                  <a:gd name="T24" fmla="*/ 0 w 42"/>
                  <a:gd name="T25" fmla="*/ 12 h 32"/>
                  <a:gd name="T26" fmla="*/ 0 w 42"/>
                  <a:gd name="T27" fmla="*/ 10 h 32"/>
                  <a:gd name="T28" fmla="*/ 4 w 42"/>
                  <a:gd name="T29" fmla="*/ 6 h 32"/>
                  <a:gd name="T30" fmla="*/ 4 w 42"/>
                  <a:gd name="T31" fmla="*/ 6 h 32"/>
                  <a:gd name="T32" fmla="*/ 4 w 42"/>
                  <a:gd name="T33" fmla="*/ 4 h 32"/>
                  <a:gd name="T34" fmla="*/ 12 w 42"/>
                  <a:gd name="T35" fmla="*/ 0 h 32"/>
                  <a:gd name="T36" fmla="*/ 12 w 42"/>
                  <a:gd name="T37" fmla="*/ 0 h 32"/>
                  <a:gd name="T38" fmla="*/ 12 w 42"/>
                  <a:gd name="T39" fmla="*/ 0 h 32"/>
                  <a:gd name="T40" fmla="*/ 12 w 42"/>
                  <a:gd name="T41" fmla="*/ 0 h 32"/>
                  <a:gd name="T42" fmla="*/ 14 w 42"/>
                  <a:gd name="T43" fmla="*/ 0 h 32"/>
                  <a:gd name="T44" fmla="*/ 22 w 42"/>
                  <a:gd name="T45" fmla="*/ 4 h 32"/>
                  <a:gd name="T46" fmla="*/ 30 w 42"/>
                  <a:gd name="T47" fmla="*/ 4 h 32"/>
                  <a:gd name="T48" fmla="*/ 30 w 42"/>
                  <a:gd name="T49" fmla="*/ 4 h 32"/>
                  <a:gd name="T50" fmla="*/ 32 w 42"/>
                  <a:gd name="T51" fmla="*/ 6 h 32"/>
                  <a:gd name="T52" fmla="*/ 32 w 42"/>
                  <a:gd name="T53" fmla="*/ 10 h 32"/>
                  <a:gd name="T54" fmla="*/ 38 w 42"/>
                  <a:gd name="T55" fmla="*/ 14 h 32"/>
                  <a:gd name="T56" fmla="*/ 42 w 42"/>
                  <a:gd name="T57" fmla="*/ 18 h 32"/>
                  <a:gd name="T58" fmla="*/ 42 w 42"/>
                  <a:gd name="T59" fmla="*/ 18 h 32"/>
                  <a:gd name="T60" fmla="*/ 42 w 42"/>
                  <a:gd name="T61" fmla="*/ 20 h 32"/>
                  <a:gd name="T62" fmla="*/ 42 w 42"/>
                  <a:gd name="T63" fmla="*/ 20 h 32"/>
                  <a:gd name="T64" fmla="*/ 40 w 42"/>
                  <a:gd name="T65" fmla="*/ 22 h 32"/>
                  <a:gd name="T66" fmla="*/ 40 w 42"/>
                  <a:gd name="T67" fmla="*/ 22 h 32"/>
                  <a:gd name="T68" fmla="*/ 40 w 42"/>
                  <a:gd name="T69" fmla="*/ 22 h 32"/>
                  <a:gd name="T70" fmla="*/ 34 w 42"/>
                  <a:gd name="T71" fmla="*/ 20 h 32"/>
                  <a:gd name="T72" fmla="*/ 26 w 42"/>
                  <a:gd name="T73" fmla="*/ 24 h 32"/>
                  <a:gd name="T74" fmla="*/ 16 w 42"/>
                  <a:gd name="T75" fmla="*/ 30 h 32"/>
                  <a:gd name="T76" fmla="*/ 6 w 42"/>
                  <a:gd name="T77" fmla="*/ 32 h 32"/>
                  <a:gd name="T78" fmla="*/ 6 w 42"/>
                  <a:gd name="T79" fmla="*/ 32 h 32"/>
                  <a:gd name="T80" fmla="*/ 6 w 42"/>
                  <a:gd name="T81" fmla="*/ 32 h 32"/>
                  <a:gd name="T82" fmla="*/ 6 w 42"/>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32">
                    <a:moveTo>
                      <a:pt x="6" y="32"/>
                    </a:moveTo>
                    <a:lnTo>
                      <a:pt x="6" y="32"/>
                    </a:lnTo>
                    <a:lnTo>
                      <a:pt x="4" y="32"/>
                    </a:lnTo>
                    <a:lnTo>
                      <a:pt x="4" y="32"/>
                    </a:lnTo>
                    <a:lnTo>
                      <a:pt x="4" y="30"/>
                    </a:lnTo>
                    <a:lnTo>
                      <a:pt x="4" y="30"/>
                    </a:lnTo>
                    <a:lnTo>
                      <a:pt x="4" y="30"/>
                    </a:lnTo>
                    <a:lnTo>
                      <a:pt x="4" y="30"/>
                    </a:lnTo>
                    <a:lnTo>
                      <a:pt x="2" y="28"/>
                    </a:lnTo>
                    <a:lnTo>
                      <a:pt x="0" y="22"/>
                    </a:lnTo>
                    <a:lnTo>
                      <a:pt x="0" y="16"/>
                    </a:lnTo>
                    <a:lnTo>
                      <a:pt x="0" y="12"/>
                    </a:lnTo>
                    <a:lnTo>
                      <a:pt x="0" y="12"/>
                    </a:lnTo>
                    <a:lnTo>
                      <a:pt x="0" y="10"/>
                    </a:lnTo>
                    <a:lnTo>
                      <a:pt x="4" y="6"/>
                    </a:lnTo>
                    <a:lnTo>
                      <a:pt x="4" y="6"/>
                    </a:lnTo>
                    <a:lnTo>
                      <a:pt x="4" y="4"/>
                    </a:lnTo>
                    <a:lnTo>
                      <a:pt x="12" y="0"/>
                    </a:lnTo>
                    <a:lnTo>
                      <a:pt x="12" y="0"/>
                    </a:lnTo>
                    <a:lnTo>
                      <a:pt x="12" y="0"/>
                    </a:lnTo>
                    <a:lnTo>
                      <a:pt x="12" y="0"/>
                    </a:lnTo>
                    <a:lnTo>
                      <a:pt x="14" y="0"/>
                    </a:lnTo>
                    <a:lnTo>
                      <a:pt x="22" y="4"/>
                    </a:lnTo>
                    <a:lnTo>
                      <a:pt x="30" y="4"/>
                    </a:lnTo>
                    <a:lnTo>
                      <a:pt x="30" y="4"/>
                    </a:lnTo>
                    <a:lnTo>
                      <a:pt x="32" y="6"/>
                    </a:lnTo>
                    <a:lnTo>
                      <a:pt x="32" y="10"/>
                    </a:lnTo>
                    <a:lnTo>
                      <a:pt x="38" y="14"/>
                    </a:lnTo>
                    <a:lnTo>
                      <a:pt x="42" y="18"/>
                    </a:lnTo>
                    <a:lnTo>
                      <a:pt x="42" y="18"/>
                    </a:lnTo>
                    <a:lnTo>
                      <a:pt x="42" y="20"/>
                    </a:lnTo>
                    <a:lnTo>
                      <a:pt x="42" y="20"/>
                    </a:lnTo>
                    <a:lnTo>
                      <a:pt x="40" y="22"/>
                    </a:lnTo>
                    <a:lnTo>
                      <a:pt x="40" y="22"/>
                    </a:lnTo>
                    <a:lnTo>
                      <a:pt x="40" y="22"/>
                    </a:lnTo>
                    <a:lnTo>
                      <a:pt x="34" y="20"/>
                    </a:lnTo>
                    <a:lnTo>
                      <a:pt x="26" y="24"/>
                    </a:lnTo>
                    <a:lnTo>
                      <a:pt x="16" y="30"/>
                    </a:lnTo>
                    <a:lnTo>
                      <a:pt x="6" y="32"/>
                    </a:lnTo>
                    <a:lnTo>
                      <a:pt x="6"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3" name="Freeform 695"/>
              <p:cNvSpPr>
                <a:spLocks noEditPoints="1"/>
              </p:cNvSpPr>
              <p:nvPr/>
            </p:nvSpPr>
            <p:spPr bwMode="auto">
              <a:xfrm>
                <a:off x="3259" y="1883"/>
                <a:ext cx="46" cy="36"/>
              </a:xfrm>
              <a:custGeom>
                <a:avLst/>
                <a:gdLst>
                  <a:gd name="T0" fmla="*/ 24 w 46"/>
                  <a:gd name="T1" fmla="*/ 8 h 36"/>
                  <a:gd name="T2" fmla="*/ 34 w 46"/>
                  <a:gd name="T3" fmla="*/ 14 h 36"/>
                  <a:gd name="T4" fmla="*/ 42 w 46"/>
                  <a:gd name="T5" fmla="*/ 22 h 36"/>
                  <a:gd name="T6" fmla="*/ 28 w 46"/>
                  <a:gd name="T7" fmla="*/ 24 h 36"/>
                  <a:gd name="T8" fmla="*/ 8 w 46"/>
                  <a:gd name="T9" fmla="*/ 32 h 36"/>
                  <a:gd name="T10" fmla="*/ 6 w 46"/>
                  <a:gd name="T11" fmla="*/ 30 h 36"/>
                  <a:gd name="T12" fmla="*/ 4 w 46"/>
                  <a:gd name="T13" fmla="*/ 18 h 36"/>
                  <a:gd name="T14" fmla="*/ 8 w 46"/>
                  <a:gd name="T15" fmla="*/ 8 h 36"/>
                  <a:gd name="T16" fmla="*/ 14 w 46"/>
                  <a:gd name="T17" fmla="*/ 0 h 36"/>
                  <a:gd name="T18" fmla="*/ 12 w 46"/>
                  <a:gd name="T19" fmla="*/ 2 h 36"/>
                  <a:gd name="T20" fmla="*/ 6 w 46"/>
                  <a:gd name="T21" fmla="*/ 4 h 36"/>
                  <a:gd name="T22" fmla="*/ 0 w 46"/>
                  <a:gd name="T23" fmla="*/ 12 h 36"/>
                  <a:gd name="T24" fmla="*/ 0 w 46"/>
                  <a:gd name="T25" fmla="*/ 14 h 36"/>
                  <a:gd name="T26" fmla="*/ 0 w 46"/>
                  <a:gd name="T27" fmla="*/ 24 h 36"/>
                  <a:gd name="T28" fmla="*/ 0 w 46"/>
                  <a:gd name="T29" fmla="*/ 24 h 36"/>
                  <a:gd name="T30" fmla="*/ 2 w 46"/>
                  <a:gd name="T31" fmla="*/ 30 h 36"/>
                  <a:gd name="T32" fmla="*/ 4 w 46"/>
                  <a:gd name="T33" fmla="*/ 32 h 36"/>
                  <a:gd name="T34" fmla="*/ 4 w 46"/>
                  <a:gd name="T35" fmla="*/ 34 h 36"/>
                  <a:gd name="T36" fmla="*/ 8 w 46"/>
                  <a:gd name="T37" fmla="*/ 36 h 36"/>
                  <a:gd name="T38" fmla="*/ 8 w 46"/>
                  <a:gd name="T39" fmla="*/ 36 h 36"/>
                  <a:gd name="T40" fmla="*/ 18 w 46"/>
                  <a:gd name="T41" fmla="*/ 34 h 36"/>
                  <a:gd name="T42" fmla="*/ 30 w 46"/>
                  <a:gd name="T43" fmla="*/ 26 h 36"/>
                  <a:gd name="T44" fmla="*/ 42 w 46"/>
                  <a:gd name="T45" fmla="*/ 26 h 36"/>
                  <a:gd name="T46" fmla="*/ 42 w 46"/>
                  <a:gd name="T47" fmla="*/ 26 h 36"/>
                  <a:gd name="T48" fmla="*/ 46 w 46"/>
                  <a:gd name="T49" fmla="*/ 24 h 36"/>
                  <a:gd name="T50" fmla="*/ 46 w 46"/>
                  <a:gd name="T51" fmla="*/ 20 h 36"/>
                  <a:gd name="T52" fmla="*/ 42 w 46"/>
                  <a:gd name="T53" fmla="*/ 14 h 36"/>
                  <a:gd name="T54" fmla="*/ 42 w 46"/>
                  <a:gd name="T55" fmla="*/ 14 h 36"/>
                  <a:gd name="T56" fmla="*/ 36 w 46"/>
                  <a:gd name="T57" fmla="*/ 8 h 36"/>
                  <a:gd name="T58" fmla="*/ 34 w 46"/>
                  <a:gd name="T59" fmla="*/ 6 h 36"/>
                  <a:gd name="T60" fmla="*/ 24 w 46"/>
                  <a:gd name="T61" fmla="*/ 4 h 36"/>
                  <a:gd name="T62" fmla="*/ 16 w 46"/>
                  <a:gd name="T63" fmla="*/ 0 h 36"/>
                  <a:gd name="T64" fmla="*/ 14 w 46"/>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36">
                    <a:moveTo>
                      <a:pt x="14" y="4"/>
                    </a:moveTo>
                    <a:lnTo>
                      <a:pt x="24" y="8"/>
                    </a:lnTo>
                    <a:lnTo>
                      <a:pt x="32" y="8"/>
                    </a:lnTo>
                    <a:lnTo>
                      <a:pt x="34" y="14"/>
                    </a:lnTo>
                    <a:lnTo>
                      <a:pt x="38" y="18"/>
                    </a:lnTo>
                    <a:lnTo>
                      <a:pt x="42" y="22"/>
                    </a:lnTo>
                    <a:lnTo>
                      <a:pt x="36" y="20"/>
                    </a:lnTo>
                    <a:lnTo>
                      <a:pt x="28" y="24"/>
                    </a:lnTo>
                    <a:lnTo>
                      <a:pt x="16" y="30"/>
                    </a:lnTo>
                    <a:lnTo>
                      <a:pt x="8" y="32"/>
                    </a:lnTo>
                    <a:lnTo>
                      <a:pt x="12" y="30"/>
                    </a:lnTo>
                    <a:lnTo>
                      <a:pt x="6" y="30"/>
                    </a:lnTo>
                    <a:lnTo>
                      <a:pt x="4" y="24"/>
                    </a:lnTo>
                    <a:lnTo>
                      <a:pt x="4" y="18"/>
                    </a:lnTo>
                    <a:lnTo>
                      <a:pt x="4" y="14"/>
                    </a:lnTo>
                    <a:lnTo>
                      <a:pt x="8" y="8"/>
                    </a:lnTo>
                    <a:lnTo>
                      <a:pt x="14" y="4"/>
                    </a:lnTo>
                    <a:close/>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4" name="Freeform 696"/>
              <p:cNvSpPr>
                <a:spLocks/>
              </p:cNvSpPr>
              <p:nvPr/>
            </p:nvSpPr>
            <p:spPr bwMode="auto">
              <a:xfrm>
                <a:off x="3263" y="1887"/>
                <a:ext cx="38" cy="28"/>
              </a:xfrm>
              <a:custGeom>
                <a:avLst/>
                <a:gdLst>
                  <a:gd name="T0" fmla="*/ 10 w 38"/>
                  <a:gd name="T1" fmla="*/ 0 h 28"/>
                  <a:gd name="T2" fmla="*/ 20 w 38"/>
                  <a:gd name="T3" fmla="*/ 4 h 28"/>
                  <a:gd name="T4" fmla="*/ 28 w 38"/>
                  <a:gd name="T5" fmla="*/ 4 h 28"/>
                  <a:gd name="T6" fmla="*/ 30 w 38"/>
                  <a:gd name="T7" fmla="*/ 10 h 28"/>
                  <a:gd name="T8" fmla="*/ 34 w 38"/>
                  <a:gd name="T9" fmla="*/ 14 h 28"/>
                  <a:gd name="T10" fmla="*/ 38 w 38"/>
                  <a:gd name="T11" fmla="*/ 18 h 28"/>
                  <a:gd name="T12" fmla="*/ 32 w 38"/>
                  <a:gd name="T13" fmla="*/ 16 h 28"/>
                  <a:gd name="T14" fmla="*/ 24 w 38"/>
                  <a:gd name="T15" fmla="*/ 20 h 28"/>
                  <a:gd name="T16" fmla="*/ 12 w 38"/>
                  <a:gd name="T17" fmla="*/ 26 h 28"/>
                  <a:gd name="T18" fmla="*/ 4 w 38"/>
                  <a:gd name="T19" fmla="*/ 28 h 28"/>
                  <a:gd name="T20" fmla="*/ 8 w 38"/>
                  <a:gd name="T21" fmla="*/ 26 h 28"/>
                  <a:gd name="T22" fmla="*/ 2 w 38"/>
                  <a:gd name="T23" fmla="*/ 26 h 28"/>
                  <a:gd name="T24" fmla="*/ 0 w 38"/>
                  <a:gd name="T25" fmla="*/ 20 h 28"/>
                  <a:gd name="T26" fmla="*/ 0 w 38"/>
                  <a:gd name="T27" fmla="*/ 14 h 28"/>
                  <a:gd name="T28" fmla="*/ 0 w 38"/>
                  <a:gd name="T29" fmla="*/ 10 h 28"/>
                  <a:gd name="T30" fmla="*/ 4 w 38"/>
                  <a:gd name="T31" fmla="*/ 4 h 28"/>
                  <a:gd name="T32" fmla="*/ 10 w 3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28">
                    <a:moveTo>
                      <a:pt x="10" y="0"/>
                    </a:moveTo>
                    <a:lnTo>
                      <a:pt x="20" y="4"/>
                    </a:lnTo>
                    <a:lnTo>
                      <a:pt x="28" y="4"/>
                    </a:lnTo>
                    <a:lnTo>
                      <a:pt x="30" y="10"/>
                    </a:lnTo>
                    <a:lnTo>
                      <a:pt x="34" y="14"/>
                    </a:lnTo>
                    <a:lnTo>
                      <a:pt x="38" y="18"/>
                    </a:lnTo>
                    <a:lnTo>
                      <a:pt x="32" y="16"/>
                    </a:lnTo>
                    <a:lnTo>
                      <a:pt x="24" y="20"/>
                    </a:lnTo>
                    <a:lnTo>
                      <a:pt x="12" y="26"/>
                    </a:lnTo>
                    <a:lnTo>
                      <a:pt x="4" y="28"/>
                    </a:lnTo>
                    <a:lnTo>
                      <a:pt x="8" y="26"/>
                    </a:lnTo>
                    <a:lnTo>
                      <a:pt x="2" y="26"/>
                    </a:lnTo>
                    <a:lnTo>
                      <a:pt x="0" y="20"/>
                    </a:lnTo>
                    <a:lnTo>
                      <a:pt x="0" y="14"/>
                    </a:lnTo>
                    <a:lnTo>
                      <a:pt x="0" y="10"/>
                    </a:lnTo>
                    <a:lnTo>
                      <a:pt x="4"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5" name="Freeform 697"/>
              <p:cNvSpPr>
                <a:spLocks/>
              </p:cNvSpPr>
              <p:nvPr/>
            </p:nvSpPr>
            <p:spPr bwMode="auto">
              <a:xfrm>
                <a:off x="3259" y="1883"/>
                <a:ext cx="46" cy="36"/>
              </a:xfrm>
              <a:custGeom>
                <a:avLst/>
                <a:gdLst>
                  <a:gd name="T0" fmla="*/ 14 w 46"/>
                  <a:gd name="T1" fmla="*/ 0 h 36"/>
                  <a:gd name="T2" fmla="*/ 14 w 46"/>
                  <a:gd name="T3" fmla="*/ 0 h 36"/>
                  <a:gd name="T4" fmla="*/ 12 w 46"/>
                  <a:gd name="T5" fmla="*/ 2 h 36"/>
                  <a:gd name="T6" fmla="*/ 6 w 46"/>
                  <a:gd name="T7" fmla="*/ 4 h 36"/>
                  <a:gd name="T8" fmla="*/ 6 w 46"/>
                  <a:gd name="T9" fmla="*/ 4 h 36"/>
                  <a:gd name="T10" fmla="*/ 4 w 46"/>
                  <a:gd name="T11" fmla="*/ 6 h 36"/>
                  <a:gd name="T12" fmla="*/ 0 w 46"/>
                  <a:gd name="T13" fmla="*/ 12 h 36"/>
                  <a:gd name="T14" fmla="*/ 0 w 46"/>
                  <a:gd name="T15" fmla="*/ 12 h 36"/>
                  <a:gd name="T16" fmla="*/ 0 w 46"/>
                  <a:gd name="T17" fmla="*/ 14 h 36"/>
                  <a:gd name="T18" fmla="*/ 0 w 46"/>
                  <a:gd name="T19" fmla="*/ 18 h 36"/>
                  <a:gd name="T20" fmla="*/ 0 w 46"/>
                  <a:gd name="T21" fmla="*/ 24 h 36"/>
                  <a:gd name="T22" fmla="*/ 0 w 46"/>
                  <a:gd name="T23" fmla="*/ 24 h 36"/>
                  <a:gd name="T24" fmla="*/ 0 w 46"/>
                  <a:gd name="T25" fmla="*/ 24 h 36"/>
                  <a:gd name="T26" fmla="*/ 2 w 46"/>
                  <a:gd name="T27" fmla="*/ 30 h 36"/>
                  <a:gd name="T28" fmla="*/ 2 w 46"/>
                  <a:gd name="T29" fmla="*/ 30 h 36"/>
                  <a:gd name="T30" fmla="*/ 4 w 46"/>
                  <a:gd name="T31" fmla="*/ 32 h 36"/>
                  <a:gd name="T32" fmla="*/ 4 w 46"/>
                  <a:gd name="T33" fmla="*/ 32 h 36"/>
                  <a:gd name="T34" fmla="*/ 4 w 46"/>
                  <a:gd name="T35" fmla="*/ 34 h 36"/>
                  <a:gd name="T36" fmla="*/ 4 w 46"/>
                  <a:gd name="T37" fmla="*/ 34 h 36"/>
                  <a:gd name="T38" fmla="*/ 4 w 46"/>
                  <a:gd name="T39" fmla="*/ 36 h 36"/>
                  <a:gd name="T40" fmla="*/ 8 w 46"/>
                  <a:gd name="T41" fmla="*/ 36 h 36"/>
                  <a:gd name="T42" fmla="*/ 8 w 46"/>
                  <a:gd name="T43" fmla="*/ 36 h 36"/>
                  <a:gd name="T44" fmla="*/ 8 w 46"/>
                  <a:gd name="T45" fmla="*/ 36 h 36"/>
                  <a:gd name="T46" fmla="*/ 18 w 46"/>
                  <a:gd name="T47" fmla="*/ 34 h 36"/>
                  <a:gd name="T48" fmla="*/ 18 w 46"/>
                  <a:gd name="T49" fmla="*/ 34 h 36"/>
                  <a:gd name="T50" fmla="*/ 18 w 46"/>
                  <a:gd name="T51" fmla="*/ 34 h 36"/>
                  <a:gd name="T52" fmla="*/ 30 w 46"/>
                  <a:gd name="T53" fmla="*/ 26 h 36"/>
                  <a:gd name="T54" fmla="*/ 36 w 46"/>
                  <a:gd name="T55" fmla="*/ 24 h 36"/>
                  <a:gd name="T56" fmla="*/ 42 w 46"/>
                  <a:gd name="T57" fmla="*/ 26 h 36"/>
                  <a:gd name="T58" fmla="*/ 42 w 46"/>
                  <a:gd name="T59" fmla="*/ 26 h 36"/>
                  <a:gd name="T60" fmla="*/ 42 w 46"/>
                  <a:gd name="T61" fmla="*/ 26 h 36"/>
                  <a:gd name="T62" fmla="*/ 42 w 46"/>
                  <a:gd name="T63" fmla="*/ 26 h 36"/>
                  <a:gd name="T64" fmla="*/ 46 w 46"/>
                  <a:gd name="T65" fmla="*/ 24 h 36"/>
                  <a:gd name="T66" fmla="*/ 46 w 46"/>
                  <a:gd name="T67" fmla="*/ 24 h 36"/>
                  <a:gd name="T68" fmla="*/ 46 w 46"/>
                  <a:gd name="T69" fmla="*/ 20 h 36"/>
                  <a:gd name="T70" fmla="*/ 46 w 46"/>
                  <a:gd name="T71" fmla="*/ 18 h 36"/>
                  <a:gd name="T72" fmla="*/ 42 w 46"/>
                  <a:gd name="T73" fmla="*/ 14 h 36"/>
                  <a:gd name="T74" fmla="*/ 42 w 46"/>
                  <a:gd name="T75" fmla="*/ 14 h 36"/>
                  <a:gd name="T76" fmla="*/ 42 w 46"/>
                  <a:gd name="T77" fmla="*/ 14 h 36"/>
                  <a:gd name="T78" fmla="*/ 36 w 46"/>
                  <a:gd name="T79" fmla="*/ 12 h 36"/>
                  <a:gd name="T80" fmla="*/ 36 w 46"/>
                  <a:gd name="T81" fmla="*/ 8 h 36"/>
                  <a:gd name="T82" fmla="*/ 36 w 46"/>
                  <a:gd name="T83" fmla="*/ 8 h 36"/>
                  <a:gd name="T84" fmla="*/ 34 w 46"/>
                  <a:gd name="T85" fmla="*/ 6 h 36"/>
                  <a:gd name="T86" fmla="*/ 32 w 46"/>
                  <a:gd name="T87" fmla="*/ 4 h 36"/>
                  <a:gd name="T88" fmla="*/ 24 w 46"/>
                  <a:gd name="T89" fmla="*/ 4 h 36"/>
                  <a:gd name="T90" fmla="*/ 16 w 46"/>
                  <a:gd name="T91" fmla="*/ 0 h 36"/>
                  <a:gd name="T92" fmla="*/ 16 w 46"/>
                  <a:gd name="T93" fmla="*/ 0 h 36"/>
                  <a:gd name="T94" fmla="*/ 14 w 46"/>
                  <a:gd name="T95" fmla="*/ 0 h 36"/>
                  <a:gd name="T96" fmla="*/ 14 w 46"/>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6">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6" name="Freeform 698"/>
              <p:cNvSpPr>
                <a:spLocks/>
              </p:cNvSpPr>
              <p:nvPr/>
            </p:nvSpPr>
            <p:spPr bwMode="auto">
              <a:xfrm>
                <a:off x="3227" y="1997"/>
                <a:ext cx="42" cy="10"/>
              </a:xfrm>
              <a:custGeom>
                <a:avLst/>
                <a:gdLst>
                  <a:gd name="T0" fmla="*/ 18 w 42"/>
                  <a:gd name="T1" fmla="*/ 10 h 10"/>
                  <a:gd name="T2" fmla="*/ 18 w 42"/>
                  <a:gd name="T3" fmla="*/ 10 h 10"/>
                  <a:gd name="T4" fmla="*/ 16 w 42"/>
                  <a:gd name="T5" fmla="*/ 10 h 10"/>
                  <a:gd name="T6" fmla="*/ 16 w 42"/>
                  <a:gd name="T7" fmla="*/ 8 h 10"/>
                  <a:gd name="T8" fmla="*/ 8 w 42"/>
                  <a:gd name="T9" fmla="*/ 8 h 10"/>
                  <a:gd name="T10" fmla="*/ 2 w 42"/>
                  <a:gd name="T11" fmla="*/ 8 h 10"/>
                  <a:gd name="T12" fmla="*/ 2 w 42"/>
                  <a:gd name="T13" fmla="*/ 8 h 10"/>
                  <a:gd name="T14" fmla="*/ 0 w 42"/>
                  <a:gd name="T15" fmla="*/ 6 h 10"/>
                  <a:gd name="T16" fmla="*/ 0 w 42"/>
                  <a:gd name="T17" fmla="*/ 6 h 10"/>
                  <a:gd name="T18" fmla="*/ 0 w 42"/>
                  <a:gd name="T19" fmla="*/ 4 h 10"/>
                  <a:gd name="T20" fmla="*/ 4 w 42"/>
                  <a:gd name="T21" fmla="*/ 2 h 10"/>
                  <a:gd name="T22" fmla="*/ 4 w 42"/>
                  <a:gd name="T23" fmla="*/ 2 h 10"/>
                  <a:gd name="T24" fmla="*/ 6 w 42"/>
                  <a:gd name="T25" fmla="*/ 0 h 10"/>
                  <a:gd name="T26" fmla="*/ 10 w 42"/>
                  <a:gd name="T27" fmla="*/ 0 h 10"/>
                  <a:gd name="T28" fmla="*/ 16 w 42"/>
                  <a:gd name="T29" fmla="*/ 2 h 10"/>
                  <a:gd name="T30" fmla="*/ 22 w 42"/>
                  <a:gd name="T31" fmla="*/ 2 h 10"/>
                  <a:gd name="T32" fmla="*/ 32 w 42"/>
                  <a:gd name="T33" fmla="*/ 2 h 10"/>
                  <a:gd name="T34" fmla="*/ 40 w 42"/>
                  <a:gd name="T35" fmla="*/ 4 h 10"/>
                  <a:gd name="T36" fmla="*/ 40 w 42"/>
                  <a:gd name="T37" fmla="*/ 4 h 10"/>
                  <a:gd name="T38" fmla="*/ 40 w 42"/>
                  <a:gd name="T39" fmla="*/ 4 h 10"/>
                  <a:gd name="T40" fmla="*/ 42 w 42"/>
                  <a:gd name="T41" fmla="*/ 6 h 10"/>
                  <a:gd name="T42" fmla="*/ 42 w 42"/>
                  <a:gd name="T43" fmla="*/ 6 h 10"/>
                  <a:gd name="T44" fmla="*/ 42 w 42"/>
                  <a:gd name="T45" fmla="*/ 8 h 10"/>
                  <a:gd name="T46" fmla="*/ 42 w 42"/>
                  <a:gd name="T47" fmla="*/ 8 h 10"/>
                  <a:gd name="T48" fmla="*/ 42 w 42"/>
                  <a:gd name="T49" fmla="*/ 10 h 10"/>
                  <a:gd name="T50" fmla="*/ 38 w 42"/>
                  <a:gd name="T51" fmla="*/ 10 h 10"/>
                  <a:gd name="T52" fmla="*/ 38 w 42"/>
                  <a:gd name="T53" fmla="*/ 10 h 10"/>
                  <a:gd name="T54" fmla="*/ 38 w 42"/>
                  <a:gd name="T55" fmla="*/ 10 h 10"/>
                  <a:gd name="T56" fmla="*/ 38 w 42"/>
                  <a:gd name="T57" fmla="*/ 10 h 10"/>
                  <a:gd name="T58" fmla="*/ 30 w 42"/>
                  <a:gd name="T59" fmla="*/ 10 h 10"/>
                  <a:gd name="T60" fmla="*/ 24 w 42"/>
                  <a:gd name="T61" fmla="*/ 10 h 10"/>
                  <a:gd name="T62" fmla="*/ 18 w 42"/>
                  <a:gd name="T63" fmla="*/ 10 h 10"/>
                  <a:gd name="T64" fmla="*/ 18 w 42"/>
                  <a:gd name="T65" fmla="*/ 10 h 10"/>
                  <a:gd name="T66" fmla="*/ 18 w 42"/>
                  <a:gd name="T67" fmla="*/ 10 h 10"/>
                  <a:gd name="T68" fmla="*/ 18 w 42"/>
                  <a:gd name="T6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10">
                    <a:moveTo>
                      <a:pt x="18" y="10"/>
                    </a:moveTo>
                    <a:lnTo>
                      <a:pt x="18" y="10"/>
                    </a:lnTo>
                    <a:lnTo>
                      <a:pt x="16" y="10"/>
                    </a:lnTo>
                    <a:lnTo>
                      <a:pt x="16" y="8"/>
                    </a:lnTo>
                    <a:lnTo>
                      <a:pt x="8" y="8"/>
                    </a:lnTo>
                    <a:lnTo>
                      <a:pt x="2" y="8"/>
                    </a:lnTo>
                    <a:lnTo>
                      <a:pt x="2" y="8"/>
                    </a:lnTo>
                    <a:lnTo>
                      <a:pt x="0" y="6"/>
                    </a:lnTo>
                    <a:lnTo>
                      <a:pt x="0" y="6"/>
                    </a:lnTo>
                    <a:lnTo>
                      <a:pt x="0" y="4"/>
                    </a:lnTo>
                    <a:lnTo>
                      <a:pt x="4" y="2"/>
                    </a:lnTo>
                    <a:lnTo>
                      <a:pt x="4" y="2"/>
                    </a:lnTo>
                    <a:lnTo>
                      <a:pt x="6" y="0"/>
                    </a:lnTo>
                    <a:lnTo>
                      <a:pt x="10" y="0"/>
                    </a:lnTo>
                    <a:lnTo>
                      <a:pt x="16" y="2"/>
                    </a:lnTo>
                    <a:lnTo>
                      <a:pt x="22" y="2"/>
                    </a:lnTo>
                    <a:lnTo>
                      <a:pt x="32" y="2"/>
                    </a:lnTo>
                    <a:lnTo>
                      <a:pt x="40" y="4"/>
                    </a:lnTo>
                    <a:lnTo>
                      <a:pt x="40" y="4"/>
                    </a:lnTo>
                    <a:lnTo>
                      <a:pt x="40" y="4"/>
                    </a:lnTo>
                    <a:lnTo>
                      <a:pt x="42" y="6"/>
                    </a:lnTo>
                    <a:lnTo>
                      <a:pt x="42" y="6"/>
                    </a:lnTo>
                    <a:lnTo>
                      <a:pt x="42" y="8"/>
                    </a:lnTo>
                    <a:lnTo>
                      <a:pt x="42" y="8"/>
                    </a:lnTo>
                    <a:lnTo>
                      <a:pt x="42" y="10"/>
                    </a:lnTo>
                    <a:lnTo>
                      <a:pt x="38" y="10"/>
                    </a:lnTo>
                    <a:lnTo>
                      <a:pt x="38" y="10"/>
                    </a:lnTo>
                    <a:lnTo>
                      <a:pt x="38" y="10"/>
                    </a:lnTo>
                    <a:lnTo>
                      <a:pt x="38" y="10"/>
                    </a:lnTo>
                    <a:lnTo>
                      <a:pt x="30" y="10"/>
                    </a:lnTo>
                    <a:lnTo>
                      <a:pt x="24" y="10"/>
                    </a:lnTo>
                    <a:lnTo>
                      <a:pt x="18" y="10"/>
                    </a:lnTo>
                    <a:lnTo>
                      <a:pt x="18" y="10"/>
                    </a:lnTo>
                    <a:lnTo>
                      <a:pt x="18" y="10"/>
                    </a:lnTo>
                    <a:lnTo>
                      <a:pt x="1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7" name="Freeform 699"/>
              <p:cNvSpPr>
                <a:spLocks noEditPoints="1"/>
              </p:cNvSpPr>
              <p:nvPr/>
            </p:nvSpPr>
            <p:spPr bwMode="auto">
              <a:xfrm>
                <a:off x="3225" y="1995"/>
                <a:ext cx="46" cy="14"/>
              </a:xfrm>
              <a:custGeom>
                <a:avLst/>
                <a:gdLst>
                  <a:gd name="T0" fmla="*/ 12 w 46"/>
                  <a:gd name="T1" fmla="*/ 4 h 14"/>
                  <a:gd name="T2" fmla="*/ 18 w 46"/>
                  <a:gd name="T3" fmla="*/ 6 h 14"/>
                  <a:gd name="T4" fmla="*/ 24 w 46"/>
                  <a:gd name="T5" fmla="*/ 6 h 14"/>
                  <a:gd name="T6" fmla="*/ 30 w 46"/>
                  <a:gd name="T7" fmla="*/ 6 h 14"/>
                  <a:gd name="T8" fmla="*/ 34 w 46"/>
                  <a:gd name="T9" fmla="*/ 6 h 14"/>
                  <a:gd name="T10" fmla="*/ 42 w 46"/>
                  <a:gd name="T11" fmla="*/ 8 h 14"/>
                  <a:gd name="T12" fmla="*/ 42 w 46"/>
                  <a:gd name="T13" fmla="*/ 10 h 14"/>
                  <a:gd name="T14" fmla="*/ 40 w 46"/>
                  <a:gd name="T15" fmla="*/ 10 h 14"/>
                  <a:gd name="T16" fmla="*/ 32 w 46"/>
                  <a:gd name="T17" fmla="*/ 10 h 14"/>
                  <a:gd name="T18" fmla="*/ 26 w 46"/>
                  <a:gd name="T19" fmla="*/ 10 h 14"/>
                  <a:gd name="T20" fmla="*/ 20 w 46"/>
                  <a:gd name="T21" fmla="*/ 10 h 14"/>
                  <a:gd name="T22" fmla="*/ 18 w 46"/>
                  <a:gd name="T23" fmla="*/ 8 h 14"/>
                  <a:gd name="T24" fmla="*/ 10 w 46"/>
                  <a:gd name="T25" fmla="*/ 8 h 14"/>
                  <a:gd name="T26" fmla="*/ 4 w 46"/>
                  <a:gd name="T27" fmla="*/ 8 h 14"/>
                  <a:gd name="T28" fmla="*/ 8 w 46"/>
                  <a:gd name="T29" fmla="*/ 4 h 14"/>
                  <a:gd name="T30" fmla="*/ 12 w 46"/>
                  <a:gd name="T31" fmla="*/ 4 h 14"/>
                  <a:gd name="T32" fmla="*/ 12 w 46"/>
                  <a:gd name="T33" fmla="*/ 0 h 14"/>
                  <a:gd name="T34" fmla="*/ 8 w 46"/>
                  <a:gd name="T35" fmla="*/ 0 h 14"/>
                  <a:gd name="T36" fmla="*/ 8 w 46"/>
                  <a:gd name="T37" fmla="*/ 0 h 14"/>
                  <a:gd name="T38" fmla="*/ 6 w 46"/>
                  <a:gd name="T39" fmla="*/ 2 h 14"/>
                  <a:gd name="T40" fmla="*/ 2 w 46"/>
                  <a:gd name="T41" fmla="*/ 4 h 14"/>
                  <a:gd name="T42" fmla="*/ 2 w 46"/>
                  <a:gd name="T43" fmla="*/ 4 h 14"/>
                  <a:gd name="T44" fmla="*/ 0 w 46"/>
                  <a:gd name="T45" fmla="*/ 6 h 14"/>
                  <a:gd name="T46" fmla="*/ 0 w 46"/>
                  <a:gd name="T47" fmla="*/ 8 h 14"/>
                  <a:gd name="T48" fmla="*/ 0 w 46"/>
                  <a:gd name="T49" fmla="*/ 8 h 14"/>
                  <a:gd name="T50" fmla="*/ 2 w 46"/>
                  <a:gd name="T51" fmla="*/ 10 h 14"/>
                  <a:gd name="T52" fmla="*/ 4 w 46"/>
                  <a:gd name="T53" fmla="*/ 12 h 14"/>
                  <a:gd name="T54" fmla="*/ 10 w 46"/>
                  <a:gd name="T55" fmla="*/ 12 h 14"/>
                  <a:gd name="T56" fmla="*/ 10 w 46"/>
                  <a:gd name="T57" fmla="*/ 12 h 14"/>
                  <a:gd name="T58" fmla="*/ 10 w 46"/>
                  <a:gd name="T59" fmla="*/ 12 h 14"/>
                  <a:gd name="T60" fmla="*/ 16 w 46"/>
                  <a:gd name="T61" fmla="*/ 12 h 14"/>
                  <a:gd name="T62" fmla="*/ 16 w 46"/>
                  <a:gd name="T63" fmla="*/ 12 h 14"/>
                  <a:gd name="T64" fmla="*/ 16 w 46"/>
                  <a:gd name="T65" fmla="*/ 12 h 14"/>
                  <a:gd name="T66" fmla="*/ 20 w 46"/>
                  <a:gd name="T67" fmla="*/ 14 h 14"/>
                  <a:gd name="T68" fmla="*/ 20 w 46"/>
                  <a:gd name="T69" fmla="*/ 14 h 14"/>
                  <a:gd name="T70" fmla="*/ 20 w 46"/>
                  <a:gd name="T71" fmla="*/ 14 h 14"/>
                  <a:gd name="T72" fmla="*/ 26 w 46"/>
                  <a:gd name="T73" fmla="*/ 14 h 14"/>
                  <a:gd name="T74" fmla="*/ 32 w 46"/>
                  <a:gd name="T75" fmla="*/ 14 h 14"/>
                  <a:gd name="T76" fmla="*/ 38 w 46"/>
                  <a:gd name="T77" fmla="*/ 14 h 14"/>
                  <a:gd name="T78" fmla="*/ 38 w 46"/>
                  <a:gd name="T79" fmla="*/ 14 h 14"/>
                  <a:gd name="T80" fmla="*/ 40 w 46"/>
                  <a:gd name="T81" fmla="*/ 14 h 14"/>
                  <a:gd name="T82" fmla="*/ 40 w 46"/>
                  <a:gd name="T83" fmla="*/ 14 h 14"/>
                  <a:gd name="T84" fmla="*/ 40 w 46"/>
                  <a:gd name="T85" fmla="*/ 14 h 14"/>
                  <a:gd name="T86" fmla="*/ 44 w 46"/>
                  <a:gd name="T87" fmla="*/ 14 h 14"/>
                  <a:gd name="T88" fmla="*/ 44 w 46"/>
                  <a:gd name="T89" fmla="*/ 14 h 14"/>
                  <a:gd name="T90" fmla="*/ 46 w 46"/>
                  <a:gd name="T91" fmla="*/ 10 h 14"/>
                  <a:gd name="T92" fmla="*/ 46 w 46"/>
                  <a:gd name="T93" fmla="*/ 10 h 14"/>
                  <a:gd name="T94" fmla="*/ 46 w 46"/>
                  <a:gd name="T95" fmla="*/ 6 h 14"/>
                  <a:gd name="T96" fmla="*/ 44 w 46"/>
                  <a:gd name="T97" fmla="*/ 4 h 14"/>
                  <a:gd name="T98" fmla="*/ 44 w 46"/>
                  <a:gd name="T99" fmla="*/ 4 h 14"/>
                  <a:gd name="T100" fmla="*/ 42 w 46"/>
                  <a:gd name="T101" fmla="*/ 4 h 14"/>
                  <a:gd name="T102" fmla="*/ 34 w 46"/>
                  <a:gd name="T103" fmla="*/ 2 h 14"/>
                  <a:gd name="T104" fmla="*/ 34 w 46"/>
                  <a:gd name="T105" fmla="*/ 2 h 14"/>
                  <a:gd name="T106" fmla="*/ 34 w 46"/>
                  <a:gd name="T107" fmla="*/ 2 h 14"/>
                  <a:gd name="T108" fmla="*/ 30 w 46"/>
                  <a:gd name="T109" fmla="*/ 2 h 14"/>
                  <a:gd name="T110" fmla="*/ 24 w 46"/>
                  <a:gd name="T111" fmla="*/ 2 h 14"/>
                  <a:gd name="T112" fmla="*/ 18 w 46"/>
                  <a:gd name="T113" fmla="*/ 2 h 14"/>
                  <a:gd name="T114" fmla="*/ 14 w 46"/>
                  <a:gd name="T115" fmla="*/ 0 h 14"/>
                  <a:gd name="T116" fmla="*/ 14 w 46"/>
                  <a:gd name="T117" fmla="*/ 0 h 14"/>
                  <a:gd name="T118" fmla="*/ 12 w 46"/>
                  <a:gd name="T119" fmla="*/ 0 h 14"/>
                  <a:gd name="T120" fmla="*/ 12 w 46"/>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4">
                    <a:moveTo>
                      <a:pt x="12" y="4"/>
                    </a:moveTo>
                    <a:lnTo>
                      <a:pt x="18" y="6"/>
                    </a:lnTo>
                    <a:lnTo>
                      <a:pt x="24" y="6"/>
                    </a:lnTo>
                    <a:lnTo>
                      <a:pt x="30" y="6"/>
                    </a:lnTo>
                    <a:lnTo>
                      <a:pt x="34" y="6"/>
                    </a:lnTo>
                    <a:lnTo>
                      <a:pt x="42" y="8"/>
                    </a:lnTo>
                    <a:lnTo>
                      <a:pt x="42" y="10"/>
                    </a:lnTo>
                    <a:lnTo>
                      <a:pt x="40" y="10"/>
                    </a:lnTo>
                    <a:lnTo>
                      <a:pt x="32" y="10"/>
                    </a:lnTo>
                    <a:lnTo>
                      <a:pt x="26" y="10"/>
                    </a:lnTo>
                    <a:lnTo>
                      <a:pt x="20" y="10"/>
                    </a:lnTo>
                    <a:lnTo>
                      <a:pt x="18" y="8"/>
                    </a:lnTo>
                    <a:lnTo>
                      <a:pt x="10" y="8"/>
                    </a:lnTo>
                    <a:lnTo>
                      <a:pt x="4" y="8"/>
                    </a:lnTo>
                    <a:lnTo>
                      <a:pt x="8" y="4"/>
                    </a:lnTo>
                    <a:lnTo>
                      <a:pt x="12" y="4"/>
                    </a:lnTo>
                    <a:close/>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8" name="Freeform 700"/>
              <p:cNvSpPr>
                <a:spLocks/>
              </p:cNvSpPr>
              <p:nvPr/>
            </p:nvSpPr>
            <p:spPr bwMode="auto">
              <a:xfrm>
                <a:off x="3229" y="1999"/>
                <a:ext cx="38" cy="6"/>
              </a:xfrm>
              <a:custGeom>
                <a:avLst/>
                <a:gdLst>
                  <a:gd name="T0" fmla="*/ 8 w 38"/>
                  <a:gd name="T1" fmla="*/ 0 h 6"/>
                  <a:gd name="T2" fmla="*/ 14 w 38"/>
                  <a:gd name="T3" fmla="*/ 2 h 6"/>
                  <a:gd name="T4" fmla="*/ 20 w 38"/>
                  <a:gd name="T5" fmla="*/ 2 h 6"/>
                  <a:gd name="T6" fmla="*/ 26 w 38"/>
                  <a:gd name="T7" fmla="*/ 2 h 6"/>
                  <a:gd name="T8" fmla="*/ 30 w 38"/>
                  <a:gd name="T9" fmla="*/ 2 h 6"/>
                  <a:gd name="T10" fmla="*/ 38 w 38"/>
                  <a:gd name="T11" fmla="*/ 4 h 6"/>
                  <a:gd name="T12" fmla="*/ 38 w 38"/>
                  <a:gd name="T13" fmla="*/ 6 h 6"/>
                  <a:gd name="T14" fmla="*/ 36 w 38"/>
                  <a:gd name="T15" fmla="*/ 6 h 6"/>
                  <a:gd name="T16" fmla="*/ 28 w 38"/>
                  <a:gd name="T17" fmla="*/ 6 h 6"/>
                  <a:gd name="T18" fmla="*/ 22 w 38"/>
                  <a:gd name="T19" fmla="*/ 6 h 6"/>
                  <a:gd name="T20" fmla="*/ 16 w 38"/>
                  <a:gd name="T21" fmla="*/ 6 h 6"/>
                  <a:gd name="T22" fmla="*/ 14 w 38"/>
                  <a:gd name="T23" fmla="*/ 4 h 6"/>
                  <a:gd name="T24" fmla="*/ 6 w 38"/>
                  <a:gd name="T25" fmla="*/ 4 h 6"/>
                  <a:gd name="T26" fmla="*/ 0 w 38"/>
                  <a:gd name="T27" fmla="*/ 4 h 6"/>
                  <a:gd name="T28" fmla="*/ 4 w 38"/>
                  <a:gd name="T29" fmla="*/ 0 h 6"/>
                  <a:gd name="T30" fmla="*/ 8 w 38"/>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6">
                    <a:moveTo>
                      <a:pt x="8" y="0"/>
                    </a:moveTo>
                    <a:lnTo>
                      <a:pt x="14" y="2"/>
                    </a:lnTo>
                    <a:lnTo>
                      <a:pt x="20" y="2"/>
                    </a:lnTo>
                    <a:lnTo>
                      <a:pt x="26" y="2"/>
                    </a:lnTo>
                    <a:lnTo>
                      <a:pt x="30" y="2"/>
                    </a:lnTo>
                    <a:lnTo>
                      <a:pt x="38" y="4"/>
                    </a:lnTo>
                    <a:lnTo>
                      <a:pt x="38" y="6"/>
                    </a:lnTo>
                    <a:lnTo>
                      <a:pt x="36" y="6"/>
                    </a:lnTo>
                    <a:lnTo>
                      <a:pt x="28" y="6"/>
                    </a:lnTo>
                    <a:lnTo>
                      <a:pt x="22" y="6"/>
                    </a:lnTo>
                    <a:lnTo>
                      <a:pt x="16" y="6"/>
                    </a:lnTo>
                    <a:lnTo>
                      <a:pt x="14" y="4"/>
                    </a:lnTo>
                    <a:lnTo>
                      <a:pt x="6" y="4"/>
                    </a:lnTo>
                    <a:lnTo>
                      <a:pt x="0" y="4"/>
                    </a:lnTo>
                    <a:lnTo>
                      <a:pt x="4"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9" name="Freeform 701"/>
              <p:cNvSpPr>
                <a:spLocks/>
              </p:cNvSpPr>
              <p:nvPr/>
            </p:nvSpPr>
            <p:spPr bwMode="auto">
              <a:xfrm>
                <a:off x="3225" y="1995"/>
                <a:ext cx="46" cy="14"/>
              </a:xfrm>
              <a:custGeom>
                <a:avLst/>
                <a:gdLst>
                  <a:gd name="T0" fmla="*/ 12 w 46"/>
                  <a:gd name="T1" fmla="*/ 0 h 14"/>
                  <a:gd name="T2" fmla="*/ 8 w 46"/>
                  <a:gd name="T3" fmla="*/ 0 h 14"/>
                  <a:gd name="T4" fmla="*/ 8 w 46"/>
                  <a:gd name="T5" fmla="*/ 0 h 14"/>
                  <a:gd name="T6" fmla="*/ 6 w 46"/>
                  <a:gd name="T7" fmla="*/ 2 h 14"/>
                  <a:gd name="T8" fmla="*/ 2 w 46"/>
                  <a:gd name="T9" fmla="*/ 4 h 14"/>
                  <a:gd name="T10" fmla="*/ 2 w 46"/>
                  <a:gd name="T11" fmla="*/ 4 h 14"/>
                  <a:gd name="T12" fmla="*/ 0 w 46"/>
                  <a:gd name="T13" fmla="*/ 6 h 14"/>
                  <a:gd name="T14" fmla="*/ 0 w 46"/>
                  <a:gd name="T15" fmla="*/ 8 h 14"/>
                  <a:gd name="T16" fmla="*/ 0 w 46"/>
                  <a:gd name="T17" fmla="*/ 8 h 14"/>
                  <a:gd name="T18" fmla="*/ 2 w 46"/>
                  <a:gd name="T19" fmla="*/ 10 h 14"/>
                  <a:gd name="T20" fmla="*/ 4 w 46"/>
                  <a:gd name="T21" fmla="*/ 12 h 14"/>
                  <a:gd name="T22" fmla="*/ 10 w 46"/>
                  <a:gd name="T23" fmla="*/ 12 h 14"/>
                  <a:gd name="T24" fmla="*/ 10 w 46"/>
                  <a:gd name="T25" fmla="*/ 12 h 14"/>
                  <a:gd name="T26" fmla="*/ 10 w 46"/>
                  <a:gd name="T27" fmla="*/ 12 h 14"/>
                  <a:gd name="T28" fmla="*/ 16 w 46"/>
                  <a:gd name="T29" fmla="*/ 12 h 14"/>
                  <a:gd name="T30" fmla="*/ 16 w 46"/>
                  <a:gd name="T31" fmla="*/ 12 h 14"/>
                  <a:gd name="T32" fmla="*/ 16 w 46"/>
                  <a:gd name="T33" fmla="*/ 12 h 14"/>
                  <a:gd name="T34" fmla="*/ 20 w 46"/>
                  <a:gd name="T35" fmla="*/ 14 h 14"/>
                  <a:gd name="T36" fmla="*/ 20 w 46"/>
                  <a:gd name="T37" fmla="*/ 14 h 14"/>
                  <a:gd name="T38" fmla="*/ 20 w 46"/>
                  <a:gd name="T39" fmla="*/ 14 h 14"/>
                  <a:gd name="T40" fmla="*/ 26 w 46"/>
                  <a:gd name="T41" fmla="*/ 14 h 14"/>
                  <a:gd name="T42" fmla="*/ 32 w 46"/>
                  <a:gd name="T43" fmla="*/ 14 h 14"/>
                  <a:gd name="T44" fmla="*/ 38 w 46"/>
                  <a:gd name="T45" fmla="*/ 14 h 14"/>
                  <a:gd name="T46" fmla="*/ 38 w 46"/>
                  <a:gd name="T47" fmla="*/ 14 h 14"/>
                  <a:gd name="T48" fmla="*/ 40 w 46"/>
                  <a:gd name="T49" fmla="*/ 14 h 14"/>
                  <a:gd name="T50" fmla="*/ 40 w 46"/>
                  <a:gd name="T51" fmla="*/ 14 h 14"/>
                  <a:gd name="T52" fmla="*/ 40 w 46"/>
                  <a:gd name="T53" fmla="*/ 14 h 14"/>
                  <a:gd name="T54" fmla="*/ 44 w 46"/>
                  <a:gd name="T55" fmla="*/ 14 h 14"/>
                  <a:gd name="T56" fmla="*/ 44 w 46"/>
                  <a:gd name="T57" fmla="*/ 14 h 14"/>
                  <a:gd name="T58" fmla="*/ 46 w 46"/>
                  <a:gd name="T59" fmla="*/ 10 h 14"/>
                  <a:gd name="T60" fmla="*/ 46 w 46"/>
                  <a:gd name="T61" fmla="*/ 10 h 14"/>
                  <a:gd name="T62" fmla="*/ 46 w 46"/>
                  <a:gd name="T63" fmla="*/ 6 h 14"/>
                  <a:gd name="T64" fmla="*/ 44 w 46"/>
                  <a:gd name="T65" fmla="*/ 4 h 14"/>
                  <a:gd name="T66" fmla="*/ 44 w 46"/>
                  <a:gd name="T67" fmla="*/ 4 h 14"/>
                  <a:gd name="T68" fmla="*/ 42 w 46"/>
                  <a:gd name="T69" fmla="*/ 4 h 14"/>
                  <a:gd name="T70" fmla="*/ 34 w 46"/>
                  <a:gd name="T71" fmla="*/ 2 h 14"/>
                  <a:gd name="T72" fmla="*/ 34 w 46"/>
                  <a:gd name="T73" fmla="*/ 2 h 14"/>
                  <a:gd name="T74" fmla="*/ 34 w 46"/>
                  <a:gd name="T75" fmla="*/ 2 h 14"/>
                  <a:gd name="T76" fmla="*/ 30 w 46"/>
                  <a:gd name="T77" fmla="*/ 2 h 14"/>
                  <a:gd name="T78" fmla="*/ 24 w 46"/>
                  <a:gd name="T79" fmla="*/ 2 h 14"/>
                  <a:gd name="T80" fmla="*/ 18 w 46"/>
                  <a:gd name="T81" fmla="*/ 2 h 14"/>
                  <a:gd name="T82" fmla="*/ 14 w 46"/>
                  <a:gd name="T83" fmla="*/ 0 h 14"/>
                  <a:gd name="T84" fmla="*/ 14 w 46"/>
                  <a:gd name="T85" fmla="*/ 0 h 14"/>
                  <a:gd name="T86" fmla="*/ 12 w 46"/>
                  <a:gd name="T87" fmla="*/ 0 h 14"/>
                  <a:gd name="T88" fmla="*/ 12 w 46"/>
                  <a:gd name="T8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14">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0" name="Freeform 702"/>
              <p:cNvSpPr>
                <a:spLocks/>
              </p:cNvSpPr>
              <p:nvPr/>
            </p:nvSpPr>
            <p:spPr bwMode="auto">
              <a:xfrm>
                <a:off x="3177" y="1897"/>
                <a:ext cx="88" cy="88"/>
              </a:xfrm>
              <a:custGeom>
                <a:avLst/>
                <a:gdLst>
                  <a:gd name="T0" fmla="*/ 40 w 88"/>
                  <a:gd name="T1" fmla="*/ 88 h 88"/>
                  <a:gd name="T2" fmla="*/ 40 w 88"/>
                  <a:gd name="T3" fmla="*/ 86 h 88"/>
                  <a:gd name="T4" fmla="*/ 34 w 88"/>
                  <a:gd name="T5" fmla="*/ 88 h 88"/>
                  <a:gd name="T6" fmla="*/ 32 w 88"/>
                  <a:gd name="T7" fmla="*/ 88 h 88"/>
                  <a:gd name="T8" fmla="*/ 30 w 88"/>
                  <a:gd name="T9" fmla="*/ 80 h 88"/>
                  <a:gd name="T10" fmla="*/ 26 w 88"/>
                  <a:gd name="T11" fmla="*/ 82 h 88"/>
                  <a:gd name="T12" fmla="*/ 26 w 88"/>
                  <a:gd name="T13" fmla="*/ 82 h 88"/>
                  <a:gd name="T14" fmla="*/ 22 w 88"/>
                  <a:gd name="T15" fmla="*/ 78 h 88"/>
                  <a:gd name="T16" fmla="*/ 18 w 88"/>
                  <a:gd name="T17" fmla="*/ 70 h 88"/>
                  <a:gd name="T18" fmla="*/ 18 w 88"/>
                  <a:gd name="T19" fmla="*/ 62 h 88"/>
                  <a:gd name="T20" fmla="*/ 22 w 88"/>
                  <a:gd name="T21" fmla="*/ 58 h 88"/>
                  <a:gd name="T22" fmla="*/ 28 w 88"/>
                  <a:gd name="T23" fmla="*/ 56 h 88"/>
                  <a:gd name="T24" fmla="*/ 40 w 88"/>
                  <a:gd name="T25" fmla="*/ 58 h 88"/>
                  <a:gd name="T26" fmla="*/ 24 w 88"/>
                  <a:gd name="T27" fmla="*/ 54 h 88"/>
                  <a:gd name="T28" fmla="*/ 18 w 88"/>
                  <a:gd name="T29" fmla="*/ 56 h 88"/>
                  <a:gd name="T30" fmla="*/ 14 w 88"/>
                  <a:gd name="T31" fmla="*/ 54 h 88"/>
                  <a:gd name="T32" fmla="*/ 12 w 88"/>
                  <a:gd name="T33" fmla="*/ 46 h 88"/>
                  <a:gd name="T34" fmla="*/ 16 w 88"/>
                  <a:gd name="T35" fmla="*/ 44 h 88"/>
                  <a:gd name="T36" fmla="*/ 10 w 88"/>
                  <a:gd name="T37" fmla="*/ 44 h 88"/>
                  <a:gd name="T38" fmla="*/ 0 w 88"/>
                  <a:gd name="T39" fmla="*/ 36 h 88"/>
                  <a:gd name="T40" fmla="*/ 10 w 88"/>
                  <a:gd name="T41" fmla="*/ 22 h 88"/>
                  <a:gd name="T42" fmla="*/ 12 w 88"/>
                  <a:gd name="T43" fmla="*/ 16 h 88"/>
                  <a:gd name="T44" fmla="*/ 32 w 88"/>
                  <a:gd name="T45" fmla="*/ 8 h 88"/>
                  <a:gd name="T46" fmla="*/ 52 w 88"/>
                  <a:gd name="T47" fmla="*/ 0 h 88"/>
                  <a:gd name="T48" fmla="*/ 54 w 88"/>
                  <a:gd name="T49" fmla="*/ 0 h 88"/>
                  <a:gd name="T50" fmla="*/ 68 w 88"/>
                  <a:gd name="T51" fmla="*/ 6 h 88"/>
                  <a:gd name="T52" fmla="*/ 88 w 88"/>
                  <a:gd name="T53" fmla="*/ 8 h 88"/>
                  <a:gd name="T54" fmla="*/ 86 w 88"/>
                  <a:gd name="T55" fmla="*/ 14 h 88"/>
                  <a:gd name="T56" fmla="*/ 82 w 88"/>
                  <a:gd name="T57" fmla="*/ 16 h 88"/>
                  <a:gd name="T58" fmla="*/ 56 w 88"/>
                  <a:gd name="T59" fmla="*/ 18 h 88"/>
                  <a:gd name="T60" fmla="*/ 56 w 88"/>
                  <a:gd name="T61" fmla="*/ 22 h 88"/>
                  <a:gd name="T62" fmla="*/ 52 w 88"/>
                  <a:gd name="T63" fmla="*/ 28 h 88"/>
                  <a:gd name="T64" fmla="*/ 52 w 88"/>
                  <a:gd name="T65" fmla="*/ 28 h 88"/>
                  <a:gd name="T66" fmla="*/ 42 w 88"/>
                  <a:gd name="T67" fmla="*/ 26 h 88"/>
                  <a:gd name="T68" fmla="*/ 36 w 88"/>
                  <a:gd name="T69" fmla="*/ 26 h 88"/>
                  <a:gd name="T70" fmla="*/ 42 w 88"/>
                  <a:gd name="T71" fmla="*/ 36 h 88"/>
                  <a:gd name="T72" fmla="*/ 44 w 88"/>
                  <a:gd name="T73" fmla="*/ 44 h 88"/>
                  <a:gd name="T74" fmla="*/ 54 w 88"/>
                  <a:gd name="T75" fmla="*/ 48 h 88"/>
                  <a:gd name="T76" fmla="*/ 58 w 88"/>
                  <a:gd name="T77" fmla="*/ 52 h 88"/>
                  <a:gd name="T78" fmla="*/ 60 w 88"/>
                  <a:gd name="T79" fmla="*/ 58 h 88"/>
                  <a:gd name="T80" fmla="*/ 54 w 88"/>
                  <a:gd name="T81" fmla="*/ 64 h 88"/>
                  <a:gd name="T82" fmla="*/ 52 w 88"/>
                  <a:gd name="T83" fmla="*/ 64 h 88"/>
                  <a:gd name="T84" fmla="*/ 50 w 88"/>
                  <a:gd name="T85" fmla="*/ 64 h 88"/>
                  <a:gd name="T86" fmla="*/ 48 w 88"/>
                  <a:gd name="T87" fmla="*/ 68 h 88"/>
                  <a:gd name="T88" fmla="*/ 40 w 88"/>
                  <a:gd name="T89" fmla="*/ 70 h 88"/>
                  <a:gd name="T90" fmla="*/ 46 w 88"/>
                  <a:gd name="T91" fmla="*/ 78 h 88"/>
                  <a:gd name="T92" fmla="*/ 46 w 88"/>
                  <a:gd name="T93" fmla="*/ 82 h 88"/>
                  <a:gd name="T94" fmla="*/ 44 w 88"/>
                  <a:gd name="T95" fmla="*/ 86 h 88"/>
                  <a:gd name="T96" fmla="*/ 42 w 88"/>
                  <a:gd name="T9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88">
                    <a:moveTo>
                      <a:pt x="42" y="88"/>
                    </a:moveTo>
                    <a:lnTo>
                      <a:pt x="42" y="88"/>
                    </a:lnTo>
                    <a:lnTo>
                      <a:pt x="40" y="88"/>
                    </a:lnTo>
                    <a:lnTo>
                      <a:pt x="40" y="86"/>
                    </a:lnTo>
                    <a:lnTo>
                      <a:pt x="40" y="86"/>
                    </a:lnTo>
                    <a:lnTo>
                      <a:pt x="40" y="86"/>
                    </a:lnTo>
                    <a:lnTo>
                      <a:pt x="34" y="88"/>
                    </a:lnTo>
                    <a:lnTo>
                      <a:pt x="34" y="88"/>
                    </a:lnTo>
                    <a:lnTo>
                      <a:pt x="34" y="88"/>
                    </a:lnTo>
                    <a:lnTo>
                      <a:pt x="34" y="88"/>
                    </a:lnTo>
                    <a:lnTo>
                      <a:pt x="32" y="88"/>
                    </a:lnTo>
                    <a:lnTo>
                      <a:pt x="32" y="88"/>
                    </a:lnTo>
                    <a:lnTo>
                      <a:pt x="32" y="86"/>
                    </a:lnTo>
                    <a:lnTo>
                      <a:pt x="30" y="80"/>
                    </a:lnTo>
                    <a:lnTo>
                      <a:pt x="30" y="80"/>
                    </a:lnTo>
                    <a:lnTo>
                      <a:pt x="28" y="82"/>
                    </a:lnTo>
                    <a:lnTo>
                      <a:pt x="28" y="82"/>
                    </a:lnTo>
                    <a:lnTo>
                      <a:pt x="26" y="82"/>
                    </a:lnTo>
                    <a:lnTo>
                      <a:pt x="26" y="82"/>
                    </a:lnTo>
                    <a:lnTo>
                      <a:pt x="26" y="82"/>
                    </a:lnTo>
                    <a:lnTo>
                      <a:pt x="26" y="82"/>
                    </a:lnTo>
                    <a:lnTo>
                      <a:pt x="24" y="82"/>
                    </a:lnTo>
                    <a:lnTo>
                      <a:pt x="22" y="78"/>
                    </a:lnTo>
                    <a:lnTo>
                      <a:pt x="22" y="78"/>
                    </a:lnTo>
                    <a:lnTo>
                      <a:pt x="22" y="78"/>
                    </a:lnTo>
                    <a:lnTo>
                      <a:pt x="22" y="74"/>
                    </a:lnTo>
                    <a:lnTo>
                      <a:pt x="18" y="70"/>
                    </a:lnTo>
                    <a:lnTo>
                      <a:pt x="18" y="70"/>
                    </a:lnTo>
                    <a:lnTo>
                      <a:pt x="18" y="68"/>
                    </a:lnTo>
                    <a:lnTo>
                      <a:pt x="18" y="62"/>
                    </a:lnTo>
                    <a:lnTo>
                      <a:pt x="18" y="62"/>
                    </a:lnTo>
                    <a:lnTo>
                      <a:pt x="18" y="60"/>
                    </a:lnTo>
                    <a:lnTo>
                      <a:pt x="22" y="58"/>
                    </a:lnTo>
                    <a:lnTo>
                      <a:pt x="22" y="58"/>
                    </a:lnTo>
                    <a:lnTo>
                      <a:pt x="22" y="56"/>
                    </a:lnTo>
                    <a:lnTo>
                      <a:pt x="28" y="56"/>
                    </a:lnTo>
                    <a:lnTo>
                      <a:pt x="36" y="58"/>
                    </a:lnTo>
                    <a:lnTo>
                      <a:pt x="40" y="58"/>
                    </a:lnTo>
                    <a:lnTo>
                      <a:pt x="40" y="58"/>
                    </a:lnTo>
                    <a:lnTo>
                      <a:pt x="38" y="56"/>
                    </a:lnTo>
                    <a:lnTo>
                      <a:pt x="30" y="56"/>
                    </a:lnTo>
                    <a:lnTo>
                      <a:pt x="24" y="54"/>
                    </a:lnTo>
                    <a:lnTo>
                      <a:pt x="18" y="56"/>
                    </a:lnTo>
                    <a:lnTo>
                      <a:pt x="18" y="56"/>
                    </a:lnTo>
                    <a:lnTo>
                      <a:pt x="18" y="56"/>
                    </a:lnTo>
                    <a:lnTo>
                      <a:pt x="18" y="56"/>
                    </a:lnTo>
                    <a:lnTo>
                      <a:pt x="16" y="56"/>
                    </a:lnTo>
                    <a:lnTo>
                      <a:pt x="14" y="54"/>
                    </a:lnTo>
                    <a:lnTo>
                      <a:pt x="14" y="54"/>
                    </a:lnTo>
                    <a:lnTo>
                      <a:pt x="12" y="52"/>
                    </a:lnTo>
                    <a:lnTo>
                      <a:pt x="12" y="46"/>
                    </a:lnTo>
                    <a:lnTo>
                      <a:pt x="12" y="46"/>
                    </a:lnTo>
                    <a:lnTo>
                      <a:pt x="12" y="44"/>
                    </a:lnTo>
                    <a:lnTo>
                      <a:pt x="16" y="44"/>
                    </a:lnTo>
                    <a:lnTo>
                      <a:pt x="10" y="44"/>
                    </a:lnTo>
                    <a:lnTo>
                      <a:pt x="10" y="44"/>
                    </a:lnTo>
                    <a:lnTo>
                      <a:pt x="10" y="44"/>
                    </a:lnTo>
                    <a:lnTo>
                      <a:pt x="4" y="40"/>
                    </a:lnTo>
                    <a:lnTo>
                      <a:pt x="0" y="36"/>
                    </a:lnTo>
                    <a:lnTo>
                      <a:pt x="0" y="36"/>
                    </a:lnTo>
                    <a:lnTo>
                      <a:pt x="0" y="34"/>
                    </a:lnTo>
                    <a:lnTo>
                      <a:pt x="2" y="30"/>
                    </a:lnTo>
                    <a:lnTo>
                      <a:pt x="10" y="22"/>
                    </a:lnTo>
                    <a:lnTo>
                      <a:pt x="12" y="18"/>
                    </a:lnTo>
                    <a:lnTo>
                      <a:pt x="12" y="16"/>
                    </a:lnTo>
                    <a:lnTo>
                      <a:pt x="12" y="16"/>
                    </a:lnTo>
                    <a:lnTo>
                      <a:pt x="14" y="14"/>
                    </a:lnTo>
                    <a:lnTo>
                      <a:pt x="16" y="12"/>
                    </a:lnTo>
                    <a:lnTo>
                      <a:pt x="32" y="8"/>
                    </a:lnTo>
                    <a:lnTo>
                      <a:pt x="36" y="8"/>
                    </a:lnTo>
                    <a:lnTo>
                      <a:pt x="44" y="4"/>
                    </a:lnTo>
                    <a:lnTo>
                      <a:pt x="52" y="0"/>
                    </a:lnTo>
                    <a:lnTo>
                      <a:pt x="52" y="0"/>
                    </a:lnTo>
                    <a:lnTo>
                      <a:pt x="54" y="0"/>
                    </a:lnTo>
                    <a:lnTo>
                      <a:pt x="54" y="0"/>
                    </a:lnTo>
                    <a:lnTo>
                      <a:pt x="54" y="0"/>
                    </a:lnTo>
                    <a:lnTo>
                      <a:pt x="64" y="4"/>
                    </a:lnTo>
                    <a:lnTo>
                      <a:pt x="68" y="6"/>
                    </a:lnTo>
                    <a:lnTo>
                      <a:pt x="86" y="6"/>
                    </a:lnTo>
                    <a:lnTo>
                      <a:pt x="86" y="6"/>
                    </a:lnTo>
                    <a:lnTo>
                      <a:pt x="88" y="8"/>
                    </a:lnTo>
                    <a:lnTo>
                      <a:pt x="88" y="12"/>
                    </a:lnTo>
                    <a:lnTo>
                      <a:pt x="88" y="12"/>
                    </a:lnTo>
                    <a:lnTo>
                      <a:pt x="86" y="14"/>
                    </a:lnTo>
                    <a:lnTo>
                      <a:pt x="82" y="16"/>
                    </a:lnTo>
                    <a:lnTo>
                      <a:pt x="82" y="16"/>
                    </a:lnTo>
                    <a:lnTo>
                      <a:pt x="82" y="16"/>
                    </a:lnTo>
                    <a:lnTo>
                      <a:pt x="64" y="16"/>
                    </a:lnTo>
                    <a:lnTo>
                      <a:pt x="60" y="18"/>
                    </a:lnTo>
                    <a:lnTo>
                      <a:pt x="56" y="18"/>
                    </a:lnTo>
                    <a:lnTo>
                      <a:pt x="56" y="20"/>
                    </a:lnTo>
                    <a:lnTo>
                      <a:pt x="56" y="20"/>
                    </a:lnTo>
                    <a:lnTo>
                      <a:pt x="56" y="22"/>
                    </a:lnTo>
                    <a:lnTo>
                      <a:pt x="56" y="26"/>
                    </a:lnTo>
                    <a:lnTo>
                      <a:pt x="52" y="28"/>
                    </a:lnTo>
                    <a:lnTo>
                      <a:pt x="52" y="28"/>
                    </a:lnTo>
                    <a:lnTo>
                      <a:pt x="52" y="28"/>
                    </a:lnTo>
                    <a:lnTo>
                      <a:pt x="52" y="28"/>
                    </a:lnTo>
                    <a:lnTo>
                      <a:pt x="52" y="28"/>
                    </a:lnTo>
                    <a:lnTo>
                      <a:pt x="44" y="26"/>
                    </a:lnTo>
                    <a:lnTo>
                      <a:pt x="44" y="26"/>
                    </a:lnTo>
                    <a:lnTo>
                      <a:pt x="42" y="26"/>
                    </a:lnTo>
                    <a:lnTo>
                      <a:pt x="40" y="22"/>
                    </a:lnTo>
                    <a:lnTo>
                      <a:pt x="36" y="22"/>
                    </a:lnTo>
                    <a:lnTo>
                      <a:pt x="36" y="26"/>
                    </a:lnTo>
                    <a:lnTo>
                      <a:pt x="38" y="28"/>
                    </a:lnTo>
                    <a:lnTo>
                      <a:pt x="42" y="36"/>
                    </a:lnTo>
                    <a:lnTo>
                      <a:pt x="42" y="36"/>
                    </a:lnTo>
                    <a:lnTo>
                      <a:pt x="42" y="36"/>
                    </a:lnTo>
                    <a:lnTo>
                      <a:pt x="42" y="40"/>
                    </a:lnTo>
                    <a:lnTo>
                      <a:pt x="44" y="44"/>
                    </a:lnTo>
                    <a:lnTo>
                      <a:pt x="48" y="46"/>
                    </a:lnTo>
                    <a:lnTo>
                      <a:pt x="54" y="48"/>
                    </a:lnTo>
                    <a:lnTo>
                      <a:pt x="54" y="48"/>
                    </a:lnTo>
                    <a:lnTo>
                      <a:pt x="54" y="48"/>
                    </a:lnTo>
                    <a:lnTo>
                      <a:pt x="58" y="52"/>
                    </a:lnTo>
                    <a:lnTo>
                      <a:pt x="58" y="52"/>
                    </a:lnTo>
                    <a:lnTo>
                      <a:pt x="58" y="52"/>
                    </a:lnTo>
                    <a:lnTo>
                      <a:pt x="60" y="58"/>
                    </a:lnTo>
                    <a:lnTo>
                      <a:pt x="60" y="58"/>
                    </a:lnTo>
                    <a:lnTo>
                      <a:pt x="60" y="60"/>
                    </a:lnTo>
                    <a:lnTo>
                      <a:pt x="54" y="64"/>
                    </a:lnTo>
                    <a:lnTo>
                      <a:pt x="54" y="64"/>
                    </a:lnTo>
                    <a:lnTo>
                      <a:pt x="54" y="64"/>
                    </a:lnTo>
                    <a:lnTo>
                      <a:pt x="54" y="64"/>
                    </a:lnTo>
                    <a:lnTo>
                      <a:pt x="52" y="64"/>
                    </a:lnTo>
                    <a:lnTo>
                      <a:pt x="48" y="62"/>
                    </a:lnTo>
                    <a:lnTo>
                      <a:pt x="50" y="64"/>
                    </a:lnTo>
                    <a:lnTo>
                      <a:pt x="50" y="64"/>
                    </a:lnTo>
                    <a:lnTo>
                      <a:pt x="50" y="66"/>
                    </a:lnTo>
                    <a:lnTo>
                      <a:pt x="50" y="66"/>
                    </a:lnTo>
                    <a:lnTo>
                      <a:pt x="48" y="68"/>
                    </a:lnTo>
                    <a:lnTo>
                      <a:pt x="44" y="70"/>
                    </a:lnTo>
                    <a:lnTo>
                      <a:pt x="40" y="70"/>
                    </a:lnTo>
                    <a:lnTo>
                      <a:pt x="40" y="70"/>
                    </a:lnTo>
                    <a:lnTo>
                      <a:pt x="42" y="74"/>
                    </a:lnTo>
                    <a:lnTo>
                      <a:pt x="46" y="78"/>
                    </a:lnTo>
                    <a:lnTo>
                      <a:pt x="46" y="78"/>
                    </a:lnTo>
                    <a:lnTo>
                      <a:pt x="46" y="80"/>
                    </a:lnTo>
                    <a:lnTo>
                      <a:pt x="46" y="82"/>
                    </a:lnTo>
                    <a:lnTo>
                      <a:pt x="46" y="82"/>
                    </a:lnTo>
                    <a:lnTo>
                      <a:pt x="46" y="84"/>
                    </a:lnTo>
                    <a:lnTo>
                      <a:pt x="44" y="86"/>
                    </a:lnTo>
                    <a:lnTo>
                      <a:pt x="44" y="86"/>
                    </a:lnTo>
                    <a:lnTo>
                      <a:pt x="42" y="88"/>
                    </a:lnTo>
                    <a:lnTo>
                      <a:pt x="42" y="88"/>
                    </a:lnTo>
                    <a:lnTo>
                      <a:pt x="42" y="88"/>
                    </a:lnTo>
                    <a:lnTo>
                      <a:pt x="4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1" name="Freeform 703"/>
              <p:cNvSpPr>
                <a:spLocks noEditPoints="1"/>
              </p:cNvSpPr>
              <p:nvPr/>
            </p:nvSpPr>
            <p:spPr bwMode="auto">
              <a:xfrm>
                <a:off x="3175" y="1895"/>
                <a:ext cx="92" cy="92"/>
              </a:xfrm>
              <a:custGeom>
                <a:avLst/>
                <a:gdLst>
                  <a:gd name="T0" fmla="*/ 70 w 92"/>
                  <a:gd name="T1" fmla="*/ 10 h 92"/>
                  <a:gd name="T2" fmla="*/ 84 w 92"/>
                  <a:gd name="T3" fmla="*/ 16 h 92"/>
                  <a:gd name="T4" fmla="*/ 60 w 92"/>
                  <a:gd name="T5" fmla="*/ 18 h 92"/>
                  <a:gd name="T6" fmla="*/ 54 w 92"/>
                  <a:gd name="T7" fmla="*/ 28 h 92"/>
                  <a:gd name="T8" fmla="*/ 36 w 92"/>
                  <a:gd name="T9" fmla="*/ 28 h 92"/>
                  <a:gd name="T10" fmla="*/ 44 w 92"/>
                  <a:gd name="T11" fmla="*/ 46 h 92"/>
                  <a:gd name="T12" fmla="*/ 60 w 92"/>
                  <a:gd name="T13" fmla="*/ 60 h 92"/>
                  <a:gd name="T14" fmla="*/ 46 w 92"/>
                  <a:gd name="T15" fmla="*/ 64 h 92"/>
                  <a:gd name="T16" fmla="*/ 40 w 92"/>
                  <a:gd name="T17" fmla="*/ 72 h 92"/>
                  <a:gd name="T18" fmla="*/ 44 w 92"/>
                  <a:gd name="T19" fmla="*/ 88 h 92"/>
                  <a:gd name="T20" fmla="*/ 34 w 92"/>
                  <a:gd name="T21" fmla="*/ 82 h 92"/>
                  <a:gd name="T22" fmla="*/ 26 w 92"/>
                  <a:gd name="T23" fmla="*/ 74 h 92"/>
                  <a:gd name="T24" fmla="*/ 30 w 92"/>
                  <a:gd name="T25" fmla="*/ 60 h 92"/>
                  <a:gd name="T26" fmla="*/ 40 w 92"/>
                  <a:gd name="T27" fmla="*/ 58 h 92"/>
                  <a:gd name="T28" fmla="*/ 16 w 92"/>
                  <a:gd name="T29" fmla="*/ 54 h 92"/>
                  <a:gd name="T30" fmla="*/ 12 w 92"/>
                  <a:gd name="T31" fmla="*/ 44 h 92"/>
                  <a:gd name="T32" fmla="*/ 12 w 92"/>
                  <a:gd name="T33" fmla="*/ 26 h 92"/>
                  <a:gd name="T34" fmla="*/ 26 w 92"/>
                  <a:gd name="T35" fmla="*/ 14 h 92"/>
                  <a:gd name="T36" fmla="*/ 56 w 92"/>
                  <a:gd name="T37" fmla="*/ 4 h 92"/>
                  <a:gd name="T38" fmla="*/ 44 w 92"/>
                  <a:gd name="T39" fmla="*/ 4 h 92"/>
                  <a:gd name="T40" fmla="*/ 34 w 92"/>
                  <a:gd name="T41" fmla="*/ 8 h 92"/>
                  <a:gd name="T42" fmla="*/ 18 w 92"/>
                  <a:gd name="T43" fmla="*/ 12 h 92"/>
                  <a:gd name="T44" fmla="*/ 14 w 92"/>
                  <a:gd name="T45" fmla="*/ 14 h 92"/>
                  <a:gd name="T46" fmla="*/ 10 w 92"/>
                  <a:gd name="T47" fmla="*/ 24 h 92"/>
                  <a:gd name="T48" fmla="*/ 0 w 92"/>
                  <a:gd name="T49" fmla="*/ 34 h 92"/>
                  <a:gd name="T50" fmla="*/ 4 w 92"/>
                  <a:gd name="T51" fmla="*/ 42 h 92"/>
                  <a:gd name="T52" fmla="*/ 10 w 92"/>
                  <a:gd name="T53" fmla="*/ 46 h 92"/>
                  <a:gd name="T54" fmla="*/ 12 w 92"/>
                  <a:gd name="T55" fmla="*/ 54 h 92"/>
                  <a:gd name="T56" fmla="*/ 18 w 92"/>
                  <a:gd name="T57" fmla="*/ 60 h 92"/>
                  <a:gd name="T58" fmla="*/ 20 w 92"/>
                  <a:gd name="T59" fmla="*/ 60 h 92"/>
                  <a:gd name="T60" fmla="*/ 18 w 92"/>
                  <a:gd name="T61" fmla="*/ 70 h 92"/>
                  <a:gd name="T62" fmla="*/ 22 w 92"/>
                  <a:gd name="T63" fmla="*/ 80 h 92"/>
                  <a:gd name="T64" fmla="*/ 24 w 92"/>
                  <a:gd name="T65" fmla="*/ 84 h 92"/>
                  <a:gd name="T66" fmla="*/ 28 w 92"/>
                  <a:gd name="T67" fmla="*/ 86 h 92"/>
                  <a:gd name="T68" fmla="*/ 34 w 92"/>
                  <a:gd name="T69" fmla="*/ 92 h 92"/>
                  <a:gd name="T70" fmla="*/ 36 w 92"/>
                  <a:gd name="T71" fmla="*/ 92 h 92"/>
                  <a:gd name="T72" fmla="*/ 44 w 92"/>
                  <a:gd name="T73" fmla="*/ 92 h 92"/>
                  <a:gd name="T74" fmla="*/ 50 w 92"/>
                  <a:gd name="T75" fmla="*/ 86 h 92"/>
                  <a:gd name="T76" fmla="*/ 50 w 92"/>
                  <a:gd name="T77" fmla="*/ 82 h 92"/>
                  <a:gd name="T78" fmla="*/ 44 w 92"/>
                  <a:gd name="T79" fmla="*/ 74 h 92"/>
                  <a:gd name="T80" fmla="*/ 52 w 92"/>
                  <a:gd name="T81" fmla="*/ 72 h 92"/>
                  <a:gd name="T82" fmla="*/ 54 w 92"/>
                  <a:gd name="T83" fmla="*/ 68 h 92"/>
                  <a:gd name="T84" fmla="*/ 58 w 92"/>
                  <a:gd name="T85" fmla="*/ 68 h 92"/>
                  <a:gd name="T86" fmla="*/ 64 w 92"/>
                  <a:gd name="T87" fmla="*/ 60 h 92"/>
                  <a:gd name="T88" fmla="*/ 58 w 92"/>
                  <a:gd name="T89" fmla="*/ 50 h 92"/>
                  <a:gd name="T90" fmla="*/ 48 w 92"/>
                  <a:gd name="T91" fmla="*/ 44 h 92"/>
                  <a:gd name="T92" fmla="*/ 46 w 92"/>
                  <a:gd name="T93" fmla="*/ 36 h 92"/>
                  <a:gd name="T94" fmla="*/ 42 w 92"/>
                  <a:gd name="T95" fmla="*/ 26 h 92"/>
                  <a:gd name="T96" fmla="*/ 52 w 92"/>
                  <a:gd name="T97" fmla="*/ 32 h 92"/>
                  <a:gd name="T98" fmla="*/ 56 w 92"/>
                  <a:gd name="T99" fmla="*/ 30 h 92"/>
                  <a:gd name="T100" fmla="*/ 60 w 92"/>
                  <a:gd name="T101" fmla="*/ 24 h 92"/>
                  <a:gd name="T102" fmla="*/ 62 w 92"/>
                  <a:gd name="T103" fmla="*/ 22 h 92"/>
                  <a:gd name="T104" fmla="*/ 84 w 92"/>
                  <a:gd name="T105" fmla="*/ 20 h 92"/>
                  <a:gd name="T106" fmla="*/ 90 w 92"/>
                  <a:gd name="T107" fmla="*/ 18 h 92"/>
                  <a:gd name="T108" fmla="*/ 92 w 92"/>
                  <a:gd name="T109" fmla="*/ 10 h 92"/>
                  <a:gd name="T110" fmla="*/ 70 w 92"/>
                  <a:gd name="T111" fmla="*/ 6 h 92"/>
                  <a:gd name="T112" fmla="*/ 62 w 92"/>
                  <a:gd name="T113" fmla="*/ 2 h 92"/>
                  <a:gd name="T114" fmla="*/ 56 w 92"/>
                  <a:gd name="T11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92">
                    <a:moveTo>
                      <a:pt x="56" y="4"/>
                    </a:moveTo>
                    <a:lnTo>
                      <a:pt x="60" y="6"/>
                    </a:lnTo>
                    <a:lnTo>
                      <a:pt x="66" y="8"/>
                    </a:lnTo>
                    <a:lnTo>
                      <a:pt x="70" y="10"/>
                    </a:lnTo>
                    <a:lnTo>
                      <a:pt x="80" y="10"/>
                    </a:lnTo>
                    <a:lnTo>
                      <a:pt x="88" y="10"/>
                    </a:lnTo>
                    <a:lnTo>
                      <a:pt x="88" y="14"/>
                    </a:lnTo>
                    <a:lnTo>
                      <a:pt x="84" y="16"/>
                    </a:lnTo>
                    <a:lnTo>
                      <a:pt x="78" y="16"/>
                    </a:lnTo>
                    <a:lnTo>
                      <a:pt x="74" y="16"/>
                    </a:lnTo>
                    <a:lnTo>
                      <a:pt x="66" y="16"/>
                    </a:lnTo>
                    <a:lnTo>
                      <a:pt x="60" y="18"/>
                    </a:lnTo>
                    <a:lnTo>
                      <a:pt x="56" y="18"/>
                    </a:lnTo>
                    <a:lnTo>
                      <a:pt x="58" y="22"/>
                    </a:lnTo>
                    <a:lnTo>
                      <a:pt x="56" y="26"/>
                    </a:lnTo>
                    <a:lnTo>
                      <a:pt x="54" y="28"/>
                    </a:lnTo>
                    <a:lnTo>
                      <a:pt x="46" y="26"/>
                    </a:lnTo>
                    <a:lnTo>
                      <a:pt x="42" y="22"/>
                    </a:lnTo>
                    <a:lnTo>
                      <a:pt x="38" y="22"/>
                    </a:lnTo>
                    <a:lnTo>
                      <a:pt x="36" y="28"/>
                    </a:lnTo>
                    <a:lnTo>
                      <a:pt x="38" y="32"/>
                    </a:lnTo>
                    <a:lnTo>
                      <a:pt x="42" y="38"/>
                    </a:lnTo>
                    <a:lnTo>
                      <a:pt x="42" y="42"/>
                    </a:lnTo>
                    <a:lnTo>
                      <a:pt x="44" y="46"/>
                    </a:lnTo>
                    <a:lnTo>
                      <a:pt x="48" y="50"/>
                    </a:lnTo>
                    <a:lnTo>
                      <a:pt x="56" y="52"/>
                    </a:lnTo>
                    <a:lnTo>
                      <a:pt x="58" y="56"/>
                    </a:lnTo>
                    <a:lnTo>
                      <a:pt x="60" y="60"/>
                    </a:lnTo>
                    <a:lnTo>
                      <a:pt x="56" y="64"/>
                    </a:lnTo>
                    <a:lnTo>
                      <a:pt x="50" y="62"/>
                    </a:lnTo>
                    <a:lnTo>
                      <a:pt x="46" y="58"/>
                    </a:lnTo>
                    <a:lnTo>
                      <a:pt x="46" y="64"/>
                    </a:lnTo>
                    <a:lnTo>
                      <a:pt x="50" y="68"/>
                    </a:lnTo>
                    <a:lnTo>
                      <a:pt x="44" y="70"/>
                    </a:lnTo>
                    <a:lnTo>
                      <a:pt x="40" y="70"/>
                    </a:lnTo>
                    <a:lnTo>
                      <a:pt x="40" y="72"/>
                    </a:lnTo>
                    <a:lnTo>
                      <a:pt x="42" y="78"/>
                    </a:lnTo>
                    <a:lnTo>
                      <a:pt x="46" y="82"/>
                    </a:lnTo>
                    <a:lnTo>
                      <a:pt x="46" y="84"/>
                    </a:lnTo>
                    <a:lnTo>
                      <a:pt x="44" y="88"/>
                    </a:lnTo>
                    <a:lnTo>
                      <a:pt x="40" y="82"/>
                    </a:lnTo>
                    <a:lnTo>
                      <a:pt x="40" y="86"/>
                    </a:lnTo>
                    <a:lnTo>
                      <a:pt x="36" y="88"/>
                    </a:lnTo>
                    <a:lnTo>
                      <a:pt x="34" y="82"/>
                    </a:lnTo>
                    <a:lnTo>
                      <a:pt x="32" y="78"/>
                    </a:lnTo>
                    <a:lnTo>
                      <a:pt x="28" y="82"/>
                    </a:lnTo>
                    <a:lnTo>
                      <a:pt x="26" y="80"/>
                    </a:lnTo>
                    <a:lnTo>
                      <a:pt x="26" y="74"/>
                    </a:lnTo>
                    <a:lnTo>
                      <a:pt x="22" y="70"/>
                    </a:lnTo>
                    <a:lnTo>
                      <a:pt x="22" y="64"/>
                    </a:lnTo>
                    <a:lnTo>
                      <a:pt x="24" y="60"/>
                    </a:lnTo>
                    <a:lnTo>
                      <a:pt x="30" y="60"/>
                    </a:lnTo>
                    <a:lnTo>
                      <a:pt x="38" y="62"/>
                    </a:lnTo>
                    <a:lnTo>
                      <a:pt x="42" y="62"/>
                    </a:lnTo>
                    <a:lnTo>
                      <a:pt x="44" y="58"/>
                    </a:lnTo>
                    <a:lnTo>
                      <a:pt x="40" y="58"/>
                    </a:lnTo>
                    <a:lnTo>
                      <a:pt x="32" y="56"/>
                    </a:lnTo>
                    <a:lnTo>
                      <a:pt x="26" y="54"/>
                    </a:lnTo>
                    <a:lnTo>
                      <a:pt x="20" y="56"/>
                    </a:lnTo>
                    <a:lnTo>
                      <a:pt x="16" y="54"/>
                    </a:lnTo>
                    <a:lnTo>
                      <a:pt x="16" y="48"/>
                    </a:lnTo>
                    <a:lnTo>
                      <a:pt x="22" y="46"/>
                    </a:lnTo>
                    <a:lnTo>
                      <a:pt x="18" y="44"/>
                    </a:lnTo>
                    <a:lnTo>
                      <a:pt x="12" y="44"/>
                    </a:lnTo>
                    <a:lnTo>
                      <a:pt x="8" y="40"/>
                    </a:lnTo>
                    <a:lnTo>
                      <a:pt x="4" y="36"/>
                    </a:lnTo>
                    <a:lnTo>
                      <a:pt x="6" y="34"/>
                    </a:lnTo>
                    <a:lnTo>
                      <a:pt x="12" y="26"/>
                    </a:lnTo>
                    <a:lnTo>
                      <a:pt x="16" y="22"/>
                    </a:lnTo>
                    <a:lnTo>
                      <a:pt x="16" y="18"/>
                    </a:lnTo>
                    <a:lnTo>
                      <a:pt x="20" y="16"/>
                    </a:lnTo>
                    <a:lnTo>
                      <a:pt x="26" y="14"/>
                    </a:lnTo>
                    <a:lnTo>
                      <a:pt x="34" y="12"/>
                    </a:lnTo>
                    <a:lnTo>
                      <a:pt x="40" y="12"/>
                    </a:lnTo>
                    <a:lnTo>
                      <a:pt x="46" y="8"/>
                    </a:lnTo>
                    <a:lnTo>
                      <a:pt x="56" y="4"/>
                    </a:lnTo>
                    <a:close/>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2" name="Freeform 704"/>
              <p:cNvSpPr>
                <a:spLocks/>
              </p:cNvSpPr>
              <p:nvPr/>
            </p:nvSpPr>
            <p:spPr bwMode="auto">
              <a:xfrm>
                <a:off x="3179" y="1899"/>
                <a:ext cx="84" cy="84"/>
              </a:xfrm>
              <a:custGeom>
                <a:avLst/>
                <a:gdLst>
                  <a:gd name="T0" fmla="*/ 56 w 84"/>
                  <a:gd name="T1" fmla="*/ 2 h 84"/>
                  <a:gd name="T2" fmla="*/ 66 w 84"/>
                  <a:gd name="T3" fmla="*/ 6 h 84"/>
                  <a:gd name="T4" fmla="*/ 84 w 84"/>
                  <a:gd name="T5" fmla="*/ 6 h 84"/>
                  <a:gd name="T6" fmla="*/ 80 w 84"/>
                  <a:gd name="T7" fmla="*/ 12 h 84"/>
                  <a:gd name="T8" fmla="*/ 70 w 84"/>
                  <a:gd name="T9" fmla="*/ 12 h 84"/>
                  <a:gd name="T10" fmla="*/ 56 w 84"/>
                  <a:gd name="T11" fmla="*/ 14 h 84"/>
                  <a:gd name="T12" fmla="*/ 54 w 84"/>
                  <a:gd name="T13" fmla="*/ 18 h 84"/>
                  <a:gd name="T14" fmla="*/ 50 w 84"/>
                  <a:gd name="T15" fmla="*/ 24 h 84"/>
                  <a:gd name="T16" fmla="*/ 38 w 84"/>
                  <a:gd name="T17" fmla="*/ 18 h 84"/>
                  <a:gd name="T18" fmla="*/ 32 w 84"/>
                  <a:gd name="T19" fmla="*/ 24 h 84"/>
                  <a:gd name="T20" fmla="*/ 38 w 84"/>
                  <a:gd name="T21" fmla="*/ 34 h 84"/>
                  <a:gd name="T22" fmla="*/ 40 w 84"/>
                  <a:gd name="T23" fmla="*/ 42 h 84"/>
                  <a:gd name="T24" fmla="*/ 52 w 84"/>
                  <a:gd name="T25" fmla="*/ 48 h 84"/>
                  <a:gd name="T26" fmla="*/ 56 w 84"/>
                  <a:gd name="T27" fmla="*/ 56 h 84"/>
                  <a:gd name="T28" fmla="*/ 46 w 84"/>
                  <a:gd name="T29" fmla="*/ 58 h 84"/>
                  <a:gd name="T30" fmla="*/ 42 w 84"/>
                  <a:gd name="T31" fmla="*/ 60 h 84"/>
                  <a:gd name="T32" fmla="*/ 40 w 84"/>
                  <a:gd name="T33" fmla="*/ 66 h 84"/>
                  <a:gd name="T34" fmla="*/ 36 w 84"/>
                  <a:gd name="T35" fmla="*/ 68 h 84"/>
                  <a:gd name="T36" fmla="*/ 42 w 84"/>
                  <a:gd name="T37" fmla="*/ 78 h 84"/>
                  <a:gd name="T38" fmla="*/ 40 w 84"/>
                  <a:gd name="T39" fmla="*/ 84 h 84"/>
                  <a:gd name="T40" fmla="*/ 36 w 84"/>
                  <a:gd name="T41" fmla="*/ 82 h 84"/>
                  <a:gd name="T42" fmla="*/ 30 w 84"/>
                  <a:gd name="T43" fmla="*/ 78 h 84"/>
                  <a:gd name="T44" fmla="*/ 24 w 84"/>
                  <a:gd name="T45" fmla="*/ 78 h 84"/>
                  <a:gd name="T46" fmla="*/ 22 w 84"/>
                  <a:gd name="T47" fmla="*/ 70 h 84"/>
                  <a:gd name="T48" fmla="*/ 18 w 84"/>
                  <a:gd name="T49" fmla="*/ 60 h 84"/>
                  <a:gd name="T50" fmla="*/ 26 w 84"/>
                  <a:gd name="T51" fmla="*/ 56 h 84"/>
                  <a:gd name="T52" fmla="*/ 38 w 84"/>
                  <a:gd name="T53" fmla="*/ 58 h 84"/>
                  <a:gd name="T54" fmla="*/ 36 w 84"/>
                  <a:gd name="T55" fmla="*/ 54 h 84"/>
                  <a:gd name="T56" fmla="*/ 22 w 84"/>
                  <a:gd name="T57" fmla="*/ 50 h 84"/>
                  <a:gd name="T58" fmla="*/ 12 w 84"/>
                  <a:gd name="T59" fmla="*/ 50 h 84"/>
                  <a:gd name="T60" fmla="*/ 18 w 84"/>
                  <a:gd name="T61" fmla="*/ 42 h 84"/>
                  <a:gd name="T62" fmla="*/ 8 w 84"/>
                  <a:gd name="T63" fmla="*/ 40 h 84"/>
                  <a:gd name="T64" fmla="*/ 0 w 84"/>
                  <a:gd name="T65" fmla="*/ 32 h 84"/>
                  <a:gd name="T66" fmla="*/ 8 w 84"/>
                  <a:gd name="T67" fmla="*/ 22 h 84"/>
                  <a:gd name="T68" fmla="*/ 12 w 84"/>
                  <a:gd name="T69" fmla="*/ 14 h 84"/>
                  <a:gd name="T70" fmla="*/ 22 w 84"/>
                  <a:gd name="T71" fmla="*/ 10 h 84"/>
                  <a:gd name="T72" fmla="*/ 36 w 84"/>
                  <a:gd name="T73" fmla="*/ 8 h 84"/>
                  <a:gd name="T74" fmla="*/ 52 w 84"/>
                  <a:gd name="T7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52" y="0"/>
                    </a:moveTo>
                    <a:lnTo>
                      <a:pt x="56" y="2"/>
                    </a:lnTo>
                    <a:lnTo>
                      <a:pt x="62" y="4"/>
                    </a:lnTo>
                    <a:lnTo>
                      <a:pt x="66" y="6"/>
                    </a:lnTo>
                    <a:lnTo>
                      <a:pt x="76" y="6"/>
                    </a:lnTo>
                    <a:lnTo>
                      <a:pt x="84" y="6"/>
                    </a:lnTo>
                    <a:lnTo>
                      <a:pt x="84" y="10"/>
                    </a:lnTo>
                    <a:lnTo>
                      <a:pt x="80" y="12"/>
                    </a:lnTo>
                    <a:lnTo>
                      <a:pt x="74" y="12"/>
                    </a:lnTo>
                    <a:lnTo>
                      <a:pt x="70" y="12"/>
                    </a:lnTo>
                    <a:lnTo>
                      <a:pt x="62" y="12"/>
                    </a:lnTo>
                    <a:lnTo>
                      <a:pt x="56" y="14"/>
                    </a:lnTo>
                    <a:lnTo>
                      <a:pt x="52" y="14"/>
                    </a:lnTo>
                    <a:lnTo>
                      <a:pt x="54" y="18"/>
                    </a:lnTo>
                    <a:lnTo>
                      <a:pt x="52" y="22"/>
                    </a:lnTo>
                    <a:lnTo>
                      <a:pt x="50" y="24"/>
                    </a:lnTo>
                    <a:lnTo>
                      <a:pt x="42" y="22"/>
                    </a:lnTo>
                    <a:lnTo>
                      <a:pt x="38" y="18"/>
                    </a:lnTo>
                    <a:lnTo>
                      <a:pt x="34" y="18"/>
                    </a:lnTo>
                    <a:lnTo>
                      <a:pt x="32" y="24"/>
                    </a:lnTo>
                    <a:lnTo>
                      <a:pt x="34" y="28"/>
                    </a:lnTo>
                    <a:lnTo>
                      <a:pt x="38" y="34"/>
                    </a:lnTo>
                    <a:lnTo>
                      <a:pt x="38" y="38"/>
                    </a:lnTo>
                    <a:lnTo>
                      <a:pt x="40" y="42"/>
                    </a:lnTo>
                    <a:lnTo>
                      <a:pt x="44" y="46"/>
                    </a:lnTo>
                    <a:lnTo>
                      <a:pt x="52" y="48"/>
                    </a:lnTo>
                    <a:lnTo>
                      <a:pt x="54" y="52"/>
                    </a:lnTo>
                    <a:lnTo>
                      <a:pt x="56" y="56"/>
                    </a:lnTo>
                    <a:lnTo>
                      <a:pt x="52" y="60"/>
                    </a:lnTo>
                    <a:lnTo>
                      <a:pt x="46" y="58"/>
                    </a:lnTo>
                    <a:lnTo>
                      <a:pt x="42" y="54"/>
                    </a:lnTo>
                    <a:lnTo>
                      <a:pt x="42" y="60"/>
                    </a:lnTo>
                    <a:lnTo>
                      <a:pt x="46" y="64"/>
                    </a:lnTo>
                    <a:lnTo>
                      <a:pt x="40" y="66"/>
                    </a:lnTo>
                    <a:lnTo>
                      <a:pt x="36" y="66"/>
                    </a:lnTo>
                    <a:lnTo>
                      <a:pt x="36" y="68"/>
                    </a:lnTo>
                    <a:lnTo>
                      <a:pt x="38" y="74"/>
                    </a:lnTo>
                    <a:lnTo>
                      <a:pt x="42" y="78"/>
                    </a:lnTo>
                    <a:lnTo>
                      <a:pt x="42" y="80"/>
                    </a:lnTo>
                    <a:lnTo>
                      <a:pt x="40" y="84"/>
                    </a:lnTo>
                    <a:lnTo>
                      <a:pt x="36" y="78"/>
                    </a:lnTo>
                    <a:lnTo>
                      <a:pt x="36" y="82"/>
                    </a:lnTo>
                    <a:lnTo>
                      <a:pt x="32" y="84"/>
                    </a:lnTo>
                    <a:lnTo>
                      <a:pt x="30" y="78"/>
                    </a:lnTo>
                    <a:lnTo>
                      <a:pt x="28" y="74"/>
                    </a:lnTo>
                    <a:lnTo>
                      <a:pt x="24" y="78"/>
                    </a:lnTo>
                    <a:lnTo>
                      <a:pt x="22" y="76"/>
                    </a:lnTo>
                    <a:lnTo>
                      <a:pt x="22" y="70"/>
                    </a:lnTo>
                    <a:lnTo>
                      <a:pt x="18" y="66"/>
                    </a:lnTo>
                    <a:lnTo>
                      <a:pt x="18" y="60"/>
                    </a:lnTo>
                    <a:lnTo>
                      <a:pt x="20" y="56"/>
                    </a:lnTo>
                    <a:lnTo>
                      <a:pt x="26" y="56"/>
                    </a:lnTo>
                    <a:lnTo>
                      <a:pt x="34" y="58"/>
                    </a:lnTo>
                    <a:lnTo>
                      <a:pt x="38" y="58"/>
                    </a:lnTo>
                    <a:lnTo>
                      <a:pt x="40" y="54"/>
                    </a:lnTo>
                    <a:lnTo>
                      <a:pt x="36" y="54"/>
                    </a:lnTo>
                    <a:lnTo>
                      <a:pt x="28" y="52"/>
                    </a:lnTo>
                    <a:lnTo>
                      <a:pt x="22" y="50"/>
                    </a:lnTo>
                    <a:lnTo>
                      <a:pt x="16" y="52"/>
                    </a:lnTo>
                    <a:lnTo>
                      <a:pt x="12" y="50"/>
                    </a:lnTo>
                    <a:lnTo>
                      <a:pt x="12" y="44"/>
                    </a:lnTo>
                    <a:lnTo>
                      <a:pt x="18" y="42"/>
                    </a:lnTo>
                    <a:lnTo>
                      <a:pt x="14" y="40"/>
                    </a:lnTo>
                    <a:lnTo>
                      <a:pt x="8" y="40"/>
                    </a:lnTo>
                    <a:lnTo>
                      <a:pt x="4" y="36"/>
                    </a:lnTo>
                    <a:lnTo>
                      <a:pt x="0" y="32"/>
                    </a:lnTo>
                    <a:lnTo>
                      <a:pt x="2" y="30"/>
                    </a:lnTo>
                    <a:lnTo>
                      <a:pt x="8" y="22"/>
                    </a:lnTo>
                    <a:lnTo>
                      <a:pt x="12" y="18"/>
                    </a:lnTo>
                    <a:lnTo>
                      <a:pt x="12" y="14"/>
                    </a:lnTo>
                    <a:lnTo>
                      <a:pt x="16" y="12"/>
                    </a:lnTo>
                    <a:lnTo>
                      <a:pt x="22" y="10"/>
                    </a:lnTo>
                    <a:lnTo>
                      <a:pt x="30" y="8"/>
                    </a:lnTo>
                    <a:lnTo>
                      <a:pt x="36" y="8"/>
                    </a:lnTo>
                    <a:lnTo>
                      <a:pt x="42"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3" name="Freeform 705"/>
              <p:cNvSpPr>
                <a:spLocks/>
              </p:cNvSpPr>
              <p:nvPr/>
            </p:nvSpPr>
            <p:spPr bwMode="auto">
              <a:xfrm>
                <a:off x="3175" y="1895"/>
                <a:ext cx="92" cy="92"/>
              </a:xfrm>
              <a:custGeom>
                <a:avLst/>
                <a:gdLst>
                  <a:gd name="T0" fmla="*/ 54 w 92"/>
                  <a:gd name="T1" fmla="*/ 0 h 92"/>
                  <a:gd name="T2" fmla="*/ 44 w 92"/>
                  <a:gd name="T3" fmla="*/ 4 h 92"/>
                  <a:gd name="T4" fmla="*/ 34 w 92"/>
                  <a:gd name="T5" fmla="*/ 8 h 92"/>
                  <a:gd name="T6" fmla="*/ 18 w 92"/>
                  <a:gd name="T7" fmla="*/ 12 h 92"/>
                  <a:gd name="T8" fmla="*/ 14 w 92"/>
                  <a:gd name="T9" fmla="*/ 14 h 92"/>
                  <a:gd name="T10" fmla="*/ 12 w 92"/>
                  <a:gd name="T11" fmla="*/ 18 h 92"/>
                  <a:gd name="T12" fmla="*/ 2 w 92"/>
                  <a:gd name="T13" fmla="*/ 30 h 92"/>
                  <a:gd name="T14" fmla="*/ 0 w 92"/>
                  <a:gd name="T15" fmla="*/ 34 h 92"/>
                  <a:gd name="T16" fmla="*/ 0 w 92"/>
                  <a:gd name="T17" fmla="*/ 40 h 92"/>
                  <a:gd name="T18" fmla="*/ 4 w 92"/>
                  <a:gd name="T19" fmla="*/ 44 h 92"/>
                  <a:gd name="T20" fmla="*/ 12 w 92"/>
                  <a:gd name="T21" fmla="*/ 48 h 92"/>
                  <a:gd name="T22" fmla="*/ 12 w 92"/>
                  <a:gd name="T23" fmla="*/ 54 h 92"/>
                  <a:gd name="T24" fmla="*/ 14 w 92"/>
                  <a:gd name="T25" fmla="*/ 58 h 92"/>
                  <a:gd name="T26" fmla="*/ 20 w 92"/>
                  <a:gd name="T27" fmla="*/ 60 h 92"/>
                  <a:gd name="T28" fmla="*/ 18 w 92"/>
                  <a:gd name="T29" fmla="*/ 62 h 92"/>
                  <a:gd name="T30" fmla="*/ 18 w 92"/>
                  <a:gd name="T31" fmla="*/ 70 h 92"/>
                  <a:gd name="T32" fmla="*/ 22 w 92"/>
                  <a:gd name="T33" fmla="*/ 76 h 92"/>
                  <a:gd name="T34" fmla="*/ 24 w 92"/>
                  <a:gd name="T35" fmla="*/ 82 h 92"/>
                  <a:gd name="T36" fmla="*/ 28 w 92"/>
                  <a:gd name="T37" fmla="*/ 86 h 92"/>
                  <a:gd name="T38" fmla="*/ 28 w 92"/>
                  <a:gd name="T39" fmla="*/ 86 h 92"/>
                  <a:gd name="T40" fmla="*/ 32 w 92"/>
                  <a:gd name="T41" fmla="*/ 90 h 92"/>
                  <a:gd name="T42" fmla="*/ 36 w 92"/>
                  <a:gd name="T43" fmla="*/ 92 h 92"/>
                  <a:gd name="T44" fmla="*/ 42 w 92"/>
                  <a:gd name="T45" fmla="*/ 90 h 92"/>
                  <a:gd name="T46" fmla="*/ 44 w 92"/>
                  <a:gd name="T47" fmla="*/ 92 h 92"/>
                  <a:gd name="T48" fmla="*/ 48 w 92"/>
                  <a:gd name="T49" fmla="*/ 90 h 92"/>
                  <a:gd name="T50" fmla="*/ 50 w 92"/>
                  <a:gd name="T51" fmla="*/ 84 h 92"/>
                  <a:gd name="T52" fmla="*/ 50 w 92"/>
                  <a:gd name="T53" fmla="*/ 78 h 92"/>
                  <a:gd name="T54" fmla="*/ 44 w 92"/>
                  <a:gd name="T55" fmla="*/ 74 h 92"/>
                  <a:gd name="T56" fmla="*/ 52 w 92"/>
                  <a:gd name="T57" fmla="*/ 72 h 92"/>
                  <a:gd name="T58" fmla="*/ 54 w 92"/>
                  <a:gd name="T59" fmla="*/ 68 h 92"/>
                  <a:gd name="T60" fmla="*/ 54 w 92"/>
                  <a:gd name="T61" fmla="*/ 68 h 92"/>
                  <a:gd name="T62" fmla="*/ 58 w 92"/>
                  <a:gd name="T63" fmla="*/ 68 h 92"/>
                  <a:gd name="T64" fmla="*/ 64 w 92"/>
                  <a:gd name="T65" fmla="*/ 62 h 92"/>
                  <a:gd name="T66" fmla="*/ 62 w 92"/>
                  <a:gd name="T67" fmla="*/ 54 h 92"/>
                  <a:gd name="T68" fmla="*/ 58 w 92"/>
                  <a:gd name="T69" fmla="*/ 50 h 92"/>
                  <a:gd name="T70" fmla="*/ 48 w 92"/>
                  <a:gd name="T71" fmla="*/ 44 h 92"/>
                  <a:gd name="T72" fmla="*/ 46 w 92"/>
                  <a:gd name="T73" fmla="*/ 38 h 92"/>
                  <a:gd name="T74" fmla="*/ 40 w 92"/>
                  <a:gd name="T75" fmla="*/ 28 h 92"/>
                  <a:gd name="T76" fmla="*/ 44 w 92"/>
                  <a:gd name="T77" fmla="*/ 28 h 92"/>
                  <a:gd name="T78" fmla="*/ 52 w 92"/>
                  <a:gd name="T79" fmla="*/ 32 h 92"/>
                  <a:gd name="T80" fmla="*/ 54 w 92"/>
                  <a:gd name="T81" fmla="*/ 32 h 92"/>
                  <a:gd name="T82" fmla="*/ 58 w 92"/>
                  <a:gd name="T83" fmla="*/ 30 h 92"/>
                  <a:gd name="T84" fmla="*/ 60 w 92"/>
                  <a:gd name="T85" fmla="*/ 24 h 92"/>
                  <a:gd name="T86" fmla="*/ 62 w 92"/>
                  <a:gd name="T87" fmla="*/ 22 h 92"/>
                  <a:gd name="T88" fmla="*/ 78 w 92"/>
                  <a:gd name="T89" fmla="*/ 20 h 92"/>
                  <a:gd name="T90" fmla="*/ 86 w 92"/>
                  <a:gd name="T91" fmla="*/ 20 h 92"/>
                  <a:gd name="T92" fmla="*/ 90 w 92"/>
                  <a:gd name="T93" fmla="*/ 16 h 92"/>
                  <a:gd name="T94" fmla="*/ 92 w 92"/>
                  <a:gd name="T95" fmla="*/ 10 h 92"/>
                  <a:gd name="T96" fmla="*/ 80 w 92"/>
                  <a:gd name="T97" fmla="*/ 6 h 92"/>
                  <a:gd name="T98" fmla="*/ 68 w 92"/>
                  <a:gd name="T99" fmla="*/ 4 h 92"/>
                  <a:gd name="T100" fmla="*/ 56 w 92"/>
                  <a:gd name="T101" fmla="*/ 0 h 92"/>
                  <a:gd name="T102" fmla="*/ 56 w 9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92">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4" name="Freeform 706"/>
              <p:cNvSpPr>
                <a:spLocks/>
              </p:cNvSpPr>
              <p:nvPr/>
            </p:nvSpPr>
            <p:spPr bwMode="auto">
              <a:xfrm>
                <a:off x="3165" y="1881"/>
                <a:ext cx="26" cy="54"/>
              </a:xfrm>
              <a:custGeom>
                <a:avLst/>
                <a:gdLst>
                  <a:gd name="T0" fmla="*/ 12 w 26"/>
                  <a:gd name="T1" fmla="*/ 54 h 54"/>
                  <a:gd name="T2" fmla="*/ 12 w 26"/>
                  <a:gd name="T3" fmla="*/ 54 h 54"/>
                  <a:gd name="T4" fmla="*/ 10 w 26"/>
                  <a:gd name="T5" fmla="*/ 52 h 54"/>
                  <a:gd name="T6" fmla="*/ 2 w 26"/>
                  <a:gd name="T7" fmla="*/ 38 h 54"/>
                  <a:gd name="T8" fmla="*/ 2 w 26"/>
                  <a:gd name="T9" fmla="*/ 38 h 54"/>
                  <a:gd name="T10" fmla="*/ 2 w 26"/>
                  <a:gd name="T11" fmla="*/ 36 h 54"/>
                  <a:gd name="T12" fmla="*/ 4 w 26"/>
                  <a:gd name="T13" fmla="*/ 26 h 54"/>
                  <a:gd name="T14" fmla="*/ 2 w 26"/>
                  <a:gd name="T15" fmla="*/ 18 h 54"/>
                  <a:gd name="T16" fmla="*/ 0 w 26"/>
                  <a:gd name="T17" fmla="*/ 12 h 54"/>
                  <a:gd name="T18" fmla="*/ 0 w 26"/>
                  <a:gd name="T19" fmla="*/ 12 h 54"/>
                  <a:gd name="T20" fmla="*/ 0 w 26"/>
                  <a:gd name="T21" fmla="*/ 12 h 54"/>
                  <a:gd name="T22" fmla="*/ 2 w 26"/>
                  <a:gd name="T23" fmla="*/ 4 h 54"/>
                  <a:gd name="T24" fmla="*/ 2 w 26"/>
                  <a:gd name="T25" fmla="*/ 4 h 54"/>
                  <a:gd name="T26" fmla="*/ 2 w 26"/>
                  <a:gd name="T27" fmla="*/ 4 h 54"/>
                  <a:gd name="T28" fmla="*/ 6 w 26"/>
                  <a:gd name="T29" fmla="*/ 0 h 54"/>
                  <a:gd name="T30" fmla="*/ 6 w 26"/>
                  <a:gd name="T31" fmla="*/ 0 h 54"/>
                  <a:gd name="T32" fmla="*/ 8 w 26"/>
                  <a:gd name="T33" fmla="*/ 0 h 54"/>
                  <a:gd name="T34" fmla="*/ 8 w 26"/>
                  <a:gd name="T35" fmla="*/ 0 h 54"/>
                  <a:gd name="T36" fmla="*/ 8 w 26"/>
                  <a:gd name="T37" fmla="*/ 0 h 54"/>
                  <a:gd name="T38" fmla="*/ 14 w 26"/>
                  <a:gd name="T39" fmla="*/ 0 h 54"/>
                  <a:gd name="T40" fmla="*/ 14 w 26"/>
                  <a:gd name="T41" fmla="*/ 0 h 54"/>
                  <a:gd name="T42" fmla="*/ 16 w 26"/>
                  <a:gd name="T43" fmla="*/ 2 h 54"/>
                  <a:gd name="T44" fmla="*/ 22 w 26"/>
                  <a:gd name="T45" fmla="*/ 6 h 54"/>
                  <a:gd name="T46" fmla="*/ 22 w 26"/>
                  <a:gd name="T47" fmla="*/ 6 h 54"/>
                  <a:gd name="T48" fmla="*/ 24 w 26"/>
                  <a:gd name="T49" fmla="*/ 8 h 54"/>
                  <a:gd name="T50" fmla="*/ 22 w 26"/>
                  <a:gd name="T51" fmla="*/ 16 h 54"/>
                  <a:gd name="T52" fmla="*/ 22 w 26"/>
                  <a:gd name="T53" fmla="*/ 20 h 54"/>
                  <a:gd name="T54" fmla="*/ 26 w 26"/>
                  <a:gd name="T55" fmla="*/ 30 h 54"/>
                  <a:gd name="T56" fmla="*/ 26 w 26"/>
                  <a:gd name="T57" fmla="*/ 30 h 54"/>
                  <a:gd name="T58" fmla="*/ 26 w 26"/>
                  <a:gd name="T59" fmla="*/ 32 h 54"/>
                  <a:gd name="T60" fmla="*/ 26 w 26"/>
                  <a:gd name="T61" fmla="*/ 36 h 54"/>
                  <a:gd name="T62" fmla="*/ 26 w 26"/>
                  <a:gd name="T63" fmla="*/ 36 h 54"/>
                  <a:gd name="T64" fmla="*/ 26 w 26"/>
                  <a:gd name="T65" fmla="*/ 36 h 54"/>
                  <a:gd name="T66" fmla="*/ 22 w 26"/>
                  <a:gd name="T67" fmla="*/ 42 h 54"/>
                  <a:gd name="T68" fmla="*/ 14 w 26"/>
                  <a:gd name="T69" fmla="*/ 52 h 54"/>
                  <a:gd name="T70" fmla="*/ 14 w 26"/>
                  <a:gd name="T71" fmla="*/ 52 h 54"/>
                  <a:gd name="T72" fmla="*/ 12 w 26"/>
                  <a:gd name="T73" fmla="*/ 54 h 54"/>
                  <a:gd name="T74" fmla="*/ 12 w 26"/>
                  <a:gd name="T75" fmla="*/ 54 h 54"/>
                  <a:gd name="T76" fmla="*/ 12 w 26"/>
                  <a:gd name="T77" fmla="*/ 54 h 54"/>
                  <a:gd name="T78" fmla="*/ 12 w 26"/>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54">
                    <a:moveTo>
                      <a:pt x="12" y="54"/>
                    </a:moveTo>
                    <a:lnTo>
                      <a:pt x="12" y="54"/>
                    </a:lnTo>
                    <a:lnTo>
                      <a:pt x="10" y="52"/>
                    </a:lnTo>
                    <a:lnTo>
                      <a:pt x="2" y="38"/>
                    </a:lnTo>
                    <a:lnTo>
                      <a:pt x="2" y="38"/>
                    </a:lnTo>
                    <a:lnTo>
                      <a:pt x="2" y="36"/>
                    </a:lnTo>
                    <a:lnTo>
                      <a:pt x="4" y="26"/>
                    </a:lnTo>
                    <a:lnTo>
                      <a:pt x="2" y="18"/>
                    </a:lnTo>
                    <a:lnTo>
                      <a:pt x="0" y="12"/>
                    </a:lnTo>
                    <a:lnTo>
                      <a:pt x="0" y="12"/>
                    </a:lnTo>
                    <a:lnTo>
                      <a:pt x="0" y="12"/>
                    </a:lnTo>
                    <a:lnTo>
                      <a:pt x="2" y="4"/>
                    </a:lnTo>
                    <a:lnTo>
                      <a:pt x="2" y="4"/>
                    </a:lnTo>
                    <a:lnTo>
                      <a:pt x="2" y="4"/>
                    </a:lnTo>
                    <a:lnTo>
                      <a:pt x="6" y="0"/>
                    </a:lnTo>
                    <a:lnTo>
                      <a:pt x="6" y="0"/>
                    </a:lnTo>
                    <a:lnTo>
                      <a:pt x="8" y="0"/>
                    </a:lnTo>
                    <a:lnTo>
                      <a:pt x="8" y="0"/>
                    </a:lnTo>
                    <a:lnTo>
                      <a:pt x="8" y="0"/>
                    </a:lnTo>
                    <a:lnTo>
                      <a:pt x="14" y="0"/>
                    </a:lnTo>
                    <a:lnTo>
                      <a:pt x="14" y="0"/>
                    </a:lnTo>
                    <a:lnTo>
                      <a:pt x="16" y="2"/>
                    </a:lnTo>
                    <a:lnTo>
                      <a:pt x="22" y="6"/>
                    </a:lnTo>
                    <a:lnTo>
                      <a:pt x="22" y="6"/>
                    </a:lnTo>
                    <a:lnTo>
                      <a:pt x="24" y="8"/>
                    </a:lnTo>
                    <a:lnTo>
                      <a:pt x="22" y="16"/>
                    </a:lnTo>
                    <a:lnTo>
                      <a:pt x="22" y="20"/>
                    </a:lnTo>
                    <a:lnTo>
                      <a:pt x="26" y="30"/>
                    </a:lnTo>
                    <a:lnTo>
                      <a:pt x="26" y="30"/>
                    </a:lnTo>
                    <a:lnTo>
                      <a:pt x="26" y="32"/>
                    </a:lnTo>
                    <a:lnTo>
                      <a:pt x="26" y="36"/>
                    </a:lnTo>
                    <a:lnTo>
                      <a:pt x="26" y="36"/>
                    </a:lnTo>
                    <a:lnTo>
                      <a:pt x="26" y="36"/>
                    </a:lnTo>
                    <a:lnTo>
                      <a:pt x="22" y="42"/>
                    </a:lnTo>
                    <a:lnTo>
                      <a:pt x="14" y="52"/>
                    </a:lnTo>
                    <a:lnTo>
                      <a:pt x="14" y="52"/>
                    </a:lnTo>
                    <a:lnTo>
                      <a:pt x="12" y="54"/>
                    </a:lnTo>
                    <a:lnTo>
                      <a:pt x="12" y="54"/>
                    </a:lnTo>
                    <a:lnTo>
                      <a:pt x="12" y="54"/>
                    </a:lnTo>
                    <a:lnTo>
                      <a:pt x="1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5" name="Freeform 707"/>
              <p:cNvSpPr>
                <a:spLocks noEditPoints="1"/>
              </p:cNvSpPr>
              <p:nvPr/>
            </p:nvSpPr>
            <p:spPr bwMode="auto">
              <a:xfrm>
                <a:off x="3163" y="1879"/>
                <a:ext cx="30" cy="58"/>
              </a:xfrm>
              <a:custGeom>
                <a:avLst/>
                <a:gdLst>
                  <a:gd name="T0" fmla="*/ 10 w 30"/>
                  <a:gd name="T1" fmla="*/ 4 h 58"/>
                  <a:gd name="T2" fmla="*/ 16 w 30"/>
                  <a:gd name="T3" fmla="*/ 4 h 58"/>
                  <a:gd name="T4" fmla="*/ 24 w 30"/>
                  <a:gd name="T5" fmla="*/ 10 h 58"/>
                  <a:gd name="T6" fmla="*/ 22 w 30"/>
                  <a:gd name="T7" fmla="*/ 18 h 58"/>
                  <a:gd name="T8" fmla="*/ 22 w 30"/>
                  <a:gd name="T9" fmla="*/ 22 h 58"/>
                  <a:gd name="T10" fmla="*/ 24 w 30"/>
                  <a:gd name="T11" fmla="*/ 30 h 58"/>
                  <a:gd name="T12" fmla="*/ 26 w 30"/>
                  <a:gd name="T13" fmla="*/ 34 h 58"/>
                  <a:gd name="T14" fmla="*/ 26 w 30"/>
                  <a:gd name="T15" fmla="*/ 38 h 58"/>
                  <a:gd name="T16" fmla="*/ 24 w 30"/>
                  <a:gd name="T17" fmla="*/ 42 h 58"/>
                  <a:gd name="T18" fmla="*/ 14 w 30"/>
                  <a:gd name="T19" fmla="*/ 54 h 58"/>
                  <a:gd name="T20" fmla="*/ 6 w 30"/>
                  <a:gd name="T21" fmla="*/ 40 h 58"/>
                  <a:gd name="T22" fmla="*/ 8 w 30"/>
                  <a:gd name="T23" fmla="*/ 28 h 58"/>
                  <a:gd name="T24" fmla="*/ 6 w 30"/>
                  <a:gd name="T25" fmla="*/ 20 h 58"/>
                  <a:gd name="T26" fmla="*/ 4 w 30"/>
                  <a:gd name="T27" fmla="*/ 14 h 58"/>
                  <a:gd name="T28" fmla="*/ 6 w 30"/>
                  <a:gd name="T29" fmla="*/ 6 h 58"/>
                  <a:gd name="T30" fmla="*/ 10 w 30"/>
                  <a:gd name="T31" fmla="*/ 4 h 58"/>
                  <a:gd name="T32" fmla="*/ 10 w 30"/>
                  <a:gd name="T33" fmla="*/ 0 h 58"/>
                  <a:gd name="T34" fmla="*/ 10 w 30"/>
                  <a:gd name="T35" fmla="*/ 0 h 58"/>
                  <a:gd name="T36" fmla="*/ 6 w 30"/>
                  <a:gd name="T37" fmla="*/ 0 h 58"/>
                  <a:gd name="T38" fmla="*/ 4 w 30"/>
                  <a:gd name="T39" fmla="*/ 4 h 58"/>
                  <a:gd name="T40" fmla="*/ 4 w 30"/>
                  <a:gd name="T41" fmla="*/ 4 h 58"/>
                  <a:gd name="T42" fmla="*/ 2 w 30"/>
                  <a:gd name="T43" fmla="*/ 6 h 58"/>
                  <a:gd name="T44" fmla="*/ 0 w 30"/>
                  <a:gd name="T45" fmla="*/ 12 h 58"/>
                  <a:gd name="T46" fmla="*/ 0 w 30"/>
                  <a:gd name="T47" fmla="*/ 12 h 58"/>
                  <a:gd name="T48" fmla="*/ 0 w 30"/>
                  <a:gd name="T49" fmla="*/ 16 h 58"/>
                  <a:gd name="T50" fmla="*/ 2 w 30"/>
                  <a:gd name="T51" fmla="*/ 20 h 58"/>
                  <a:gd name="T52" fmla="*/ 4 w 30"/>
                  <a:gd name="T53" fmla="*/ 28 h 58"/>
                  <a:gd name="T54" fmla="*/ 2 w 30"/>
                  <a:gd name="T55" fmla="*/ 38 h 58"/>
                  <a:gd name="T56" fmla="*/ 2 w 30"/>
                  <a:gd name="T57" fmla="*/ 38 h 58"/>
                  <a:gd name="T58" fmla="*/ 2 w 30"/>
                  <a:gd name="T59" fmla="*/ 42 h 58"/>
                  <a:gd name="T60" fmla="*/ 12 w 30"/>
                  <a:gd name="T61" fmla="*/ 56 h 58"/>
                  <a:gd name="T62" fmla="*/ 12 w 30"/>
                  <a:gd name="T63" fmla="*/ 56 h 58"/>
                  <a:gd name="T64" fmla="*/ 14 w 30"/>
                  <a:gd name="T65" fmla="*/ 58 h 58"/>
                  <a:gd name="T66" fmla="*/ 14 w 30"/>
                  <a:gd name="T67" fmla="*/ 58 h 58"/>
                  <a:gd name="T68" fmla="*/ 14 w 30"/>
                  <a:gd name="T69" fmla="*/ 58 h 58"/>
                  <a:gd name="T70" fmla="*/ 14 w 30"/>
                  <a:gd name="T71" fmla="*/ 58 h 58"/>
                  <a:gd name="T72" fmla="*/ 18 w 30"/>
                  <a:gd name="T73" fmla="*/ 56 h 58"/>
                  <a:gd name="T74" fmla="*/ 26 w 30"/>
                  <a:gd name="T75" fmla="*/ 46 h 58"/>
                  <a:gd name="T76" fmla="*/ 26 w 30"/>
                  <a:gd name="T77" fmla="*/ 46 h 58"/>
                  <a:gd name="T78" fmla="*/ 26 w 30"/>
                  <a:gd name="T79" fmla="*/ 44 h 58"/>
                  <a:gd name="T80" fmla="*/ 30 w 30"/>
                  <a:gd name="T81" fmla="*/ 40 h 58"/>
                  <a:gd name="T82" fmla="*/ 30 w 30"/>
                  <a:gd name="T83" fmla="*/ 40 h 58"/>
                  <a:gd name="T84" fmla="*/ 30 w 30"/>
                  <a:gd name="T85" fmla="*/ 38 h 58"/>
                  <a:gd name="T86" fmla="*/ 30 w 30"/>
                  <a:gd name="T87" fmla="*/ 34 h 58"/>
                  <a:gd name="T88" fmla="*/ 30 w 30"/>
                  <a:gd name="T89" fmla="*/ 34 h 58"/>
                  <a:gd name="T90" fmla="*/ 30 w 30"/>
                  <a:gd name="T91" fmla="*/ 32 h 58"/>
                  <a:gd name="T92" fmla="*/ 28 w 30"/>
                  <a:gd name="T93" fmla="*/ 28 h 58"/>
                  <a:gd name="T94" fmla="*/ 26 w 30"/>
                  <a:gd name="T95" fmla="*/ 22 h 58"/>
                  <a:gd name="T96" fmla="*/ 26 w 30"/>
                  <a:gd name="T97" fmla="*/ 18 h 58"/>
                  <a:gd name="T98" fmla="*/ 28 w 30"/>
                  <a:gd name="T99" fmla="*/ 12 h 58"/>
                  <a:gd name="T100" fmla="*/ 28 w 30"/>
                  <a:gd name="T101" fmla="*/ 12 h 58"/>
                  <a:gd name="T102" fmla="*/ 26 w 30"/>
                  <a:gd name="T103" fmla="*/ 8 h 58"/>
                  <a:gd name="T104" fmla="*/ 26 w 30"/>
                  <a:gd name="T105" fmla="*/ 8 h 58"/>
                  <a:gd name="T106" fmla="*/ 18 w 30"/>
                  <a:gd name="T107" fmla="*/ 2 h 58"/>
                  <a:gd name="T108" fmla="*/ 18 w 30"/>
                  <a:gd name="T109" fmla="*/ 2 h 58"/>
                  <a:gd name="T110" fmla="*/ 18 w 30"/>
                  <a:gd name="T111" fmla="*/ 2 h 58"/>
                  <a:gd name="T112" fmla="*/ 10 w 30"/>
                  <a:gd name="T113" fmla="*/ 0 h 58"/>
                  <a:gd name="T114" fmla="*/ 10 w 30"/>
                  <a:gd name="T115" fmla="*/ 0 h 58"/>
                  <a:gd name="T116" fmla="*/ 10 w 30"/>
                  <a:gd name="T117" fmla="*/ 0 h 58"/>
                  <a:gd name="T118" fmla="*/ 10 w 30"/>
                  <a:gd name="T1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 h="58">
                    <a:moveTo>
                      <a:pt x="10" y="4"/>
                    </a:moveTo>
                    <a:lnTo>
                      <a:pt x="16" y="4"/>
                    </a:lnTo>
                    <a:lnTo>
                      <a:pt x="24" y="10"/>
                    </a:lnTo>
                    <a:lnTo>
                      <a:pt x="22" y="18"/>
                    </a:lnTo>
                    <a:lnTo>
                      <a:pt x="22" y="22"/>
                    </a:lnTo>
                    <a:lnTo>
                      <a:pt x="24" y="30"/>
                    </a:lnTo>
                    <a:lnTo>
                      <a:pt x="26" y="34"/>
                    </a:lnTo>
                    <a:lnTo>
                      <a:pt x="26" y="38"/>
                    </a:lnTo>
                    <a:lnTo>
                      <a:pt x="24" y="42"/>
                    </a:lnTo>
                    <a:lnTo>
                      <a:pt x="14" y="54"/>
                    </a:lnTo>
                    <a:lnTo>
                      <a:pt x="6" y="40"/>
                    </a:lnTo>
                    <a:lnTo>
                      <a:pt x="8" y="28"/>
                    </a:lnTo>
                    <a:lnTo>
                      <a:pt x="6" y="20"/>
                    </a:lnTo>
                    <a:lnTo>
                      <a:pt x="4" y="14"/>
                    </a:lnTo>
                    <a:lnTo>
                      <a:pt x="6" y="6"/>
                    </a:lnTo>
                    <a:lnTo>
                      <a:pt x="10" y="4"/>
                    </a:lnTo>
                    <a:close/>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6" name="Freeform 708"/>
              <p:cNvSpPr>
                <a:spLocks/>
              </p:cNvSpPr>
              <p:nvPr/>
            </p:nvSpPr>
            <p:spPr bwMode="auto">
              <a:xfrm>
                <a:off x="3167" y="1883"/>
                <a:ext cx="22" cy="50"/>
              </a:xfrm>
              <a:custGeom>
                <a:avLst/>
                <a:gdLst>
                  <a:gd name="T0" fmla="*/ 6 w 22"/>
                  <a:gd name="T1" fmla="*/ 0 h 50"/>
                  <a:gd name="T2" fmla="*/ 12 w 22"/>
                  <a:gd name="T3" fmla="*/ 0 h 50"/>
                  <a:gd name="T4" fmla="*/ 20 w 22"/>
                  <a:gd name="T5" fmla="*/ 6 h 50"/>
                  <a:gd name="T6" fmla="*/ 18 w 22"/>
                  <a:gd name="T7" fmla="*/ 14 h 50"/>
                  <a:gd name="T8" fmla="*/ 18 w 22"/>
                  <a:gd name="T9" fmla="*/ 18 h 50"/>
                  <a:gd name="T10" fmla="*/ 20 w 22"/>
                  <a:gd name="T11" fmla="*/ 26 h 50"/>
                  <a:gd name="T12" fmla="*/ 22 w 22"/>
                  <a:gd name="T13" fmla="*/ 30 h 50"/>
                  <a:gd name="T14" fmla="*/ 22 w 22"/>
                  <a:gd name="T15" fmla="*/ 34 h 50"/>
                  <a:gd name="T16" fmla="*/ 20 w 22"/>
                  <a:gd name="T17" fmla="*/ 38 h 50"/>
                  <a:gd name="T18" fmla="*/ 10 w 22"/>
                  <a:gd name="T19" fmla="*/ 50 h 50"/>
                  <a:gd name="T20" fmla="*/ 2 w 22"/>
                  <a:gd name="T21" fmla="*/ 36 h 50"/>
                  <a:gd name="T22" fmla="*/ 4 w 22"/>
                  <a:gd name="T23" fmla="*/ 24 h 50"/>
                  <a:gd name="T24" fmla="*/ 2 w 22"/>
                  <a:gd name="T25" fmla="*/ 16 h 50"/>
                  <a:gd name="T26" fmla="*/ 0 w 22"/>
                  <a:gd name="T27" fmla="*/ 10 h 50"/>
                  <a:gd name="T28" fmla="*/ 2 w 22"/>
                  <a:gd name="T29" fmla="*/ 2 h 50"/>
                  <a:gd name="T30" fmla="*/ 6 w 22"/>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50">
                    <a:moveTo>
                      <a:pt x="6" y="0"/>
                    </a:moveTo>
                    <a:lnTo>
                      <a:pt x="12" y="0"/>
                    </a:lnTo>
                    <a:lnTo>
                      <a:pt x="20" y="6"/>
                    </a:lnTo>
                    <a:lnTo>
                      <a:pt x="18" y="14"/>
                    </a:lnTo>
                    <a:lnTo>
                      <a:pt x="18" y="18"/>
                    </a:lnTo>
                    <a:lnTo>
                      <a:pt x="20" y="26"/>
                    </a:lnTo>
                    <a:lnTo>
                      <a:pt x="22" y="30"/>
                    </a:lnTo>
                    <a:lnTo>
                      <a:pt x="22" y="34"/>
                    </a:lnTo>
                    <a:lnTo>
                      <a:pt x="20" y="38"/>
                    </a:lnTo>
                    <a:lnTo>
                      <a:pt x="10" y="50"/>
                    </a:lnTo>
                    <a:lnTo>
                      <a:pt x="2" y="36"/>
                    </a:lnTo>
                    <a:lnTo>
                      <a:pt x="4" y="24"/>
                    </a:lnTo>
                    <a:lnTo>
                      <a:pt x="2" y="16"/>
                    </a:lnTo>
                    <a:lnTo>
                      <a:pt x="0" y="10"/>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7" name="Freeform 709"/>
              <p:cNvSpPr>
                <a:spLocks/>
              </p:cNvSpPr>
              <p:nvPr/>
            </p:nvSpPr>
            <p:spPr bwMode="auto">
              <a:xfrm>
                <a:off x="3163" y="1879"/>
                <a:ext cx="30" cy="58"/>
              </a:xfrm>
              <a:custGeom>
                <a:avLst/>
                <a:gdLst>
                  <a:gd name="T0" fmla="*/ 10 w 30"/>
                  <a:gd name="T1" fmla="*/ 0 h 58"/>
                  <a:gd name="T2" fmla="*/ 10 w 30"/>
                  <a:gd name="T3" fmla="*/ 0 h 58"/>
                  <a:gd name="T4" fmla="*/ 6 w 30"/>
                  <a:gd name="T5" fmla="*/ 0 h 58"/>
                  <a:gd name="T6" fmla="*/ 4 w 30"/>
                  <a:gd name="T7" fmla="*/ 4 h 58"/>
                  <a:gd name="T8" fmla="*/ 4 w 30"/>
                  <a:gd name="T9" fmla="*/ 4 h 58"/>
                  <a:gd name="T10" fmla="*/ 2 w 30"/>
                  <a:gd name="T11" fmla="*/ 6 h 58"/>
                  <a:gd name="T12" fmla="*/ 0 w 30"/>
                  <a:gd name="T13" fmla="*/ 12 h 58"/>
                  <a:gd name="T14" fmla="*/ 0 w 30"/>
                  <a:gd name="T15" fmla="*/ 12 h 58"/>
                  <a:gd name="T16" fmla="*/ 0 w 30"/>
                  <a:gd name="T17" fmla="*/ 16 h 58"/>
                  <a:gd name="T18" fmla="*/ 2 w 30"/>
                  <a:gd name="T19" fmla="*/ 20 h 58"/>
                  <a:gd name="T20" fmla="*/ 4 w 30"/>
                  <a:gd name="T21" fmla="*/ 28 h 58"/>
                  <a:gd name="T22" fmla="*/ 2 w 30"/>
                  <a:gd name="T23" fmla="*/ 38 h 58"/>
                  <a:gd name="T24" fmla="*/ 2 w 30"/>
                  <a:gd name="T25" fmla="*/ 38 h 58"/>
                  <a:gd name="T26" fmla="*/ 2 w 30"/>
                  <a:gd name="T27" fmla="*/ 42 h 58"/>
                  <a:gd name="T28" fmla="*/ 12 w 30"/>
                  <a:gd name="T29" fmla="*/ 56 h 58"/>
                  <a:gd name="T30" fmla="*/ 12 w 30"/>
                  <a:gd name="T31" fmla="*/ 56 h 58"/>
                  <a:gd name="T32" fmla="*/ 14 w 30"/>
                  <a:gd name="T33" fmla="*/ 58 h 58"/>
                  <a:gd name="T34" fmla="*/ 14 w 30"/>
                  <a:gd name="T35" fmla="*/ 58 h 58"/>
                  <a:gd name="T36" fmla="*/ 14 w 30"/>
                  <a:gd name="T37" fmla="*/ 58 h 58"/>
                  <a:gd name="T38" fmla="*/ 14 w 30"/>
                  <a:gd name="T39" fmla="*/ 58 h 58"/>
                  <a:gd name="T40" fmla="*/ 18 w 30"/>
                  <a:gd name="T41" fmla="*/ 56 h 58"/>
                  <a:gd name="T42" fmla="*/ 26 w 30"/>
                  <a:gd name="T43" fmla="*/ 46 h 58"/>
                  <a:gd name="T44" fmla="*/ 26 w 30"/>
                  <a:gd name="T45" fmla="*/ 46 h 58"/>
                  <a:gd name="T46" fmla="*/ 26 w 30"/>
                  <a:gd name="T47" fmla="*/ 44 h 58"/>
                  <a:gd name="T48" fmla="*/ 30 w 30"/>
                  <a:gd name="T49" fmla="*/ 40 h 58"/>
                  <a:gd name="T50" fmla="*/ 30 w 30"/>
                  <a:gd name="T51" fmla="*/ 40 h 58"/>
                  <a:gd name="T52" fmla="*/ 30 w 30"/>
                  <a:gd name="T53" fmla="*/ 38 h 58"/>
                  <a:gd name="T54" fmla="*/ 30 w 30"/>
                  <a:gd name="T55" fmla="*/ 34 h 58"/>
                  <a:gd name="T56" fmla="*/ 30 w 30"/>
                  <a:gd name="T57" fmla="*/ 34 h 58"/>
                  <a:gd name="T58" fmla="*/ 30 w 30"/>
                  <a:gd name="T59" fmla="*/ 32 h 58"/>
                  <a:gd name="T60" fmla="*/ 28 w 30"/>
                  <a:gd name="T61" fmla="*/ 28 h 58"/>
                  <a:gd name="T62" fmla="*/ 26 w 30"/>
                  <a:gd name="T63" fmla="*/ 22 h 58"/>
                  <a:gd name="T64" fmla="*/ 26 w 30"/>
                  <a:gd name="T65" fmla="*/ 18 h 58"/>
                  <a:gd name="T66" fmla="*/ 28 w 30"/>
                  <a:gd name="T67" fmla="*/ 12 h 58"/>
                  <a:gd name="T68" fmla="*/ 28 w 30"/>
                  <a:gd name="T69" fmla="*/ 12 h 58"/>
                  <a:gd name="T70" fmla="*/ 26 w 30"/>
                  <a:gd name="T71" fmla="*/ 8 h 58"/>
                  <a:gd name="T72" fmla="*/ 26 w 30"/>
                  <a:gd name="T73" fmla="*/ 8 h 58"/>
                  <a:gd name="T74" fmla="*/ 18 w 30"/>
                  <a:gd name="T75" fmla="*/ 2 h 58"/>
                  <a:gd name="T76" fmla="*/ 18 w 30"/>
                  <a:gd name="T77" fmla="*/ 2 h 58"/>
                  <a:gd name="T78" fmla="*/ 18 w 30"/>
                  <a:gd name="T79" fmla="*/ 2 h 58"/>
                  <a:gd name="T80" fmla="*/ 10 w 30"/>
                  <a:gd name="T81" fmla="*/ 0 h 58"/>
                  <a:gd name="T82" fmla="*/ 10 w 30"/>
                  <a:gd name="T83" fmla="*/ 0 h 58"/>
                  <a:gd name="T84" fmla="*/ 10 w 30"/>
                  <a:gd name="T85" fmla="*/ 0 h 58"/>
                  <a:gd name="T86" fmla="*/ 10 w 30"/>
                  <a:gd name="T8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58">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8" name="Freeform 710"/>
              <p:cNvSpPr>
                <a:spLocks/>
              </p:cNvSpPr>
              <p:nvPr/>
            </p:nvSpPr>
            <p:spPr bwMode="auto">
              <a:xfrm>
                <a:off x="3015" y="1033"/>
                <a:ext cx="154" cy="110"/>
              </a:xfrm>
              <a:custGeom>
                <a:avLst/>
                <a:gdLst>
                  <a:gd name="T0" fmla="*/ 84 w 154"/>
                  <a:gd name="T1" fmla="*/ 110 h 110"/>
                  <a:gd name="T2" fmla="*/ 72 w 154"/>
                  <a:gd name="T3" fmla="*/ 104 h 110"/>
                  <a:gd name="T4" fmla="*/ 62 w 154"/>
                  <a:gd name="T5" fmla="*/ 96 h 110"/>
                  <a:gd name="T6" fmla="*/ 54 w 154"/>
                  <a:gd name="T7" fmla="*/ 90 h 110"/>
                  <a:gd name="T8" fmla="*/ 40 w 154"/>
                  <a:gd name="T9" fmla="*/ 84 h 110"/>
                  <a:gd name="T10" fmla="*/ 50 w 154"/>
                  <a:gd name="T11" fmla="*/ 74 h 110"/>
                  <a:gd name="T12" fmla="*/ 50 w 154"/>
                  <a:gd name="T13" fmla="*/ 74 h 110"/>
                  <a:gd name="T14" fmla="*/ 54 w 154"/>
                  <a:gd name="T15" fmla="*/ 72 h 110"/>
                  <a:gd name="T16" fmla="*/ 40 w 154"/>
                  <a:gd name="T17" fmla="*/ 74 h 110"/>
                  <a:gd name="T18" fmla="*/ 38 w 154"/>
                  <a:gd name="T19" fmla="*/ 72 h 110"/>
                  <a:gd name="T20" fmla="*/ 40 w 154"/>
                  <a:gd name="T21" fmla="*/ 60 h 110"/>
                  <a:gd name="T22" fmla="*/ 78 w 154"/>
                  <a:gd name="T23" fmla="*/ 54 h 110"/>
                  <a:gd name="T24" fmla="*/ 78 w 154"/>
                  <a:gd name="T25" fmla="*/ 50 h 110"/>
                  <a:gd name="T26" fmla="*/ 66 w 154"/>
                  <a:gd name="T27" fmla="*/ 50 h 110"/>
                  <a:gd name="T28" fmla="*/ 64 w 154"/>
                  <a:gd name="T29" fmla="*/ 42 h 110"/>
                  <a:gd name="T30" fmla="*/ 58 w 154"/>
                  <a:gd name="T31" fmla="*/ 46 h 110"/>
                  <a:gd name="T32" fmla="*/ 50 w 154"/>
                  <a:gd name="T33" fmla="*/ 52 h 110"/>
                  <a:gd name="T34" fmla="*/ 36 w 154"/>
                  <a:gd name="T35" fmla="*/ 60 h 110"/>
                  <a:gd name="T36" fmla="*/ 34 w 154"/>
                  <a:gd name="T37" fmla="*/ 60 h 110"/>
                  <a:gd name="T38" fmla="*/ 10 w 154"/>
                  <a:gd name="T39" fmla="*/ 44 h 110"/>
                  <a:gd name="T40" fmla="*/ 6 w 154"/>
                  <a:gd name="T41" fmla="*/ 34 h 110"/>
                  <a:gd name="T42" fmla="*/ 16 w 154"/>
                  <a:gd name="T43" fmla="*/ 26 h 110"/>
                  <a:gd name="T44" fmla="*/ 4 w 154"/>
                  <a:gd name="T45" fmla="*/ 30 h 110"/>
                  <a:gd name="T46" fmla="*/ 4 w 154"/>
                  <a:gd name="T47" fmla="*/ 30 h 110"/>
                  <a:gd name="T48" fmla="*/ 2 w 154"/>
                  <a:gd name="T49" fmla="*/ 28 h 110"/>
                  <a:gd name="T50" fmla="*/ 0 w 154"/>
                  <a:gd name="T51" fmla="*/ 18 h 110"/>
                  <a:gd name="T52" fmla="*/ 4 w 154"/>
                  <a:gd name="T53" fmla="*/ 10 h 110"/>
                  <a:gd name="T54" fmla="*/ 44 w 154"/>
                  <a:gd name="T55" fmla="*/ 8 h 110"/>
                  <a:gd name="T56" fmla="*/ 48 w 154"/>
                  <a:gd name="T57" fmla="*/ 18 h 110"/>
                  <a:gd name="T58" fmla="*/ 50 w 154"/>
                  <a:gd name="T59" fmla="*/ 10 h 110"/>
                  <a:gd name="T60" fmla="*/ 58 w 154"/>
                  <a:gd name="T61" fmla="*/ 8 h 110"/>
                  <a:gd name="T62" fmla="*/ 68 w 154"/>
                  <a:gd name="T63" fmla="*/ 12 h 110"/>
                  <a:gd name="T64" fmla="*/ 72 w 154"/>
                  <a:gd name="T65" fmla="*/ 20 h 110"/>
                  <a:gd name="T66" fmla="*/ 80 w 154"/>
                  <a:gd name="T67" fmla="*/ 32 h 110"/>
                  <a:gd name="T68" fmla="*/ 72 w 154"/>
                  <a:gd name="T69" fmla="*/ 6 h 110"/>
                  <a:gd name="T70" fmla="*/ 76 w 154"/>
                  <a:gd name="T71" fmla="*/ 0 h 110"/>
                  <a:gd name="T72" fmla="*/ 78 w 154"/>
                  <a:gd name="T73" fmla="*/ 0 h 110"/>
                  <a:gd name="T74" fmla="*/ 98 w 154"/>
                  <a:gd name="T75" fmla="*/ 8 h 110"/>
                  <a:gd name="T76" fmla="*/ 100 w 154"/>
                  <a:gd name="T77" fmla="*/ 8 h 110"/>
                  <a:gd name="T78" fmla="*/ 100 w 154"/>
                  <a:gd name="T79" fmla="*/ 20 h 110"/>
                  <a:gd name="T80" fmla="*/ 106 w 154"/>
                  <a:gd name="T81" fmla="*/ 14 h 110"/>
                  <a:gd name="T82" fmla="*/ 116 w 154"/>
                  <a:gd name="T83" fmla="*/ 20 h 110"/>
                  <a:gd name="T84" fmla="*/ 118 w 154"/>
                  <a:gd name="T85" fmla="*/ 28 h 110"/>
                  <a:gd name="T86" fmla="*/ 154 w 154"/>
                  <a:gd name="T87" fmla="*/ 40 h 110"/>
                  <a:gd name="T88" fmla="*/ 154 w 154"/>
                  <a:gd name="T89" fmla="*/ 42 h 110"/>
                  <a:gd name="T90" fmla="*/ 114 w 154"/>
                  <a:gd name="T91" fmla="*/ 56 h 110"/>
                  <a:gd name="T92" fmla="*/ 110 w 154"/>
                  <a:gd name="T93" fmla="*/ 76 h 110"/>
                  <a:gd name="T94" fmla="*/ 94 w 154"/>
                  <a:gd name="T95" fmla="*/ 94 h 110"/>
                  <a:gd name="T96" fmla="*/ 86 w 154"/>
                  <a:gd name="T97" fmla="*/ 110 h 110"/>
                  <a:gd name="T98" fmla="*/ 86 w 154"/>
                  <a:gd name="T9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10">
                    <a:moveTo>
                      <a:pt x="86" y="110"/>
                    </a:moveTo>
                    <a:lnTo>
                      <a:pt x="86" y="110"/>
                    </a:lnTo>
                    <a:lnTo>
                      <a:pt x="84" y="110"/>
                    </a:lnTo>
                    <a:lnTo>
                      <a:pt x="74" y="106"/>
                    </a:lnTo>
                    <a:lnTo>
                      <a:pt x="74" y="106"/>
                    </a:lnTo>
                    <a:lnTo>
                      <a:pt x="72" y="104"/>
                    </a:lnTo>
                    <a:lnTo>
                      <a:pt x="72" y="94"/>
                    </a:lnTo>
                    <a:lnTo>
                      <a:pt x="72" y="94"/>
                    </a:lnTo>
                    <a:lnTo>
                      <a:pt x="62" y="96"/>
                    </a:lnTo>
                    <a:lnTo>
                      <a:pt x="62" y="96"/>
                    </a:lnTo>
                    <a:lnTo>
                      <a:pt x="60" y="96"/>
                    </a:lnTo>
                    <a:lnTo>
                      <a:pt x="54" y="90"/>
                    </a:lnTo>
                    <a:lnTo>
                      <a:pt x="42" y="86"/>
                    </a:lnTo>
                    <a:lnTo>
                      <a:pt x="42" y="86"/>
                    </a:lnTo>
                    <a:lnTo>
                      <a:pt x="40" y="84"/>
                    </a:lnTo>
                    <a:lnTo>
                      <a:pt x="40" y="84"/>
                    </a:lnTo>
                    <a:lnTo>
                      <a:pt x="40" y="82"/>
                    </a:lnTo>
                    <a:lnTo>
                      <a:pt x="50" y="74"/>
                    </a:lnTo>
                    <a:lnTo>
                      <a:pt x="50" y="74"/>
                    </a:lnTo>
                    <a:lnTo>
                      <a:pt x="50" y="74"/>
                    </a:lnTo>
                    <a:lnTo>
                      <a:pt x="50" y="74"/>
                    </a:lnTo>
                    <a:lnTo>
                      <a:pt x="68" y="76"/>
                    </a:lnTo>
                    <a:lnTo>
                      <a:pt x="64" y="74"/>
                    </a:lnTo>
                    <a:lnTo>
                      <a:pt x="54" y="72"/>
                    </a:lnTo>
                    <a:lnTo>
                      <a:pt x="54" y="72"/>
                    </a:lnTo>
                    <a:lnTo>
                      <a:pt x="40" y="74"/>
                    </a:lnTo>
                    <a:lnTo>
                      <a:pt x="40" y="74"/>
                    </a:lnTo>
                    <a:lnTo>
                      <a:pt x="38" y="72"/>
                    </a:lnTo>
                    <a:lnTo>
                      <a:pt x="38" y="72"/>
                    </a:lnTo>
                    <a:lnTo>
                      <a:pt x="38" y="72"/>
                    </a:lnTo>
                    <a:lnTo>
                      <a:pt x="38" y="62"/>
                    </a:lnTo>
                    <a:lnTo>
                      <a:pt x="38" y="62"/>
                    </a:lnTo>
                    <a:lnTo>
                      <a:pt x="40" y="60"/>
                    </a:lnTo>
                    <a:lnTo>
                      <a:pt x="50" y="56"/>
                    </a:lnTo>
                    <a:lnTo>
                      <a:pt x="64" y="54"/>
                    </a:lnTo>
                    <a:lnTo>
                      <a:pt x="78" y="54"/>
                    </a:lnTo>
                    <a:lnTo>
                      <a:pt x="86" y="50"/>
                    </a:lnTo>
                    <a:lnTo>
                      <a:pt x="82" y="48"/>
                    </a:lnTo>
                    <a:lnTo>
                      <a:pt x="78" y="50"/>
                    </a:lnTo>
                    <a:lnTo>
                      <a:pt x="78" y="50"/>
                    </a:lnTo>
                    <a:lnTo>
                      <a:pt x="76" y="50"/>
                    </a:lnTo>
                    <a:lnTo>
                      <a:pt x="66" y="50"/>
                    </a:lnTo>
                    <a:lnTo>
                      <a:pt x="66" y="50"/>
                    </a:lnTo>
                    <a:lnTo>
                      <a:pt x="64" y="48"/>
                    </a:lnTo>
                    <a:lnTo>
                      <a:pt x="64" y="42"/>
                    </a:lnTo>
                    <a:lnTo>
                      <a:pt x="60" y="42"/>
                    </a:lnTo>
                    <a:lnTo>
                      <a:pt x="58" y="46"/>
                    </a:lnTo>
                    <a:lnTo>
                      <a:pt x="58" y="46"/>
                    </a:lnTo>
                    <a:lnTo>
                      <a:pt x="56" y="46"/>
                    </a:lnTo>
                    <a:lnTo>
                      <a:pt x="52" y="46"/>
                    </a:lnTo>
                    <a:lnTo>
                      <a:pt x="50" y="52"/>
                    </a:lnTo>
                    <a:lnTo>
                      <a:pt x="50" y="52"/>
                    </a:lnTo>
                    <a:lnTo>
                      <a:pt x="48" y="54"/>
                    </a:lnTo>
                    <a:lnTo>
                      <a:pt x="36" y="60"/>
                    </a:lnTo>
                    <a:lnTo>
                      <a:pt x="36" y="60"/>
                    </a:lnTo>
                    <a:lnTo>
                      <a:pt x="34" y="60"/>
                    </a:lnTo>
                    <a:lnTo>
                      <a:pt x="34" y="60"/>
                    </a:lnTo>
                    <a:lnTo>
                      <a:pt x="34" y="60"/>
                    </a:lnTo>
                    <a:lnTo>
                      <a:pt x="24" y="56"/>
                    </a:lnTo>
                    <a:lnTo>
                      <a:pt x="10" y="44"/>
                    </a:lnTo>
                    <a:lnTo>
                      <a:pt x="10" y="44"/>
                    </a:lnTo>
                    <a:lnTo>
                      <a:pt x="10" y="44"/>
                    </a:lnTo>
                    <a:lnTo>
                      <a:pt x="6" y="34"/>
                    </a:lnTo>
                    <a:lnTo>
                      <a:pt x="6" y="34"/>
                    </a:lnTo>
                    <a:lnTo>
                      <a:pt x="6" y="32"/>
                    </a:lnTo>
                    <a:lnTo>
                      <a:pt x="16" y="26"/>
                    </a:lnTo>
                    <a:lnTo>
                      <a:pt x="16" y="26"/>
                    </a:lnTo>
                    <a:lnTo>
                      <a:pt x="12" y="26"/>
                    </a:lnTo>
                    <a:lnTo>
                      <a:pt x="4" y="30"/>
                    </a:lnTo>
                    <a:lnTo>
                      <a:pt x="4" y="30"/>
                    </a:lnTo>
                    <a:lnTo>
                      <a:pt x="4" y="30"/>
                    </a:lnTo>
                    <a:lnTo>
                      <a:pt x="4" y="30"/>
                    </a:lnTo>
                    <a:lnTo>
                      <a:pt x="2" y="30"/>
                    </a:lnTo>
                    <a:lnTo>
                      <a:pt x="2" y="30"/>
                    </a:lnTo>
                    <a:lnTo>
                      <a:pt x="2" y="28"/>
                    </a:lnTo>
                    <a:lnTo>
                      <a:pt x="0" y="20"/>
                    </a:lnTo>
                    <a:lnTo>
                      <a:pt x="0" y="20"/>
                    </a:lnTo>
                    <a:lnTo>
                      <a:pt x="0" y="18"/>
                    </a:lnTo>
                    <a:lnTo>
                      <a:pt x="4" y="12"/>
                    </a:lnTo>
                    <a:lnTo>
                      <a:pt x="4" y="12"/>
                    </a:lnTo>
                    <a:lnTo>
                      <a:pt x="4" y="10"/>
                    </a:lnTo>
                    <a:lnTo>
                      <a:pt x="18" y="8"/>
                    </a:lnTo>
                    <a:lnTo>
                      <a:pt x="32" y="8"/>
                    </a:lnTo>
                    <a:lnTo>
                      <a:pt x="44" y="8"/>
                    </a:lnTo>
                    <a:lnTo>
                      <a:pt x="44" y="8"/>
                    </a:lnTo>
                    <a:lnTo>
                      <a:pt x="46" y="10"/>
                    </a:lnTo>
                    <a:lnTo>
                      <a:pt x="48" y="18"/>
                    </a:lnTo>
                    <a:lnTo>
                      <a:pt x="50" y="12"/>
                    </a:lnTo>
                    <a:lnTo>
                      <a:pt x="50" y="12"/>
                    </a:lnTo>
                    <a:lnTo>
                      <a:pt x="50" y="10"/>
                    </a:lnTo>
                    <a:lnTo>
                      <a:pt x="58" y="8"/>
                    </a:lnTo>
                    <a:lnTo>
                      <a:pt x="58" y="8"/>
                    </a:lnTo>
                    <a:lnTo>
                      <a:pt x="58" y="8"/>
                    </a:lnTo>
                    <a:lnTo>
                      <a:pt x="58" y="8"/>
                    </a:lnTo>
                    <a:lnTo>
                      <a:pt x="58" y="8"/>
                    </a:lnTo>
                    <a:lnTo>
                      <a:pt x="68" y="12"/>
                    </a:lnTo>
                    <a:lnTo>
                      <a:pt x="68" y="12"/>
                    </a:lnTo>
                    <a:lnTo>
                      <a:pt x="70" y="14"/>
                    </a:lnTo>
                    <a:lnTo>
                      <a:pt x="72" y="20"/>
                    </a:lnTo>
                    <a:lnTo>
                      <a:pt x="72" y="26"/>
                    </a:lnTo>
                    <a:lnTo>
                      <a:pt x="78" y="32"/>
                    </a:lnTo>
                    <a:lnTo>
                      <a:pt x="80" y="32"/>
                    </a:lnTo>
                    <a:lnTo>
                      <a:pt x="78" y="24"/>
                    </a:lnTo>
                    <a:lnTo>
                      <a:pt x="74" y="14"/>
                    </a:lnTo>
                    <a:lnTo>
                      <a:pt x="72" y="6"/>
                    </a:lnTo>
                    <a:lnTo>
                      <a:pt x="72" y="6"/>
                    </a:lnTo>
                    <a:lnTo>
                      <a:pt x="74" y="4"/>
                    </a:lnTo>
                    <a:lnTo>
                      <a:pt x="76" y="0"/>
                    </a:lnTo>
                    <a:lnTo>
                      <a:pt x="76" y="0"/>
                    </a:lnTo>
                    <a:lnTo>
                      <a:pt x="78" y="0"/>
                    </a:lnTo>
                    <a:lnTo>
                      <a:pt x="78" y="0"/>
                    </a:lnTo>
                    <a:lnTo>
                      <a:pt x="78" y="0"/>
                    </a:lnTo>
                    <a:lnTo>
                      <a:pt x="88" y="4"/>
                    </a:lnTo>
                    <a:lnTo>
                      <a:pt x="98" y="8"/>
                    </a:lnTo>
                    <a:lnTo>
                      <a:pt x="98" y="8"/>
                    </a:lnTo>
                    <a:lnTo>
                      <a:pt x="100" y="8"/>
                    </a:lnTo>
                    <a:lnTo>
                      <a:pt x="100" y="8"/>
                    </a:lnTo>
                    <a:lnTo>
                      <a:pt x="100" y="10"/>
                    </a:lnTo>
                    <a:lnTo>
                      <a:pt x="96" y="18"/>
                    </a:lnTo>
                    <a:lnTo>
                      <a:pt x="100" y="20"/>
                    </a:lnTo>
                    <a:lnTo>
                      <a:pt x="104" y="16"/>
                    </a:lnTo>
                    <a:lnTo>
                      <a:pt x="104" y="16"/>
                    </a:lnTo>
                    <a:lnTo>
                      <a:pt x="106" y="14"/>
                    </a:lnTo>
                    <a:lnTo>
                      <a:pt x="106" y="14"/>
                    </a:lnTo>
                    <a:lnTo>
                      <a:pt x="106" y="14"/>
                    </a:lnTo>
                    <a:lnTo>
                      <a:pt x="116" y="20"/>
                    </a:lnTo>
                    <a:lnTo>
                      <a:pt x="116" y="20"/>
                    </a:lnTo>
                    <a:lnTo>
                      <a:pt x="118" y="22"/>
                    </a:lnTo>
                    <a:lnTo>
                      <a:pt x="118" y="28"/>
                    </a:lnTo>
                    <a:lnTo>
                      <a:pt x="138" y="32"/>
                    </a:lnTo>
                    <a:lnTo>
                      <a:pt x="154" y="40"/>
                    </a:lnTo>
                    <a:lnTo>
                      <a:pt x="154" y="40"/>
                    </a:lnTo>
                    <a:lnTo>
                      <a:pt x="154" y="42"/>
                    </a:lnTo>
                    <a:lnTo>
                      <a:pt x="154" y="42"/>
                    </a:lnTo>
                    <a:lnTo>
                      <a:pt x="154" y="42"/>
                    </a:lnTo>
                    <a:lnTo>
                      <a:pt x="146" y="46"/>
                    </a:lnTo>
                    <a:lnTo>
                      <a:pt x="126" y="50"/>
                    </a:lnTo>
                    <a:lnTo>
                      <a:pt x="114" y="56"/>
                    </a:lnTo>
                    <a:lnTo>
                      <a:pt x="110" y="64"/>
                    </a:lnTo>
                    <a:lnTo>
                      <a:pt x="110" y="76"/>
                    </a:lnTo>
                    <a:lnTo>
                      <a:pt x="110" y="76"/>
                    </a:lnTo>
                    <a:lnTo>
                      <a:pt x="108" y="78"/>
                    </a:lnTo>
                    <a:lnTo>
                      <a:pt x="100" y="82"/>
                    </a:lnTo>
                    <a:lnTo>
                      <a:pt x="94" y="94"/>
                    </a:lnTo>
                    <a:lnTo>
                      <a:pt x="88" y="110"/>
                    </a:lnTo>
                    <a:lnTo>
                      <a:pt x="88" y="110"/>
                    </a:lnTo>
                    <a:lnTo>
                      <a:pt x="86" y="110"/>
                    </a:lnTo>
                    <a:lnTo>
                      <a:pt x="86" y="110"/>
                    </a:lnTo>
                    <a:lnTo>
                      <a:pt x="86" y="110"/>
                    </a:lnTo>
                    <a:lnTo>
                      <a:pt x="86"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9" name="Freeform 711"/>
              <p:cNvSpPr>
                <a:spLocks noEditPoints="1"/>
              </p:cNvSpPr>
              <p:nvPr/>
            </p:nvSpPr>
            <p:spPr bwMode="auto">
              <a:xfrm>
                <a:off x="3013" y="1031"/>
                <a:ext cx="158" cy="114"/>
              </a:xfrm>
              <a:custGeom>
                <a:avLst/>
                <a:gdLst>
                  <a:gd name="T0" fmla="*/ 96 w 158"/>
                  <a:gd name="T1" fmla="*/ 22 h 114"/>
                  <a:gd name="T2" fmla="*/ 118 w 158"/>
                  <a:gd name="T3" fmla="*/ 30 h 114"/>
                  <a:gd name="T4" fmla="*/ 128 w 158"/>
                  <a:gd name="T5" fmla="*/ 50 h 114"/>
                  <a:gd name="T6" fmla="*/ 100 w 158"/>
                  <a:gd name="T7" fmla="*/ 82 h 114"/>
                  <a:gd name="T8" fmla="*/ 76 w 158"/>
                  <a:gd name="T9" fmla="*/ 94 h 114"/>
                  <a:gd name="T10" fmla="*/ 52 w 158"/>
                  <a:gd name="T11" fmla="*/ 78 h 114"/>
                  <a:gd name="T12" fmla="*/ 42 w 158"/>
                  <a:gd name="T13" fmla="*/ 74 h 114"/>
                  <a:gd name="T14" fmla="*/ 80 w 158"/>
                  <a:gd name="T15" fmla="*/ 58 h 114"/>
                  <a:gd name="T16" fmla="*/ 68 w 158"/>
                  <a:gd name="T17" fmla="*/ 50 h 114"/>
                  <a:gd name="T18" fmla="*/ 52 w 158"/>
                  <a:gd name="T19" fmla="*/ 46 h 114"/>
                  <a:gd name="T20" fmla="*/ 14 w 158"/>
                  <a:gd name="T21" fmla="*/ 44 h 114"/>
                  <a:gd name="T22" fmla="*/ 14 w 158"/>
                  <a:gd name="T23" fmla="*/ 26 h 114"/>
                  <a:gd name="T24" fmla="*/ 20 w 158"/>
                  <a:gd name="T25" fmla="*/ 12 h 114"/>
                  <a:gd name="T26" fmla="*/ 52 w 158"/>
                  <a:gd name="T27" fmla="*/ 14 h 114"/>
                  <a:gd name="T28" fmla="*/ 72 w 158"/>
                  <a:gd name="T29" fmla="*/ 28 h 114"/>
                  <a:gd name="T30" fmla="*/ 78 w 158"/>
                  <a:gd name="T31" fmla="*/ 14 h 114"/>
                  <a:gd name="T32" fmla="*/ 80 w 158"/>
                  <a:gd name="T33" fmla="*/ 0 h 114"/>
                  <a:gd name="T34" fmla="*/ 72 w 158"/>
                  <a:gd name="T35" fmla="*/ 8 h 114"/>
                  <a:gd name="T36" fmla="*/ 76 w 158"/>
                  <a:gd name="T37" fmla="*/ 26 h 114"/>
                  <a:gd name="T38" fmla="*/ 70 w 158"/>
                  <a:gd name="T39" fmla="*/ 12 h 114"/>
                  <a:gd name="T40" fmla="*/ 60 w 158"/>
                  <a:gd name="T41" fmla="*/ 8 h 114"/>
                  <a:gd name="T42" fmla="*/ 50 w 158"/>
                  <a:gd name="T43" fmla="*/ 12 h 114"/>
                  <a:gd name="T44" fmla="*/ 46 w 158"/>
                  <a:gd name="T45" fmla="*/ 8 h 114"/>
                  <a:gd name="T46" fmla="*/ 20 w 158"/>
                  <a:gd name="T47" fmla="*/ 8 h 114"/>
                  <a:gd name="T48" fmla="*/ 6 w 158"/>
                  <a:gd name="T49" fmla="*/ 10 h 114"/>
                  <a:gd name="T50" fmla="*/ 0 w 158"/>
                  <a:gd name="T51" fmla="*/ 22 h 114"/>
                  <a:gd name="T52" fmla="*/ 4 w 158"/>
                  <a:gd name="T53" fmla="*/ 34 h 114"/>
                  <a:gd name="T54" fmla="*/ 6 w 158"/>
                  <a:gd name="T55" fmla="*/ 34 h 114"/>
                  <a:gd name="T56" fmla="*/ 10 w 158"/>
                  <a:gd name="T57" fmla="*/ 48 h 114"/>
                  <a:gd name="T58" fmla="*/ 34 w 158"/>
                  <a:gd name="T59" fmla="*/ 64 h 114"/>
                  <a:gd name="T60" fmla="*/ 38 w 158"/>
                  <a:gd name="T61" fmla="*/ 64 h 114"/>
                  <a:gd name="T62" fmla="*/ 40 w 158"/>
                  <a:gd name="T63" fmla="*/ 76 h 114"/>
                  <a:gd name="T64" fmla="*/ 50 w 158"/>
                  <a:gd name="T65" fmla="*/ 76 h 114"/>
                  <a:gd name="T66" fmla="*/ 40 w 158"/>
                  <a:gd name="T67" fmla="*/ 86 h 114"/>
                  <a:gd name="T68" fmla="*/ 62 w 158"/>
                  <a:gd name="T69" fmla="*/ 100 h 114"/>
                  <a:gd name="T70" fmla="*/ 72 w 158"/>
                  <a:gd name="T71" fmla="*/ 100 h 114"/>
                  <a:gd name="T72" fmla="*/ 74 w 158"/>
                  <a:gd name="T73" fmla="*/ 108 h 114"/>
                  <a:gd name="T74" fmla="*/ 88 w 158"/>
                  <a:gd name="T75" fmla="*/ 114 h 114"/>
                  <a:gd name="T76" fmla="*/ 98 w 158"/>
                  <a:gd name="T77" fmla="*/ 96 h 114"/>
                  <a:gd name="T78" fmla="*/ 114 w 158"/>
                  <a:gd name="T79" fmla="*/ 80 h 114"/>
                  <a:gd name="T80" fmla="*/ 148 w 158"/>
                  <a:gd name="T81" fmla="*/ 50 h 114"/>
                  <a:gd name="T82" fmla="*/ 156 w 158"/>
                  <a:gd name="T83" fmla="*/ 46 h 114"/>
                  <a:gd name="T84" fmla="*/ 158 w 158"/>
                  <a:gd name="T85" fmla="*/ 40 h 114"/>
                  <a:gd name="T86" fmla="*/ 140 w 158"/>
                  <a:gd name="T87" fmla="*/ 32 h 114"/>
                  <a:gd name="T88" fmla="*/ 122 w 158"/>
                  <a:gd name="T89" fmla="*/ 22 h 114"/>
                  <a:gd name="T90" fmla="*/ 108 w 158"/>
                  <a:gd name="T91" fmla="*/ 14 h 114"/>
                  <a:gd name="T92" fmla="*/ 102 w 158"/>
                  <a:gd name="T93" fmla="*/ 18 h 114"/>
                  <a:gd name="T94" fmla="*/ 104 w 158"/>
                  <a:gd name="T95" fmla="*/ 10 h 114"/>
                  <a:gd name="T96" fmla="*/ 82 w 158"/>
                  <a:gd name="T97" fmla="*/ 0 h 114"/>
                  <a:gd name="T98" fmla="*/ 58 w 158"/>
                  <a:gd name="T99" fmla="*/ 50 h 114"/>
                  <a:gd name="T100" fmla="*/ 64 w 158"/>
                  <a:gd name="T101" fmla="*/ 50 h 114"/>
                  <a:gd name="T102" fmla="*/ 64 w 158"/>
                  <a:gd name="T103" fmla="*/ 54 h 114"/>
                  <a:gd name="T104" fmla="*/ 52 w 158"/>
                  <a:gd name="T105" fmla="*/ 5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14">
                    <a:moveTo>
                      <a:pt x="80" y="4"/>
                    </a:moveTo>
                    <a:lnTo>
                      <a:pt x="90" y="8"/>
                    </a:lnTo>
                    <a:lnTo>
                      <a:pt x="100" y="12"/>
                    </a:lnTo>
                    <a:lnTo>
                      <a:pt x="96" y="22"/>
                    </a:lnTo>
                    <a:lnTo>
                      <a:pt x="104" y="24"/>
                    </a:lnTo>
                    <a:lnTo>
                      <a:pt x="108" y="18"/>
                    </a:lnTo>
                    <a:lnTo>
                      <a:pt x="118" y="24"/>
                    </a:lnTo>
                    <a:lnTo>
                      <a:pt x="118" y="30"/>
                    </a:lnTo>
                    <a:lnTo>
                      <a:pt x="140" y="36"/>
                    </a:lnTo>
                    <a:lnTo>
                      <a:pt x="154" y="44"/>
                    </a:lnTo>
                    <a:lnTo>
                      <a:pt x="148" y="46"/>
                    </a:lnTo>
                    <a:lnTo>
                      <a:pt x="128" y="50"/>
                    </a:lnTo>
                    <a:lnTo>
                      <a:pt x="114" y="58"/>
                    </a:lnTo>
                    <a:lnTo>
                      <a:pt x="110" y="64"/>
                    </a:lnTo>
                    <a:lnTo>
                      <a:pt x="110" y="78"/>
                    </a:lnTo>
                    <a:lnTo>
                      <a:pt x="100" y="82"/>
                    </a:lnTo>
                    <a:lnTo>
                      <a:pt x="94" y="94"/>
                    </a:lnTo>
                    <a:lnTo>
                      <a:pt x="88" y="110"/>
                    </a:lnTo>
                    <a:lnTo>
                      <a:pt x="76" y="106"/>
                    </a:lnTo>
                    <a:lnTo>
                      <a:pt x="76" y="94"/>
                    </a:lnTo>
                    <a:lnTo>
                      <a:pt x="64" y="96"/>
                    </a:lnTo>
                    <a:lnTo>
                      <a:pt x="56" y="90"/>
                    </a:lnTo>
                    <a:lnTo>
                      <a:pt x="44" y="86"/>
                    </a:lnTo>
                    <a:lnTo>
                      <a:pt x="52" y="78"/>
                    </a:lnTo>
                    <a:lnTo>
                      <a:pt x="78" y="82"/>
                    </a:lnTo>
                    <a:lnTo>
                      <a:pt x="68" y="76"/>
                    </a:lnTo>
                    <a:lnTo>
                      <a:pt x="56" y="72"/>
                    </a:lnTo>
                    <a:lnTo>
                      <a:pt x="42" y="74"/>
                    </a:lnTo>
                    <a:lnTo>
                      <a:pt x="42" y="64"/>
                    </a:lnTo>
                    <a:lnTo>
                      <a:pt x="52" y="60"/>
                    </a:lnTo>
                    <a:lnTo>
                      <a:pt x="66" y="58"/>
                    </a:lnTo>
                    <a:lnTo>
                      <a:pt x="80" y="58"/>
                    </a:lnTo>
                    <a:lnTo>
                      <a:pt x="90" y="54"/>
                    </a:lnTo>
                    <a:lnTo>
                      <a:pt x="84" y="46"/>
                    </a:lnTo>
                    <a:lnTo>
                      <a:pt x="78" y="50"/>
                    </a:lnTo>
                    <a:lnTo>
                      <a:pt x="68" y="50"/>
                    </a:lnTo>
                    <a:lnTo>
                      <a:pt x="68" y="44"/>
                    </a:lnTo>
                    <a:lnTo>
                      <a:pt x="62" y="42"/>
                    </a:lnTo>
                    <a:lnTo>
                      <a:pt x="58" y="46"/>
                    </a:lnTo>
                    <a:lnTo>
                      <a:pt x="52" y="46"/>
                    </a:lnTo>
                    <a:lnTo>
                      <a:pt x="50" y="54"/>
                    </a:lnTo>
                    <a:lnTo>
                      <a:pt x="36" y="60"/>
                    </a:lnTo>
                    <a:lnTo>
                      <a:pt x="28" y="56"/>
                    </a:lnTo>
                    <a:lnTo>
                      <a:pt x="14" y="44"/>
                    </a:lnTo>
                    <a:lnTo>
                      <a:pt x="10" y="36"/>
                    </a:lnTo>
                    <a:lnTo>
                      <a:pt x="20" y="28"/>
                    </a:lnTo>
                    <a:lnTo>
                      <a:pt x="20" y="26"/>
                    </a:lnTo>
                    <a:lnTo>
                      <a:pt x="14" y="26"/>
                    </a:lnTo>
                    <a:lnTo>
                      <a:pt x="6" y="30"/>
                    </a:lnTo>
                    <a:lnTo>
                      <a:pt x="4" y="22"/>
                    </a:lnTo>
                    <a:lnTo>
                      <a:pt x="6" y="14"/>
                    </a:lnTo>
                    <a:lnTo>
                      <a:pt x="20" y="12"/>
                    </a:lnTo>
                    <a:lnTo>
                      <a:pt x="34" y="12"/>
                    </a:lnTo>
                    <a:lnTo>
                      <a:pt x="46" y="12"/>
                    </a:lnTo>
                    <a:lnTo>
                      <a:pt x="50" y="28"/>
                    </a:lnTo>
                    <a:lnTo>
                      <a:pt x="52" y="14"/>
                    </a:lnTo>
                    <a:lnTo>
                      <a:pt x="60" y="12"/>
                    </a:lnTo>
                    <a:lnTo>
                      <a:pt x="70" y="16"/>
                    </a:lnTo>
                    <a:lnTo>
                      <a:pt x="72" y="24"/>
                    </a:lnTo>
                    <a:lnTo>
                      <a:pt x="72" y="28"/>
                    </a:lnTo>
                    <a:lnTo>
                      <a:pt x="78" y="36"/>
                    </a:lnTo>
                    <a:lnTo>
                      <a:pt x="84" y="38"/>
                    </a:lnTo>
                    <a:lnTo>
                      <a:pt x="82" y="26"/>
                    </a:lnTo>
                    <a:lnTo>
                      <a:pt x="78" y="14"/>
                    </a:lnTo>
                    <a:lnTo>
                      <a:pt x="76" y="8"/>
                    </a:lnTo>
                    <a:lnTo>
                      <a:pt x="80" y="4"/>
                    </a:lnTo>
                    <a:close/>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close/>
                    <a:moveTo>
                      <a:pt x="56" y="50"/>
                    </a:moveTo>
                    <a:lnTo>
                      <a:pt x="58" y="50"/>
                    </a:lnTo>
                    <a:lnTo>
                      <a:pt x="58" y="50"/>
                    </a:lnTo>
                    <a:lnTo>
                      <a:pt x="62" y="48"/>
                    </a:lnTo>
                    <a:lnTo>
                      <a:pt x="64" y="46"/>
                    </a:lnTo>
                    <a:lnTo>
                      <a:pt x="64" y="50"/>
                    </a:lnTo>
                    <a:lnTo>
                      <a:pt x="64" y="50"/>
                    </a:lnTo>
                    <a:lnTo>
                      <a:pt x="66" y="54"/>
                    </a:lnTo>
                    <a:lnTo>
                      <a:pt x="66" y="54"/>
                    </a:lnTo>
                    <a:lnTo>
                      <a:pt x="64" y="54"/>
                    </a:lnTo>
                    <a:lnTo>
                      <a:pt x="52" y="56"/>
                    </a:lnTo>
                    <a:lnTo>
                      <a:pt x="52" y="58"/>
                    </a:lnTo>
                    <a:lnTo>
                      <a:pt x="52" y="58"/>
                    </a:lnTo>
                    <a:lnTo>
                      <a:pt x="52" y="56"/>
                    </a:lnTo>
                    <a:lnTo>
                      <a:pt x="56" y="50"/>
                    </a:lnTo>
                    <a:lnTo>
                      <a:pt x="56"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0" name="Freeform 712"/>
              <p:cNvSpPr>
                <a:spLocks/>
              </p:cNvSpPr>
              <p:nvPr/>
            </p:nvSpPr>
            <p:spPr bwMode="auto">
              <a:xfrm>
                <a:off x="3017" y="1035"/>
                <a:ext cx="150" cy="106"/>
              </a:xfrm>
              <a:custGeom>
                <a:avLst/>
                <a:gdLst>
                  <a:gd name="T0" fmla="*/ 86 w 150"/>
                  <a:gd name="T1" fmla="*/ 4 h 106"/>
                  <a:gd name="T2" fmla="*/ 92 w 150"/>
                  <a:gd name="T3" fmla="*/ 18 h 106"/>
                  <a:gd name="T4" fmla="*/ 104 w 150"/>
                  <a:gd name="T5" fmla="*/ 14 h 106"/>
                  <a:gd name="T6" fmla="*/ 114 w 150"/>
                  <a:gd name="T7" fmla="*/ 26 h 106"/>
                  <a:gd name="T8" fmla="*/ 150 w 150"/>
                  <a:gd name="T9" fmla="*/ 40 h 106"/>
                  <a:gd name="T10" fmla="*/ 124 w 150"/>
                  <a:gd name="T11" fmla="*/ 46 h 106"/>
                  <a:gd name="T12" fmla="*/ 106 w 150"/>
                  <a:gd name="T13" fmla="*/ 60 h 106"/>
                  <a:gd name="T14" fmla="*/ 96 w 150"/>
                  <a:gd name="T15" fmla="*/ 78 h 106"/>
                  <a:gd name="T16" fmla="*/ 84 w 150"/>
                  <a:gd name="T17" fmla="*/ 106 h 106"/>
                  <a:gd name="T18" fmla="*/ 72 w 150"/>
                  <a:gd name="T19" fmla="*/ 90 h 106"/>
                  <a:gd name="T20" fmla="*/ 52 w 150"/>
                  <a:gd name="T21" fmla="*/ 86 h 106"/>
                  <a:gd name="T22" fmla="*/ 48 w 150"/>
                  <a:gd name="T23" fmla="*/ 74 h 106"/>
                  <a:gd name="T24" fmla="*/ 64 w 150"/>
                  <a:gd name="T25" fmla="*/ 72 h 106"/>
                  <a:gd name="T26" fmla="*/ 38 w 150"/>
                  <a:gd name="T27" fmla="*/ 70 h 106"/>
                  <a:gd name="T28" fmla="*/ 48 w 150"/>
                  <a:gd name="T29" fmla="*/ 56 h 106"/>
                  <a:gd name="T30" fmla="*/ 76 w 150"/>
                  <a:gd name="T31" fmla="*/ 54 h 106"/>
                  <a:gd name="T32" fmla="*/ 80 w 150"/>
                  <a:gd name="T33" fmla="*/ 42 h 106"/>
                  <a:gd name="T34" fmla="*/ 64 w 150"/>
                  <a:gd name="T35" fmla="*/ 46 h 106"/>
                  <a:gd name="T36" fmla="*/ 58 w 150"/>
                  <a:gd name="T37" fmla="*/ 38 h 106"/>
                  <a:gd name="T38" fmla="*/ 48 w 150"/>
                  <a:gd name="T39" fmla="*/ 42 h 106"/>
                  <a:gd name="T40" fmla="*/ 32 w 150"/>
                  <a:gd name="T41" fmla="*/ 56 h 106"/>
                  <a:gd name="T42" fmla="*/ 10 w 150"/>
                  <a:gd name="T43" fmla="*/ 40 h 106"/>
                  <a:gd name="T44" fmla="*/ 16 w 150"/>
                  <a:gd name="T45" fmla="*/ 24 h 106"/>
                  <a:gd name="T46" fmla="*/ 10 w 150"/>
                  <a:gd name="T47" fmla="*/ 22 h 106"/>
                  <a:gd name="T48" fmla="*/ 0 w 150"/>
                  <a:gd name="T49" fmla="*/ 18 h 106"/>
                  <a:gd name="T50" fmla="*/ 16 w 150"/>
                  <a:gd name="T51" fmla="*/ 8 h 106"/>
                  <a:gd name="T52" fmla="*/ 42 w 150"/>
                  <a:gd name="T53" fmla="*/ 8 h 106"/>
                  <a:gd name="T54" fmla="*/ 48 w 150"/>
                  <a:gd name="T55" fmla="*/ 10 h 106"/>
                  <a:gd name="T56" fmla="*/ 66 w 150"/>
                  <a:gd name="T57" fmla="*/ 12 h 106"/>
                  <a:gd name="T58" fmla="*/ 68 w 150"/>
                  <a:gd name="T59" fmla="*/ 24 h 106"/>
                  <a:gd name="T60" fmla="*/ 80 w 150"/>
                  <a:gd name="T61" fmla="*/ 34 h 106"/>
                  <a:gd name="T62" fmla="*/ 74 w 150"/>
                  <a:gd name="T63" fmla="*/ 10 h 106"/>
                  <a:gd name="T64" fmla="*/ 76 w 150"/>
                  <a:gd name="T6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0" h="106">
                    <a:moveTo>
                      <a:pt x="76" y="0"/>
                    </a:moveTo>
                    <a:lnTo>
                      <a:pt x="86" y="4"/>
                    </a:lnTo>
                    <a:lnTo>
                      <a:pt x="96" y="8"/>
                    </a:lnTo>
                    <a:lnTo>
                      <a:pt x="92" y="18"/>
                    </a:lnTo>
                    <a:lnTo>
                      <a:pt x="100" y="20"/>
                    </a:lnTo>
                    <a:lnTo>
                      <a:pt x="104" y="14"/>
                    </a:lnTo>
                    <a:lnTo>
                      <a:pt x="114" y="20"/>
                    </a:lnTo>
                    <a:lnTo>
                      <a:pt x="114" y="26"/>
                    </a:lnTo>
                    <a:lnTo>
                      <a:pt x="136" y="32"/>
                    </a:lnTo>
                    <a:lnTo>
                      <a:pt x="150" y="40"/>
                    </a:lnTo>
                    <a:lnTo>
                      <a:pt x="144" y="42"/>
                    </a:lnTo>
                    <a:lnTo>
                      <a:pt x="124" y="46"/>
                    </a:lnTo>
                    <a:lnTo>
                      <a:pt x="110" y="54"/>
                    </a:lnTo>
                    <a:lnTo>
                      <a:pt x="106" y="60"/>
                    </a:lnTo>
                    <a:lnTo>
                      <a:pt x="106" y="74"/>
                    </a:lnTo>
                    <a:lnTo>
                      <a:pt x="96" y="78"/>
                    </a:lnTo>
                    <a:lnTo>
                      <a:pt x="90" y="90"/>
                    </a:lnTo>
                    <a:lnTo>
                      <a:pt x="84" y="106"/>
                    </a:lnTo>
                    <a:lnTo>
                      <a:pt x="72" y="102"/>
                    </a:lnTo>
                    <a:lnTo>
                      <a:pt x="72" y="90"/>
                    </a:lnTo>
                    <a:lnTo>
                      <a:pt x="60" y="92"/>
                    </a:lnTo>
                    <a:lnTo>
                      <a:pt x="52" y="86"/>
                    </a:lnTo>
                    <a:lnTo>
                      <a:pt x="40" y="82"/>
                    </a:lnTo>
                    <a:lnTo>
                      <a:pt x="48" y="74"/>
                    </a:lnTo>
                    <a:lnTo>
                      <a:pt x="74" y="78"/>
                    </a:lnTo>
                    <a:lnTo>
                      <a:pt x="64" y="72"/>
                    </a:lnTo>
                    <a:lnTo>
                      <a:pt x="52" y="68"/>
                    </a:lnTo>
                    <a:lnTo>
                      <a:pt x="38" y="70"/>
                    </a:lnTo>
                    <a:lnTo>
                      <a:pt x="38" y="60"/>
                    </a:lnTo>
                    <a:lnTo>
                      <a:pt x="48" y="56"/>
                    </a:lnTo>
                    <a:lnTo>
                      <a:pt x="62" y="54"/>
                    </a:lnTo>
                    <a:lnTo>
                      <a:pt x="76" y="54"/>
                    </a:lnTo>
                    <a:lnTo>
                      <a:pt x="86" y="50"/>
                    </a:lnTo>
                    <a:lnTo>
                      <a:pt x="80" y="42"/>
                    </a:lnTo>
                    <a:lnTo>
                      <a:pt x="74" y="46"/>
                    </a:lnTo>
                    <a:lnTo>
                      <a:pt x="64" y="46"/>
                    </a:lnTo>
                    <a:lnTo>
                      <a:pt x="64" y="40"/>
                    </a:lnTo>
                    <a:lnTo>
                      <a:pt x="58" y="38"/>
                    </a:lnTo>
                    <a:lnTo>
                      <a:pt x="54" y="42"/>
                    </a:lnTo>
                    <a:lnTo>
                      <a:pt x="48" y="42"/>
                    </a:lnTo>
                    <a:lnTo>
                      <a:pt x="46" y="50"/>
                    </a:lnTo>
                    <a:lnTo>
                      <a:pt x="32" y="56"/>
                    </a:lnTo>
                    <a:lnTo>
                      <a:pt x="24" y="52"/>
                    </a:lnTo>
                    <a:lnTo>
                      <a:pt x="10" y="40"/>
                    </a:lnTo>
                    <a:lnTo>
                      <a:pt x="6" y="32"/>
                    </a:lnTo>
                    <a:lnTo>
                      <a:pt x="16" y="24"/>
                    </a:lnTo>
                    <a:lnTo>
                      <a:pt x="16" y="22"/>
                    </a:lnTo>
                    <a:lnTo>
                      <a:pt x="10" y="22"/>
                    </a:lnTo>
                    <a:lnTo>
                      <a:pt x="2" y="26"/>
                    </a:lnTo>
                    <a:lnTo>
                      <a:pt x="0" y="18"/>
                    </a:lnTo>
                    <a:lnTo>
                      <a:pt x="2" y="10"/>
                    </a:lnTo>
                    <a:lnTo>
                      <a:pt x="16" y="8"/>
                    </a:lnTo>
                    <a:lnTo>
                      <a:pt x="30" y="8"/>
                    </a:lnTo>
                    <a:lnTo>
                      <a:pt x="42" y="8"/>
                    </a:lnTo>
                    <a:lnTo>
                      <a:pt x="46" y="24"/>
                    </a:lnTo>
                    <a:lnTo>
                      <a:pt x="48" y="10"/>
                    </a:lnTo>
                    <a:lnTo>
                      <a:pt x="56" y="8"/>
                    </a:lnTo>
                    <a:lnTo>
                      <a:pt x="66" y="12"/>
                    </a:lnTo>
                    <a:lnTo>
                      <a:pt x="68" y="20"/>
                    </a:lnTo>
                    <a:lnTo>
                      <a:pt x="68" y="24"/>
                    </a:lnTo>
                    <a:lnTo>
                      <a:pt x="74" y="32"/>
                    </a:lnTo>
                    <a:lnTo>
                      <a:pt x="80" y="34"/>
                    </a:lnTo>
                    <a:lnTo>
                      <a:pt x="78" y="22"/>
                    </a:lnTo>
                    <a:lnTo>
                      <a:pt x="74" y="10"/>
                    </a:lnTo>
                    <a:lnTo>
                      <a:pt x="72" y="4"/>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1" name="Freeform 713"/>
              <p:cNvSpPr>
                <a:spLocks/>
              </p:cNvSpPr>
              <p:nvPr/>
            </p:nvSpPr>
            <p:spPr bwMode="auto">
              <a:xfrm>
                <a:off x="3013" y="1031"/>
                <a:ext cx="158" cy="114"/>
              </a:xfrm>
              <a:custGeom>
                <a:avLst/>
                <a:gdLst>
                  <a:gd name="T0" fmla="*/ 78 w 158"/>
                  <a:gd name="T1" fmla="*/ 2 h 114"/>
                  <a:gd name="T2" fmla="*/ 72 w 158"/>
                  <a:gd name="T3" fmla="*/ 8 h 114"/>
                  <a:gd name="T4" fmla="*/ 78 w 158"/>
                  <a:gd name="T5" fmla="*/ 30 h 114"/>
                  <a:gd name="T6" fmla="*/ 74 w 158"/>
                  <a:gd name="T7" fmla="*/ 16 h 114"/>
                  <a:gd name="T8" fmla="*/ 62 w 158"/>
                  <a:gd name="T9" fmla="*/ 10 h 114"/>
                  <a:gd name="T10" fmla="*/ 60 w 158"/>
                  <a:gd name="T11" fmla="*/ 8 h 114"/>
                  <a:gd name="T12" fmla="*/ 52 w 158"/>
                  <a:gd name="T13" fmla="*/ 10 h 114"/>
                  <a:gd name="T14" fmla="*/ 50 w 158"/>
                  <a:gd name="T15" fmla="*/ 12 h 114"/>
                  <a:gd name="T16" fmla="*/ 34 w 158"/>
                  <a:gd name="T17" fmla="*/ 8 h 114"/>
                  <a:gd name="T18" fmla="*/ 20 w 158"/>
                  <a:gd name="T19" fmla="*/ 8 h 114"/>
                  <a:gd name="T20" fmla="*/ 6 w 158"/>
                  <a:gd name="T21" fmla="*/ 10 h 114"/>
                  <a:gd name="T22" fmla="*/ 0 w 158"/>
                  <a:gd name="T23" fmla="*/ 20 h 114"/>
                  <a:gd name="T24" fmla="*/ 2 w 158"/>
                  <a:gd name="T25" fmla="*/ 32 h 114"/>
                  <a:gd name="T26" fmla="*/ 4 w 158"/>
                  <a:gd name="T27" fmla="*/ 34 h 114"/>
                  <a:gd name="T28" fmla="*/ 6 w 158"/>
                  <a:gd name="T29" fmla="*/ 34 h 114"/>
                  <a:gd name="T30" fmla="*/ 10 w 158"/>
                  <a:gd name="T31" fmla="*/ 46 h 114"/>
                  <a:gd name="T32" fmla="*/ 26 w 158"/>
                  <a:gd name="T33" fmla="*/ 58 h 114"/>
                  <a:gd name="T34" fmla="*/ 34 w 158"/>
                  <a:gd name="T35" fmla="*/ 64 h 114"/>
                  <a:gd name="T36" fmla="*/ 36 w 158"/>
                  <a:gd name="T37" fmla="*/ 64 h 114"/>
                  <a:gd name="T38" fmla="*/ 38 w 158"/>
                  <a:gd name="T39" fmla="*/ 74 h 114"/>
                  <a:gd name="T40" fmla="*/ 42 w 158"/>
                  <a:gd name="T41" fmla="*/ 78 h 114"/>
                  <a:gd name="T42" fmla="*/ 50 w 158"/>
                  <a:gd name="T43" fmla="*/ 76 h 114"/>
                  <a:gd name="T44" fmla="*/ 40 w 158"/>
                  <a:gd name="T45" fmla="*/ 86 h 114"/>
                  <a:gd name="T46" fmla="*/ 54 w 158"/>
                  <a:gd name="T47" fmla="*/ 94 h 114"/>
                  <a:gd name="T48" fmla="*/ 64 w 158"/>
                  <a:gd name="T49" fmla="*/ 100 h 114"/>
                  <a:gd name="T50" fmla="*/ 72 w 158"/>
                  <a:gd name="T51" fmla="*/ 100 h 114"/>
                  <a:gd name="T52" fmla="*/ 74 w 158"/>
                  <a:gd name="T53" fmla="*/ 108 h 114"/>
                  <a:gd name="T54" fmla="*/ 86 w 158"/>
                  <a:gd name="T55" fmla="*/ 114 h 114"/>
                  <a:gd name="T56" fmla="*/ 88 w 158"/>
                  <a:gd name="T57" fmla="*/ 114 h 114"/>
                  <a:gd name="T58" fmla="*/ 98 w 158"/>
                  <a:gd name="T59" fmla="*/ 96 h 114"/>
                  <a:gd name="T60" fmla="*/ 110 w 158"/>
                  <a:gd name="T61" fmla="*/ 82 h 114"/>
                  <a:gd name="T62" fmla="*/ 118 w 158"/>
                  <a:gd name="T63" fmla="*/ 60 h 114"/>
                  <a:gd name="T64" fmla="*/ 148 w 158"/>
                  <a:gd name="T65" fmla="*/ 50 h 114"/>
                  <a:gd name="T66" fmla="*/ 156 w 158"/>
                  <a:gd name="T67" fmla="*/ 46 h 114"/>
                  <a:gd name="T68" fmla="*/ 158 w 158"/>
                  <a:gd name="T69" fmla="*/ 44 h 114"/>
                  <a:gd name="T70" fmla="*/ 142 w 158"/>
                  <a:gd name="T71" fmla="*/ 32 h 114"/>
                  <a:gd name="T72" fmla="*/ 122 w 158"/>
                  <a:gd name="T73" fmla="*/ 28 h 114"/>
                  <a:gd name="T74" fmla="*/ 122 w 158"/>
                  <a:gd name="T75" fmla="*/ 22 h 114"/>
                  <a:gd name="T76" fmla="*/ 110 w 158"/>
                  <a:gd name="T77" fmla="*/ 14 h 114"/>
                  <a:gd name="T78" fmla="*/ 104 w 158"/>
                  <a:gd name="T79" fmla="*/ 16 h 114"/>
                  <a:gd name="T80" fmla="*/ 104 w 158"/>
                  <a:gd name="T81" fmla="*/ 12 h 114"/>
                  <a:gd name="T82" fmla="*/ 104 w 158"/>
                  <a:gd name="T83" fmla="*/ 10 h 114"/>
                  <a:gd name="T84" fmla="*/ 82 w 158"/>
                  <a:gd name="T85" fmla="*/ 0 h 114"/>
                  <a:gd name="T86" fmla="*/ 80 w 158"/>
                  <a:gd name="T8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114">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2" name="Freeform 714"/>
              <p:cNvSpPr>
                <a:spLocks/>
              </p:cNvSpPr>
              <p:nvPr/>
            </p:nvSpPr>
            <p:spPr bwMode="auto">
              <a:xfrm>
                <a:off x="3065" y="1077"/>
                <a:ext cx="14" cy="12"/>
              </a:xfrm>
              <a:custGeom>
                <a:avLst/>
                <a:gdLst>
                  <a:gd name="T0" fmla="*/ 4 w 14"/>
                  <a:gd name="T1" fmla="*/ 4 h 12"/>
                  <a:gd name="T2" fmla="*/ 6 w 14"/>
                  <a:gd name="T3" fmla="*/ 4 h 12"/>
                  <a:gd name="T4" fmla="*/ 6 w 14"/>
                  <a:gd name="T5" fmla="*/ 4 h 12"/>
                  <a:gd name="T6" fmla="*/ 10 w 14"/>
                  <a:gd name="T7" fmla="*/ 2 h 12"/>
                  <a:gd name="T8" fmla="*/ 12 w 14"/>
                  <a:gd name="T9" fmla="*/ 0 h 12"/>
                  <a:gd name="T10" fmla="*/ 12 w 14"/>
                  <a:gd name="T11" fmla="*/ 4 h 12"/>
                  <a:gd name="T12" fmla="*/ 12 w 14"/>
                  <a:gd name="T13" fmla="*/ 4 h 12"/>
                  <a:gd name="T14" fmla="*/ 14 w 14"/>
                  <a:gd name="T15" fmla="*/ 8 h 12"/>
                  <a:gd name="T16" fmla="*/ 14 w 14"/>
                  <a:gd name="T17" fmla="*/ 8 h 12"/>
                  <a:gd name="T18" fmla="*/ 12 w 14"/>
                  <a:gd name="T19" fmla="*/ 8 h 12"/>
                  <a:gd name="T20" fmla="*/ 0 w 14"/>
                  <a:gd name="T21" fmla="*/ 10 h 12"/>
                  <a:gd name="T22" fmla="*/ 0 w 14"/>
                  <a:gd name="T23" fmla="*/ 12 h 12"/>
                  <a:gd name="T24" fmla="*/ 0 w 14"/>
                  <a:gd name="T25" fmla="*/ 12 h 12"/>
                  <a:gd name="T26" fmla="*/ 0 w 14"/>
                  <a:gd name="T27" fmla="*/ 10 h 12"/>
                  <a:gd name="T28" fmla="*/ 4 w 14"/>
                  <a:gd name="T29" fmla="*/ 4 h 12"/>
                  <a:gd name="T30" fmla="*/ 4 w 14"/>
                  <a:gd name="T3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2">
                    <a:moveTo>
                      <a:pt x="4" y="4"/>
                    </a:moveTo>
                    <a:lnTo>
                      <a:pt x="6" y="4"/>
                    </a:lnTo>
                    <a:lnTo>
                      <a:pt x="6" y="4"/>
                    </a:lnTo>
                    <a:lnTo>
                      <a:pt x="10" y="2"/>
                    </a:lnTo>
                    <a:lnTo>
                      <a:pt x="12" y="0"/>
                    </a:lnTo>
                    <a:lnTo>
                      <a:pt x="12" y="4"/>
                    </a:lnTo>
                    <a:lnTo>
                      <a:pt x="12" y="4"/>
                    </a:lnTo>
                    <a:lnTo>
                      <a:pt x="14" y="8"/>
                    </a:lnTo>
                    <a:lnTo>
                      <a:pt x="14" y="8"/>
                    </a:lnTo>
                    <a:lnTo>
                      <a:pt x="12" y="8"/>
                    </a:lnTo>
                    <a:lnTo>
                      <a:pt x="0" y="10"/>
                    </a:lnTo>
                    <a:lnTo>
                      <a:pt x="0" y="12"/>
                    </a:lnTo>
                    <a:lnTo>
                      <a:pt x="0" y="12"/>
                    </a:lnTo>
                    <a:lnTo>
                      <a:pt x="0" y="10"/>
                    </a:lnTo>
                    <a:lnTo>
                      <a:pt x="4" y="4"/>
                    </a:lnTo>
                    <a:lnTo>
                      <a:pt x="4"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3" name="Freeform 715"/>
              <p:cNvSpPr>
                <a:spLocks/>
              </p:cNvSpPr>
              <p:nvPr/>
            </p:nvSpPr>
            <p:spPr bwMode="auto">
              <a:xfrm>
                <a:off x="3121" y="1017"/>
                <a:ext cx="132" cy="48"/>
              </a:xfrm>
              <a:custGeom>
                <a:avLst/>
                <a:gdLst>
                  <a:gd name="T0" fmla="*/ 84 w 132"/>
                  <a:gd name="T1" fmla="*/ 48 h 48"/>
                  <a:gd name="T2" fmla="*/ 68 w 132"/>
                  <a:gd name="T3" fmla="*/ 44 h 48"/>
                  <a:gd name="T4" fmla="*/ 68 w 132"/>
                  <a:gd name="T5" fmla="*/ 44 h 48"/>
                  <a:gd name="T6" fmla="*/ 66 w 132"/>
                  <a:gd name="T7" fmla="*/ 44 h 48"/>
                  <a:gd name="T8" fmla="*/ 62 w 132"/>
                  <a:gd name="T9" fmla="*/ 38 h 48"/>
                  <a:gd name="T10" fmla="*/ 32 w 132"/>
                  <a:gd name="T11" fmla="*/ 38 h 48"/>
                  <a:gd name="T12" fmla="*/ 32 w 132"/>
                  <a:gd name="T13" fmla="*/ 38 h 48"/>
                  <a:gd name="T14" fmla="*/ 30 w 132"/>
                  <a:gd name="T15" fmla="*/ 36 h 48"/>
                  <a:gd name="T16" fmla="*/ 30 w 132"/>
                  <a:gd name="T17" fmla="*/ 36 h 48"/>
                  <a:gd name="T18" fmla="*/ 30 w 132"/>
                  <a:gd name="T19" fmla="*/ 34 h 48"/>
                  <a:gd name="T20" fmla="*/ 32 w 132"/>
                  <a:gd name="T21" fmla="*/ 28 h 48"/>
                  <a:gd name="T22" fmla="*/ 32 w 132"/>
                  <a:gd name="T23" fmla="*/ 28 h 48"/>
                  <a:gd name="T24" fmla="*/ 34 w 132"/>
                  <a:gd name="T25" fmla="*/ 26 h 48"/>
                  <a:gd name="T26" fmla="*/ 50 w 132"/>
                  <a:gd name="T27" fmla="*/ 24 h 48"/>
                  <a:gd name="T28" fmla="*/ 50 w 132"/>
                  <a:gd name="T29" fmla="*/ 24 h 48"/>
                  <a:gd name="T30" fmla="*/ 46 w 132"/>
                  <a:gd name="T31" fmla="*/ 22 h 48"/>
                  <a:gd name="T32" fmla="*/ 32 w 132"/>
                  <a:gd name="T33" fmla="*/ 22 h 48"/>
                  <a:gd name="T34" fmla="*/ 18 w 132"/>
                  <a:gd name="T35" fmla="*/ 26 h 48"/>
                  <a:gd name="T36" fmla="*/ 4 w 132"/>
                  <a:gd name="T37" fmla="*/ 24 h 48"/>
                  <a:gd name="T38" fmla="*/ 4 w 132"/>
                  <a:gd name="T39" fmla="*/ 24 h 48"/>
                  <a:gd name="T40" fmla="*/ 2 w 132"/>
                  <a:gd name="T41" fmla="*/ 24 h 48"/>
                  <a:gd name="T42" fmla="*/ 0 w 132"/>
                  <a:gd name="T43" fmla="*/ 18 h 48"/>
                  <a:gd name="T44" fmla="*/ 0 w 132"/>
                  <a:gd name="T45" fmla="*/ 18 h 48"/>
                  <a:gd name="T46" fmla="*/ 0 w 132"/>
                  <a:gd name="T47" fmla="*/ 16 h 48"/>
                  <a:gd name="T48" fmla="*/ 10 w 132"/>
                  <a:gd name="T49" fmla="*/ 12 h 48"/>
                  <a:gd name="T50" fmla="*/ 20 w 132"/>
                  <a:gd name="T51" fmla="*/ 4 h 48"/>
                  <a:gd name="T52" fmla="*/ 20 w 132"/>
                  <a:gd name="T53" fmla="*/ 4 h 48"/>
                  <a:gd name="T54" fmla="*/ 22 w 132"/>
                  <a:gd name="T55" fmla="*/ 4 h 48"/>
                  <a:gd name="T56" fmla="*/ 28 w 132"/>
                  <a:gd name="T57" fmla="*/ 4 h 48"/>
                  <a:gd name="T58" fmla="*/ 44 w 132"/>
                  <a:gd name="T59" fmla="*/ 8 h 48"/>
                  <a:gd name="T60" fmla="*/ 52 w 132"/>
                  <a:gd name="T61" fmla="*/ 8 h 48"/>
                  <a:gd name="T62" fmla="*/ 60 w 132"/>
                  <a:gd name="T63" fmla="*/ 10 h 48"/>
                  <a:gd name="T64" fmla="*/ 66 w 132"/>
                  <a:gd name="T65" fmla="*/ 0 h 48"/>
                  <a:gd name="T66" fmla="*/ 66 w 132"/>
                  <a:gd name="T67" fmla="*/ 0 h 48"/>
                  <a:gd name="T68" fmla="*/ 68 w 132"/>
                  <a:gd name="T69" fmla="*/ 0 h 48"/>
                  <a:gd name="T70" fmla="*/ 68 w 132"/>
                  <a:gd name="T71" fmla="*/ 0 h 48"/>
                  <a:gd name="T72" fmla="*/ 68 w 132"/>
                  <a:gd name="T73" fmla="*/ 0 h 48"/>
                  <a:gd name="T74" fmla="*/ 68 w 132"/>
                  <a:gd name="T75" fmla="*/ 0 h 48"/>
                  <a:gd name="T76" fmla="*/ 70 w 132"/>
                  <a:gd name="T77" fmla="*/ 0 h 48"/>
                  <a:gd name="T78" fmla="*/ 76 w 132"/>
                  <a:gd name="T79" fmla="*/ 12 h 48"/>
                  <a:gd name="T80" fmla="*/ 86 w 132"/>
                  <a:gd name="T81" fmla="*/ 6 h 48"/>
                  <a:gd name="T82" fmla="*/ 86 w 132"/>
                  <a:gd name="T83" fmla="*/ 6 h 48"/>
                  <a:gd name="T84" fmla="*/ 88 w 132"/>
                  <a:gd name="T85" fmla="*/ 6 h 48"/>
                  <a:gd name="T86" fmla="*/ 88 w 132"/>
                  <a:gd name="T87" fmla="*/ 6 h 48"/>
                  <a:gd name="T88" fmla="*/ 104 w 132"/>
                  <a:gd name="T89" fmla="*/ 8 h 48"/>
                  <a:gd name="T90" fmla="*/ 120 w 132"/>
                  <a:gd name="T91" fmla="*/ 12 h 48"/>
                  <a:gd name="T92" fmla="*/ 130 w 132"/>
                  <a:gd name="T93" fmla="*/ 14 h 48"/>
                  <a:gd name="T94" fmla="*/ 130 w 132"/>
                  <a:gd name="T95" fmla="*/ 14 h 48"/>
                  <a:gd name="T96" fmla="*/ 132 w 132"/>
                  <a:gd name="T97" fmla="*/ 14 h 48"/>
                  <a:gd name="T98" fmla="*/ 132 w 132"/>
                  <a:gd name="T99" fmla="*/ 14 h 48"/>
                  <a:gd name="T100" fmla="*/ 132 w 132"/>
                  <a:gd name="T101" fmla="*/ 16 h 48"/>
                  <a:gd name="T102" fmla="*/ 126 w 132"/>
                  <a:gd name="T103" fmla="*/ 22 h 48"/>
                  <a:gd name="T104" fmla="*/ 112 w 132"/>
                  <a:gd name="T105" fmla="*/ 30 h 48"/>
                  <a:gd name="T106" fmla="*/ 104 w 132"/>
                  <a:gd name="T107" fmla="*/ 36 h 48"/>
                  <a:gd name="T108" fmla="*/ 104 w 132"/>
                  <a:gd name="T109" fmla="*/ 36 h 48"/>
                  <a:gd name="T110" fmla="*/ 104 w 132"/>
                  <a:gd name="T111" fmla="*/ 38 h 48"/>
                  <a:gd name="T112" fmla="*/ 92 w 132"/>
                  <a:gd name="T113" fmla="*/ 38 h 48"/>
                  <a:gd name="T114" fmla="*/ 86 w 132"/>
                  <a:gd name="T115" fmla="*/ 48 h 48"/>
                  <a:gd name="T116" fmla="*/ 86 w 132"/>
                  <a:gd name="T117" fmla="*/ 48 h 48"/>
                  <a:gd name="T118" fmla="*/ 84 w 132"/>
                  <a:gd name="T119" fmla="*/ 48 h 48"/>
                  <a:gd name="T120" fmla="*/ 84 w 132"/>
                  <a:gd name="T121" fmla="*/ 48 h 48"/>
                  <a:gd name="T122" fmla="*/ 84 w 132"/>
                  <a:gd name="T123" fmla="*/ 48 h 48"/>
                  <a:gd name="T124" fmla="*/ 84 w 132"/>
                  <a:gd name="T1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48">
                    <a:moveTo>
                      <a:pt x="84" y="48"/>
                    </a:moveTo>
                    <a:lnTo>
                      <a:pt x="68" y="44"/>
                    </a:lnTo>
                    <a:lnTo>
                      <a:pt x="68" y="44"/>
                    </a:lnTo>
                    <a:lnTo>
                      <a:pt x="66" y="44"/>
                    </a:lnTo>
                    <a:lnTo>
                      <a:pt x="62" y="38"/>
                    </a:lnTo>
                    <a:lnTo>
                      <a:pt x="32" y="38"/>
                    </a:lnTo>
                    <a:lnTo>
                      <a:pt x="32" y="38"/>
                    </a:lnTo>
                    <a:lnTo>
                      <a:pt x="30" y="36"/>
                    </a:lnTo>
                    <a:lnTo>
                      <a:pt x="30" y="36"/>
                    </a:lnTo>
                    <a:lnTo>
                      <a:pt x="30" y="34"/>
                    </a:lnTo>
                    <a:lnTo>
                      <a:pt x="32" y="28"/>
                    </a:lnTo>
                    <a:lnTo>
                      <a:pt x="32" y="28"/>
                    </a:lnTo>
                    <a:lnTo>
                      <a:pt x="34" y="26"/>
                    </a:lnTo>
                    <a:lnTo>
                      <a:pt x="50" y="24"/>
                    </a:lnTo>
                    <a:lnTo>
                      <a:pt x="50" y="24"/>
                    </a:lnTo>
                    <a:lnTo>
                      <a:pt x="46" y="22"/>
                    </a:lnTo>
                    <a:lnTo>
                      <a:pt x="32" y="22"/>
                    </a:lnTo>
                    <a:lnTo>
                      <a:pt x="18" y="26"/>
                    </a:lnTo>
                    <a:lnTo>
                      <a:pt x="4" y="24"/>
                    </a:lnTo>
                    <a:lnTo>
                      <a:pt x="4" y="24"/>
                    </a:lnTo>
                    <a:lnTo>
                      <a:pt x="2" y="24"/>
                    </a:lnTo>
                    <a:lnTo>
                      <a:pt x="0" y="18"/>
                    </a:lnTo>
                    <a:lnTo>
                      <a:pt x="0" y="18"/>
                    </a:lnTo>
                    <a:lnTo>
                      <a:pt x="0" y="16"/>
                    </a:lnTo>
                    <a:lnTo>
                      <a:pt x="10" y="12"/>
                    </a:lnTo>
                    <a:lnTo>
                      <a:pt x="20" y="4"/>
                    </a:lnTo>
                    <a:lnTo>
                      <a:pt x="20" y="4"/>
                    </a:lnTo>
                    <a:lnTo>
                      <a:pt x="22" y="4"/>
                    </a:lnTo>
                    <a:lnTo>
                      <a:pt x="28" y="4"/>
                    </a:lnTo>
                    <a:lnTo>
                      <a:pt x="44" y="8"/>
                    </a:lnTo>
                    <a:lnTo>
                      <a:pt x="52" y="8"/>
                    </a:lnTo>
                    <a:lnTo>
                      <a:pt x="60" y="10"/>
                    </a:lnTo>
                    <a:lnTo>
                      <a:pt x="66" y="0"/>
                    </a:lnTo>
                    <a:lnTo>
                      <a:pt x="66" y="0"/>
                    </a:lnTo>
                    <a:lnTo>
                      <a:pt x="68" y="0"/>
                    </a:lnTo>
                    <a:lnTo>
                      <a:pt x="68" y="0"/>
                    </a:lnTo>
                    <a:lnTo>
                      <a:pt x="68" y="0"/>
                    </a:lnTo>
                    <a:lnTo>
                      <a:pt x="68" y="0"/>
                    </a:lnTo>
                    <a:lnTo>
                      <a:pt x="70" y="0"/>
                    </a:lnTo>
                    <a:lnTo>
                      <a:pt x="76" y="12"/>
                    </a:lnTo>
                    <a:lnTo>
                      <a:pt x="86" y="6"/>
                    </a:lnTo>
                    <a:lnTo>
                      <a:pt x="86" y="6"/>
                    </a:lnTo>
                    <a:lnTo>
                      <a:pt x="88" y="6"/>
                    </a:lnTo>
                    <a:lnTo>
                      <a:pt x="88" y="6"/>
                    </a:lnTo>
                    <a:lnTo>
                      <a:pt x="104" y="8"/>
                    </a:lnTo>
                    <a:lnTo>
                      <a:pt x="120" y="12"/>
                    </a:lnTo>
                    <a:lnTo>
                      <a:pt x="130" y="14"/>
                    </a:lnTo>
                    <a:lnTo>
                      <a:pt x="130" y="14"/>
                    </a:lnTo>
                    <a:lnTo>
                      <a:pt x="132" y="14"/>
                    </a:lnTo>
                    <a:lnTo>
                      <a:pt x="132" y="14"/>
                    </a:lnTo>
                    <a:lnTo>
                      <a:pt x="132" y="16"/>
                    </a:lnTo>
                    <a:lnTo>
                      <a:pt x="126" y="22"/>
                    </a:lnTo>
                    <a:lnTo>
                      <a:pt x="112" y="30"/>
                    </a:lnTo>
                    <a:lnTo>
                      <a:pt x="104" y="36"/>
                    </a:lnTo>
                    <a:lnTo>
                      <a:pt x="104" y="36"/>
                    </a:lnTo>
                    <a:lnTo>
                      <a:pt x="104" y="38"/>
                    </a:lnTo>
                    <a:lnTo>
                      <a:pt x="92" y="38"/>
                    </a:lnTo>
                    <a:lnTo>
                      <a:pt x="86" y="48"/>
                    </a:lnTo>
                    <a:lnTo>
                      <a:pt x="86" y="48"/>
                    </a:lnTo>
                    <a:lnTo>
                      <a:pt x="84" y="48"/>
                    </a:lnTo>
                    <a:lnTo>
                      <a:pt x="84" y="48"/>
                    </a:lnTo>
                    <a:lnTo>
                      <a:pt x="84" y="48"/>
                    </a:lnTo>
                    <a:lnTo>
                      <a:pt x="8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4" name="Freeform 716"/>
              <p:cNvSpPr>
                <a:spLocks noEditPoints="1"/>
              </p:cNvSpPr>
              <p:nvPr/>
            </p:nvSpPr>
            <p:spPr bwMode="auto">
              <a:xfrm>
                <a:off x="3119" y="1015"/>
                <a:ext cx="136" cy="52"/>
              </a:xfrm>
              <a:custGeom>
                <a:avLst/>
                <a:gdLst>
                  <a:gd name="T0" fmla="*/ 76 w 136"/>
                  <a:gd name="T1" fmla="*/ 16 h 52"/>
                  <a:gd name="T2" fmla="*/ 106 w 136"/>
                  <a:gd name="T3" fmla="*/ 12 h 52"/>
                  <a:gd name="T4" fmla="*/ 132 w 136"/>
                  <a:gd name="T5" fmla="*/ 18 h 52"/>
                  <a:gd name="T6" fmla="*/ 112 w 136"/>
                  <a:gd name="T7" fmla="*/ 30 h 52"/>
                  <a:gd name="T8" fmla="*/ 92 w 136"/>
                  <a:gd name="T9" fmla="*/ 38 h 52"/>
                  <a:gd name="T10" fmla="*/ 70 w 136"/>
                  <a:gd name="T11" fmla="*/ 44 h 52"/>
                  <a:gd name="T12" fmla="*/ 58 w 136"/>
                  <a:gd name="T13" fmla="*/ 38 h 52"/>
                  <a:gd name="T14" fmla="*/ 34 w 136"/>
                  <a:gd name="T15" fmla="*/ 38 h 52"/>
                  <a:gd name="T16" fmla="*/ 52 w 136"/>
                  <a:gd name="T17" fmla="*/ 28 h 52"/>
                  <a:gd name="T18" fmla="*/ 48 w 136"/>
                  <a:gd name="T19" fmla="*/ 22 h 52"/>
                  <a:gd name="T20" fmla="*/ 20 w 136"/>
                  <a:gd name="T21" fmla="*/ 26 h 52"/>
                  <a:gd name="T22" fmla="*/ 4 w 136"/>
                  <a:gd name="T23" fmla="*/ 20 h 52"/>
                  <a:gd name="T24" fmla="*/ 24 w 136"/>
                  <a:gd name="T25" fmla="*/ 8 h 52"/>
                  <a:gd name="T26" fmla="*/ 44 w 136"/>
                  <a:gd name="T27" fmla="*/ 12 h 52"/>
                  <a:gd name="T28" fmla="*/ 62 w 136"/>
                  <a:gd name="T29" fmla="*/ 14 h 52"/>
                  <a:gd name="T30" fmla="*/ 70 w 136"/>
                  <a:gd name="T31" fmla="*/ 0 h 52"/>
                  <a:gd name="T32" fmla="*/ 66 w 136"/>
                  <a:gd name="T33" fmla="*/ 0 h 52"/>
                  <a:gd name="T34" fmla="*/ 54 w 136"/>
                  <a:gd name="T35" fmla="*/ 8 h 52"/>
                  <a:gd name="T36" fmla="*/ 54 w 136"/>
                  <a:gd name="T37" fmla="*/ 8 h 52"/>
                  <a:gd name="T38" fmla="*/ 32 w 136"/>
                  <a:gd name="T39" fmla="*/ 4 h 52"/>
                  <a:gd name="T40" fmla="*/ 30 w 136"/>
                  <a:gd name="T41" fmla="*/ 4 h 52"/>
                  <a:gd name="T42" fmla="*/ 24 w 136"/>
                  <a:gd name="T43" fmla="*/ 4 h 52"/>
                  <a:gd name="T44" fmla="*/ 10 w 136"/>
                  <a:gd name="T45" fmla="*/ 12 h 52"/>
                  <a:gd name="T46" fmla="*/ 2 w 136"/>
                  <a:gd name="T47" fmla="*/ 16 h 52"/>
                  <a:gd name="T48" fmla="*/ 0 w 136"/>
                  <a:gd name="T49" fmla="*/ 20 h 52"/>
                  <a:gd name="T50" fmla="*/ 2 w 136"/>
                  <a:gd name="T51" fmla="*/ 26 h 52"/>
                  <a:gd name="T52" fmla="*/ 4 w 136"/>
                  <a:gd name="T53" fmla="*/ 28 h 52"/>
                  <a:gd name="T54" fmla="*/ 20 w 136"/>
                  <a:gd name="T55" fmla="*/ 30 h 52"/>
                  <a:gd name="T56" fmla="*/ 20 w 136"/>
                  <a:gd name="T57" fmla="*/ 30 h 52"/>
                  <a:gd name="T58" fmla="*/ 32 w 136"/>
                  <a:gd name="T59" fmla="*/ 28 h 52"/>
                  <a:gd name="T60" fmla="*/ 32 w 136"/>
                  <a:gd name="T61" fmla="*/ 30 h 52"/>
                  <a:gd name="T62" fmla="*/ 30 w 136"/>
                  <a:gd name="T63" fmla="*/ 36 h 52"/>
                  <a:gd name="T64" fmla="*/ 30 w 136"/>
                  <a:gd name="T65" fmla="*/ 40 h 52"/>
                  <a:gd name="T66" fmla="*/ 50 w 136"/>
                  <a:gd name="T67" fmla="*/ 42 h 52"/>
                  <a:gd name="T68" fmla="*/ 62 w 136"/>
                  <a:gd name="T69" fmla="*/ 42 h 52"/>
                  <a:gd name="T70" fmla="*/ 66 w 136"/>
                  <a:gd name="T71" fmla="*/ 46 h 52"/>
                  <a:gd name="T72" fmla="*/ 84 w 136"/>
                  <a:gd name="T73" fmla="*/ 52 h 52"/>
                  <a:gd name="T74" fmla="*/ 86 w 136"/>
                  <a:gd name="T75" fmla="*/ 52 h 52"/>
                  <a:gd name="T76" fmla="*/ 90 w 136"/>
                  <a:gd name="T77" fmla="*/ 50 h 52"/>
                  <a:gd name="T78" fmla="*/ 106 w 136"/>
                  <a:gd name="T79" fmla="*/ 42 h 52"/>
                  <a:gd name="T80" fmla="*/ 108 w 136"/>
                  <a:gd name="T81" fmla="*/ 40 h 52"/>
                  <a:gd name="T82" fmla="*/ 128 w 136"/>
                  <a:gd name="T83" fmla="*/ 26 h 52"/>
                  <a:gd name="T84" fmla="*/ 130 w 136"/>
                  <a:gd name="T85" fmla="*/ 26 h 52"/>
                  <a:gd name="T86" fmla="*/ 136 w 136"/>
                  <a:gd name="T87" fmla="*/ 20 h 52"/>
                  <a:gd name="T88" fmla="*/ 136 w 136"/>
                  <a:gd name="T89" fmla="*/ 16 h 52"/>
                  <a:gd name="T90" fmla="*/ 122 w 136"/>
                  <a:gd name="T91" fmla="*/ 12 h 52"/>
                  <a:gd name="T92" fmla="*/ 106 w 136"/>
                  <a:gd name="T93" fmla="*/ 8 h 52"/>
                  <a:gd name="T94" fmla="*/ 90 w 136"/>
                  <a:gd name="T95" fmla="*/ 6 h 52"/>
                  <a:gd name="T96" fmla="*/ 90 w 136"/>
                  <a:gd name="T97" fmla="*/ 6 h 52"/>
                  <a:gd name="T98" fmla="*/ 88 w 136"/>
                  <a:gd name="T99" fmla="*/ 6 h 52"/>
                  <a:gd name="T100" fmla="*/ 74 w 136"/>
                  <a:gd name="T101" fmla="*/ 2 h 52"/>
                  <a:gd name="T102" fmla="*/ 70 w 136"/>
                  <a:gd name="T103" fmla="*/ 0 h 52"/>
                  <a:gd name="T104" fmla="*/ 70 w 136"/>
                  <a:gd name="T10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52">
                    <a:moveTo>
                      <a:pt x="70" y="4"/>
                    </a:moveTo>
                    <a:lnTo>
                      <a:pt x="76" y="16"/>
                    </a:lnTo>
                    <a:lnTo>
                      <a:pt x="90" y="10"/>
                    </a:lnTo>
                    <a:lnTo>
                      <a:pt x="106" y="12"/>
                    </a:lnTo>
                    <a:lnTo>
                      <a:pt x="122" y="16"/>
                    </a:lnTo>
                    <a:lnTo>
                      <a:pt x="132" y="18"/>
                    </a:lnTo>
                    <a:lnTo>
                      <a:pt x="126" y="22"/>
                    </a:lnTo>
                    <a:lnTo>
                      <a:pt x="112" y="30"/>
                    </a:lnTo>
                    <a:lnTo>
                      <a:pt x="106" y="38"/>
                    </a:lnTo>
                    <a:lnTo>
                      <a:pt x="92" y="38"/>
                    </a:lnTo>
                    <a:lnTo>
                      <a:pt x="86" y="48"/>
                    </a:lnTo>
                    <a:lnTo>
                      <a:pt x="70" y="44"/>
                    </a:lnTo>
                    <a:lnTo>
                      <a:pt x="64" y="38"/>
                    </a:lnTo>
                    <a:lnTo>
                      <a:pt x="58" y="38"/>
                    </a:lnTo>
                    <a:lnTo>
                      <a:pt x="50" y="38"/>
                    </a:lnTo>
                    <a:lnTo>
                      <a:pt x="34" y="38"/>
                    </a:lnTo>
                    <a:lnTo>
                      <a:pt x="36" y="30"/>
                    </a:lnTo>
                    <a:lnTo>
                      <a:pt x="52" y="28"/>
                    </a:lnTo>
                    <a:lnTo>
                      <a:pt x="58" y="24"/>
                    </a:lnTo>
                    <a:lnTo>
                      <a:pt x="48" y="22"/>
                    </a:lnTo>
                    <a:lnTo>
                      <a:pt x="34" y="22"/>
                    </a:lnTo>
                    <a:lnTo>
                      <a:pt x="20" y="26"/>
                    </a:lnTo>
                    <a:lnTo>
                      <a:pt x="6" y="24"/>
                    </a:lnTo>
                    <a:lnTo>
                      <a:pt x="4" y="20"/>
                    </a:lnTo>
                    <a:lnTo>
                      <a:pt x="12" y="16"/>
                    </a:lnTo>
                    <a:lnTo>
                      <a:pt x="24" y="8"/>
                    </a:lnTo>
                    <a:lnTo>
                      <a:pt x="30" y="8"/>
                    </a:lnTo>
                    <a:lnTo>
                      <a:pt x="44" y="12"/>
                    </a:lnTo>
                    <a:lnTo>
                      <a:pt x="54" y="12"/>
                    </a:lnTo>
                    <a:lnTo>
                      <a:pt x="62" y="14"/>
                    </a:lnTo>
                    <a:lnTo>
                      <a:pt x="70" y="4"/>
                    </a:lnTo>
                    <a:close/>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5" name="Freeform 717"/>
              <p:cNvSpPr>
                <a:spLocks/>
              </p:cNvSpPr>
              <p:nvPr/>
            </p:nvSpPr>
            <p:spPr bwMode="auto">
              <a:xfrm>
                <a:off x="3123" y="1019"/>
                <a:ext cx="128" cy="44"/>
              </a:xfrm>
              <a:custGeom>
                <a:avLst/>
                <a:gdLst>
                  <a:gd name="T0" fmla="*/ 66 w 128"/>
                  <a:gd name="T1" fmla="*/ 0 h 44"/>
                  <a:gd name="T2" fmla="*/ 72 w 128"/>
                  <a:gd name="T3" fmla="*/ 12 h 44"/>
                  <a:gd name="T4" fmla="*/ 86 w 128"/>
                  <a:gd name="T5" fmla="*/ 6 h 44"/>
                  <a:gd name="T6" fmla="*/ 102 w 128"/>
                  <a:gd name="T7" fmla="*/ 8 h 44"/>
                  <a:gd name="T8" fmla="*/ 118 w 128"/>
                  <a:gd name="T9" fmla="*/ 12 h 44"/>
                  <a:gd name="T10" fmla="*/ 128 w 128"/>
                  <a:gd name="T11" fmla="*/ 14 h 44"/>
                  <a:gd name="T12" fmla="*/ 122 w 128"/>
                  <a:gd name="T13" fmla="*/ 18 h 44"/>
                  <a:gd name="T14" fmla="*/ 108 w 128"/>
                  <a:gd name="T15" fmla="*/ 26 h 44"/>
                  <a:gd name="T16" fmla="*/ 102 w 128"/>
                  <a:gd name="T17" fmla="*/ 34 h 44"/>
                  <a:gd name="T18" fmla="*/ 88 w 128"/>
                  <a:gd name="T19" fmla="*/ 34 h 44"/>
                  <a:gd name="T20" fmla="*/ 82 w 128"/>
                  <a:gd name="T21" fmla="*/ 44 h 44"/>
                  <a:gd name="T22" fmla="*/ 66 w 128"/>
                  <a:gd name="T23" fmla="*/ 40 h 44"/>
                  <a:gd name="T24" fmla="*/ 60 w 128"/>
                  <a:gd name="T25" fmla="*/ 34 h 44"/>
                  <a:gd name="T26" fmla="*/ 54 w 128"/>
                  <a:gd name="T27" fmla="*/ 34 h 44"/>
                  <a:gd name="T28" fmla="*/ 46 w 128"/>
                  <a:gd name="T29" fmla="*/ 34 h 44"/>
                  <a:gd name="T30" fmla="*/ 30 w 128"/>
                  <a:gd name="T31" fmla="*/ 34 h 44"/>
                  <a:gd name="T32" fmla="*/ 32 w 128"/>
                  <a:gd name="T33" fmla="*/ 26 h 44"/>
                  <a:gd name="T34" fmla="*/ 48 w 128"/>
                  <a:gd name="T35" fmla="*/ 24 h 44"/>
                  <a:gd name="T36" fmla="*/ 54 w 128"/>
                  <a:gd name="T37" fmla="*/ 20 h 44"/>
                  <a:gd name="T38" fmla="*/ 44 w 128"/>
                  <a:gd name="T39" fmla="*/ 18 h 44"/>
                  <a:gd name="T40" fmla="*/ 30 w 128"/>
                  <a:gd name="T41" fmla="*/ 18 h 44"/>
                  <a:gd name="T42" fmla="*/ 16 w 128"/>
                  <a:gd name="T43" fmla="*/ 22 h 44"/>
                  <a:gd name="T44" fmla="*/ 2 w 128"/>
                  <a:gd name="T45" fmla="*/ 20 h 44"/>
                  <a:gd name="T46" fmla="*/ 0 w 128"/>
                  <a:gd name="T47" fmla="*/ 16 h 44"/>
                  <a:gd name="T48" fmla="*/ 8 w 128"/>
                  <a:gd name="T49" fmla="*/ 12 h 44"/>
                  <a:gd name="T50" fmla="*/ 20 w 128"/>
                  <a:gd name="T51" fmla="*/ 4 h 44"/>
                  <a:gd name="T52" fmla="*/ 26 w 128"/>
                  <a:gd name="T53" fmla="*/ 4 h 44"/>
                  <a:gd name="T54" fmla="*/ 40 w 128"/>
                  <a:gd name="T55" fmla="*/ 8 h 44"/>
                  <a:gd name="T56" fmla="*/ 50 w 128"/>
                  <a:gd name="T57" fmla="*/ 8 h 44"/>
                  <a:gd name="T58" fmla="*/ 58 w 128"/>
                  <a:gd name="T59" fmla="*/ 10 h 44"/>
                  <a:gd name="T60" fmla="*/ 66 w 128"/>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44">
                    <a:moveTo>
                      <a:pt x="66" y="0"/>
                    </a:moveTo>
                    <a:lnTo>
                      <a:pt x="72" y="12"/>
                    </a:lnTo>
                    <a:lnTo>
                      <a:pt x="86" y="6"/>
                    </a:lnTo>
                    <a:lnTo>
                      <a:pt x="102" y="8"/>
                    </a:lnTo>
                    <a:lnTo>
                      <a:pt x="118" y="12"/>
                    </a:lnTo>
                    <a:lnTo>
                      <a:pt x="128" y="14"/>
                    </a:lnTo>
                    <a:lnTo>
                      <a:pt x="122" y="18"/>
                    </a:lnTo>
                    <a:lnTo>
                      <a:pt x="108" y="26"/>
                    </a:lnTo>
                    <a:lnTo>
                      <a:pt x="102" y="34"/>
                    </a:lnTo>
                    <a:lnTo>
                      <a:pt x="88" y="34"/>
                    </a:lnTo>
                    <a:lnTo>
                      <a:pt x="82" y="44"/>
                    </a:lnTo>
                    <a:lnTo>
                      <a:pt x="66" y="40"/>
                    </a:lnTo>
                    <a:lnTo>
                      <a:pt x="60" y="34"/>
                    </a:lnTo>
                    <a:lnTo>
                      <a:pt x="54" y="34"/>
                    </a:lnTo>
                    <a:lnTo>
                      <a:pt x="46" y="34"/>
                    </a:lnTo>
                    <a:lnTo>
                      <a:pt x="30" y="34"/>
                    </a:lnTo>
                    <a:lnTo>
                      <a:pt x="32" y="26"/>
                    </a:lnTo>
                    <a:lnTo>
                      <a:pt x="48" y="24"/>
                    </a:lnTo>
                    <a:lnTo>
                      <a:pt x="54" y="20"/>
                    </a:lnTo>
                    <a:lnTo>
                      <a:pt x="44" y="18"/>
                    </a:lnTo>
                    <a:lnTo>
                      <a:pt x="30" y="18"/>
                    </a:lnTo>
                    <a:lnTo>
                      <a:pt x="16" y="22"/>
                    </a:lnTo>
                    <a:lnTo>
                      <a:pt x="2" y="20"/>
                    </a:lnTo>
                    <a:lnTo>
                      <a:pt x="0" y="16"/>
                    </a:lnTo>
                    <a:lnTo>
                      <a:pt x="8" y="12"/>
                    </a:lnTo>
                    <a:lnTo>
                      <a:pt x="20" y="4"/>
                    </a:lnTo>
                    <a:lnTo>
                      <a:pt x="26" y="4"/>
                    </a:lnTo>
                    <a:lnTo>
                      <a:pt x="40" y="8"/>
                    </a:lnTo>
                    <a:lnTo>
                      <a:pt x="50" y="8"/>
                    </a:lnTo>
                    <a:lnTo>
                      <a:pt x="58" y="1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6" name="Freeform 718"/>
              <p:cNvSpPr>
                <a:spLocks/>
              </p:cNvSpPr>
              <p:nvPr/>
            </p:nvSpPr>
            <p:spPr bwMode="auto">
              <a:xfrm>
                <a:off x="3119" y="1015"/>
                <a:ext cx="136" cy="52"/>
              </a:xfrm>
              <a:custGeom>
                <a:avLst/>
                <a:gdLst>
                  <a:gd name="T0" fmla="*/ 70 w 136"/>
                  <a:gd name="T1" fmla="*/ 0 h 52"/>
                  <a:gd name="T2" fmla="*/ 60 w 136"/>
                  <a:gd name="T3" fmla="*/ 10 h 52"/>
                  <a:gd name="T4" fmla="*/ 54 w 136"/>
                  <a:gd name="T5" fmla="*/ 8 h 52"/>
                  <a:gd name="T6" fmla="*/ 46 w 136"/>
                  <a:gd name="T7" fmla="*/ 8 h 52"/>
                  <a:gd name="T8" fmla="*/ 32 w 136"/>
                  <a:gd name="T9" fmla="*/ 4 h 52"/>
                  <a:gd name="T10" fmla="*/ 24 w 136"/>
                  <a:gd name="T11" fmla="*/ 4 h 52"/>
                  <a:gd name="T12" fmla="*/ 20 w 136"/>
                  <a:gd name="T13" fmla="*/ 6 h 52"/>
                  <a:gd name="T14" fmla="*/ 2 w 136"/>
                  <a:gd name="T15" fmla="*/ 16 h 52"/>
                  <a:gd name="T16" fmla="*/ 0 w 136"/>
                  <a:gd name="T17" fmla="*/ 18 h 52"/>
                  <a:gd name="T18" fmla="*/ 2 w 136"/>
                  <a:gd name="T19" fmla="*/ 26 h 52"/>
                  <a:gd name="T20" fmla="*/ 2 w 136"/>
                  <a:gd name="T21" fmla="*/ 28 h 52"/>
                  <a:gd name="T22" fmla="*/ 20 w 136"/>
                  <a:gd name="T23" fmla="*/ 30 h 52"/>
                  <a:gd name="T24" fmla="*/ 20 w 136"/>
                  <a:gd name="T25" fmla="*/ 30 h 52"/>
                  <a:gd name="T26" fmla="*/ 20 w 136"/>
                  <a:gd name="T27" fmla="*/ 30 h 52"/>
                  <a:gd name="T28" fmla="*/ 32 w 136"/>
                  <a:gd name="T29" fmla="*/ 28 h 52"/>
                  <a:gd name="T30" fmla="*/ 30 w 136"/>
                  <a:gd name="T31" fmla="*/ 36 h 52"/>
                  <a:gd name="T32" fmla="*/ 30 w 136"/>
                  <a:gd name="T33" fmla="*/ 40 h 52"/>
                  <a:gd name="T34" fmla="*/ 34 w 136"/>
                  <a:gd name="T35" fmla="*/ 42 h 52"/>
                  <a:gd name="T36" fmla="*/ 58 w 136"/>
                  <a:gd name="T37" fmla="*/ 42 h 52"/>
                  <a:gd name="T38" fmla="*/ 66 w 136"/>
                  <a:gd name="T39" fmla="*/ 46 h 52"/>
                  <a:gd name="T40" fmla="*/ 68 w 136"/>
                  <a:gd name="T41" fmla="*/ 48 h 52"/>
                  <a:gd name="T42" fmla="*/ 84 w 136"/>
                  <a:gd name="T43" fmla="*/ 52 h 52"/>
                  <a:gd name="T44" fmla="*/ 86 w 136"/>
                  <a:gd name="T45" fmla="*/ 52 h 52"/>
                  <a:gd name="T46" fmla="*/ 96 w 136"/>
                  <a:gd name="T47" fmla="*/ 42 h 52"/>
                  <a:gd name="T48" fmla="*/ 106 w 136"/>
                  <a:gd name="T49" fmla="*/ 42 h 52"/>
                  <a:gd name="T50" fmla="*/ 114 w 136"/>
                  <a:gd name="T51" fmla="*/ 34 h 52"/>
                  <a:gd name="T52" fmla="*/ 128 w 136"/>
                  <a:gd name="T53" fmla="*/ 26 h 52"/>
                  <a:gd name="T54" fmla="*/ 136 w 136"/>
                  <a:gd name="T55" fmla="*/ 20 h 52"/>
                  <a:gd name="T56" fmla="*/ 136 w 136"/>
                  <a:gd name="T57" fmla="*/ 16 h 52"/>
                  <a:gd name="T58" fmla="*/ 132 w 136"/>
                  <a:gd name="T59" fmla="*/ 14 h 52"/>
                  <a:gd name="T60" fmla="*/ 106 w 136"/>
                  <a:gd name="T61" fmla="*/ 8 h 52"/>
                  <a:gd name="T62" fmla="*/ 106 w 136"/>
                  <a:gd name="T63" fmla="*/ 8 h 52"/>
                  <a:gd name="T64" fmla="*/ 90 w 136"/>
                  <a:gd name="T65" fmla="*/ 6 h 52"/>
                  <a:gd name="T66" fmla="*/ 90 w 136"/>
                  <a:gd name="T67" fmla="*/ 6 h 52"/>
                  <a:gd name="T68" fmla="*/ 78 w 136"/>
                  <a:gd name="T69" fmla="*/ 10 h 52"/>
                  <a:gd name="T70" fmla="*/ 74 w 136"/>
                  <a:gd name="T71" fmla="*/ 2 h 52"/>
                  <a:gd name="T72" fmla="*/ 70 w 136"/>
                  <a:gd name="T73" fmla="*/ 0 h 52"/>
                  <a:gd name="T74" fmla="*/ 70 w 136"/>
                  <a:gd name="T7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52">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7" name="Freeform 719"/>
              <p:cNvSpPr>
                <a:spLocks/>
              </p:cNvSpPr>
              <p:nvPr/>
            </p:nvSpPr>
            <p:spPr bwMode="auto">
              <a:xfrm>
                <a:off x="3155" y="1089"/>
                <a:ext cx="58" cy="32"/>
              </a:xfrm>
              <a:custGeom>
                <a:avLst/>
                <a:gdLst>
                  <a:gd name="T0" fmla="*/ 26 w 58"/>
                  <a:gd name="T1" fmla="*/ 32 h 32"/>
                  <a:gd name="T2" fmla="*/ 26 w 58"/>
                  <a:gd name="T3" fmla="*/ 32 h 32"/>
                  <a:gd name="T4" fmla="*/ 24 w 58"/>
                  <a:gd name="T5" fmla="*/ 32 h 32"/>
                  <a:gd name="T6" fmla="*/ 24 w 58"/>
                  <a:gd name="T7" fmla="*/ 32 h 32"/>
                  <a:gd name="T8" fmla="*/ 24 w 58"/>
                  <a:gd name="T9" fmla="*/ 30 h 32"/>
                  <a:gd name="T10" fmla="*/ 24 w 58"/>
                  <a:gd name="T11" fmla="*/ 22 h 32"/>
                  <a:gd name="T12" fmla="*/ 18 w 58"/>
                  <a:gd name="T13" fmla="*/ 22 h 32"/>
                  <a:gd name="T14" fmla="*/ 12 w 58"/>
                  <a:gd name="T15" fmla="*/ 24 h 32"/>
                  <a:gd name="T16" fmla="*/ 6 w 58"/>
                  <a:gd name="T17" fmla="*/ 28 h 32"/>
                  <a:gd name="T18" fmla="*/ 6 w 58"/>
                  <a:gd name="T19" fmla="*/ 28 h 32"/>
                  <a:gd name="T20" fmla="*/ 4 w 58"/>
                  <a:gd name="T21" fmla="*/ 28 h 32"/>
                  <a:gd name="T22" fmla="*/ 4 w 58"/>
                  <a:gd name="T23" fmla="*/ 28 h 32"/>
                  <a:gd name="T24" fmla="*/ 4 w 58"/>
                  <a:gd name="T25" fmla="*/ 28 h 32"/>
                  <a:gd name="T26" fmla="*/ 4 w 58"/>
                  <a:gd name="T27" fmla="*/ 28 h 32"/>
                  <a:gd name="T28" fmla="*/ 4 w 58"/>
                  <a:gd name="T29" fmla="*/ 28 h 32"/>
                  <a:gd name="T30" fmla="*/ 0 w 58"/>
                  <a:gd name="T31" fmla="*/ 20 h 32"/>
                  <a:gd name="T32" fmla="*/ 0 w 58"/>
                  <a:gd name="T33" fmla="*/ 20 h 32"/>
                  <a:gd name="T34" fmla="*/ 0 w 58"/>
                  <a:gd name="T35" fmla="*/ 18 h 32"/>
                  <a:gd name="T36" fmla="*/ 6 w 58"/>
                  <a:gd name="T37" fmla="*/ 12 h 32"/>
                  <a:gd name="T38" fmla="*/ 10 w 58"/>
                  <a:gd name="T39" fmla="*/ 8 h 32"/>
                  <a:gd name="T40" fmla="*/ 14 w 58"/>
                  <a:gd name="T41" fmla="*/ 4 h 32"/>
                  <a:gd name="T42" fmla="*/ 14 w 58"/>
                  <a:gd name="T43" fmla="*/ 4 h 32"/>
                  <a:gd name="T44" fmla="*/ 14 w 58"/>
                  <a:gd name="T45" fmla="*/ 4 h 32"/>
                  <a:gd name="T46" fmla="*/ 30 w 58"/>
                  <a:gd name="T47" fmla="*/ 0 h 32"/>
                  <a:gd name="T48" fmla="*/ 38 w 58"/>
                  <a:gd name="T49" fmla="*/ 0 h 32"/>
                  <a:gd name="T50" fmla="*/ 38 w 58"/>
                  <a:gd name="T51" fmla="*/ 0 h 32"/>
                  <a:gd name="T52" fmla="*/ 40 w 58"/>
                  <a:gd name="T53" fmla="*/ 2 h 32"/>
                  <a:gd name="T54" fmla="*/ 44 w 58"/>
                  <a:gd name="T55" fmla="*/ 8 h 32"/>
                  <a:gd name="T56" fmla="*/ 48 w 58"/>
                  <a:gd name="T57" fmla="*/ 10 h 32"/>
                  <a:gd name="T58" fmla="*/ 58 w 58"/>
                  <a:gd name="T59" fmla="*/ 10 h 32"/>
                  <a:gd name="T60" fmla="*/ 58 w 58"/>
                  <a:gd name="T61" fmla="*/ 10 h 32"/>
                  <a:gd name="T62" fmla="*/ 58 w 58"/>
                  <a:gd name="T63" fmla="*/ 12 h 32"/>
                  <a:gd name="T64" fmla="*/ 58 w 58"/>
                  <a:gd name="T65" fmla="*/ 12 h 32"/>
                  <a:gd name="T66" fmla="*/ 58 w 58"/>
                  <a:gd name="T67" fmla="*/ 14 h 32"/>
                  <a:gd name="T68" fmla="*/ 52 w 58"/>
                  <a:gd name="T69" fmla="*/ 20 h 32"/>
                  <a:gd name="T70" fmla="*/ 38 w 58"/>
                  <a:gd name="T71" fmla="*/ 28 h 32"/>
                  <a:gd name="T72" fmla="*/ 26 w 58"/>
                  <a:gd name="T73" fmla="*/ 32 h 32"/>
                  <a:gd name="T74" fmla="*/ 26 w 58"/>
                  <a:gd name="T75" fmla="*/ 32 h 32"/>
                  <a:gd name="T76" fmla="*/ 26 w 58"/>
                  <a:gd name="T77" fmla="*/ 32 h 32"/>
                  <a:gd name="T78" fmla="*/ 26 w 58"/>
                  <a:gd name="T7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32">
                    <a:moveTo>
                      <a:pt x="26" y="32"/>
                    </a:moveTo>
                    <a:lnTo>
                      <a:pt x="26" y="32"/>
                    </a:lnTo>
                    <a:lnTo>
                      <a:pt x="24" y="32"/>
                    </a:lnTo>
                    <a:lnTo>
                      <a:pt x="24" y="32"/>
                    </a:lnTo>
                    <a:lnTo>
                      <a:pt x="24" y="30"/>
                    </a:lnTo>
                    <a:lnTo>
                      <a:pt x="24" y="22"/>
                    </a:lnTo>
                    <a:lnTo>
                      <a:pt x="18" y="22"/>
                    </a:lnTo>
                    <a:lnTo>
                      <a:pt x="12" y="24"/>
                    </a:lnTo>
                    <a:lnTo>
                      <a:pt x="6" y="28"/>
                    </a:lnTo>
                    <a:lnTo>
                      <a:pt x="6" y="28"/>
                    </a:lnTo>
                    <a:lnTo>
                      <a:pt x="4" y="28"/>
                    </a:lnTo>
                    <a:lnTo>
                      <a:pt x="4" y="28"/>
                    </a:lnTo>
                    <a:lnTo>
                      <a:pt x="4" y="28"/>
                    </a:lnTo>
                    <a:lnTo>
                      <a:pt x="4" y="28"/>
                    </a:lnTo>
                    <a:lnTo>
                      <a:pt x="4" y="28"/>
                    </a:lnTo>
                    <a:lnTo>
                      <a:pt x="0" y="20"/>
                    </a:lnTo>
                    <a:lnTo>
                      <a:pt x="0" y="20"/>
                    </a:lnTo>
                    <a:lnTo>
                      <a:pt x="0" y="18"/>
                    </a:lnTo>
                    <a:lnTo>
                      <a:pt x="6" y="12"/>
                    </a:lnTo>
                    <a:lnTo>
                      <a:pt x="10" y="8"/>
                    </a:lnTo>
                    <a:lnTo>
                      <a:pt x="14" y="4"/>
                    </a:lnTo>
                    <a:lnTo>
                      <a:pt x="14" y="4"/>
                    </a:lnTo>
                    <a:lnTo>
                      <a:pt x="14" y="4"/>
                    </a:lnTo>
                    <a:lnTo>
                      <a:pt x="30" y="0"/>
                    </a:lnTo>
                    <a:lnTo>
                      <a:pt x="38" y="0"/>
                    </a:lnTo>
                    <a:lnTo>
                      <a:pt x="38" y="0"/>
                    </a:lnTo>
                    <a:lnTo>
                      <a:pt x="40" y="2"/>
                    </a:lnTo>
                    <a:lnTo>
                      <a:pt x="44" y="8"/>
                    </a:lnTo>
                    <a:lnTo>
                      <a:pt x="48" y="10"/>
                    </a:lnTo>
                    <a:lnTo>
                      <a:pt x="58" y="10"/>
                    </a:lnTo>
                    <a:lnTo>
                      <a:pt x="58" y="10"/>
                    </a:lnTo>
                    <a:lnTo>
                      <a:pt x="58" y="12"/>
                    </a:lnTo>
                    <a:lnTo>
                      <a:pt x="58" y="12"/>
                    </a:lnTo>
                    <a:lnTo>
                      <a:pt x="58" y="14"/>
                    </a:lnTo>
                    <a:lnTo>
                      <a:pt x="52" y="20"/>
                    </a:lnTo>
                    <a:lnTo>
                      <a:pt x="38" y="28"/>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8" name="Freeform 720"/>
              <p:cNvSpPr>
                <a:spLocks noEditPoints="1"/>
              </p:cNvSpPr>
              <p:nvPr/>
            </p:nvSpPr>
            <p:spPr bwMode="auto">
              <a:xfrm>
                <a:off x="3153" y="1087"/>
                <a:ext cx="64" cy="36"/>
              </a:xfrm>
              <a:custGeom>
                <a:avLst/>
                <a:gdLst>
                  <a:gd name="T0" fmla="*/ 44 w 64"/>
                  <a:gd name="T1" fmla="*/ 12 h 36"/>
                  <a:gd name="T2" fmla="*/ 60 w 64"/>
                  <a:gd name="T3" fmla="*/ 14 h 36"/>
                  <a:gd name="T4" fmla="*/ 40 w 64"/>
                  <a:gd name="T5" fmla="*/ 28 h 36"/>
                  <a:gd name="T6" fmla="*/ 28 w 64"/>
                  <a:gd name="T7" fmla="*/ 22 h 36"/>
                  <a:gd name="T8" fmla="*/ 12 w 64"/>
                  <a:gd name="T9" fmla="*/ 24 h 36"/>
                  <a:gd name="T10" fmla="*/ 4 w 64"/>
                  <a:gd name="T11" fmla="*/ 22 h 36"/>
                  <a:gd name="T12" fmla="*/ 12 w 64"/>
                  <a:gd name="T13" fmla="*/ 12 h 36"/>
                  <a:gd name="T14" fmla="*/ 32 w 64"/>
                  <a:gd name="T15" fmla="*/ 4 h 36"/>
                  <a:gd name="T16" fmla="*/ 60 w 64"/>
                  <a:gd name="T17" fmla="*/ 14 h 36"/>
                  <a:gd name="T18" fmla="*/ 40 w 64"/>
                  <a:gd name="T19" fmla="*/ 0 h 36"/>
                  <a:gd name="T20" fmla="*/ 32 w 64"/>
                  <a:gd name="T21" fmla="*/ 0 h 36"/>
                  <a:gd name="T22" fmla="*/ 16 w 64"/>
                  <a:gd name="T23" fmla="*/ 4 h 36"/>
                  <a:gd name="T24" fmla="*/ 14 w 64"/>
                  <a:gd name="T25" fmla="*/ 4 h 36"/>
                  <a:gd name="T26" fmla="*/ 10 w 64"/>
                  <a:gd name="T27" fmla="*/ 8 h 36"/>
                  <a:gd name="T28" fmla="*/ 6 w 64"/>
                  <a:gd name="T29" fmla="*/ 14 h 36"/>
                  <a:gd name="T30" fmla="*/ 0 w 64"/>
                  <a:gd name="T31" fmla="*/ 18 h 36"/>
                  <a:gd name="T32" fmla="*/ 0 w 64"/>
                  <a:gd name="T33" fmla="*/ 24 h 36"/>
                  <a:gd name="T34" fmla="*/ 4 w 64"/>
                  <a:gd name="T35" fmla="*/ 30 h 36"/>
                  <a:gd name="T36" fmla="*/ 6 w 64"/>
                  <a:gd name="T37" fmla="*/ 32 h 36"/>
                  <a:gd name="T38" fmla="*/ 6 w 64"/>
                  <a:gd name="T39" fmla="*/ 32 h 36"/>
                  <a:gd name="T40" fmla="*/ 14 w 64"/>
                  <a:gd name="T41" fmla="*/ 26 h 36"/>
                  <a:gd name="T42" fmla="*/ 24 w 64"/>
                  <a:gd name="T43" fmla="*/ 26 h 36"/>
                  <a:gd name="T44" fmla="*/ 24 w 64"/>
                  <a:gd name="T45" fmla="*/ 32 h 36"/>
                  <a:gd name="T46" fmla="*/ 26 w 64"/>
                  <a:gd name="T47" fmla="*/ 36 h 36"/>
                  <a:gd name="T48" fmla="*/ 28 w 64"/>
                  <a:gd name="T49" fmla="*/ 36 h 36"/>
                  <a:gd name="T50" fmla="*/ 40 w 64"/>
                  <a:gd name="T51" fmla="*/ 32 h 36"/>
                  <a:gd name="T52" fmla="*/ 42 w 64"/>
                  <a:gd name="T53" fmla="*/ 32 h 36"/>
                  <a:gd name="T54" fmla="*/ 56 w 64"/>
                  <a:gd name="T55" fmla="*/ 26 h 36"/>
                  <a:gd name="T56" fmla="*/ 62 w 64"/>
                  <a:gd name="T57" fmla="*/ 18 h 36"/>
                  <a:gd name="T58" fmla="*/ 64 w 64"/>
                  <a:gd name="T59" fmla="*/ 14 h 36"/>
                  <a:gd name="T60" fmla="*/ 62 w 64"/>
                  <a:gd name="T61" fmla="*/ 12 h 36"/>
                  <a:gd name="T62" fmla="*/ 60 w 64"/>
                  <a:gd name="T63" fmla="*/ 10 h 36"/>
                  <a:gd name="T64" fmla="*/ 46 w 64"/>
                  <a:gd name="T65" fmla="*/ 8 h 36"/>
                  <a:gd name="T66" fmla="*/ 44 w 64"/>
                  <a:gd name="T67" fmla="*/ 2 h 36"/>
                  <a:gd name="T68" fmla="*/ 40 w 64"/>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36">
                    <a:moveTo>
                      <a:pt x="40" y="4"/>
                    </a:moveTo>
                    <a:lnTo>
                      <a:pt x="44" y="12"/>
                    </a:lnTo>
                    <a:lnTo>
                      <a:pt x="50" y="14"/>
                    </a:lnTo>
                    <a:lnTo>
                      <a:pt x="60" y="14"/>
                    </a:lnTo>
                    <a:lnTo>
                      <a:pt x="54" y="22"/>
                    </a:lnTo>
                    <a:lnTo>
                      <a:pt x="40" y="28"/>
                    </a:lnTo>
                    <a:lnTo>
                      <a:pt x="28" y="32"/>
                    </a:lnTo>
                    <a:lnTo>
                      <a:pt x="28" y="22"/>
                    </a:lnTo>
                    <a:lnTo>
                      <a:pt x="20" y="22"/>
                    </a:lnTo>
                    <a:lnTo>
                      <a:pt x="12" y="24"/>
                    </a:lnTo>
                    <a:lnTo>
                      <a:pt x="6" y="28"/>
                    </a:lnTo>
                    <a:lnTo>
                      <a:pt x="4" y="22"/>
                    </a:lnTo>
                    <a:lnTo>
                      <a:pt x="8" y="16"/>
                    </a:lnTo>
                    <a:lnTo>
                      <a:pt x="12" y="12"/>
                    </a:lnTo>
                    <a:lnTo>
                      <a:pt x="16" y="8"/>
                    </a:lnTo>
                    <a:lnTo>
                      <a:pt x="32" y="4"/>
                    </a:lnTo>
                    <a:lnTo>
                      <a:pt x="40" y="4"/>
                    </a:lnTo>
                    <a:close/>
                    <a:moveTo>
                      <a:pt x="60" y="14"/>
                    </a:moveTo>
                    <a:lnTo>
                      <a:pt x="60" y="14"/>
                    </a:lnTo>
                    <a:close/>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9" name="Freeform 721"/>
              <p:cNvSpPr>
                <a:spLocks/>
              </p:cNvSpPr>
              <p:nvPr/>
            </p:nvSpPr>
            <p:spPr bwMode="auto">
              <a:xfrm>
                <a:off x="3157" y="1091"/>
                <a:ext cx="56" cy="28"/>
              </a:xfrm>
              <a:custGeom>
                <a:avLst/>
                <a:gdLst>
                  <a:gd name="T0" fmla="*/ 36 w 56"/>
                  <a:gd name="T1" fmla="*/ 0 h 28"/>
                  <a:gd name="T2" fmla="*/ 40 w 56"/>
                  <a:gd name="T3" fmla="*/ 8 h 28"/>
                  <a:gd name="T4" fmla="*/ 46 w 56"/>
                  <a:gd name="T5" fmla="*/ 10 h 28"/>
                  <a:gd name="T6" fmla="*/ 56 w 56"/>
                  <a:gd name="T7" fmla="*/ 10 h 28"/>
                  <a:gd name="T8" fmla="*/ 50 w 56"/>
                  <a:gd name="T9" fmla="*/ 18 h 28"/>
                  <a:gd name="T10" fmla="*/ 36 w 56"/>
                  <a:gd name="T11" fmla="*/ 24 h 28"/>
                  <a:gd name="T12" fmla="*/ 24 w 56"/>
                  <a:gd name="T13" fmla="*/ 28 h 28"/>
                  <a:gd name="T14" fmla="*/ 24 w 56"/>
                  <a:gd name="T15" fmla="*/ 18 h 28"/>
                  <a:gd name="T16" fmla="*/ 16 w 56"/>
                  <a:gd name="T17" fmla="*/ 18 h 28"/>
                  <a:gd name="T18" fmla="*/ 8 w 56"/>
                  <a:gd name="T19" fmla="*/ 20 h 28"/>
                  <a:gd name="T20" fmla="*/ 2 w 56"/>
                  <a:gd name="T21" fmla="*/ 24 h 28"/>
                  <a:gd name="T22" fmla="*/ 0 w 56"/>
                  <a:gd name="T23" fmla="*/ 18 h 28"/>
                  <a:gd name="T24" fmla="*/ 4 w 56"/>
                  <a:gd name="T25" fmla="*/ 12 h 28"/>
                  <a:gd name="T26" fmla="*/ 8 w 56"/>
                  <a:gd name="T27" fmla="*/ 8 h 28"/>
                  <a:gd name="T28" fmla="*/ 12 w 56"/>
                  <a:gd name="T29" fmla="*/ 4 h 28"/>
                  <a:gd name="T30" fmla="*/ 28 w 56"/>
                  <a:gd name="T31" fmla="*/ 0 h 28"/>
                  <a:gd name="T32" fmla="*/ 36 w 56"/>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
                    <a:moveTo>
                      <a:pt x="36" y="0"/>
                    </a:moveTo>
                    <a:lnTo>
                      <a:pt x="40" y="8"/>
                    </a:lnTo>
                    <a:lnTo>
                      <a:pt x="46" y="10"/>
                    </a:lnTo>
                    <a:lnTo>
                      <a:pt x="56" y="10"/>
                    </a:lnTo>
                    <a:lnTo>
                      <a:pt x="50" y="18"/>
                    </a:lnTo>
                    <a:lnTo>
                      <a:pt x="36" y="24"/>
                    </a:lnTo>
                    <a:lnTo>
                      <a:pt x="24" y="28"/>
                    </a:lnTo>
                    <a:lnTo>
                      <a:pt x="24" y="18"/>
                    </a:lnTo>
                    <a:lnTo>
                      <a:pt x="16" y="18"/>
                    </a:lnTo>
                    <a:lnTo>
                      <a:pt x="8" y="20"/>
                    </a:lnTo>
                    <a:lnTo>
                      <a:pt x="2" y="24"/>
                    </a:lnTo>
                    <a:lnTo>
                      <a:pt x="0" y="18"/>
                    </a:lnTo>
                    <a:lnTo>
                      <a:pt x="4" y="12"/>
                    </a:lnTo>
                    <a:lnTo>
                      <a:pt x="8" y="8"/>
                    </a:lnTo>
                    <a:lnTo>
                      <a:pt x="12" y="4"/>
                    </a:lnTo>
                    <a:lnTo>
                      <a:pt x="28"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0" name="Line 722"/>
              <p:cNvSpPr>
                <a:spLocks noChangeShapeType="1"/>
              </p:cNvSpPr>
              <p:nvPr/>
            </p:nvSpPr>
            <p:spPr bwMode="auto">
              <a:xfrm>
                <a:off x="3213" y="110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1" name="Freeform 723"/>
              <p:cNvSpPr>
                <a:spLocks/>
              </p:cNvSpPr>
              <p:nvPr/>
            </p:nvSpPr>
            <p:spPr bwMode="auto">
              <a:xfrm>
                <a:off x="3153" y="1087"/>
                <a:ext cx="64" cy="36"/>
              </a:xfrm>
              <a:custGeom>
                <a:avLst/>
                <a:gdLst>
                  <a:gd name="T0" fmla="*/ 40 w 64"/>
                  <a:gd name="T1" fmla="*/ 0 h 36"/>
                  <a:gd name="T2" fmla="*/ 32 w 64"/>
                  <a:gd name="T3" fmla="*/ 0 h 36"/>
                  <a:gd name="T4" fmla="*/ 32 w 64"/>
                  <a:gd name="T5" fmla="*/ 0 h 36"/>
                  <a:gd name="T6" fmla="*/ 32 w 64"/>
                  <a:gd name="T7" fmla="*/ 0 h 36"/>
                  <a:gd name="T8" fmla="*/ 16 w 64"/>
                  <a:gd name="T9" fmla="*/ 4 h 36"/>
                  <a:gd name="T10" fmla="*/ 16 w 64"/>
                  <a:gd name="T11" fmla="*/ 4 h 36"/>
                  <a:gd name="T12" fmla="*/ 14 w 64"/>
                  <a:gd name="T13" fmla="*/ 4 h 36"/>
                  <a:gd name="T14" fmla="*/ 10 w 64"/>
                  <a:gd name="T15" fmla="*/ 8 h 36"/>
                  <a:gd name="T16" fmla="*/ 10 w 64"/>
                  <a:gd name="T17" fmla="*/ 8 h 36"/>
                  <a:gd name="T18" fmla="*/ 10 w 64"/>
                  <a:gd name="T19" fmla="*/ 8 h 36"/>
                  <a:gd name="T20" fmla="*/ 6 w 64"/>
                  <a:gd name="T21" fmla="*/ 14 h 36"/>
                  <a:gd name="T22" fmla="*/ 0 w 64"/>
                  <a:gd name="T23" fmla="*/ 18 h 36"/>
                  <a:gd name="T24" fmla="*/ 0 w 64"/>
                  <a:gd name="T25" fmla="*/ 18 h 36"/>
                  <a:gd name="T26" fmla="*/ 0 w 64"/>
                  <a:gd name="T27" fmla="*/ 20 h 36"/>
                  <a:gd name="T28" fmla="*/ 0 w 64"/>
                  <a:gd name="T29" fmla="*/ 24 h 36"/>
                  <a:gd name="T30" fmla="*/ 4 w 64"/>
                  <a:gd name="T31" fmla="*/ 30 h 36"/>
                  <a:gd name="T32" fmla="*/ 4 w 64"/>
                  <a:gd name="T33" fmla="*/ 30 h 36"/>
                  <a:gd name="T34" fmla="*/ 6 w 64"/>
                  <a:gd name="T35" fmla="*/ 32 h 36"/>
                  <a:gd name="T36" fmla="*/ 6 w 64"/>
                  <a:gd name="T37" fmla="*/ 32 h 36"/>
                  <a:gd name="T38" fmla="*/ 6 w 64"/>
                  <a:gd name="T39" fmla="*/ 32 h 36"/>
                  <a:gd name="T40" fmla="*/ 6 w 64"/>
                  <a:gd name="T41" fmla="*/ 32 h 36"/>
                  <a:gd name="T42" fmla="*/ 10 w 64"/>
                  <a:gd name="T43" fmla="*/ 32 h 36"/>
                  <a:gd name="T44" fmla="*/ 14 w 64"/>
                  <a:gd name="T45" fmla="*/ 26 h 36"/>
                  <a:gd name="T46" fmla="*/ 20 w 64"/>
                  <a:gd name="T47" fmla="*/ 26 h 36"/>
                  <a:gd name="T48" fmla="*/ 24 w 64"/>
                  <a:gd name="T49" fmla="*/ 26 h 36"/>
                  <a:gd name="T50" fmla="*/ 24 w 64"/>
                  <a:gd name="T51" fmla="*/ 32 h 36"/>
                  <a:gd name="T52" fmla="*/ 24 w 64"/>
                  <a:gd name="T53" fmla="*/ 32 h 36"/>
                  <a:gd name="T54" fmla="*/ 26 w 64"/>
                  <a:gd name="T55" fmla="*/ 36 h 36"/>
                  <a:gd name="T56" fmla="*/ 26 w 64"/>
                  <a:gd name="T57" fmla="*/ 36 h 36"/>
                  <a:gd name="T58" fmla="*/ 28 w 64"/>
                  <a:gd name="T59" fmla="*/ 36 h 36"/>
                  <a:gd name="T60" fmla="*/ 28 w 64"/>
                  <a:gd name="T61" fmla="*/ 36 h 36"/>
                  <a:gd name="T62" fmla="*/ 30 w 64"/>
                  <a:gd name="T63" fmla="*/ 36 h 36"/>
                  <a:gd name="T64" fmla="*/ 40 w 64"/>
                  <a:gd name="T65" fmla="*/ 32 h 36"/>
                  <a:gd name="T66" fmla="*/ 40 w 64"/>
                  <a:gd name="T67" fmla="*/ 32 h 36"/>
                  <a:gd name="T68" fmla="*/ 42 w 64"/>
                  <a:gd name="T69" fmla="*/ 32 h 36"/>
                  <a:gd name="T70" fmla="*/ 56 w 64"/>
                  <a:gd name="T71" fmla="*/ 26 h 36"/>
                  <a:gd name="T72" fmla="*/ 56 w 64"/>
                  <a:gd name="T73" fmla="*/ 26 h 36"/>
                  <a:gd name="T74" fmla="*/ 56 w 64"/>
                  <a:gd name="T75" fmla="*/ 24 h 36"/>
                  <a:gd name="T76" fmla="*/ 62 w 64"/>
                  <a:gd name="T77" fmla="*/ 18 h 36"/>
                  <a:gd name="T78" fmla="*/ 62 w 64"/>
                  <a:gd name="T79" fmla="*/ 18 h 36"/>
                  <a:gd name="T80" fmla="*/ 64 w 64"/>
                  <a:gd name="T81" fmla="*/ 14 h 36"/>
                  <a:gd name="T82" fmla="*/ 64 w 64"/>
                  <a:gd name="T83" fmla="*/ 14 h 36"/>
                  <a:gd name="T84" fmla="*/ 62 w 64"/>
                  <a:gd name="T85" fmla="*/ 12 h 36"/>
                  <a:gd name="T86" fmla="*/ 60 w 64"/>
                  <a:gd name="T87" fmla="*/ 10 h 36"/>
                  <a:gd name="T88" fmla="*/ 60 w 64"/>
                  <a:gd name="T89" fmla="*/ 10 h 36"/>
                  <a:gd name="T90" fmla="*/ 50 w 64"/>
                  <a:gd name="T91" fmla="*/ 10 h 36"/>
                  <a:gd name="T92" fmla="*/ 46 w 64"/>
                  <a:gd name="T93" fmla="*/ 8 h 36"/>
                  <a:gd name="T94" fmla="*/ 44 w 64"/>
                  <a:gd name="T95" fmla="*/ 2 h 36"/>
                  <a:gd name="T96" fmla="*/ 44 w 64"/>
                  <a:gd name="T97" fmla="*/ 2 h 36"/>
                  <a:gd name="T98" fmla="*/ 40 w 64"/>
                  <a:gd name="T99" fmla="*/ 0 h 36"/>
                  <a:gd name="T100" fmla="*/ 40 w 64"/>
                  <a:gd name="T10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36">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2" name="Freeform 724"/>
              <p:cNvSpPr>
                <a:spLocks/>
              </p:cNvSpPr>
              <p:nvPr/>
            </p:nvSpPr>
            <p:spPr bwMode="auto">
              <a:xfrm>
                <a:off x="3479" y="1903"/>
                <a:ext cx="48" cy="42"/>
              </a:xfrm>
              <a:custGeom>
                <a:avLst/>
                <a:gdLst>
                  <a:gd name="T0" fmla="*/ 44 w 48"/>
                  <a:gd name="T1" fmla="*/ 42 h 42"/>
                  <a:gd name="T2" fmla="*/ 38 w 48"/>
                  <a:gd name="T3" fmla="*/ 40 h 42"/>
                  <a:gd name="T4" fmla="*/ 38 w 48"/>
                  <a:gd name="T5" fmla="*/ 40 h 42"/>
                  <a:gd name="T6" fmla="*/ 36 w 48"/>
                  <a:gd name="T7" fmla="*/ 40 h 42"/>
                  <a:gd name="T8" fmla="*/ 34 w 48"/>
                  <a:gd name="T9" fmla="*/ 34 h 42"/>
                  <a:gd name="T10" fmla="*/ 30 w 48"/>
                  <a:gd name="T11" fmla="*/ 32 h 42"/>
                  <a:gd name="T12" fmla="*/ 26 w 48"/>
                  <a:gd name="T13" fmla="*/ 28 h 42"/>
                  <a:gd name="T14" fmla="*/ 20 w 48"/>
                  <a:gd name="T15" fmla="*/ 28 h 42"/>
                  <a:gd name="T16" fmla="*/ 18 w 48"/>
                  <a:gd name="T17" fmla="*/ 30 h 42"/>
                  <a:gd name="T18" fmla="*/ 18 w 48"/>
                  <a:gd name="T19" fmla="*/ 30 h 42"/>
                  <a:gd name="T20" fmla="*/ 18 w 48"/>
                  <a:gd name="T21" fmla="*/ 32 h 42"/>
                  <a:gd name="T22" fmla="*/ 18 w 48"/>
                  <a:gd name="T23" fmla="*/ 32 h 42"/>
                  <a:gd name="T24" fmla="*/ 18 w 48"/>
                  <a:gd name="T25" fmla="*/ 32 h 42"/>
                  <a:gd name="T26" fmla="*/ 18 w 48"/>
                  <a:gd name="T27" fmla="*/ 32 h 42"/>
                  <a:gd name="T28" fmla="*/ 16 w 48"/>
                  <a:gd name="T29" fmla="*/ 32 h 42"/>
                  <a:gd name="T30" fmla="*/ 12 w 48"/>
                  <a:gd name="T31" fmla="*/ 28 h 42"/>
                  <a:gd name="T32" fmla="*/ 2 w 48"/>
                  <a:gd name="T33" fmla="*/ 28 h 42"/>
                  <a:gd name="T34" fmla="*/ 2 w 48"/>
                  <a:gd name="T35" fmla="*/ 28 h 42"/>
                  <a:gd name="T36" fmla="*/ 0 w 48"/>
                  <a:gd name="T37" fmla="*/ 26 h 42"/>
                  <a:gd name="T38" fmla="*/ 0 w 48"/>
                  <a:gd name="T39" fmla="*/ 6 h 42"/>
                  <a:gd name="T40" fmla="*/ 0 w 48"/>
                  <a:gd name="T41" fmla="*/ 6 h 42"/>
                  <a:gd name="T42" fmla="*/ 0 w 48"/>
                  <a:gd name="T43" fmla="*/ 4 h 42"/>
                  <a:gd name="T44" fmla="*/ 6 w 48"/>
                  <a:gd name="T45" fmla="*/ 4 h 42"/>
                  <a:gd name="T46" fmla="*/ 14 w 48"/>
                  <a:gd name="T47" fmla="*/ 0 h 42"/>
                  <a:gd name="T48" fmla="*/ 22 w 48"/>
                  <a:gd name="T49" fmla="*/ 0 h 42"/>
                  <a:gd name="T50" fmla="*/ 22 w 48"/>
                  <a:gd name="T51" fmla="*/ 0 h 42"/>
                  <a:gd name="T52" fmla="*/ 24 w 48"/>
                  <a:gd name="T53" fmla="*/ 0 h 42"/>
                  <a:gd name="T54" fmla="*/ 28 w 48"/>
                  <a:gd name="T55" fmla="*/ 4 h 42"/>
                  <a:gd name="T56" fmla="*/ 28 w 48"/>
                  <a:gd name="T57" fmla="*/ 4 h 42"/>
                  <a:gd name="T58" fmla="*/ 28 w 48"/>
                  <a:gd name="T59" fmla="*/ 4 h 42"/>
                  <a:gd name="T60" fmla="*/ 30 w 48"/>
                  <a:gd name="T61" fmla="*/ 10 h 42"/>
                  <a:gd name="T62" fmla="*/ 32 w 48"/>
                  <a:gd name="T63" fmla="*/ 18 h 42"/>
                  <a:gd name="T64" fmla="*/ 34 w 48"/>
                  <a:gd name="T65" fmla="*/ 22 h 42"/>
                  <a:gd name="T66" fmla="*/ 38 w 48"/>
                  <a:gd name="T67" fmla="*/ 24 h 42"/>
                  <a:gd name="T68" fmla="*/ 42 w 48"/>
                  <a:gd name="T69" fmla="*/ 26 h 42"/>
                  <a:gd name="T70" fmla="*/ 42 w 48"/>
                  <a:gd name="T71" fmla="*/ 26 h 42"/>
                  <a:gd name="T72" fmla="*/ 42 w 48"/>
                  <a:gd name="T73" fmla="*/ 26 h 42"/>
                  <a:gd name="T74" fmla="*/ 46 w 48"/>
                  <a:gd name="T75" fmla="*/ 30 h 42"/>
                  <a:gd name="T76" fmla="*/ 48 w 48"/>
                  <a:gd name="T77" fmla="*/ 34 h 42"/>
                  <a:gd name="T78" fmla="*/ 48 w 48"/>
                  <a:gd name="T79" fmla="*/ 34 h 42"/>
                  <a:gd name="T80" fmla="*/ 48 w 48"/>
                  <a:gd name="T81" fmla="*/ 36 h 42"/>
                  <a:gd name="T82" fmla="*/ 46 w 48"/>
                  <a:gd name="T83" fmla="*/ 42 h 42"/>
                  <a:gd name="T84" fmla="*/ 46 w 48"/>
                  <a:gd name="T85" fmla="*/ 42 h 42"/>
                  <a:gd name="T86" fmla="*/ 44 w 48"/>
                  <a:gd name="T87" fmla="*/ 42 h 42"/>
                  <a:gd name="T88" fmla="*/ 44 w 48"/>
                  <a:gd name="T89" fmla="*/ 42 h 42"/>
                  <a:gd name="T90" fmla="*/ 44 w 48"/>
                  <a:gd name="T91" fmla="*/ 42 h 42"/>
                  <a:gd name="T92" fmla="*/ 44 w 48"/>
                  <a:gd name="T9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42">
                    <a:moveTo>
                      <a:pt x="44" y="42"/>
                    </a:moveTo>
                    <a:lnTo>
                      <a:pt x="38" y="40"/>
                    </a:lnTo>
                    <a:lnTo>
                      <a:pt x="38" y="40"/>
                    </a:lnTo>
                    <a:lnTo>
                      <a:pt x="36" y="40"/>
                    </a:lnTo>
                    <a:lnTo>
                      <a:pt x="34" y="34"/>
                    </a:lnTo>
                    <a:lnTo>
                      <a:pt x="30" y="32"/>
                    </a:lnTo>
                    <a:lnTo>
                      <a:pt x="26" y="28"/>
                    </a:lnTo>
                    <a:lnTo>
                      <a:pt x="20" y="28"/>
                    </a:lnTo>
                    <a:lnTo>
                      <a:pt x="18" y="30"/>
                    </a:lnTo>
                    <a:lnTo>
                      <a:pt x="18" y="30"/>
                    </a:lnTo>
                    <a:lnTo>
                      <a:pt x="18" y="32"/>
                    </a:lnTo>
                    <a:lnTo>
                      <a:pt x="18" y="32"/>
                    </a:lnTo>
                    <a:lnTo>
                      <a:pt x="18" y="32"/>
                    </a:lnTo>
                    <a:lnTo>
                      <a:pt x="18" y="32"/>
                    </a:lnTo>
                    <a:lnTo>
                      <a:pt x="16" y="32"/>
                    </a:lnTo>
                    <a:lnTo>
                      <a:pt x="12" y="28"/>
                    </a:lnTo>
                    <a:lnTo>
                      <a:pt x="2" y="28"/>
                    </a:lnTo>
                    <a:lnTo>
                      <a:pt x="2" y="28"/>
                    </a:lnTo>
                    <a:lnTo>
                      <a:pt x="0" y="26"/>
                    </a:lnTo>
                    <a:lnTo>
                      <a:pt x="0" y="6"/>
                    </a:lnTo>
                    <a:lnTo>
                      <a:pt x="0" y="6"/>
                    </a:lnTo>
                    <a:lnTo>
                      <a:pt x="0" y="4"/>
                    </a:lnTo>
                    <a:lnTo>
                      <a:pt x="6" y="4"/>
                    </a:lnTo>
                    <a:lnTo>
                      <a:pt x="14" y="0"/>
                    </a:lnTo>
                    <a:lnTo>
                      <a:pt x="22" y="0"/>
                    </a:lnTo>
                    <a:lnTo>
                      <a:pt x="22" y="0"/>
                    </a:lnTo>
                    <a:lnTo>
                      <a:pt x="24" y="0"/>
                    </a:lnTo>
                    <a:lnTo>
                      <a:pt x="28" y="4"/>
                    </a:lnTo>
                    <a:lnTo>
                      <a:pt x="28" y="4"/>
                    </a:lnTo>
                    <a:lnTo>
                      <a:pt x="28" y="4"/>
                    </a:lnTo>
                    <a:lnTo>
                      <a:pt x="30" y="10"/>
                    </a:lnTo>
                    <a:lnTo>
                      <a:pt x="32" y="18"/>
                    </a:lnTo>
                    <a:lnTo>
                      <a:pt x="34" y="22"/>
                    </a:lnTo>
                    <a:lnTo>
                      <a:pt x="38" y="24"/>
                    </a:lnTo>
                    <a:lnTo>
                      <a:pt x="42" y="26"/>
                    </a:lnTo>
                    <a:lnTo>
                      <a:pt x="42" y="26"/>
                    </a:lnTo>
                    <a:lnTo>
                      <a:pt x="42" y="26"/>
                    </a:lnTo>
                    <a:lnTo>
                      <a:pt x="46" y="30"/>
                    </a:lnTo>
                    <a:lnTo>
                      <a:pt x="48" y="34"/>
                    </a:lnTo>
                    <a:lnTo>
                      <a:pt x="48" y="34"/>
                    </a:lnTo>
                    <a:lnTo>
                      <a:pt x="48" y="36"/>
                    </a:lnTo>
                    <a:lnTo>
                      <a:pt x="46" y="42"/>
                    </a:lnTo>
                    <a:lnTo>
                      <a:pt x="46" y="42"/>
                    </a:lnTo>
                    <a:lnTo>
                      <a:pt x="44" y="42"/>
                    </a:lnTo>
                    <a:lnTo>
                      <a:pt x="44" y="42"/>
                    </a:lnTo>
                    <a:lnTo>
                      <a:pt x="44" y="42"/>
                    </a:lnTo>
                    <a:lnTo>
                      <a:pt x="4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3" name="Freeform 725"/>
              <p:cNvSpPr>
                <a:spLocks noEditPoints="1"/>
              </p:cNvSpPr>
              <p:nvPr/>
            </p:nvSpPr>
            <p:spPr bwMode="auto">
              <a:xfrm>
                <a:off x="3477" y="1901"/>
                <a:ext cx="52" cy="46"/>
              </a:xfrm>
              <a:custGeom>
                <a:avLst/>
                <a:gdLst>
                  <a:gd name="T0" fmla="*/ 28 w 52"/>
                  <a:gd name="T1" fmla="*/ 8 h 46"/>
                  <a:gd name="T2" fmla="*/ 32 w 52"/>
                  <a:gd name="T3" fmla="*/ 20 h 46"/>
                  <a:gd name="T4" fmla="*/ 38 w 52"/>
                  <a:gd name="T5" fmla="*/ 28 h 46"/>
                  <a:gd name="T6" fmla="*/ 46 w 52"/>
                  <a:gd name="T7" fmla="*/ 34 h 46"/>
                  <a:gd name="T8" fmla="*/ 46 w 52"/>
                  <a:gd name="T9" fmla="*/ 42 h 46"/>
                  <a:gd name="T10" fmla="*/ 38 w 52"/>
                  <a:gd name="T11" fmla="*/ 34 h 46"/>
                  <a:gd name="T12" fmla="*/ 28 w 52"/>
                  <a:gd name="T13" fmla="*/ 28 h 46"/>
                  <a:gd name="T14" fmla="*/ 20 w 52"/>
                  <a:gd name="T15" fmla="*/ 32 h 46"/>
                  <a:gd name="T16" fmla="*/ 4 w 52"/>
                  <a:gd name="T17" fmla="*/ 28 h 46"/>
                  <a:gd name="T18" fmla="*/ 4 w 52"/>
                  <a:gd name="T19" fmla="*/ 8 h 46"/>
                  <a:gd name="T20" fmla="*/ 18 w 52"/>
                  <a:gd name="T21" fmla="*/ 4 h 46"/>
                  <a:gd name="T22" fmla="*/ 24 w 52"/>
                  <a:gd name="T23" fmla="*/ 0 h 46"/>
                  <a:gd name="T24" fmla="*/ 18 w 52"/>
                  <a:gd name="T25" fmla="*/ 0 h 46"/>
                  <a:gd name="T26" fmla="*/ 8 w 52"/>
                  <a:gd name="T27" fmla="*/ 4 h 46"/>
                  <a:gd name="T28" fmla="*/ 2 w 52"/>
                  <a:gd name="T29" fmla="*/ 6 h 46"/>
                  <a:gd name="T30" fmla="*/ 0 w 52"/>
                  <a:gd name="T31" fmla="*/ 8 h 46"/>
                  <a:gd name="T32" fmla="*/ 0 w 52"/>
                  <a:gd name="T33" fmla="*/ 28 h 46"/>
                  <a:gd name="T34" fmla="*/ 0 w 52"/>
                  <a:gd name="T35" fmla="*/ 32 h 46"/>
                  <a:gd name="T36" fmla="*/ 12 w 52"/>
                  <a:gd name="T37" fmla="*/ 32 h 46"/>
                  <a:gd name="T38" fmla="*/ 16 w 52"/>
                  <a:gd name="T39" fmla="*/ 36 h 46"/>
                  <a:gd name="T40" fmla="*/ 20 w 52"/>
                  <a:gd name="T41" fmla="*/ 36 h 46"/>
                  <a:gd name="T42" fmla="*/ 20 w 52"/>
                  <a:gd name="T43" fmla="*/ 36 h 46"/>
                  <a:gd name="T44" fmla="*/ 24 w 52"/>
                  <a:gd name="T45" fmla="*/ 32 h 46"/>
                  <a:gd name="T46" fmla="*/ 30 w 52"/>
                  <a:gd name="T47" fmla="*/ 36 h 46"/>
                  <a:gd name="T48" fmla="*/ 32 w 52"/>
                  <a:gd name="T49" fmla="*/ 36 h 46"/>
                  <a:gd name="T50" fmla="*/ 36 w 52"/>
                  <a:gd name="T51" fmla="*/ 42 h 46"/>
                  <a:gd name="T52" fmla="*/ 38 w 52"/>
                  <a:gd name="T53" fmla="*/ 44 h 46"/>
                  <a:gd name="T54" fmla="*/ 46 w 52"/>
                  <a:gd name="T55" fmla="*/ 46 h 46"/>
                  <a:gd name="T56" fmla="*/ 46 w 52"/>
                  <a:gd name="T57" fmla="*/ 46 h 46"/>
                  <a:gd name="T58" fmla="*/ 50 w 52"/>
                  <a:gd name="T59" fmla="*/ 44 h 46"/>
                  <a:gd name="T60" fmla="*/ 52 w 52"/>
                  <a:gd name="T61" fmla="*/ 38 h 46"/>
                  <a:gd name="T62" fmla="*/ 50 w 52"/>
                  <a:gd name="T63" fmla="*/ 32 h 46"/>
                  <a:gd name="T64" fmla="*/ 50 w 52"/>
                  <a:gd name="T65" fmla="*/ 32 h 46"/>
                  <a:gd name="T66" fmla="*/ 46 w 52"/>
                  <a:gd name="T67" fmla="*/ 28 h 46"/>
                  <a:gd name="T68" fmla="*/ 40 w 52"/>
                  <a:gd name="T69" fmla="*/ 26 h 46"/>
                  <a:gd name="T70" fmla="*/ 34 w 52"/>
                  <a:gd name="T71" fmla="*/ 18 h 46"/>
                  <a:gd name="T72" fmla="*/ 32 w 52"/>
                  <a:gd name="T73" fmla="*/ 6 h 46"/>
                  <a:gd name="T74" fmla="*/ 30 w 52"/>
                  <a:gd name="T75" fmla="*/ 4 h 46"/>
                  <a:gd name="T76" fmla="*/ 28 w 52"/>
                  <a:gd name="T77" fmla="*/ 0 h 46"/>
                  <a:gd name="T78" fmla="*/ 24 w 52"/>
                  <a:gd name="T7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46">
                    <a:moveTo>
                      <a:pt x="24" y="4"/>
                    </a:moveTo>
                    <a:lnTo>
                      <a:pt x="28" y="8"/>
                    </a:lnTo>
                    <a:lnTo>
                      <a:pt x="30" y="12"/>
                    </a:lnTo>
                    <a:lnTo>
                      <a:pt x="32" y="20"/>
                    </a:lnTo>
                    <a:lnTo>
                      <a:pt x="34" y="24"/>
                    </a:lnTo>
                    <a:lnTo>
                      <a:pt x="38" y="28"/>
                    </a:lnTo>
                    <a:lnTo>
                      <a:pt x="44" y="30"/>
                    </a:lnTo>
                    <a:lnTo>
                      <a:pt x="46" y="34"/>
                    </a:lnTo>
                    <a:lnTo>
                      <a:pt x="48" y="38"/>
                    </a:lnTo>
                    <a:lnTo>
                      <a:pt x="46" y="42"/>
                    </a:lnTo>
                    <a:lnTo>
                      <a:pt x="40" y="42"/>
                    </a:lnTo>
                    <a:lnTo>
                      <a:pt x="38" y="34"/>
                    </a:lnTo>
                    <a:lnTo>
                      <a:pt x="32" y="32"/>
                    </a:lnTo>
                    <a:lnTo>
                      <a:pt x="28" y="28"/>
                    </a:lnTo>
                    <a:lnTo>
                      <a:pt x="20" y="28"/>
                    </a:lnTo>
                    <a:lnTo>
                      <a:pt x="20" y="32"/>
                    </a:lnTo>
                    <a:lnTo>
                      <a:pt x="14" y="28"/>
                    </a:lnTo>
                    <a:lnTo>
                      <a:pt x="4" y="28"/>
                    </a:lnTo>
                    <a:lnTo>
                      <a:pt x="4" y="18"/>
                    </a:lnTo>
                    <a:lnTo>
                      <a:pt x="4" y="8"/>
                    </a:lnTo>
                    <a:lnTo>
                      <a:pt x="8" y="8"/>
                    </a:lnTo>
                    <a:lnTo>
                      <a:pt x="18" y="4"/>
                    </a:lnTo>
                    <a:lnTo>
                      <a:pt x="24" y="4"/>
                    </a:lnTo>
                    <a:close/>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4" name="Freeform 726"/>
              <p:cNvSpPr>
                <a:spLocks/>
              </p:cNvSpPr>
              <p:nvPr/>
            </p:nvSpPr>
            <p:spPr bwMode="auto">
              <a:xfrm>
                <a:off x="3481" y="1905"/>
                <a:ext cx="44" cy="38"/>
              </a:xfrm>
              <a:custGeom>
                <a:avLst/>
                <a:gdLst>
                  <a:gd name="T0" fmla="*/ 20 w 44"/>
                  <a:gd name="T1" fmla="*/ 0 h 38"/>
                  <a:gd name="T2" fmla="*/ 24 w 44"/>
                  <a:gd name="T3" fmla="*/ 4 h 38"/>
                  <a:gd name="T4" fmla="*/ 26 w 44"/>
                  <a:gd name="T5" fmla="*/ 8 h 38"/>
                  <a:gd name="T6" fmla="*/ 28 w 44"/>
                  <a:gd name="T7" fmla="*/ 16 h 38"/>
                  <a:gd name="T8" fmla="*/ 30 w 44"/>
                  <a:gd name="T9" fmla="*/ 20 h 38"/>
                  <a:gd name="T10" fmla="*/ 34 w 44"/>
                  <a:gd name="T11" fmla="*/ 24 h 38"/>
                  <a:gd name="T12" fmla="*/ 40 w 44"/>
                  <a:gd name="T13" fmla="*/ 26 h 38"/>
                  <a:gd name="T14" fmla="*/ 42 w 44"/>
                  <a:gd name="T15" fmla="*/ 30 h 38"/>
                  <a:gd name="T16" fmla="*/ 44 w 44"/>
                  <a:gd name="T17" fmla="*/ 34 h 38"/>
                  <a:gd name="T18" fmla="*/ 42 w 44"/>
                  <a:gd name="T19" fmla="*/ 38 h 38"/>
                  <a:gd name="T20" fmla="*/ 36 w 44"/>
                  <a:gd name="T21" fmla="*/ 38 h 38"/>
                  <a:gd name="T22" fmla="*/ 34 w 44"/>
                  <a:gd name="T23" fmla="*/ 30 h 38"/>
                  <a:gd name="T24" fmla="*/ 28 w 44"/>
                  <a:gd name="T25" fmla="*/ 28 h 38"/>
                  <a:gd name="T26" fmla="*/ 24 w 44"/>
                  <a:gd name="T27" fmla="*/ 24 h 38"/>
                  <a:gd name="T28" fmla="*/ 16 w 44"/>
                  <a:gd name="T29" fmla="*/ 24 h 38"/>
                  <a:gd name="T30" fmla="*/ 16 w 44"/>
                  <a:gd name="T31" fmla="*/ 28 h 38"/>
                  <a:gd name="T32" fmla="*/ 10 w 44"/>
                  <a:gd name="T33" fmla="*/ 24 h 38"/>
                  <a:gd name="T34" fmla="*/ 0 w 44"/>
                  <a:gd name="T35" fmla="*/ 24 h 38"/>
                  <a:gd name="T36" fmla="*/ 0 w 44"/>
                  <a:gd name="T37" fmla="*/ 14 h 38"/>
                  <a:gd name="T38" fmla="*/ 0 w 44"/>
                  <a:gd name="T39" fmla="*/ 4 h 38"/>
                  <a:gd name="T40" fmla="*/ 4 w 44"/>
                  <a:gd name="T41" fmla="*/ 4 h 38"/>
                  <a:gd name="T42" fmla="*/ 14 w 44"/>
                  <a:gd name="T43" fmla="*/ 0 h 38"/>
                  <a:gd name="T44" fmla="*/ 20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0" y="0"/>
                    </a:moveTo>
                    <a:lnTo>
                      <a:pt x="24" y="4"/>
                    </a:lnTo>
                    <a:lnTo>
                      <a:pt x="26" y="8"/>
                    </a:lnTo>
                    <a:lnTo>
                      <a:pt x="28" y="16"/>
                    </a:lnTo>
                    <a:lnTo>
                      <a:pt x="30" y="20"/>
                    </a:lnTo>
                    <a:lnTo>
                      <a:pt x="34" y="24"/>
                    </a:lnTo>
                    <a:lnTo>
                      <a:pt x="40" y="26"/>
                    </a:lnTo>
                    <a:lnTo>
                      <a:pt x="42" y="30"/>
                    </a:lnTo>
                    <a:lnTo>
                      <a:pt x="44" y="34"/>
                    </a:lnTo>
                    <a:lnTo>
                      <a:pt x="42" y="38"/>
                    </a:lnTo>
                    <a:lnTo>
                      <a:pt x="36" y="38"/>
                    </a:lnTo>
                    <a:lnTo>
                      <a:pt x="34" y="30"/>
                    </a:lnTo>
                    <a:lnTo>
                      <a:pt x="28" y="28"/>
                    </a:lnTo>
                    <a:lnTo>
                      <a:pt x="24" y="24"/>
                    </a:lnTo>
                    <a:lnTo>
                      <a:pt x="16" y="24"/>
                    </a:lnTo>
                    <a:lnTo>
                      <a:pt x="16" y="28"/>
                    </a:lnTo>
                    <a:lnTo>
                      <a:pt x="10" y="24"/>
                    </a:lnTo>
                    <a:lnTo>
                      <a:pt x="0" y="24"/>
                    </a:lnTo>
                    <a:lnTo>
                      <a:pt x="0" y="14"/>
                    </a:lnTo>
                    <a:lnTo>
                      <a:pt x="0" y="4"/>
                    </a:lnTo>
                    <a:lnTo>
                      <a:pt x="4" y="4"/>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5" name="Freeform 727"/>
              <p:cNvSpPr>
                <a:spLocks/>
              </p:cNvSpPr>
              <p:nvPr/>
            </p:nvSpPr>
            <p:spPr bwMode="auto">
              <a:xfrm>
                <a:off x="3477" y="1901"/>
                <a:ext cx="52" cy="46"/>
              </a:xfrm>
              <a:custGeom>
                <a:avLst/>
                <a:gdLst>
                  <a:gd name="T0" fmla="*/ 24 w 52"/>
                  <a:gd name="T1" fmla="*/ 0 h 46"/>
                  <a:gd name="T2" fmla="*/ 18 w 52"/>
                  <a:gd name="T3" fmla="*/ 0 h 46"/>
                  <a:gd name="T4" fmla="*/ 18 w 52"/>
                  <a:gd name="T5" fmla="*/ 0 h 46"/>
                  <a:gd name="T6" fmla="*/ 16 w 52"/>
                  <a:gd name="T7" fmla="*/ 0 h 46"/>
                  <a:gd name="T8" fmla="*/ 8 w 52"/>
                  <a:gd name="T9" fmla="*/ 4 h 46"/>
                  <a:gd name="T10" fmla="*/ 2 w 52"/>
                  <a:gd name="T11" fmla="*/ 6 h 46"/>
                  <a:gd name="T12" fmla="*/ 2 w 52"/>
                  <a:gd name="T13" fmla="*/ 6 h 46"/>
                  <a:gd name="T14" fmla="*/ 0 w 52"/>
                  <a:gd name="T15" fmla="*/ 6 h 46"/>
                  <a:gd name="T16" fmla="*/ 0 w 52"/>
                  <a:gd name="T17" fmla="*/ 8 h 46"/>
                  <a:gd name="T18" fmla="*/ 0 w 52"/>
                  <a:gd name="T19" fmla="*/ 18 h 46"/>
                  <a:gd name="T20" fmla="*/ 0 w 52"/>
                  <a:gd name="T21" fmla="*/ 28 h 46"/>
                  <a:gd name="T22" fmla="*/ 0 w 52"/>
                  <a:gd name="T23" fmla="*/ 28 h 46"/>
                  <a:gd name="T24" fmla="*/ 0 w 52"/>
                  <a:gd name="T25" fmla="*/ 32 h 46"/>
                  <a:gd name="T26" fmla="*/ 4 w 52"/>
                  <a:gd name="T27" fmla="*/ 32 h 46"/>
                  <a:gd name="T28" fmla="*/ 12 w 52"/>
                  <a:gd name="T29" fmla="*/ 32 h 46"/>
                  <a:gd name="T30" fmla="*/ 16 w 52"/>
                  <a:gd name="T31" fmla="*/ 36 h 46"/>
                  <a:gd name="T32" fmla="*/ 16 w 52"/>
                  <a:gd name="T33" fmla="*/ 36 h 46"/>
                  <a:gd name="T34" fmla="*/ 20 w 52"/>
                  <a:gd name="T35" fmla="*/ 36 h 46"/>
                  <a:gd name="T36" fmla="*/ 20 w 52"/>
                  <a:gd name="T37" fmla="*/ 36 h 46"/>
                  <a:gd name="T38" fmla="*/ 20 w 52"/>
                  <a:gd name="T39" fmla="*/ 36 h 46"/>
                  <a:gd name="T40" fmla="*/ 20 w 52"/>
                  <a:gd name="T41" fmla="*/ 36 h 46"/>
                  <a:gd name="T42" fmla="*/ 22 w 52"/>
                  <a:gd name="T43" fmla="*/ 34 h 46"/>
                  <a:gd name="T44" fmla="*/ 24 w 52"/>
                  <a:gd name="T45" fmla="*/ 32 h 46"/>
                  <a:gd name="T46" fmla="*/ 26 w 52"/>
                  <a:gd name="T47" fmla="*/ 32 h 46"/>
                  <a:gd name="T48" fmla="*/ 30 w 52"/>
                  <a:gd name="T49" fmla="*/ 36 h 46"/>
                  <a:gd name="T50" fmla="*/ 30 w 52"/>
                  <a:gd name="T51" fmla="*/ 36 h 46"/>
                  <a:gd name="T52" fmla="*/ 32 w 52"/>
                  <a:gd name="T53" fmla="*/ 36 h 46"/>
                  <a:gd name="T54" fmla="*/ 34 w 52"/>
                  <a:gd name="T55" fmla="*/ 36 h 46"/>
                  <a:gd name="T56" fmla="*/ 36 w 52"/>
                  <a:gd name="T57" fmla="*/ 42 h 46"/>
                  <a:gd name="T58" fmla="*/ 36 w 52"/>
                  <a:gd name="T59" fmla="*/ 42 h 46"/>
                  <a:gd name="T60" fmla="*/ 38 w 52"/>
                  <a:gd name="T61" fmla="*/ 44 h 46"/>
                  <a:gd name="T62" fmla="*/ 46 w 52"/>
                  <a:gd name="T63" fmla="*/ 46 h 46"/>
                  <a:gd name="T64" fmla="*/ 46 w 52"/>
                  <a:gd name="T65" fmla="*/ 46 h 46"/>
                  <a:gd name="T66" fmla="*/ 46 w 52"/>
                  <a:gd name="T67" fmla="*/ 46 h 46"/>
                  <a:gd name="T68" fmla="*/ 46 w 52"/>
                  <a:gd name="T69" fmla="*/ 46 h 46"/>
                  <a:gd name="T70" fmla="*/ 48 w 52"/>
                  <a:gd name="T71" fmla="*/ 46 h 46"/>
                  <a:gd name="T72" fmla="*/ 50 w 52"/>
                  <a:gd name="T73" fmla="*/ 44 h 46"/>
                  <a:gd name="T74" fmla="*/ 52 w 52"/>
                  <a:gd name="T75" fmla="*/ 38 h 46"/>
                  <a:gd name="T76" fmla="*/ 52 w 52"/>
                  <a:gd name="T77" fmla="*/ 38 h 46"/>
                  <a:gd name="T78" fmla="*/ 52 w 52"/>
                  <a:gd name="T79" fmla="*/ 36 h 46"/>
                  <a:gd name="T80" fmla="*/ 50 w 52"/>
                  <a:gd name="T81" fmla="*/ 32 h 46"/>
                  <a:gd name="T82" fmla="*/ 50 w 52"/>
                  <a:gd name="T83" fmla="*/ 32 h 46"/>
                  <a:gd name="T84" fmla="*/ 50 w 52"/>
                  <a:gd name="T85" fmla="*/ 32 h 46"/>
                  <a:gd name="T86" fmla="*/ 46 w 52"/>
                  <a:gd name="T87" fmla="*/ 28 h 46"/>
                  <a:gd name="T88" fmla="*/ 46 w 52"/>
                  <a:gd name="T89" fmla="*/ 28 h 46"/>
                  <a:gd name="T90" fmla="*/ 44 w 52"/>
                  <a:gd name="T91" fmla="*/ 26 h 46"/>
                  <a:gd name="T92" fmla="*/ 40 w 52"/>
                  <a:gd name="T93" fmla="*/ 26 h 46"/>
                  <a:gd name="T94" fmla="*/ 38 w 52"/>
                  <a:gd name="T95" fmla="*/ 22 h 46"/>
                  <a:gd name="T96" fmla="*/ 34 w 52"/>
                  <a:gd name="T97" fmla="*/ 18 h 46"/>
                  <a:gd name="T98" fmla="*/ 34 w 52"/>
                  <a:gd name="T99" fmla="*/ 12 h 46"/>
                  <a:gd name="T100" fmla="*/ 32 w 52"/>
                  <a:gd name="T101" fmla="*/ 6 h 46"/>
                  <a:gd name="T102" fmla="*/ 32 w 52"/>
                  <a:gd name="T103" fmla="*/ 6 h 46"/>
                  <a:gd name="T104" fmla="*/ 30 w 52"/>
                  <a:gd name="T105" fmla="*/ 4 h 46"/>
                  <a:gd name="T106" fmla="*/ 28 w 52"/>
                  <a:gd name="T107" fmla="*/ 0 h 46"/>
                  <a:gd name="T108" fmla="*/ 28 w 52"/>
                  <a:gd name="T109" fmla="*/ 0 h 46"/>
                  <a:gd name="T110" fmla="*/ 24 w 52"/>
                  <a:gd name="T111" fmla="*/ 0 h 46"/>
                  <a:gd name="T112" fmla="*/ 24 w 52"/>
                  <a:gd name="T11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46">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6" name="Freeform 728"/>
              <p:cNvSpPr>
                <a:spLocks/>
              </p:cNvSpPr>
              <p:nvPr/>
            </p:nvSpPr>
            <p:spPr bwMode="auto">
              <a:xfrm>
                <a:off x="3501" y="1891"/>
                <a:ext cx="76" cy="60"/>
              </a:xfrm>
              <a:custGeom>
                <a:avLst/>
                <a:gdLst>
                  <a:gd name="T0" fmla="*/ 46 w 76"/>
                  <a:gd name="T1" fmla="*/ 60 h 60"/>
                  <a:gd name="T2" fmla="*/ 40 w 76"/>
                  <a:gd name="T3" fmla="*/ 56 h 60"/>
                  <a:gd name="T4" fmla="*/ 40 w 76"/>
                  <a:gd name="T5" fmla="*/ 56 h 60"/>
                  <a:gd name="T6" fmla="*/ 40 w 76"/>
                  <a:gd name="T7" fmla="*/ 54 h 60"/>
                  <a:gd name="T8" fmla="*/ 42 w 76"/>
                  <a:gd name="T9" fmla="*/ 48 h 60"/>
                  <a:gd name="T10" fmla="*/ 42 w 76"/>
                  <a:gd name="T11" fmla="*/ 46 h 60"/>
                  <a:gd name="T12" fmla="*/ 40 w 76"/>
                  <a:gd name="T13" fmla="*/ 40 h 60"/>
                  <a:gd name="T14" fmla="*/ 26 w 76"/>
                  <a:gd name="T15" fmla="*/ 52 h 60"/>
                  <a:gd name="T16" fmla="*/ 24 w 76"/>
                  <a:gd name="T17" fmla="*/ 52 h 60"/>
                  <a:gd name="T18" fmla="*/ 24 w 76"/>
                  <a:gd name="T19" fmla="*/ 52 h 60"/>
                  <a:gd name="T20" fmla="*/ 22 w 76"/>
                  <a:gd name="T21" fmla="*/ 50 h 60"/>
                  <a:gd name="T22" fmla="*/ 22 w 76"/>
                  <a:gd name="T23" fmla="*/ 42 h 60"/>
                  <a:gd name="T24" fmla="*/ 12 w 76"/>
                  <a:gd name="T25" fmla="*/ 34 h 60"/>
                  <a:gd name="T26" fmla="*/ 6 w 76"/>
                  <a:gd name="T27" fmla="*/ 20 h 60"/>
                  <a:gd name="T28" fmla="*/ 0 w 76"/>
                  <a:gd name="T29" fmla="*/ 14 h 60"/>
                  <a:gd name="T30" fmla="*/ 0 w 76"/>
                  <a:gd name="T31" fmla="*/ 12 h 60"/>
                  <a:gd name="T32" fmla="*/ 0 w 76"/>
                  <a:gd name="T33" fmla="*/ 10 h 60"/>
                  <a:gd name="T34" fmla="*/ 6 w 76"/>
                  <a:gd name="T35" fmla="*/ 8 h 60"/>
                  <a:gd name="T36" fmla="*/ 8 w 76"/>
                  <a:gd name="T37" fmla="*/ 8 h 60"/>
                  <a:gd name="T38" fmla="*/ 14 w 76"/>
                  <a:gd name="T39" fmla="*/ 10 h 60"/>
                  <a:gd name="T40" fmla="*/ 22 w 76"/>
                  <a:gd name="T41" fmla="*/ 16 h 60"/>
                  <a:gd name="T42" fmla="*/ 20 w 76"/>
                  <a:gd name="T43" fmla="*/ 10 h 60"/>
                  <a:gd name="T44" fmla="*/ 14 w 76"/>
                  <a:gd name="T45" fmla="*/ 6 h 60"/>
                  <a:gd name="T46" fmla="*/ 14 w 76"/>
                  <a:gd name="T47" fmla="*/ 4 h 60"/>
                  <a:gd name="T48" fmla="*/ 18 w 76"/>
                  <a:gd name="T49" fmla="*/ 0 h 60"/>
                  <a:gd name="T50" fmla="*/ 20 w 76"/>
                  <a:gd name="T51" fmla="*/ 0 h 60"/>
                  <a:gd name="T52" fmla="*/ 20 w 76"/>
                  <a:gd name="T53" fmla="*/ 0 h 60"/>
                  <a:gd name="T54" fmla="*/ 26 w 76"/>
                  <a:gd name="T55" fmla="*/ 2 h 60"/>
                  <a:gd name="T56" fmla="*/ 32 w 76"/>
                  <a:gd name="T57" fmla="*/ 8 h 60"/>
                  <a:gd name="T58" fmla="*/ 40 w 76"/>
                  <a:gd name="T59" fmla="*/ 10 h 60"/>
                  <a:gd name="T60" fmla="*/ 50 w 76"/>
                  <a:gd name="T61" fmla="*/ 2 h 60"/>
                  <a:gd name="T62" fmla="*/ 50 w 76"/>
                  <a:gd name="T63" fmla="*/ 2 h 60"/>
                  <a:gd name="T64" fmla="*/ 50 w 76"/>
                  <a:gd name="T65" fmla="*/ 2 h 60"/>
                  <a:gd name="T66" fmla="*/ 52 w 76"/>
                  <a:gd name="T67" fmla="*/ 2 h 60"/>
                  <a:gd name="T68" fmla="*/ 60 w 76"/>
                  <a:gd name="T69" fmla="*/ 18 h 60"/>
                  <a:gd name="T70" fmla="*/ 72 w 76"/>
                  <a:gd name="T71" fmla="*/ 24 h 60"/>
                  <a:gd name="T72" fmla="*/ 76 w 76"/>
                  <a:gd name="T73" fmla="*/ 26 h 60"/>
                  <a:gd name="T74" fmla="*/ 76 w 76"/>
                  <a:gd name="T75" fmla="*/ 32 h 60"/>
                  <a:gd name="T76" fmla="*/ 74 w 76"/>
                  <a:gd name="T77" fmla="*/ 34 h 60"/>
                  <a:gd name="T78" fmla="*/ 62 w 76"/>
                  <a:gd name="T79" fmla="*/ 36 h 60"/>
                  <a:gd name="T80" fmla="*/ 62 w 76"/>
                  <a:gd name="T81" fmla="*/ 42 h 60"/>
                  <a:gd name="T82" fmla="*/ 62 w 76"/>
                  <a:gd name="T83" fmla="*/ 44 h 60"/>
                  <a:gd name="T84" fmla="*/ 62 w 76"/>
                  <a:gd name="T85" fmla="*/ 48 h 60"/>
                  <a:gd name="T86" fmla="*/ 56 w 76"/>
                  <a:gd name="T87" fmla="*/ 50 h 60"/>
                  <a:gd name="T88" fmla="*/ 56 w 76"/>
                  <a:gd name="T89" fmla="*/ 58 h 60"/>
                  <a:gd name="T90" fmla="*/ 46 w 76"/>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 h="60">
                    <a:moveTo>
                      <a:pt x="46" y="60"/>
                    </a:moveTo>
                    <a:lnTo>
                      <a:pt x="46" y="60"/>
                    </a:lnTo>
                    <a:lnTo>
                      <a:pt x="46" y="60"/>
                    </a:lnTo>
                    <a:lnTo>
                      <a:pt x="40" y="56"/>
                    </a:lnTo>
                    <a:lnTo>
                      <a:pt x="40" y="56"/>
                    </a:lnTo>
                    <a:lnTo>
                      <a:pt x="40" y="56"/>
                    </a:lnTo>
                    <a:lnTo>
                      <a:pt x="40" y="56"/>
                    </a:lnTo>
                    <a:lnTo>
                      <a:pt x="40" y="54"/>
                    </a:lnTo>
                    <a:lnTo>
                      <a:pt x="44" y="52"/>
                    </a:lnTo>
                    <a:lnTo>
                      <a:pt x="42" y="48"/>
                    </a:lnTo>
                    <a:lnTo>
                      <a:pt x="42" y="48"/>
                    </a:lnTo>
                    <a:lnTo>
                      <a:pt x="42" y="46"/>
                    </a:lnTo>
                    <a:lnTo>
                      <a:pt x="42" y="40"/>
                    </a:lnTo>
                    <a:lnTo>
                      <a:pt x="40" y="40"/>
                    </a:lnTo>
                    <a:lnTo>
                      <a:pt x="36" y="44"/>
                    </a:lnTo>
                    <a:lnTo>
                      <a:pt x="26" y="52"/>
                    </a:lnTo>
                    <a:lnTo>
                      <a:pt x="26" y="52"/>
                    </a:lnTo>
                    <a:lnTo>
                      <a:pt x="24" y="52"/>
                    </a:lnTo>
                    <a:lnTo>
                      <a:pt x="24" y="52"/>
                    </a:lnTo>
                    <a:lnTo>
                      <a:pt x="24" y="52"/>
                    </a:lnTo>
                    <a:lnTo>
                      <a:pt x="24" y="52"/>
                    </a:lnTo>
                    <a:lnTo>
                      <a:pt x="22" y="50"/>
                    </a:lnTo>
                    <a:lnTo>
                      <a:pt x="24" y="44"/>
                    </a:lnTo>
                    <a:lnTo>
                      <a:pt x="22" y="42"/>
                    </a:lnTo>
                    <a:lnTo>
                      <a:pt x="12" y="34"/>
                    </a:lnTo>
                    <a:lnTo>
                      <a:pt x="12" y="34"/>
                    </a:lnTo>
                    <a:lnTo>
                      <a:pt x="10" y="34"/>
                    </a:lnTo>
                    <a:lnTo>
                      <a:pt x="6" y="20"/>
                    </a:lnTo>
                    <a:lnTo>
                      <a:pt x="4" y="16"/>
                    </a:lnTo>
                    <a:lnTo>
                      <a:pt x="0" y="14"/>
                    </a:lnTo>
                    <a:lnTo>
                      <a:pt x="0" y="14"/>
                    </a:lnTo>
                    <a:lnTo>
                      <a:pt x="0" y="12"/>
                    </a:lnTo>
                    <a:lnTo>
                      <a:pt x="0" y="12"/>
                    </a:lnTo>
                    <a:lnTo>
                      <a:pt x="0" y="10"/>
                    </a:lnTo>
                    <a:lnTo>
                      <a:pt x="6" y="8"/>
                    </a:lnTo>
                    <a:lnTo>
                      <a:pt x="6" y="8"/>
                    </a:lnTo>
                    <a:lnTo>
                      <a:pt x="8" y="8"/>
                    </a:lnTo>
                    <a:lnTo>
                      <a:pt x="8" y="8"/>
                    </a:lnTo>
                    <a:lnTo>
                      <a:pt x="8" y="8"/>
                    </a:lnTo>
                    <a:lnTo>
                      <a:pt x="14" y="10"/>
                    </a:lnTo>
                    <a:lnTo>
                      <a:pt x="18" y="16"/>
                    </a:lnTo>
                    <a:lnTo>
                      <a:pt x="22" y="16"/>
                    </a:lnTo>
                    <a:lnTo>
                      <a:pt x="22" y="14"/>
                    </a:lnTo>
                    <a:lnTo>
                      <a:pt x="20" y="10"/>
                    </a:lnTo>
                    <a:lnTo>
                      <a:pt x="14" y="6"/>
                    </a:lnTo>
                    <a:lnTo>
                      <a:pt x="14" y="6"/>
                    </a:lnTo>
                    <a:lnTo>
                      <a:pt x="14" y="4"/>
                    </a:lnTo>
                    <a:lnTo>
                      <a:pt x="14" y="4"/>
                    </a:lnTo>
                    <a:lnTo>
                      <a:pt x="14" y="2"/>
                    </a:lnTo>
                    <a:lnTo>
                      <a:pt x="18" y="0"/>
                    </a:lnTo>
                    <a:lnTo>
                      <a:pt x="18" y="0"/>
                    </a:lnTo>
                    <a:lnTo>
                      <a:pt x="20" y="0"/>
                    </a:lnTo>
                    <a:lnTo>
                      <a:pt x="20" y="0"/>
                    </a:lnTo>
                    <a:lnTo>
                      <a:pt x="20" y="0"/>
                    </a:lnTo>
                    <a:lnTo>
                      <a:pt x="26" y="2"/>
                    </a:lnTo>
                    <a:lnTo>
                      <a:pt x="26" y="2"/>
                    </a:lnTo>
                    <a:lnTo>
                      <a:pt x="26" y="2"/>
                    </a:lnTo>
                    <a:lnTo>
                      <a:pt x="32" y="8"/>
                    </a:lnTo>
                    <a:lnTo>
                      <a:pt x="38" y="12"/>
                    </a:lnTo>
                    <a:lnTo>
                      <a:pt x="40" y="10"/>
                    </a:lnTo>
                    <a:lnTo>
                      <a:pt x="46" y="6"/>
                    </a:lnTo>
                    <a:lnTo>
                      <a:pt x="50" y="2"/>
                    </a:lnTo>
                    <a:lnTo>
                      <a:pt x="50" y="2"/>
                    </a:lnTo>
                    <a:lnTo>
                      <a:pt x="50" y="2"/>
                    </a:lnTo>
                    <a:lnTo>
                      <a:pt x="50" y="2"/>
                    </a:lnTo>
                    <a:lnTo>
                      <a:pt x="50" y="2"/>
                    </a:lnTo>
                    <a:lnTo>
                      <a:pt x="50" y="2"/>
                    </a:lnTo>
                    <a:lnTo>
                      <a:pt x="52" y="2"/>
                    </a:lnTo>
                    <a:lnTo>
                      <a:pt x="56" y="8"/>
                    </a:lnTo>
                    <a:lnTo>
                      <a:pt x="60" y="18"/>
                    </a:lnTo>
                    <a:lnTo>
                      <a:pt x="64" y="22"/>
                    </a:lnTo>
                    <a:lnTo>
                      <a:pt x="72" y="24"/>
                    </a:lnTo>
                    <a:lnTo>
                      <a:pt x="76" y="26"/>
                    </a:lnTo>
                    <a:lnTo>
                      <a:pt x="76" y="26"/>
                    </a:lnTo>
                    <a:lnTo>
                      <a:pt x="76" y="28"/>
                    </a:lnTo>
                    <a:lnTo>
                      <a:pt x="76" y="32"/>
                    </a:lnTo>
                    <a:lnTo>
                      <a:pt x="76" y="32"/>
                    </a:lnTo>
                    <a:lnTo>
                      <a:pt x="74" y="34"/>
                    </a:lnTo>
                    <a:lnTo>
                      <a:pt x="64" y="34"/>
                    </a:lnTo>
                    <a:lnTo>
                      <a:pt x="62" y="36"/>
                    </a:lnTo>
                    <a:lnTo>
                      <a:pt x="62" y="40"/>
                    </a:lnTo>
                    <a:lnTo>
                      <a:pt x="62" y="42"/>
                    </a:lnTo>
                    <a:lnTo>
                      <a:pt x="62" y="42"/>
                    </a:lnTo>
                    <a:lnTo>
                      <a:pt x="62" y="44"/>
                    </a:lnTo>
                    <a:lnTo>
                      <a:pt x="62" y="48"/>
                    </a:lnTo>
                    <a:lnTo>
                      <a:pt x="62" y="48"/>
                    </a:lnTo>
                    <a:lnTo>
                      <a:pt x="60" y="50"/>
                    </a:lnTo>
                    <a:lnTo>
                      <a:pt x="56" y="50"/>
                    </a:lnTo>
                    <a:lnTo>
                      <a:pt x="56" y="58"/>
                    </a:lnTo>
                    <a:lnTo>
                      <a:pt x="56" y="58"/>
                    </a:lnTo>
                    <a:lnTo>
                      <a:pt x="54" y="60"/>
                    </a:lnTo>
                    <a:lnTo>
                      <a:pt x="4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7" name="Freeform 729"/>
              <p:cNvSpPr>
                <a:spLocks noEditPoints="1"/>
              </p:cNvSpPr>
              <p:nvPr/>
            </p:nvSpPr>
            <p:spPr bwMode="auto">
              <a:xfrm>
                <a:off x="3499" y="1889"/>
                <a:ext cx="80" cy="64"/>
              </a:xfrm>
              <a:custGeom>
                <a:avLst/>
                <a:gdLst>
                  <a:gd name="T0" fmla="*/ 32 w 80"/>
                  <a:gd name="T1" fmla="*/ 12 h 64"/>
                  <a:gd name="T2" fmla="*/ 48 w 80"/>
                  <a:gd name="T3" fmla="*/ 10 h 64"/>
                  <a:gd name="T4" fmla="*/ 62 w 80"/>
                  <a:gd name="T5" fmla="*/ 22 h 64"/>
                  <a:gd name="T6" fmla="*/ 76 w 80"/>
                  <a:gd name="T7" fmla="*/ 30 h 64"/>
                  <a:gd name="T8" fmla="*/ 62 w 80"/>
                  <a:gd name="T9" fmla="*/ 36 h 64"/>
                  <a:gd name="T10" fmla="*/ 62 w 80"/>
                  <a:gd name="T11" fmla="*/ 46 h 64"/>
                  <a:gd name="T12" fmla="*/ 56 w 80"/>
                  <a:gd name="T13" fmla="*/ 50 h 64"/>
                  <a:gd name="T14" fmla="*/ 56 w 80"/>
                  <a:gd name="T15" fmla="*/ 60 h 64"/>
                  <a:gd name="T16" fmla="*/ 48 w 80"/>
                  <a:gd name="T17" fmla="*/ 54 h 64"/>
                  <a:gd name="T18" fmla="*/ 42 w 80"/>
                  <a:gd name="T19" fmla="*/ 40 h 64"/>
                  <a:gd name="T20" fmla="*/ 32 w 80"/>
                  <a:gd name="T21" fmla="*/ 48 h 64"/>
                  <a:gd name="T22" fmla="*/ 26 w 80"/>
                  <a:gd name="T23" fmla="*/ 44 h 64"/>
                  <a:gd name="T24" fmla="*/ 8 w 80"/>
                  <a:gd name="T25" fmla="*/ 18 h 64"/>
                  <a:gd name="T26" fmla="*/ 14 w 80"/>
                  <a:gd name="T27" fmla="*/ 14 h 64"/>
                  <a:gd name="T28" fmla="*/ 26 w 80"/>
                  <a:gd name="T29" fmla="*/ 16 h 64"/>
                  <a:gd name="T30" fmla="*/ 22 w 80"/>
                  <a:gd name="T31" fmla="*/ 4 h 64"/>
                  <a:gd name="T32" fmla="*/ 20 w 80"/>
                  <a:gd name="T33" fmla="*/ 0 h 64"/>
                  <a:gd name="T34" fmla="*/ 14 w 80"/>
                  <a:gd name="T35" fmla="*/ 6 h 64"/>
                  <a:gd name="T36" fmla="*/ 20 w 80"/>
                  <a:gd name="T37" fmla="*/ 14 h 64"/>
                  <a:gd name="T38" fmla="*/ 18 w 80"/>
                  <a:gd name="T39" fmla="*/ 12 h 64"/>
                  <a:gd name="T40" fmla="*/ 12 w 80"/>
                  <a:gd name="T41" fmla="*/ 8 h 64"/>
                  <a:gd name="T42" fmla="*/ 10 w 80"/>
                  <a:gd name="T43" fmla="*/ 8 h 64"/>
                  <a:gd name="T44" fmla="*/ 2 w 80"/>
                  <a:gd name="T45" fmla="*/ 12 h 64"/>
                  <a:gd name="T46" fmla="*/ 2 w 80"/>
                  <a:gd name="T47" fmla="*/ 18 h 64"/>
                  <a:gd name="T48" fmla="*/ 10 w 80"/>
                  <a:gd name="T49" fmla="*/ 36 h 64"/>
                  <a:gd name="T50" fmla="*/ 24 w 80"/>
                  <a:gd name="T51" fmla="*/ 46 h 64"/>
                  <a:gd name="T52" fmla="*/ 22 w 80"/>
                  <a:gd name="T53" fmla="*/ 50 h 64"/>
                  <a:gd name="T54" fmla="*/ 24 w 80"/>
                  <a:gd name="T55" fmla="*/ 56 h 64"/>
                  <a:gd name="T56" fmla="*/ 28 w 80"/>
                  <a:gd name="T57" fmla="*/ 56 h 64"/>
                  <a:gd name="T58" fmla="*/ 40 w 80"/>
                  <a:gd name="T59" fmla="*/ 48 h 64"/>
                  <a:gd name="T60" fmla="*/ 42 w 80"/>
                  <a:gd name="T61" fmla="*/ 48 h 64"/>
                  <a:gd name="T62" fmla="*/ 44 w 80"/>
                  <a:gd name="T63" fmla="*/ 52 h 64"/>
                  <a:gd name="T64" fmla="*/ 40 w 80"/>
                  <a:gd name="T65" fmla="*/ 58 h 64"/>
                  <a:gd name="T66" fmla="*/ 46 w 80"/>
                  <a:gd name="T67" fmla="*/ 64 h 64"/>
                  <a:gd name="T68" fmla="*/ 56 w 80"/>
                  <a:gd name="T69" fmla="*/ 64 h 64"/>
                  <a:gd name="T70" fmla="*/ 60 w 80"/>
                  <a:gd name="T71" fmla="*/ 60 h 64"/>
                  <a:gd name="T72" fmla="*/ 62 w 80"/>
                  <a:gd name="T73" fmla="*/ 54 h 64"/>
                  <a:gd name="T74" fmla="*/ 66 w 80"/>
                  <a:gd name="T75" fmla="*/ 50 h 64"/>
                  <a:gd name="T76" fmla="*/ 66 w 80"/>
                  <a:gd name="T77" fmla="*/ 46 h 64"/>
                  <a:gd name="T78" fmla="*/ 66 w 80"/>
                  <a:gd name="T79" fmla="*/ 42 h 64"/>
                  <a:gd name="T80" fmla="*/ 76 w 80"/>
                  <a:gd name="T81" fmla="*/ 38 h 64"/>
                  <a:gd name="T82" fmla="*/ 80 w 80"/>
                  <a:gd name="T83" fmla="*/ 34 h 64"/>
                  <a:gd name="T84" fmla="*/ 80 w 80"/>
                  <a:gd name="T85" fmla="*/ 28 h 64"/>
                  <a:gd name="T86" fmla="*/ 66 w 80"/>
                  <a:gd name="T87" fmla="*/ 22 h 64"/>
                  <a:gd name="T88" fmla="*/ 60 w 80"/>
                  <a:gd name="T89" fmla="*/ 10 h 64"/>
                  <a:gd name="T90" fmla="*/ 56 w 80"/>
                  <a:gd name="T91" fmla="*/ 4 h 64"/>
                  <a:gd name="T92" fmla="*/ 52 w 80"/>
                  <a:gd name="T93" fmla="*/ 2 h 64"/>
                  <a:gd name="T94" fmla="*/ 46 w 80"/>
                  <a:gd name="T95" fmla="*/ 6 h 64"/>
                  <a:gd name="T96" fmla="*/ 34 w 80"/>
                  <a:gd name="T97" fmla="*/ 8 h 64"/>
                  <a:gd name="T98" fmla="*/ 28 w 80"/>
                  <a:gd name="T99" fmla="*/ 2 h 64"/>
                  <a:gd name="T100" fmla="*/ 22 w 80"/>
                  <a:gd name="T10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 h="64">
                    <a:moveTo>
                      <a:pt x="22" y="4"/>
                    </a:moveTo>
                    <a:lnTo>
                      <a:pt x="26" y="6"/>
                    </a:lnTo>
                    <a:lnTo>
                      <a:pt x="32" y="12"/>
                    </a:lnTo>
                    <a:lnTo>
                      <a:pt x="40" y="16"/>
                    </a:lnTo>
                    <a:lnTo>
                      <a:pt x="44" y="14"/>
                    </a:lnTo>
                    <a:lnTo>
                      <a:pt x="48" y="10"/>
                    </a:lnTo>
                    <a:lnTo>
                      <a:pt x="52" y="6"/>
                    </a:lnTo>
                    <a:lnTo>
                      <a:pt x="56" y="12"/>
                    </a:lnTo>
                    <a:lnTo>
                      <a:pt x="62" y="22"/>
                    </a:lnTo>
                    <a:lnTo>
                      <a:pt x="64" y="24"/>
                    </a:lnTo>
                    <a:lnTo>
                      <a:pt x="74" y="28"/>
                    </a:lnTo>
                    <a:lnTo>
                      <a:pt x="76" y="30"/>
                    </a:lnTo>
                    <a:lnTo>
                      <a:pt x="76" y="34"/>
                    </a:lnTo>
                    <a:lnTo>
                      <a:pt x="66" y="34"/>
                    </a:lnTo>
                    <a:lnTo>
                      <a:pt x="62" y="36"/>
                    </a:lnTo>
                    <a:lnTo>
                      <a:pt x="62" y="42"/>
                    </a:lnTo>
                    <a:lnTo>
                      <a:pt x="62" y="46"/>
                    </a:lnTo>
                    <a:lnTo>
                      <a:pt x="62" y="46"/>
                    </a:lnTo>
                    <a:lnTo>
                      <a:pt x="62" y="48"/>
                    </a:lnTo>
                    <a:lnTo>
                      <a:pt x="62" y="50"/>
                    </a:lnTo>
                    <a:lnTo>
                      <a:pt x="56" y="50"/>
                    </a:lnTo>
                    <a:lnTo>
                      <a:pt x="56" y="54"/>
                    </a:lnTo>
                    <a:lnTo>
                      <a:pt x="56" y="58"/>
                    </a:lnTo>
                    <a:lnTo>
                      <a:pt x="56" y="60"/>
                    </a:lnTo>
                    <a:lnTo>
                      <a:pt x="48" y="60"/>
                    </a:lnTo>
                    <a:lnTo>
                      <a:pt x="44" y="58"/>
                    </a:lnTo>
                    <a:lnTo>
                      <a:pt x="48" y="54"/>
                    </a:lnTo>
                    <a:lnTo>
                      <a:pt x="46" y="48"/>
                    </a:lnTo>
                    <a:lnTo>
                      <a:pt x="46" y="42"/>
                    </a:lnTo>
                    <a:lnTo>
                      <a:pt x="42" y="40"/>
                    </a:lnTo>
                    <a:lnTo>
                      <a:pt x="40" y="42"/>
                    </a:lnTo>
                    <a:lnTo>
                      <a:pt x="36" y="46"/>
                    </a:lnTo>
                    <a:lnTo>
                      <a:pt x="32" y="48"/>
                    </a:lnTo>
                    <a:lnTo>
                      <a:pt x="26" y="52"/>
                    </a:lnTo>
                    <a:lnTo>
                      <a:pt x="28" y="46"/>
                    </a:lnTo>
                    <a:lnTo>
                      <a:pt x="26" y="44"/>
                    </a:lnTo>
                    <a:lnTo>
                      <a:pt x="14" y="34"/>
                    </a:lnTo>
                    <a:lnTo>
                      <a:pt x="10" y="22"/>
                    </a:lnTo>
                    <a:lnTo>
                      <a:pt x="8" y="18"/>
                    </a:lnTo>
                    <a:lnTo>
                      <a:pt x="4" y="14"/>
                    </a:lnTo>
                    <a:lnTo>
                      <a:pt x="10" y="12"/>
                    </a:lnTo>
                    <a:lnTo>
                      <a:pt x="14" y="14"/>
                    </a:lnTo>
                    <a:lnTo>
                      <a:pt x="20" y="20"/>
                    </a:lnTo>
                    <a:lnTo>
                      <a:pt x="24" y="20"/>
                    </a:lnTo>
                    <a:lnTo>
                      <a:pt x="26" y="16"/>
                    </a:lnTo>
                    <a:lnTo>
                      <a:pt x="24" y="12"/>
                    </a:lnTo>
                    <a:lnTo>
                      <a:pt x="18" y="6"/>
                    </a:lnTo>
                    <a:lnTo>
                      <a:pt x="22" y="4"/>
                    </a:lnTo>
                    <a:close/>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8" name="Freeform 730"/>
              <p:cNvSpPr>
                <a:spLocks/>
              </p:cNvSpPr>
              <p:nvPr/>
            </p:nvSpPr>
            <p:spPr bwMode="auto">
              <a:xfrm>
                <a:off x="3503" y="1893"/>
                <a:ext cx="72" cy="56"/>
              </a:xfrm>
              <a:custGeom>
                <a:avLst/>
                <a:gdLst>
                  <a:gd name="T0" fmla="*/ 18 w 72"/>
                  <a:gd name="T1" fmla="*/ 0 h 56"/>
                  <a:gd name="T2" fmla="*/ 22 w 72"/>
                  <a:gd name="T3" fmla="*/ 2 h 56"/>
                  <a:gd name="T4" fmla="*/ 28 w 72"/>
                  <a:gd name="T5" fmla="*/ 8 h 56"/>
                  <a:gd name="T6" fmla="*/ 36 w 72"/>
                  <a:gd name="T7" fmla="*/ 12 h 56"/>
                  <a:gd name="T8" fmla="*/ 40 w 72"/>
                  <a:gd name="T9" fmla="*/ 10 h 56"/>
                  <a:gd name="T10" fmla="*/ 44 w 72"/>
                  <a:gd name="T11" fmla="*/ 6 h 56"/>
                  <a:gd name="T12" fmla="*/ 48 w 72"/>
                  <a:gd name="T13" fmla="*/ 2 h 56"/>
                  <a:gd name="T14" fmla="*/ 52 w 72"/>
                  <a:gd name="T15" fmla="*/ 8 h 56"/>
                  <a:gd name="T16" fmla="*/ 58 w 72"/>
                  <a:gd name="T17" fmla="*/ 18 h 56"/>
                  <a:gd name="T18" fmla="*/ 60 w 72"/>
                  <a:gd name="T19" fmla="*/ 20 h 56"/>
                  <a:gd name="T20" fmla="*/ 70 w 72"/>
                  <a:gd name="T21" fmla="*/ 24 h 56"/>
                  <a:gd name="T22" fmla="*/ 72 w 72"/>
                  <a:gd name="T23" fmla="*/ 26 h 56"/>
                  <a:gd name="T24" fmla="*/ 72 w 72"/>
                  <a:gd name="T25" fmla="*/ 30 h 56"/>
                  <a:gd name="T26" fmla="*/ 62 w 72"/>
                  <a:gd name="T27" fmla="*/ 30 h 56"/>
                  <a:gd name="T28" fmla="*/ 58 w 72"/>
                  <a:gd name="T29" fmla="*/ 32 h 56"/>
                  <a:gd name="T30" fmla="*/ 58 w 72"/>
                  <a:gd name="T31" fmla="*/ 38 h 56"/>
                  <a:gd name="T32" fmla="*/ 58 w 72"/>
                  <a:gd name="T33" fmla="*/ 42 h 56"/>
                  <a:gd name="T34" fmla="*/ 58 w 72"/>
                  <a:gd name="T35" fmla="*/ 42 h 56"/>
                  <a:gd name="T36" fmla="*/ 58 w 72"/>
                  <a:gd name="T37" fmla="*/ 44 h 56"/>
                  <a:gd name="T38" fmla="*/ 58 w 72"/>
                  <a:gd name="T39" fmla="*/ 46 h 56"/>
                  <a:gd name="T40" fmla="*/ 52 w 72"/>
                  <a:gd name="T41" fmla="*/ 46 h 56"/>
                  <a:gd name="T42" fmla="*/ 52 w 72"/>
                  <a:gd name="T43" fmla="*/ 50 h 56"/>
                  <a:gd name="T44" fmla="*/ 52 w 72"/>
                  <a:gd name="T45" fmla="*/ 54 h 56"/>
                  <a:gd name="T46" fmla="*/ 52 w 72"/>
                  <a:gd name="T47" fmla="*/ 56 h 56"/>
                  <a:gd name="T48" fmla="*/ 44 w 72"/>
                  <a:gd name="T49" fmla="*/ 56 h 56"/>
                  <a:gd name="T50" fmla="*/ 40 w 72"/>
                  <a:gd name="T51" fmla="*/ 54 h 56"/>
                  <a:gd name="T52" fmla="*/ 44 w 72"/>
                  <a:gd name="T53" fmla="*/ 50 h 56"/>
                  <a:gd name="T54" fmla="*/ 42 w 72"/>
                  <a:gd name="T55" fmla="*/ 44 h 56"/>
                  <a:gd name="T56" fmla="*/ 42 w 72"/>
                  <a:gd name="T57" fmla="*/ 38 h 56"/>
                  <a:gd name="T58" fmla="*/ 38 w 72"/>
                  <a:gd name="T59" fmla="*/ 36 h 56"/>
                  <a:gd name="T60" fmla="*/ 36 w 72"/>
                  <a:gd name="T61" fmla="*/ 38 h 56"/>
                  <a:gd name="T62" fmla="*/ 32 w 72"/>
                  <a:gd name="T63" fmla="*/ 42 h 56"/>
                  <a:gd name="T64" fmla="*/ 28 w 72"/>
                  <a:gd name="T65" fmla="*/ 44 h 56"/>
                  <a:gd name="T66" fmla="*/ 22 w 72"/>
                  <a:gd name="T67" fmla="*/ 48 h 56"/>
                  <a:gd name="T68" fmla="*/ 24 w 72"/>
                  <a:gd name="T69" fmla="*/ 42 h 56"/>
                  <a:gd name="T70" fmla="*/ 22 w 72"/>
                  <a:gd name="T71" fmla="*/ 40 h 56"/>
                  <a:gd name="T72" fmla="*/ 10 w 72"/>
                  <a:gd name="T73" fmla="*/ 30 h 56"/>
                  <a:gd name="T74" fmla="*/ 6 w 72"/>
                  <a:gd name="T75" fmla="*/ 18 h 56"/>
                  <a:gd name="T76" fmla="*/ 4 w 72"/>
                  <a:gd name="T77" fmla="*/ 14 h 56"/>
                  <a:gd name="T78" fmla="*/ 0 w 72"/>
                  <a:gd name="T79" fmla="*/ 10 h 56"/>
                  <a:gd name="T80" fmla="*/ 6 w 72"/>
                  <a:gd name="T81" fmla="*/ 8 h 56"/>
                  <a:gd name="T82" fmla="*/ 10 w 72"/>
                  <a:gd name="T83" fmla="*/ 10 h 56"/>
                  <a:gd name="T84" fmla="*/ 16 w 72"/>
                  <a:gd name="T85" fmla="*/ 16 h 56"/>
                  <a:gd name="T86" fmla="*/ 20 w 72"/>
                  <a:gd name="T87" fmla="*/ 16 h 56"/>
                  <a:gd name="T88" fmla="*/ 22 w 72"/>
                  <a:gd name="T89" fmla="*/ 12 h 56"/>
                  <a:gd name="T90" fmla="*/ 20 w 72"/>
                  <a:gd name="T91" fmla="*/ 8 h 56"/>
                  <a:gd name="T92" fmla="*/ 14 w 72"/>
                  <a:gd name="T93" fmla="*/ 2 h 56"/>
                  <a:gd name="T94" fmla="*/ 18 w 72"/>
                  <a:gd name="T9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6">
                    <a:moveTo>
                      <a:pt x="18" y="0"/>
                    </a:moveTo>
                    <a:lnTo>
                      <a:pt x="22" y="2"/>
                    </a:lnTo>
                    <a:lnTo>
                      <a:pt x="28" y="8"/>
                    </a:lnTo>
                    <a:lnTo>
                      <a:pt x="36" y="12"/>
                    </a:lnTo>
                    <a:lnTo>
                      <a:pt x="40" y="10"/>
                    </a:lnTo>
                    <a:lnTo>
                      <a:pt x="44" y="6"/>
                    </a:lnTo>
                    <a:lnTo>
                      <a:pt x="48" y="2"/>
                    </a:lnTo>
                    <a:lnTo>
                      <a:pt x="52" y="8"/>
                    </a:lnTo>
                    <a:lnTo>
                      <a:pt x="58" y="18"/>
                    </a:lnTo>
                    <a:lnTo>
                      <a:pt x="60" y="20"/>
                    </a:lnTo>
                    <a:lnTo>
                      <a:pt x="70" y="24"/>
                    </a:lnTo>
                    <a:lnTo>
                      <a:pt x="72" y="26"/>
                    </a:lnTo>
                    <a:lnTo>
                      <a:pt x="72" y="30"/>
                    </a:lnTo>
                    <a:lnTo>
                      <a:pt x="62" y="30"/>
                    </a:lnTo>
                    <a:lnTo>
                      <a:pt x="58" y="32"/>
                    </a:lnTo>
                    <a:lnTo>
                      <a:pt x="58" y="38"/>
                    </a:lnTo>
                    <a:lnTo>
                      <a:pt x="58" y="42"/>
                    </a:lnTo>
                    <a:lnTo>
                      <a:pt x="58" y="42"/>
                    </a:lnTo>
                    <a:lnTo>
                      <a:pt x="58" y="44"/>
                    </a:lnTo>
                    <a:lnTo>
                      <a:pt x="58" y="46"/>
                    </a:lnTo>
                    <a:lnTo>
                      <a:pt x="52" y="46"/>
                    </a:lnTo>
                    <a:lnTo>
                      <a:pt x="52" y="50"/>
                    </a:lnTo>
                    <a:lnTo>
                      <a:pt x="52" y="54"/>
                    </a:lnTo>
                    <a:lnTo>
                      <a:pt x="52" y="56"/>
                    </a:lnTo>
                    <a:lnTo>
                      <a:pt x="44" y="56"/>
                    </a:lnTo>
                    <a:lnTo>
                      <a:pt x="40" y="54"/>
                    </a:lnTo>
                    <a:lnTo>
                      <a:pt x="44" y="50"/>
                    </a:lnTo>
                    <a:lnTo>
                      <a:pt x="42" y="44"/>
                    </a:lnTo>
                    <a:lnTo>
                      <a:pt x="42" y="38"/>
                    </a:lnTo>
                    <a:lnTo>
                      <a:pt x="38" y="36"/>
                    </a:lnTo>
                    <a:lnTo>
                      <a:pt x="36" y="38"/>
                    </a:lnTo>
                    <a:lnTo>
                      <a:pt x="32" y="42"/>
                    </a:lnTo>
                    <a:lnTo>
                      <a:pt x="28" y="44"/>
                    </a:lnTo>
                    <a:lnTo>
                      <a:pt x="22" y="48"/>
                    </a:lnTo>
                    <a:lnTo>
                      <a:pt x="24" y="42"/>
                    </a:lnTo>
                    <a:lnTo>
                      <a:pt x="22" y="40"/>
                    </a:lnTo>
                    <a:lnTo>
                      <a:pt x="10" y="30"/>
                    </a:lnTo>
                    <a:lnTo>
                      <a:pt x="6" y="18"/>
                    </a:lnTo>
                    <a:lnTo>
                      <a:pt x="4" y="14"/>
                    </a:lnTo>
                    <a:lnTo>
                      <a:pt x="0" y="10"/>
                    </a:lnTo>
                    <a:lnTo>
                      <a:pt x="6" y="8"/>
                    </a:lnTo>
                    <a:lnTo>
                      <a:pt x="10" y="10"/>
                    </a:lnTo>
                    <a:lnTo>
                      <a:pt x="16" y="16"/>
                    </a:lnTo>
                    <a:lnTo>
                      <a:pt x="20" y="16"/>
                    </a:lnTo>
                    <a:lnTo>
                      <a:pt x="22" y="12"/>
                    </a:lnTo>
                    <a:lnTo>
                      <a:pt x="20" y="8"/>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9" name="Freeform 731"/>
              <p:cNvSpPr>
                <a:spLocks/>
              </p:cNvSpPr>
              <p:nvPr/>
            </p:nvSpPr>
            <p:spPr bwMode="auto">
              <a:xfrm>
                <a:off x="3499" y="1889"/>
                <a:ext cx="80" cy="64"/>
              </a:xfrm>
              <a:custGeom>
                <a:avLst/>
                <a:gdLst>
                  <a:gd name="T0" fmla="*/ 22 w 80"/>
                  <a:gd name="T1" fmla="*/ 0 h 64"/>
                  <a:gd name="T2" fmla="*/ 16 w 80"/>
                  <a:gd name="T3" fmla="*/ 2 h 64"/>
                  <a:gd name="T4" fmla="*/ 14 w 80"/>
                  <a:gd name="T5" fmla="*/ 6 h 64"/>
                  <a:gd name="T6" fmla="*/ 16 w 80"/>
                  <a:gd name="T7" fmla="*/ 8 h 64"/>
                  <a:gd name="T8" fmla="*/ 22 w 80"/>
                  <a:gd name="T9" fmla="*/ 16 h 64"/>
                  <a:gd name="T10" fmla="*/ 18 w 80"/>
                  <a:gd name="T11" fmla="*/ 12 h 64"/>
                  <a:gd name="T12" fmla="*/ 16 w 80"/>
                  <a:gd name="T13" fmla="*/ 12 h 64"/>
                  <a:gd name="T14" fmla="*/ 12 w 80"/>
                  <a:gd name="T15" fmla="*/ 8 h 64"/>
                  <a:gd name="T16" fmla="*/ 10 w 80"/>
                  <a:gd name="T17" fmla="*/ 8 h 64"/>
                  <a:gd name="T18" fmla="*/ 2 w 80"/>
                  <a:gd name="T19" fmla="*/ 12 h 64"/>
                  <a:gd name="T20" fmla="*/ 0 w 80"/>
                  <a:gd name="T21" fmla="*/ 14 h 64"/>
                  <a:gd name="T22" fmla="*/ 2 w 80"/>
                  <a:gd name="T23" fmla="*/ 18 h 64"/>
                  <a:gd name="T24" fmla="*/ 6 w 80"/>
                  <a:gd name="T25" fmla="*/ 22 h 64"/>
                  <a:gd name="T26" fmla="*/ 10 w 80"/>
                  <a:gd name="T27" fmla="*/ 36 h 64"/>
                  <a:gd name="T28" fmla="*/ 24 w 80"/>
                  <a:gd name="T29" fmla="*/ 46 h 64"/>
                  <a:gd name="T30" fmla="*/ 22 w 80"/>
                  <a:gd name="T31" fmla="*/ 50 h 64"/>
                  <a:gd name="T32" fmla="*/ 22 w 80"/>
                  <a:gd name="T33" fmla="*/ 54 h 64"/>
                  <a:gd name="T34" fmla="*/ 24 w 80"/>
                  <a:gd name="T35" fmla="*/ 56 h 64"/>
                  <a:gd name="T36" fmla="*/ 26 w 80"/>
                  <a:gd name="T37" fmla="*/ 56 h 64"/>
                  <a:gd name="T38" fmla="*/ 34 w 80"/>
                  <a:gd name="T39" fmla="*/ 52 h 64"/>
                  <a:gd name="T40" fmla="*/ 40 w 80"/>
                  <a:gd name="T41" fmla="*/ 48 h 64"/>
                  <a:gd name="T42" fmla="*/ 42 w 80"/>
                  <a:gd name="T43" fmla="*/ 46 h 64"/>
                  <a:gd name="T44" fmla="*/ 42 w 80"/>
                  <a:gd name="T45" fmla="*/ 48 h 64"/>
                  <a:gd name="T46" fmla="*/ 44 w 80"/>
                  <a:gd name="T47" fmla="*/ 52 h 64"/>
                  <a:gd name="T48" fmla="*/ 42 w 80"/>
                  <a:gd name="T49" fmla="*/ 54 h 64"/>
                  <a:gd name="T50" fmla="*/ 40 w 80"/>
                  <a:gd name="T51" fmla="*/ 58 h 64"/>
                  <a:gd name="T52" fmla="*/ 46 w 80"/>
                  <a:gd name="T53" fmla="*/ 64 h 64"/>
                  <a:gd name="T54" fmla="*/ 48 w 80"/>
                  <a:gd name="T55" fmla="*/ 64 h 64"/>
                  <a:gd name="T56" fmla="*/ 56 w 80"/>
                  <a:gd name="T57" fmla="*/ 64 h 64"/>
                  <a:gd name="T58" fmla="*/ 60 w 80"/>
                  <a:gd name="T59" fmla="*/ 60 h 64"/>
                  <a:gd name="T60" fmla="*/ 60 w 80"/>
                  <a:gd name="T61" fmla="*/ 54 h 64"/>
                  <a:gd name="T62" fmla="*/ 62 w 80"/>
                  <a:gd name="T63" fmla="*/ 54 h 64"/>
                  <a:gd name="T64" fmla="*/ 66 w 80"/>
                  <a:gd name="T65" fmla="*/ 50 h 64"/>
                  <a:gd name="T66" fmla="*/ 66 w 80"/>
                  <a:gd name="T67" fmla="*/ 46 h 64"/>
                  <a:gd name="T68" fmla="*/ 66 w 80"/>
                  <a:gd name="T69" fmla="*/ 46 h 64"/>
                  <a:gd name="T70" fmla="*/ 66 w 80"/>
                  <a:gd name="T71" fmla="*/ 42 h 64"/>
                  <a:gd name="T72" fmla="*/ 68 w 80"/>
                  <a:gd name="T73" fmla="*/ 38 h 64"/>
                  <a:gd name="T74" fmla="*/ 76 w 80"/>
                  <a:gd name="T75" fmla="*/ 38 h 64"/>
                  <a:gd name="T76" fmla="*/ 80 w 80"/>
                  <a:gd name="T77" fmla="*/ 34 h 64"/>
                  <a:gd name="T78" fmla="*/ 80 w 80"/>
                  <a:gd name="T79" fmla="*/ 30 h 64"/>
                  <a:gd name="T80" fmla="*/ 78 w 80"/>
                  <a:gd name="T81" fmla="*/ 26 h 64"/>
                  <a:gd name="T82" fmla="*/ 66 w 80"/>
                  <a:gd name="T83" fmla="*/ 22 h 64"/>
                  <a:gd name="T84" fmla="*/ 60 w 80"/>
                  <a:gd name="T85" fmla="*/ 10 h 64"/>
                  <a:gd name="T86" fmla="*/ 60 w 80"/>
                  <a:gd name="T87" fmla="*/ 8 h 64"/>
                  <a:gd name="T88" fmla="*/ 56 w 80"/>
                  <a:gd name="T89" fmla="*/ 4 h 64"/>
                  <a:gd name="T90" fmla="*/ 52 w 80"/>
                  <a:gd name="T91" fmla="*/ 2 h 64"/>
                  <a:gd name="T92" fmla="*/ 52 w 80"/>
                  <a:gd name="T93" fmla="*/ 2 h 64"/>
                  <a:gd name="T94" fmla="*/ 46 w 80"/>
                  <a:gd name="T95" fmla="*/ 6 h 64"/>
                  <a:gd name="T96" fmla="*/ 40 w 80"/>
                  <a:gd name="T97" fmla="*/ 12 h 64"/>
                  <a:gd name="T98" fmla="*/ 30 w 80"/>
                  <a:gd name="T99" fmla="*/ 4 h 64"/>
                  <a:gd name="T100" fmla="*/ 28 w 80"/>
                  <a:gd name="T101" fmla="*/ 2 h 64"/>
                  <a:gd name="T102" fmla="*/ 22 w 80"/>
                  <a:gd name="T103" fmla="*/ 0 h 64"/>
                  <a:gd name="T104" fmla="*/ 22 w 80"/>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4">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0" name="Freeform 732"/>
              <p:cNvSpPr>
                <a:spLocks/>
              </p:cNvSpPr>
              <p:nvPr/>
            </p:nvSpPr>
            <p:spPr bwMode="auto">
              <a:xfrm>
                <a:off x="3429" y="1863"/>
                <a:ext cx="98" cy="50"/>
              </a:xfrm>
              <a:custGeom>
                <a:avLst/>
                <a:gdLst>
                  <a:gd name="T0" fmla="*/ 52 w 98"/>
                  <a:gd name="T1" fmla="*/ 50 h 50"/>
                  <a:gd name="T2" fmla="*/ 46 w 98"/>
                  <a:gd name="T3" fmla="*/ 46 h 50"/>
                  <a:gd name="T4" fmla="*/ 36 w 98"/>
                  <a:gd name="T5" fmla="*/ 38 h 50"/>
                  <a:gd name="T6" fmla="*/ 34 w 98"/>
                  <a:gd name="T7" fmla="*/ 42 h 50"/>
                  <a:gd name="T8" fmla="*/ 34 w 98"/>
                  <a:gd name="T9" fmla="*/ 44 h 50"/>
                  <a:gd name="T10" fmla="*/ 32 w 98"/>
                  <a:gd name="T11" fmla="*/ 44 h 50"/>
                  <a:gd name="T12" fmla="*/ 24 w 98"/>
                  <a:gd name="T13" fmla="*/ 40 h 50"/>
                  <a:gd name="T14" fmla="*/ 22 w 98"/>
                  <a:gd name="T15" fmla="*/ 38 h 50"/>
                  <a:gd name="T16" fmla="*/ 22 w 98"/>
                  <a:gd name="T17" fmla="*/ 38 h 50"/>
                  <a:gd name="T18" fmla="*/ 22 w 98"/>
                  <a:gd name="T19" fmla="*/ 22 h 50"/>
                  <a:gd name="T20" fmla="*/ 10 w 98"/>
                  <a:gd name="T21" fmla="*/ 14 h 50"/>
                  <a:gd name="T22" fmla="*/ 0 w 98"/>
                  <a:gd name="T23" fmla="*/ 6 h 50"/>
                  <a:gd name="T24" fmla="*/ 0 w 98"/>
                  <a:gd name="T25" fmla="*/ 4 h 50"/>
                  <a:gd name="T26" fmla="*/ 12 w 98"/>
                  <a:gd name="T27" fmla="*/ 0 h 50"/>
                  <a:gd name="T28" fmla="*/ 12 w 98"/>
                  <a:gd name="T29" fmla="*/ 0 h 50"/>
                  <a:gd name="T30" fmla="*/ 12 w 98"/>
                  <a:gd name="T31" fmla="*/ 0 h 50"/>
                  <a:gd name="T32" fmla="*/ 30 w 98"/>
                  <a:gd name="T33" fmla="*/ 6 h 50"/>
                  <a:gd name="T34" fmla="*/ 38 w 98"/>
                  <a:gd name="T35" fmla="*/ 6 h 50"/>
                  <a:gd name="T36" fmla="*/ 48 w 98"/>
                  <a:gd name="T37" fmla="*/ 12 h 50"/>
                  <a:gd name="T38" fmla="*/ 60 w 98"/>
                  <a:gd name="T39" fmla="*/ 16 h 50"/>
                  <a:gd name="T40" fmla="*/ 74 w 98"/>
                  <a:gd name="T41" fmla="*/ 14 h 50"/>
                  <a:gd name="T42" fmla="*/ 74 w 98"/>
                  <a:gd name="T43" fmla="*/ 14 h 50"/>
                  <a:gd name="T44" fmla="*/ 74 w 98"/>
                  <a:gd name="T45" fmla="*/ 14 h 50"/>
                  <a:gd name="T46" fmla="*/ 86 w 98"/>
                  <a:gd name="T47" fmla="*/ 22 h 50"/>
                  <a:gd name="T48" fmla="*/ 92 w 98"/>
                  <a:gd name="T49" fmla="*/ 30 h 50"/>
                  <a:gd name="T50" fmla="*/ 94 w 98"/>
                  <a:gd name="T51" fmla="*/ 32 h 50"/>
                  <a:gd name="T52" fmla="*/ 90 w 98"/>
                  <a:gd name="T53" fmla="*/ 34 h 50"/>
                  <a:gd name="T54" fmla="*/ 98 w 98"/>
                  <a:gd name="T55" fmla="*/ 42 h 50"/>
                  <a:gd name="T56" fmla="*/ 98 w 98"/>
                  <a:gd name="T57" fmla="*/ 44 h 50"/>
                  <a:gd name="T58" fmla="*/ 96 w 98"/>
                  <a:gd name="T59" fmla="*/ 48 h 50"/>
                  <a:gd name="T60" fmla="*/ 90 w 98"/>
                  <a:gd name="T61" fmla="*/ 50 h 50"/>
                  <a:gd name="T62" fmla="*/ 88 w 98"/>
                  <a:gd name="T63" fmla="*/ 48 h 50"/>
                  <a:gd name="T64" fmla="*/ 74 w 98"/>
                  <a:gd name="T65" fmla="*/ 44 h 50"/>
                  <a:gd name="T66" fmla="*/ 74 w 98"/>
                  <a:gd name="T67" fmla="*/ 44 h 50"/>
                  <a:gd name="T68" fmla="*/ 60 w 98"/>
                  <a:gd name="T69" fmla="*/ 46 h 50"/>
                  <a:gd name="T70" fmla="*/ 54 w 98"/>
                  <a:gd name="T71" fmla="*/ 48 h 50"/>
                  <a:gd name="T72" fmla="*/ 52 w 98"/>
                  <a:gd name="T7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0">
                    <a:moveTo>
                      <a:pt x="52" y="50"/>
                    </a:moveTo>
                    <a:lnTo>
                      <a:pt x="52" y="50"/>
                    </a:lnTo>
                    <a:lnTo>
                      <a:pt x="52" y="48"/>
                    </a:lnTo>
                    <a:lnTo>
                      <a:pt x="46" y="46"/>
                    </a:lnTo>
                    <a:lnTo>
                      <a:pt x="40" y="40"/>
                    </a:lnTo>
                    <a:lnTo>
                      <a:pt x="36" y="38"/>
                    </a:lnTo>
                    <a:lnTo>
                      <a:pt x="34" y="42"/>
                    </a:lnTo>
                    <a:lnTo>
                      <a:pt x="34" y="42"/>
                    </a:lnTo>
                    <a:lnTo>
                      <a:pt x="34" y="44"/>
                    </a:lnTo>
                    <a:lnTo>
                      <a:pt x="34" y="44"/>
                    </a:lnTo>
                    <a:lnTo>
                      <a:pt x="32" y="44"/>
                    </a:lnTo>
                    <a:lnTo>
                      <a:pt x="32" y="44"/>
                    </a:lnTo>
                    <a:lnTo>
                      <a:pt x="32" y="44"/>
                    </a:lnTo>
                    <a:lnTo>
                      <a:pt x="24" y="40"/>
                    </a:lnTo>
                    <a:lnTo>
                      <a:pt x="24" y="40"/>
                    </a:lnTo>
                    <a:lnTo>
                      <a:pt x="22" y="38"/>
                    </a:lnTo>
                    <a:lnTo>
                      <a:pt x="22" y="38"/>
                    </a:lnTo>
                    <a:lnTo>
                      <a:pt x="22" y="38"/>
                    </a:lnTo>
                    <a:lnTo>
                      <a:pt x="26" y="30"/>
                    </a:lnTo>
                    <a:lnTo>
                      <a:pt x="22" y="22"/>
                    </a:lnTo>
                    <a:lnTo>
                      <a:pt x="18" y="16"/>
                    </a:lnTo>
                    <a:lnTo>
                      <a:pt x="10" y="14"/>
                    </a:lnTo>
                    <a:lnTo>
                      <a:pt x="0" y="6"/>
                    </a:lnTo>
                    <a:lnTo>
                      <a:pt x="0" y="6"/>
                    </a:lnTo>
                    <a:lnTo>
                      <a:pt x="0" y="4"/>
                    </a:lnTo>
                    <a:lnTo>
                      <a:pt x="0" y="4"/>
                    </a:lnTo>
                    <a:lnTo>
                      <a:pt x="0" y="2"/>
                    </a:lnTo>
                    <a:lnTo>
                      <a:pt x="12" y="0"/>
                    </a:lnTo>
                    <a:lnTo>
                      <a:pt x="12" y="0"/>
                    </a:lnTo>
                    <a:lnTo>
                      <a:pt x="12" y="0"/>
                    </a:lnTo>
                    <a:lnTo>
                      <a:pt x="12" y="0"/>
                    </a:lnTo>
                    <a:lnTo>
                      <a:pt x="12" y="0"/>
                    </a:lnTo>
                    <a:lnTo>
                      <a:pt x="22" y="8"/>
                    </a:lnTo>
                    <a:lnTo>
                      <a:pt x="30" y="6"/>
                    </a:lnTo>
                    <a:lnTo>
                      <a:pt x="38" y="6"/>
                    </a:lnTo>
                    <a:lnTo>
                      <a:pt x="38" y="6"/>
                    </a:lnTo>
                    <a:lnTo>
                      <a:pt x="40" y="6"/>
                    </a:lnTo>
                    <a:lnTo>
                      <a:pt x="48" y="12"/>
                    </a:lnTo>
                    <a:lnTo>
                      <a:pt x="52" y="14"/>
                    </a:lnTo>
                    <a:lnTo>
                      <a:pt x="60" y="16"/>
                    </a:lnTo>
                    <a:lnTo>
                      <a:pt x="64" y="16"/>
                    </a:lnTo>
                    <a:lnTo>
                      <a:pt x="74" y="14"/>
                    </a:lnTo>
                    <a:lnTo>
                      <a:pt x="74" y="14"/>
                    </a:lnTo>
                    <a:lnTo>
                      <a:pt x="74" y="14"/>
                    </a:lnTo>
                    <a:lnTo>
                      <a:pt x="74" y="14"/>
                    </a:lnTo>
                    <a:lnTo>
                      <a:pt x="74" y="14"/>
                    </a:lnTo>
                    <a:lnTo>
                      <a:pt x="84" y="20"/>
                    </a:lnTo>
                    <a:lnTo>
                      <a:pt x="86" y="22"/>
                    </a:lnTo>
                    <a:lnTo>
                      <a:pt x="92" y="30"/>
                    </a:lnTo>
                    <a:lnTo>
                      <a:pt x="92" y="30"/>
                    </a:lnTo>
                    <a:lnTo>
                      <a:pt x="94" y="32"/>
                    </a:lnTo>
                    <a:lnTo>
                      <a:pt x="94" y="32"/>
                    </a:lnTo>
                    <a:lnTo>
                      <a:pt x="92" y="32"/>
                    </a:lnTo>
                    <a:lnTo>
                      <a:pt x="90" y="34"/>
                    </a:lnTo>
                    <a:lnTo>
                      <a:pt x="94" y="36"/>
                    </a:lnTo>
                    <a:lnTo>
                      <a:pt x="98" y="42"/>
                    </a:lnTo>
                    <a:lnTo>
                      <a:pt x="98" y="42"/>
                    </a:lnTo>
                    <a:lnTo>
                      <a:pt x="98" y="44"/>
                    </a:lnTo>
                    <a:lnTo>
                      <a:pt x="96" y="48"/>
                    </a:lnTo>
                    <a:lnTo>
                      <a:pt x="96" y="48"/>
                    </a:lnTo>
                    <a:lnTo>
                      <a:pt x="94" y="50"/>
                    </a:lnTo>
                    <a:lnTo>
                      <a:pt x="90" y="50"/>
                    </a:lnTo>
                    <a:lnTo>
                      <a:pt x="90" y="50"/>
                    </a:lnTo>
                    <a:lnTo>
                      <a:pt x="88" y="48"/>
                    </a:lnTo>
                    <a:lnTo>
                      <a:pt x="78" y="40"/>
                    </a:lnTo>
                    <a:lnTo>
                      <a:pt x="74" y="44"/>
                    </a:lnTo>
                    <a:lnTo>
                      <a:pt x="74" y="44"/>
                    </a:lnTo>
                    <a:lnTo>
                      <a:pt x="74" y="44"/>
                    </a:lnTo>
                    <a:lnTo>
                      <a:pt x="66" y="44"/>
                    </a:lnTo>
                    <a:lnTo>
                      <a:pt x="60" y="46"/>
                    </a:lnTo>
                    <a:lnTo>
                      <a:pt x="54" y="48"/>
                    </a:lnTo>
                    <a:lnTo>
                      <a:pt x="54" y="48"/>
                    </a:lnTo>
                    <a:lnTo>
                      <a:pt x="52" y="50"/>
                    </a:lnTo>
                    <a:lnTo>
                      <a:pt x="5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1" name="Freeform 733"/>
              <p:cNvSpPr>
                <a:spLocks noEditPoints="1"/>
              </p:cNvSpPr>
              <p:nvPr/>
            </p:nvSpPr>
            <p:spPr bwMode="auto">
              <a:xfrm>
                <a:off x="3427" y="1861"/>
                <a:ext cx="102" cy="54"/>
              </a:xfrm>
              <a:custGeom>
                <a:avLst/>
                <a:gdLst>
                  <a:gd name="T0" fmla="*/ 20 w 102"/>
                  <a:gd name="T1" fmla="*/ 8 h 54"/>
                  <a:gd name="T2" fmla="*/ 34 w 102"/>
                  <a:gd name="T3" fmla="*/ 10 h 54"/>
                  <a:gd name="T4" fmla="*/ 50 w 102"/>
                  <a:gd name="T5" fmla="*/ 16 h 54"/>
                  <a:gd name="T6" fmla="*/ 62 w 102"/>
                  <a:gd name="T7" fmla="*/ 20 h 54"/>
                  <a:gd name="T8" fmla="*/ 76 w 102"/>
                  <a:gd name="T9" fmla="*/ 18 h 54"/>
                  <a:gd name="T10" fmla="*/ 86 w 102"/>
                  <a:gd name="T11" fmla="*/ 26 h 54"/>
                  <a:gd name="T12" fmla="*/ 90 w 102"/>
                  <a:gd name="T13" fmla="*/ 34 h 54"/>
                  <a:gd name="T14" fmla="*/ 98 w 102"/>
                  <a:gd name="T15" fmla="*/ 46 h 54"/>
                  <a:gd name="T16" fmla="*/ 92 w 102"/>
                  <a:gd name="T17" fmla="*/ 50 h 54"/>
                  <a:gd name="T18" fmla="*/ 76 w 102"/>
                  <a:gd name="T19" fmla="*/ 44 h 54"/>
                  <a:gd name="T20" fmla="*/ 62 w 102"/>
                  <a:gd name="T21" fmla="*/ 46 h 54"/>
                  <a:gd name="T22" fmla="*/ 50 w 102"/>
                  <a:gd name="T23" fmla="*/ 46 h 54"/>
                  <a:gd name="T24" fmla="*/ 36 w 102"/>
                  <a:gd name="T25" fmla="*/ 38 h 54"/>
                  <a:gd name="T26" fmla="*/ 26 w 102"/>
                  <a:gd name="T27" fmla="*/ 40 h 54"/>
                  <a:gd name="T28" fmla="*/ 26 w 102"/>
                  <a:gd name="T29" fmla="*/ 24 h 54"/>
                  <a:gd name="T30" fmla="*/ 14 w 102"/>
                  <a:gd name="T31" fmla="*/ 14 h 54"/>
                  <a:gd name="T32" fmla="*/ 4 w 102"/>
                  <a:gd name="T33" fmla="*/ 6 h 54"/>
                  <a:gd name="T34" fmla="*/ 14 w 102"/>
                  <a:gd name="T35" fmla="*/ 0 h 54"/>
                  <a:gd name="T36" fmla="*/ 14 w 102"/>
                  <a:gd name="T37" fmla="*/ 0 h 54"/>
                  <a:gd name="T38" fmla="*/ 2 w 102"/>
                  <a:gd name="T39" fmla="*/ 2 h 54"/>
                  <a:gd name="T40" fmla="*/ 0 w 102"/>
                  <a:gd name="T41" fmla="*/ 6 h 54"/>
                  <a:gd name="T42" fmla="*/ 0 w 102"/>
                  <a:gd name="T43" fmla="*/ 8 h 54"/>
                  <a:gd name="T44" fmla="*/ 6 w 102"/>
                  <a:gd name="T45" fmla="*/ 12 h 54"/>
                  <a:gd name="T46" fmla="*/ 12 w 102"/>
                  <a:gd name="T47" fmla="*/ 16 h 54"/>
                  <a:gd name="T48" fmla="*/ 18 w 102"/>
                  <a:gd name="T49" fmla="*/ 20 h 54"/>
                  <a:gd name="T50" fmla="*/ 26 w 102"/>
                  <a:gd name="T51" fmla="*/ 32 h 54"/>
                  <a:gd name="T52" fmla="*/ 22 w 102"/>
                  <a:gd name="T53" fmla="*/ 38 h 54"/>
                  <a:gd name="T54" fmla="*/ 22 w 102"/>
                  <a:gd name="T55" fmla="*/ 42 h 54"/>
                  <a:gd name="T56" fmla="*/ 34 w 102"/>
                  <a:gd name="T57" fmla="*/ 48 h 54"/>
                  <a:gd name="T58" fmla="*/ 34 w 102"/>
                  <a:gd name="T59" fmla="*/ 48 h 54"/>
                  <a:gd name="T60" fmla="*/ 36 w 102"/>
                  <a:gd name="T61" fmla="*/ 48 h 54"/>
                  <a:gd name="T62" fmla="*/ 38 w 102"/>
                  <a:gd name="T63" fmla="*/ 44 h 54"/>
                  <a:gd name="T64" fmla="*/ 42 w 102"/>
                  <a:gd name="T65" fmla="*/ 44 h 54"/>
                  <a:gd name="T66" fmla="*/ 46 w 102"/>
                  <a:gd name="T67" fmla="*/ 48 h 54"/>
                  <a:gd name="T68" fmla="*/ 52 w 102"/>
                  <a:gd name="T69" fmla="*/ 52 h 54"/>
                  <a:gd name="T70" fmla="*/ 54 w 102"/>
                  <a:gd name="T71" fmla="*/ 54 h 54"/>
                  <a:gd name="T72" fmla="*/ 56 w 102"/>
                  <a:gd name="T73" fmla="*/ 52 h 54"/>
                  <a:gd name="T74" fmla="*/ 68 w 102"/>
                  <a:gd name="T75" fmla="*/ 48 h 54"/>
                  <a:gd name="T76" fmla="*/ 76 w 102"/>
                  <a:gd name="T77" fmla="*/ 48 h 54"/>
                  <a:gd name="T78" fmla="*/ 80 w 102"/>
                  <a:gd name="T79" fmla="*/ 46 h 54"/>
                  <a:gd name="T80" fmla="*/ 88 w 102"/>
                  <a:gd name="T81" fmla="*/ 52 h 54"/>
                  <a:gd name="T82" fmla="*/ 96 w 102"/>
                  <a:gd name="T83" fmla="*/ 54 h 54"/>
                  <a:gd name="T84" fmla="*/ 98 w 102"/>
                  <a:gd name="T85" fmla="*/ 52 h 54"/>
                  <a:gd name="T86" fmla="*/ 102 w 102"/>
                  <a:gd name="T87" fmla="*/ 48 h 54"/>
                  <a:gd name="T88" fmla="*/ 102 w 102"/>
                  <a:gd name="T89" fmla="*/ 44 h 54"/>
                  <a:gd name="T90" fmla="*/ 98 w 102"/>
                  <a:gd name="T91" fmla="*/ 38 h 54"/>
                  <a:gd name="T92" fmla="*/ 96 w 102"/>
                  <a:gd name="T93" fmla="*/ 36 h 54"/>
                  <a:gd name="T94" fmla="*/ 96 w 102"/>
                  <a:gd name="T95" fmla="*/ 34 h 54"/>
                  <a:gd name="T96" fmla="*/ 96 w 102"/>
                  <a:gd name="T97" fmla="*/ 30 h 54"/>
                  <a:gd name="T98" fmla="*/ 88 w 102"/>
                  <a:gd name="T99" fmla="*/ 22 h 54"/>
                  <a:gd name="T100" fmla="*/ 86 w 102"/>
                  <a:gd name="T101" fmla="*/ 20 h 54"/>
                  <a:gd name="T102" fmla="*/ 78 w 102"/>
                  <a:gd name="T103" fmla="*/ 16 h 54"/>
                  <a:gd name="T104" fmla="*/ 76 w 102"/>
                  <a:gd name="T105" fmla="*/ 14 h 54"/>
                  <a:gd name="T106" fmla="*/ 66 w 102"/>
                  <a:gd name="T107" fmla="*/ 16 h 54"/>
                  <a:gd name="T108" fmla="*/ 54 w 102"/>
                  <a:gd name="T109" fmla="*/ 14 h 54"/>
                  <a:gd name="T110" fmla="*/ 42 w 102"/>
                  <a:gd name="T111" fmla="*/ 6 h 54"/>
                  <a:gd name="T112" fmla="*/ 40 w 102"/>
                  <a:gd name="T113" fmla="*/ 6 h 54"/>
                  <a:gd name="T114" fmla="*/ 34 w 102"/>
                  <a:gd name="T115" fmla="*/ 6 h 54"/>
                  <a:gd name="T116" fmla="*/ 26 w 102"/>
                  <a:gd name="T117" fmla="*/ 8 h 54"/>
                  <a:gd name="T118" fmla="*/ 16 w 102"/>
                  <a:gd name="T119" fmla="*/ 0 h 54"/>
                  <a:gd name="T120" fmla="*/ 14 w 102"/>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54">
                    <a:moveTo>
                      <a:pt x="14" y="4"/>
                    </a:moveTo>
                    <a:lnTo>
                      <a:pt x="20" y="8"/>
                    </a:lnTo>
                    <a:lnTo>
                      <a:pt x="24" y="12"/>
                    </a:lnTo>
                    <a:lnTo>
                      <a:pt x="34" y="10"/>
                    </a:lnTo>
                    <a:lnTo>
                      <a:pt x="40" y="10"/>
                    </a:lnTo>
                    <a:lnTo>
                      <a:pt x="50" y="16"/>
                    </a:lnTo>
                    <a:lnTo>
                      <a:pt x="52" y="16"/>
                    </a:lnTo>
                    <a:lnTo>
                      <a:pt x="62" y="20"/>
                    </a:lnTo>
                    <a:lnTo>
                      <a:pt x="66" y="20"/>
                    </a:lnTo>
                    <a:lnTo>
                      <a:pt x="76" y="18"/>
                    </a:lnTo>
                    <a:lnTo>
                      <a:pt x="84" y="24"/>
                    </a:lnTo>
                    <a:lnTo>
                      <a:pt x="86" y="26"/>
                    </a:lnTo>
                    <a:lnTo>
                      <a:pt x="94" y="32"/>
                    </a:lnTo>
                    <a:lnTo>
                      <a:pt x="90" y="34"/>
                    </a:lnTo>
                    <a:lnTo>
                      <a:pt x="94" y="40"/>
                    </a:lnTo>
                    <a:lnTo>
                      <a:pt x="98" y="46"/>
                    </a:lnTo>
                    <a:lnTo>
                      <a:pt x="96" y="50"/>
                    </a:lnTo>
                    <a:lnTo>
                      <a:pt x="92" y="50"/>
                    </a:lnTo>
                    <a:lnTo>
                      <a:pt x="80" y="40"/>
                    </a:lnTo>
                    <a:lnTo>
                      <a:pt x="76" y="44"/>
                    </a:lnTo>
                    <a:lnTo>
                      <a:pt x="68" y="44"/>
                    </a:lnTo>
                    <a:lnTo>
                      <a:pt x="62" y="46"/>
                    </a:lnTo>
                    <a:lnTo>
                      <a:pt x="54" y="50"/>
                    </a:lnTo>
                    <a:lnTo>
                      <a:pt x="50" y="46"/>
                    </a:lnTo>
                    <a:lnTo>
                      <a:pt x="44" y="40"/>
                    </a:lnTo>
                    <a:lnTo>
                      <a:pt x="36" y="38"/>
                    </a:lnTo>
                    <a:lnTo>
                      <a:pt x="34" y="44"/>
                    </a:lnTo>
                    <a:lnTo>
                      <a:pt x="26" y="40"/>
                    </a:lnTo>
                    <a:lnTo>
                      <a:pt x="30" y="32"/>
                    </a:lnTo>
                    <a:lnTo>
                      <a:pt x="26" y="24"/>
                    </a:lnTo>
                    <a:lnTo>
                      <a:pt x="20" y="16"/>
                    </a:lnTo>
                    <a:lnTo>
                      <a:pt x="14" y="14"/>
                    </a:lnTo>
                    <a:lnTo>
                      <a:pt x="8" y="10"/>
                    </a:lnTo>
                    <a:lnTo>
                      <a:pt x="4" y="6"/>
                    </a:lnTo>
                    <a:lnTo>
                      <a:pt x="14" y="4"/>
                    </a:lnTo>
                    <a:close/>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2" name="Freeform 734"/>
              <p:cNvSpPr>
                <a:spLocks/>
              </p:cNvSpPr>
              <p:nvPr/>
            </p:nvSpPr>
            <p:spPr bwMode="auto">
              <a:xfrm>
                <a:off x="3431" y="1865"/>
                <a:ext cx="94" cy="46"/>
              </a:xfrm>
              <a:custGeom>
                <a:avLst/>
                <a:gdLst>
                  <a:gd name="T0" fmla="*/ 10 w 94"/>
                  <a:gd name="T1" fmla="*/ 0 h 46"/>
                  <a:gd name="T2" fmla="*/ 16 w 94"/>
                  <a:gd name="T3" fmla="*/ 4 h 46"/>
                  <a:gd name="T4" fmla="*/ 20 w 94"/>
                  <a:gd name="T5" fmla="*/ 8 h 46"/>
                  <a:gd name="T6" fmla="*/ 30 w 94"/>
                  <a:gd name="T7" fmla="*/ 6 h 46"/>
                  <a:gd name="T8" fmla="*/ 36 w 94"/>
                  <a:gd name="T9" fmla="*/ 6 h 46"/>
                  <a:gd name="T10" fmla="*/ 46 w 94"/>
                  <a:gd name="T11" fmla="*/ 12 h 46"/>
                  <a:gd name="T12" fmla="*/ 48 w 94"/>
                  <a:gd name="T13" fmla="*/ 12 h 46"/>
                  <a:gd name="T14" fmla="*/ 58 w 94"/>
                  <a:gd name="T15" fmla="*/ 16 h 46"/>
                  <a:gd name="T16" fmla="*/ 62 w 94"/>
                  <a:gd name="T17" fmla="*/ 16 h 46"/>
                  <a:gd name="T18" fmla="*/ 72 w 94"/>
                  <a:gd name="T19" fmla="*/ 14 h 46"/>
                  <a:gd name="T20" fmla="*/ 80 w 94"/>
                  <a:gd name="T21" fmla="*/ 20 h 46"/>
                  <a:gd name="T22" fmla="*/ 82 w 94"/>
                  <a:gd name="T23" fmla="*/ 22 h 46"/>
                  <a:gd name="T24" fmla="*/ 90 w 94"/>
                  <a:gd name="T25" fmla="*/ 28 h 46"/>
                  <a:gd name="T26" fmla="*/ 86 w 94"/>
                  <a:gd name="T27" fmla="*/ 30 h 46"/>
                  <a:gd name="T28" fmla="*/ 90 w 94"/>
                  <a:gd name="T29" fmla="*/ 36 h 46"/>
                  <a:gd name="T30" fmla="*/ 94 w 94"/>
                  <a:gd name="T31" fmla="*/ 42 h 46"/>
                  <a:gd name="T32" fmla="*/ 92 w 94"/>
                  <a:gd name="T33" fmla="*/ 46 h 46"/>
                  <a:gd name="T34" fmla="*/ 88 w 94"/>
                  <a:gd name="T35" fmla="*/ 46 h 46"/>
                  <a:gd name="T36" fmla="*/ 76 w 94"/>
                  <a:gd name="T37" fmla="*/ 36 h 46"/>
                  <a:gd name="T38" fmla="*/ 72 w 94"/>
                  <a:gd name="T39" fmla="*/ 40 h 46"/>
                  <a:gd name="T40" fmla="*/ 64 w 94"/>
                  <a:gd name="T41" fmla="*/ 40 h 46"/>
                  <a:gd name="T42" fmla="*/ 58 w 94"/>
                  <a:gd name="T43" fmla="*/ 42 h 46"/>
                  <a:gd name="T44" fmla="*/ 50 w 94"/>
                  <a:gd name="T45" fmla="*/ 46 h 46"/>
                  <a:gd name="T46" fmla="*/ 46 w 94"/>
                  <a:gd name="T47" fmla="*/ 42 h 46"/>
                  <a:gd name="T48" fmla="*/ 40 w 94"/>
                  <a:gd name="T49" fmla="*/ 36 h 46"/>
                  <a:gd name="T50" fmla="*/ 32 w 94"/>
                  <a:gd name="T51" fmla="*/ 34 h 46"/>
                  <a:gd name="T52" fmla="*/ 30 w 94"/>
                  <a:gd name="T53" fmla="*/ 40 h 46"/>
                  <a:gd name="T54" fmla="*/ 22 w 94"/>
                  <a:gd name="T55" fmla="*/ 36 h 46"/>
                  <a:gd name="T56" fmla="*/ 26 w 94"/>
                  <a:gd name="T57" fmla="*/ 28 h 46"/>
                  <a:gd name="T58" fmla="*/ 22 w 94"/>
                  <a:gd name="T59" fmla="*/ 20 h 46"/>
                  <a:gd name="T60" fmla="*/ 16 w 94"/>
                  <a:gd name="T61" fmla="*/ 12 h 46"/>
                  <a:gd name="T62" fmla="*/ 10 w 94"/>
                  <a:gd name="T63" fmla="*/ 10 h 46"/>
                  <a:gd name="T64" fmla="*/ 4 w 94"/>
                  <a:gd name="T65" fmla="*/ 6 h 46"/>
                  <a:gd name="T66" fmla="*/ 0 w 94"/>
                  <a:gd name="T67" fmla="*/ 2 h 46"/>
                  <a:gd name="T68" fmla="*/ 10 w 94"/>
                  <a:gd name="T6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6">
                    <a:moveTo>
                      <a:pt x="10" y="0"/>
                    </a:moveTo>
                    <a:lnTo>
                      <a:pt x="16" y="4"/>
                    </a:lnTo>
                    <a:lnTo>
                      <a:pt x="20" y="8"/>
                    </a:lnTo>
                    <a:lnTo>
                      <a:pt x="30" y="6"/>
                    </a:lnTo>
                    <a:lnTo>
                      <a:pt x="36" y="6"/>
                    </a:lnTo>
                    <a:lnTo>
                      <a:pt x="46" y="12"/>
                    </a:lnTo>
                    <a:lnTo>
                      <a:pt x="48" y="12"/>
                    </a:lnTo>
                    <a:lnTo>
                      <a:pt x="58" y="16"/>
                    </a:lnTo>
                    <a:lnTo>
                      <a:pt x="62" y="16"/>
                    </a:lnTo>
                    <a:lnTo>
                      <a:pt x="72" y="14"/>
                    </a:lnTo>
                    <a:lnTo>
                      <a:pt x="80" y="20"/>
                    </a:lnTo>
                    <a:lnTo>
                      <a:pt x="82" y="22"/>
                    </a:lnTo>
                    <a:lnTo>
                      <a:pt x="90" y="28"/>
                    </a:lnTo>
                    <a:lnTo>
                      <a:pt x="86" y="30"/>
                    </a:lnTo>
                    <a:lnTo>
                      <a:pt x="90" y="36"/>
                    </a:lnTo>
                    <a:lnTo>
                      <a:pt x="94" y="42"/>
                    </a:lnTo>
                    <a:lnTo>
                      <a:pt x="92" y="46"/>
                    </a:lnTo>
                    <a:lnTo>
                      <a:pt x="88" y="46"/>
                    </a:lnTo>
                    <a:lnTo>
                      <a:pt x="76" y="36"/>
                    </a:lnTo>
                    <a:lnTo>
                      <a:pt x="72" y="40"/>
                    </a:lnTo>
                    <a:lnTo>
                      <a:pt x="64" y="40"/>
                    </a:lnTo>
                    <a:lnTo>
                      <a:pt x="58" y="42"/>
                    </a:lnTo>
                    <a:lnTo>
                      <a:pt x="50" y="46"/>
                    </a:lnTo>
                    <a:lnTo>
                      <a:pt x="46" y="42"/>
                    </a:lnTo>
                    <a:lnTo>
                      <a:pt x="40" y="36"/>
                    </a:lnTo>
                    <a:lnTo>
                      <a:pt x="32" y="34"/>
                    </a:lnTo>
                    <a:lnTo>
                      <a:pt x="30" y="40"/>
                    </a:lnTo>
                    <a:lnTo>
                      <a:pt x="22" y="36"/>
                    </a:lnTo>
                    <a:lnTo>
                      <a:pt x="26" y="28"/>
                    </a:lnTo>
                    <a:lnTo>
                      <a:pt x="22" y="20"/>
                    </a:lnTo>
                    <a:lnTo>
                      <a:pt x="16" y="12"/>
                    </a:lnTo>
                    <a:lnTo>
                      <a:pt x="10" y="10"/>
                    </a:lnTo>
                    <a:lnTo>
                      <a:pt x="4" y="6"/>
                    </a:lnTo>
                    <a:lnTo>
                      <a:pt x="0"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3" name="Freeform 735"/>
              <p:cNvSpPr>
                <a:spLocks/>
              </p:cNvSpPr>
              <p:nvPr/>
            </p:nvSpPr>
            <p:spPr bwMode="auto">
              <a:xfrm>
                <a:off x="3427" y="1861"/>
                <a:ext cx="102" cy="54"/>
              </a:xfrm>
              <a:custGeom>
                <a:avLst/>
                <a:gdLst>
                  <a:gd name="T0" fmla="*/ 14 w 102"/>
                  <a:gd name="T1" fmla="*/ 0 h 54"/>
                  <a:gd name="T2" fmla="*/ 2 w 102"/>
                  <a:gd name="T3" fmla="*/ 2 h 54"/>
                  <a:gd name="T4" fmla="*/ 0 w 102"/>
                  <a:gd name="T5" fmla="*/ 4 h 54"/>
                  <a:gd name="T6" fmla="*/ 0 w 102"/>
                  <a:gd name="T7" fmla="*/ 6 h 54"/>
                  <a:gd name="T8" fmla="*/ 0 w 102"/>
                  <a:gd name="T9" fmla="*/ 10 h 54"/>
                  <a:gd name="T10" fmla="*/ 12 w 102"/>
                  <a:gd name="T11" fmla="*/ 16 h 54"/>
                  <a:gd name="T12" fmla="*/ 12 w 102"/>
                  <a:gd name="T13" fmla="*/ 16 h 54"/>
                  <a:gd name="T14" fmla="*/ 22 w 102"/>
                  <a:gd name="T15" fmla="*/ 26 h 54"/>
                  <a:gd name="T16" fmla="*/ 22 w 102"/>
                  <a:gd name="T17" fmla="*/ 38 h 54"/>
                  <a:gd name="T18" fmla="*/ 22 w 102"/>
                  <a:gd name="T19" fmla="*/ 42 h 54"/>
                  <a:gd name="T20" fmla="*/ 24 w 102"/>
                  <a:gd name="T21" fmla="*/ 44 h 54"/>
                  <a:gd name="T22" fmla="*/ 34 w 102"/>
                  <a:gd name="T23" fmla="*/ 48 h 54"/>
                  <a:gd name="T24" fmla="*/ 34 w 102"/>
                  <a:gd name="T25" fmla="*/ 48 h 54"/>
                  <a:gd name="T26" fmla="*/ 36 w 102"/>
                  <a:gd name="T27" fmla="*/ 48 h 54"/>
                  <a:gd name="T28" fmla="*/ 40 w 102"/>
                  <a:gd name="T29" fmla="*/ 44 h 54"/>
                  <a:gd name="T30" fmla="*/ 46 w 102"/>
                  <a:gd name="T31" fmla="*/ 48 h 54"/>
                  <a:gd name="T32" fmla="*/ 46 w 102"/>
                  <a:gd name="T33" fmla="*/ 48 h 54"/>
                  <a:gd name="T34" fmla="*/ 52 w 102"/>
                  <a:gd name="T35" fmla="*/ 52 h 54"/>
                  <a:gd name="T36" fmla="*/ 54 w 102"/>
                  <a:gd name="T37" fmla="*/ 54 h 54"/>
                  <a:gd name="T38" fmla="*/ 62 w 102"/>
                  <a:gd name="T39" fmla="*/ 50 h 54"/>
                  <a:gd name="T40" fmla="*/ 76 w 102"/>
                  <a:gd name="T41" fmla="*/ 48 h 54"/>
                  <a:gd name="T42" fmla="*/ 78 w 102"/>
                  <a:gd name="T43" fmla="*/ 48 h 54"/>
                  <a:gd name="T44" fmla="*/ 88 w 102"/>
                  <a:gd name="T45" fmla="*/ 52 h 54"/>
                  <a:gd name="T46" fmla="*/ 92 w 102"/>
                  <a:gd name="T47" fmla="*/ 54 h 54"/>
                  <a:gd name="T48" fmla="*/ 96 w 102"/>
                  <a:gd name="T49" fmla="*/ 54 h 54"/>
                  <a:gd name="T50" fmla="*/ 100 w 102"/>
                  <a:gd name="T51" fmla="*/ 50 h 54"/>
                  <a:gd name="T52" fmla="*/ 102 w 102"/>
                  <a:gd name="T53" fmla="*/ 48 h 54"/>
                  <a:gd name="T54" fmla="*/ 98 w 102"/>
                  <a:gd name="T55" fmla="*/ 38 h 54"/>
                  <a:gd name="T56" fmla="*/ 98 w 102"/>
                  <a:gd name="T57" fmla="*/ 38 h 54"/>
                  <a:gd name="T58" fmla="*/ 96 w 102"/>
                  <a:gd name="T59" fmla="*/ 36 h 54"/>
                  <a:gd name="T60" fmla="*/ 96 w 102"/>
                  <a:gd name="T61" fmla="*/ 34 h 54"/>
                  <a:gd name="T62" fmla="*/ 88 w 102"/>
                  <a:gd name="T63" fmla="*/ 22 h 54"/>
                  <a:gd name="T64" fmla="*/ 88 w 102"/>
                  <a:gd name="T65" fmla="*/ 22 h 54"/>
                  <a:gd name="T66" fmla="*/ 78 w 102"/>
                  <a:gd name="T67" fmla="*/ 16 h 54"/>
                  <a:gd name="T68" fmla="*/ 76 w 102"/>
                  <a:gd name="T69" fmla="*/ 14 h 54"/>
                  <a:gd name="T70" fmla="*/ 74 w 102"/>
                  <a:gd name="T71" fmla="*/ 14 h 54"/>
                  <a:gd name="T72" fmla="*/ 62 w 102"/>
                  <a:gd name="T73" fmla="*/ 16 h 54"/>
                  <a:gd name="T74" fmla="*/ 50 w 102"/>
                  <a:gd name="T75" fmla="*/ 12 h 54"/>
                  <a:gd name="T76" fmla="*/ 42 w 102"/>
                  <a:gd name="T77" fmla="*/ 6 h 54"/>
                  <a:gd name="T78" fmla="*/ 34 w 102"/>
                  <a:gd name="T79" fmla="*/ 6 h 54"/>
                  <a:gd name="T80" fmla="*/ 32 w 102"/>
                  <a:gd name="T81" fmla="*/ 6 h 54"/>
                  <a:gd name="T82" fmla="*/ 22 w 102"/>
                  <a:gd name="T83" fmla="*/ 4 h 54"/>
                  <a:gd name="T84" fmla="*/ 16 w 102"/>
                  <a:gd name="T85" fmla="*/ 0 h 54"/>
                  <a:gd name="T86" fmla="*/ 14 w 102"/>
                  <a:gd name="T8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54">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4" name="Freeform 736"/>
              <p:cNvSpPr>
                <a:spLocks/>
              </p:cNvSpPr>
              <p:nvPr/>
            </p:nvSpPr>
            <p:spPr bwMode="auto">
              <a:xfrm>
                <a:off x="3607" y="1875"/>
                <a:ext cx="200" cy="126"/>
              </a:xfrm>
              <a:custGeom>
                <a:avLst/>
                <a:gdLst>
                  <a:gd name="T0" fmla="*/ 144 w 200"/>
                  <a:gd name="T1" fmla="*/ 126 h 126"/>
                  <a:gd name="T2" fmla="*/ 134 w 200"/>
                  <a:gd name="T3" fmla="*/ 124 h 126"/>
                  <a:gd name="T4" fmla="*/ 124 w 200"/>
                  <a:gd name="T5" fmla="*/ 124 h 126"/>
                  <a:gd name="T6" fmla="*/ 120 w 200"/>
                  <a:gd name="T7" fmla="*/ 104 h 126"/>
                  <a:gd name="T8" fmla="*/ 62 w 200"/>
                  <a:gd name="T9" fmla="*/ 78 h 126"/>
                  <a:gd name="T10" fmla="*/ 22 w 200"/>
                  <a:gd name="T11" fmla="*/ 96 h 126"/>
                  <a:gd name="T12" fmla="*/ 20 w 200"/>
                  <a:gd name="T13" fmla="*/ 96 h 126"/>
                  <a:gd name="T14" fmla="*/ 20 w 200"/>
                  <a:gd name="T15" fmla="*/ 96 h 126"/>
                  <a:gd name="T16" fmla="*/ 18 w 200"/>
                  <a:gd name="T17" fmla="*/ 94 h 126"/>
                  <a:gd name="T18" fmla="*/ 16 w 200"/>
                  <a:gd name="T19" fmla="*/ 74 h 126"/>
                  <a:gd name="T20" fmla="*/ 20 w 200"/>
                  <a:gd name="T21" fmla="*/ 66 h 126"/>
                  <a:gd name="T22" fmla="*/ 8 w 200"/>
                  <a:gd name="T23" fmla="*/ 48 h 126"/>
                  <a:gd name="T24" fmla="*/ 2 w 200"/>
                  <a:gd name="T25" fmla="*/ 50 h 126"/>
                  <a:gd name="T26" fmla="*/ 2 w 200"/>
                  <a:gd name="T27" fmla="*/ 50 h 126"/>
                  <a:gd name="T28" fmla="*/ 2 w 200"/>
                  <a:gd name="T29" fmla="*/ 50 h 126"/>
                  <a:gd name="T30" fmla="*/ 0 w 200"/>
                  <a:gd name="T31" fmla="*/ 40 h 126"/>
                  <a:gd name="T32" fmla="*/ 0 w 200"/>
                  <a:gd name="T33" fmla="*/ 40 h 126"/>
                  <a:gd name="T34" fmla="*/ 6 w 200"/>
                  <a:gd name="T35" fmla="*/ 32 h 126"/>
                  <a:gd name="T36" fmla="*/ 8 w 200"/>
                  <a:gd name="T37" fmla="*/ 32 h 126"/>
                  <a:gd name="T38" fmla="*/ 14 w 200"/>
                  <a:gd name="T39" fmla="*/ 36 h 126"/>
                  <a:gd name="T40" fmla="*/ 30 w 200"/>
                  <a:gd name="T41" fmla="*/ 30 h 126"/>
                  <a:gd name="T42" fmla="*/ 18 w 200"/>
                  <a:gd name="T43" fmla="*/ 16 h 126"/>
                  <a:gd name="T44" fmla="*/ 8 w 200"/>
                  <a:gd name="T45" fmla="*/ 16 h 126"/>
                  <a:gd name="T46" fmla="*/ 6 w 200"/>
                  <a:gd name="T47" fmla="*/ 26 h 126"/>
                  <a:gd name="T48" fmla="*/ 4 w 200"/>
                  <a:gd name="T49" fmla="*/ 28 h 126"/>
                  <a:gd name="T50" fmla="*/ 4 w 200"/>
                  <a:gd name="T51" fmla="*/ 28 h 126"/>
                  <a:gd name="T52" fmla="*/ 0 w 200"/>
                  <a:gd name="T53" fmla="*/ 22 h 126"/>
                  <a:gd name="T54" fmla="*/ 0 w 200"/>
                  <a:gd name="T55" fmla="*/ 12 h 126"/>
                  <a:gd name="T56" fmla="*/ 10 w 200"/>
                  <a:gd name="T57" fmla="*/ 6 h 126"/>
                  <a:gd name="T58" fmla="*/ 10 w 200"/>
                  <a:gd name="T59" fmla="*/ 4 h 126"/>
                  <a:gd name="T60" fmla="*/ 24 w 200"/>
                  <a:gd name="T61" fmla="*/ 4 h 126"/>
                  <a:gd name="T62" fmla="*/ 24 w 200"/>
                  <a:gd name="T63" fmla="*/ 4 h 126"/>
                  <a:gd name="T64" fmla="*/ 36 w 200"/>
                  <a:gd name="T65" fmla="*/ 10 h 126"/>
                  <a:gd name="T66" fmla="*/ 42 w 200"/>
                  <a:gd name="T67" fmla="*/ 22 h 126"/>
                  <a:gd name="T68" fmla="*/ 60 w 200"/>
                  <a:gd name="T69" fmla="*/ 24 h 126"/>
                  <a:gd name="T70" fmla="*/ 60 w 200"/>
                  <a:gd name="T71" fmla="*/ 14 h 126"/>
                  <a:gd name="T72" fmla="*/ 86 w 200"/>
                  <a:gd name="T73" fmla="*/ 0 h 126"/>
                  <a:gd name="T74" fmla="*/ 86 w 200"/>
                  <a:gd name="T75" fmla="*/ 0 h 126"/>
                  <a:gd name="T76" fmla="*/ 88 w 200"/>
                  <a:gd name="T77" fmla="*/ 0 h 126"/>
                  <a:gd name="T78" fmla="*/ 104 w 200"/>
                  <a:gd name="T79" fmla="*/ 6 h 126"/>
                  <a:gd name="T80" fmla="*/ 106 w 200"/>
                  <a:gd name="T81" fmla="*/ 8 h 126"/>
                  <a:gd name="T82" fmla="*/ 108 w 200"/>
                  <a:gd name="T83" fmla="*/ 12 h 126"/>
                  <a:gd name="T84" fmla="*/ 108 w 200"/>
                  <a:gd name="T85" fmla="*/ 24 h 126"/>
                  <a:gd name="T86" fmla="*/ 130 w 200"/>
                  <a:gd name="T87" fmla="*/ 24 h 126"/>
                  <a:gd name="T88" fmla="*/ 144 w 200"/>
                  <a:gd name="T89" fmla="*/ 48 h 126"/>
                  <a:gd name="T90" fmla="*/ 180 w 200"/>
                  <a:gd name="T91" fmla="*/ 72 h 126"/>
                  <a:gd name="T92" fmla="*/ 200 w 200"/>
                  <a:gd name="T93" fmla="*/ 80 h 126"/>
                  <a:gd name="T94" fmla="*/ 200 w 200"/>
                  <a:gd name="T95" fmla="*/ 82 h 126"/>
                  <a:gd name="T96" fmla="*/ 200 w 200"/>
                  <a:gd name="T97" fmla="*/ 90 h 126"/>
                  <a:gd name="T98" fmla="*/ 188 w 200"/>
                  <a:gd name="T99" fmla="*/ 92 h 126"/>
                  <a:gd name="T100" fmla="*/ 164 w 200"/>
                  <a:gd name="T101" fmla="*/ 112 h 126"/>
                  <a:gd name="T102" fmla="*/ 164 w 200"/>
                  <a:gd name="T103" fmla="*/ 112 h 126"/>
                  <a:gd name="T104" fmla="*/ 144 w 200"/>
                  <a:gd name="T105" fmla="*/ 126 h 126"/>
                  <a:gd name="T106" fmla="*/ 144 w 200"/>
                  <a:gd name="T10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26">
                    <a:moveTo>
                      <a:pt x="144" y="126"/>
                    </a:moveTo>
                    <a:lnTo>
                      <a:pt x="144" y="126"/>
                    </a:lnTo>
                    <a:lnTo>
                      <a:pt x="142" y="126"/>
                    </a:lnTo>
                    <a:lnTo>
                      <a:pt x="134" y="124"/>
                    </a:lnTo>
                    <a:lnTo>
                      <a:pt x="124" y="124"/>
                    </a:lnTo>
                    <a:lnTo>
                      <a:pt x="124" y="124"/>
                    </a:lnTo>
                    <a:lnTo>
                      <a:pt x="122" y="122"/>
                    </a:lnTo>
                    <a:lnTo>
                      <a:pt x="120" y="104"/>
                    </a:lnTo>
                    <a:lnTo>
                      <a:pt x="112" y="102"/>
                    </a:lnTo>
                    <a:lnTo>
                      <a:pt x="62" y="78"/>
                    </a:lnTo>
                    <a:lnTo>
                      <a:pt x="40" y="82"/>
                    </a:lnTo>
                    <a:lnTo>
                      <a:pt x="22" y="96"/>
                    </a:lnTo>
                    <a:lnTo>
                      <a:pt x="22" y="96"/>
                    </a:lnTo>
                    <a:lnTo>
                      <a:pt x="20" y="96"/>
                    </a:lnTo>
                    <a:lnTo>
                      <a:pt x="20" y="96"/>
                    </a:lnTo>
                    <a:lnTo>
                      <a:pt x="20" y="96"/>
                    </a:lnTo>
                    <a:lnTo>
                      <a:pt x="20" y="96"/>
                    </a:lnTo>
                    <a:lnTo>
                      <a:pt x="18" y="94"/>
                    </a:lnTo>
                    <a:lnTo>
                      <a:pt x="16" y="74"/>
                    </a:lnTo>
                    <a:lnTo>
                      <a:pt x="16" y="74"/>
                    </a:lnTo>
                    <a:lnTo>
                      <a:pt x="16" y="72"/>
                    </a:lnTo>
                    <a:lnTo>
                      <a:pt x="20" y="66"/>
                    </a:lnTo>
                    <a:lnTo>
                      <a:pt x="12" y="52"/>
                    </a:lnTo>
                    <a:lnTo>
                      <a:pt x="8" y="48"/>
                    </a:lnTo>
                    <a:lnTo>
                      <a:pt x="2" y="50"/>
                    </a:lnTo>
                    <a:lnTo>
                      <a:pt x="2" y="50"/>
                    </a:lnTo>
                    <a:lnTo>
                      <a:pt x="2" y="50"/>
                    </a:lnTo>
                    <a:lnTo>
                      <a:pt x="2" y="50"/>
                    </a:lnTo>
                    <a:lnTo>
                      <a:pt x="2" y="50"/>
                    </a:lnTo>
                    <a:lnTo>
                      <a:pt x="2" y="50"/>
                    </a:lnTo>
                    <a:lnTo>
                      <a:pt x="0" y="48"/>
                    </a:lnTo>
                    <a:lnTo>
                      <a:pt x="0" y="40"/>
                    </a:lnTo>
                    <a:lnTo>
                      <a:pt x="0" y="40"/>
                    </a:lnTo>
                    <a:lnTo>
                      <a:pt x="0" y="40"/>
                    </a:lnTo>
                    <a:lnTo>
                      <a:pt x="6" y="32"/>
                    </a:lnTo>
                    <a:lnTo>
                      <a:pt x="6" y="32"/>
                    </a:lnTo>
                    <a:lnTo>
                      <a:pt x="8" y="32"/>
                    </a:lnTo>
                    <a:lnTo>
                      <a:pt x="8" y="32"/>
                    </a:lnTo>
                    <a:lnTo>
                      <a:pt x="8" y="32"/>
                    </a:lnTo>
                    <a:lnTo>
                      <a:pt x="14" y="36"/>
                    </a:lnTo>
                    <a:lnTo>
                      <a:pt x="26" y="36"/>
                    </a:lnTo>
                    <a:lnTo>
                      <a:pt x="30" y="30"/>
                    </a:lnTo>
                    <a:lnTo>
                      <a:pt x="24" y="24"/>
                    </a:lnTo>
                    <a:lnTo>
                      <a:pt x="18" y="16"/>
                    </a:lnTo>
                    <a:lnTo>
                      <a:pt x="14" y="12"/>
                    </a:lnTo>
                    <a:lnTo>
                      <a:pt x="8" y="16"/>
                    </a:lnTo>
                    <a:lnTo>
                      <a:pt x="6" y="26"/>
                    </a:lnTo>
                    <a:lnTo>
                      <a:pt x="6" y="26"/>
                    </a:lnTo>
                    <a:lnTo>
                      <a:pt x="4" y="28"/>
                    </a:lnTo>
                    <a:lnTo>
                      <a:pt x="4" y="28"/>
                    </a:lnTo>
                    <a:lnTo>
                      <a:pt x="4" y="28"/>
                    </a:lnTo>
                    <a:lnTo>
                      <a:pt x="4" y="28"/>
                    </a:lnTo>
                    <a:lnTo>
                      <a:pt x="2" y="28"/>
                    </a:lnTo>
                    <a:lnTo>
                      <a:pt x="0" y="22"/>
                    </a:lnTo>
                    <a:lnTo>
                      <a:pt x="0" y="12"/>
                    </a:lnTo>
                    <a:lnTo>
                      <a:pt x="0" y="12"/>
                    </a:lnTo>
                    <a:lnTo>
                      <a:pt x="2" y="10"/>
                    </a:lnTo>
                    <a:lnTo>
                      <a:pt x="10" y="6"/>
                    </a:lnTo>
                    <a:lnTo>
                      <a:pt x="10" y="6"/>
                    </a:lnTo>
                    <a:lnTo>
                      <a:pt x="10" y="4"/>
                    </a:lnTo>
                    <a:lnTo>
                      <a:pt x="10" y="4"/>
                    </a:lnTo>
                    <a:lnTo>
                      <a:pt x="24" y="4"/>
                    </a:lnTo>
                    <a:lnTo>
                      <a:pt x="24" y="4"/>
                    </a:lnTo>
                    <a:lnTo>
                      <a:pt x="24" y="4"/>
                    </a:lnTo>
                    <a:lnTo>
                      <a:pt x="36" y="10"/>
                    </a:lnTo>
                    <a:lnTo>
                      <a:pt x="36" y="10"/>
                    </a:lnTo>
                    <a:lnTo>
                      <a:pt x="36" y="12"/>
                    </a:lnTo>
                    <a:lnTo>
                      <a:pt x="42" y="22"/>
                    </a:lnTo>
                    <a:lnTo>
                      <a:pt x="50" y="24"/>
                    </a:lnTo>
                    <a:lnTo>
                      <a:pt x="60" y="24"/>
                    </a:lnTo>
                    <a:lnTo>
                      <a:pt x="60" y="14"/>
                    </a:lnTo>
                    <a:lnTo>
                      <a:pt x="60" y="14"/>
                    </a:lnTo>
                    <a:lnTo>
                      <a:pt x="62" y="12"/>
                    </a:lnTo>
                    <a:lnTo>
                      <a:pt x="86" y="0"/>
                    </a:lnTo>
                    <a:lnTo>
                      <a:pt x="86" y="0"/>
                    </a:lnTo>
                    <a:lnTo>
                      <a:pt x="86" y="0"/>
                    </a:lnTo>
                    <a:lnTo>
                      <a:pt x="86" y="0"/>
                    </a:lnTo>
                    <a:lnTo>
                      <a:pt x="88" y="0"/>
                    </a:lnTo>
                    <a:lnTo>
                      <a:pt x="94" y="4"/>
                    </a:lnTo>
                    <a:lnTo>
                      <a:pt x="104" y="6"/>
                    </a:lnTo>
                    <a:lnTo>
                      <a:pt x="104" y="6"/>
                    </a:lnTo>
                    <a:lnTo>
                      <a:pt x="106" y="8"/>
                    </a:lnTo>
                    <a:lnTo>
                      <a:pt x="108" y="12"/>
                    </a:lnTo>
                    <a:lnTo>
                      <a:pt x="108" y="12"/>
                    </a:lnTo>
                    <a:lnTo>
                      <a:pt x="108" y="12"/>
                    </a:lnTo>
                    <a:lnTo>
                      <a:pt x="108" y="24"/>
                    </a:lnTo>
                    <a:lnTo>
                      <a:pt x="130" y="24"/>
                    </a:lnTo>
                    <a:lnTo>
                      <a:pt x="130" y="24"/>
                    </a:lnTo>
                    <a:lnTo>
                      <a:pt x="132" y="26"/>
                    </a:lnTo>
                    <a:lnTo>
                      <a:pt x="144" y="48"/>
                    </a:lnTo>
                    <a:lnTo>
                      <a:pt x="160" y="58"/>
                    </a:lnTo>
                    <a:lnTo>
                      <a:pt x="180" y="72"/>
                    </a:lnTo>
                    <a:lnTo>
                      <a:pt x="190" y="74"/>
                    </a:lnTo>
                    <a:lnTo>
                      <a:pt x="200" y="80"/>
                    </a:lnTo>
                    <a:lnTo>
                      <a:pt x="200" y="80"/>
                    </a:lnTo>
                    <a:lnTo>
                      <a:pt x="200" y="82"/>
                    </a:lnTo>
                    <a:lnTo>
                      <a:pt x="200" y="90"/>
                    </a:lnTo>
                    <a:lnTo>
                      <a:pt x="200" y="90"/>
                    </a:lnTo>
                    <a:lnTo>
                      <a:pt x="198" y="92"/>
                    </a:lnTo>
                    <a:lnTo>
                      <a:pt x="188" y="92"/>
                    </a:lnTo>
                    <a:lnTo>
                      <a:pt x="174" y="96"/>
                    </a:lnTo>
                    <a:lnTo>
                      <a:pt x="164" y="112"/>
                    </a:lnTo>
                    <a:lnTo>
                      <a:pt x="164" y="112"/>
                    </a:lnTo>
                    <a:lnTo>
                      <a:pt x="164" y="112"/>
                    </a:lnTo>
                    <a:lnTo>
                      <a:pt x="154" y="116"/>
                    </a:lnTo>
                    <a:lnTo>
                      <a:pt x="144" y="126"/>
                    </a:lnTo>
                    <a:lnTo>
                      <a:pt x="144" y="126"/>
                    </a:lnTo>
                    <a:lnTo>
                      <a:pt x="144" y="126"/>
                    </a:lnTo>
                    <a:lnTo>
                      <a:pt x="144" y="1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5" name="Freeform 737"/>
              <p:cNvSpPr>
                <a:spLocks noEditPoints="1"/>
              </p:cNvSpPr>
              <p:nvPr/>
            </p:nvSpPr>
            <p:spPr bwMode="auto">
              <a:xfrm>
                <a:off x="3605" y="1873"/>
                <a:ext cx="204" cy="130"/>
              </a:xfrm>
              <a:custGeom>
                <a:avLst/>
                <a:gdLst>
                  <a:gd name="T0" fmla="*/ 106 w 204"/>
                  <a:gd name="T1" fmla="*/ 10 h 130"/>
                  <a:gd name="T2" fmla="*/ 132 w 204"/>
                  <a:gd name="T3" fmla="*/ 28 h 130"/>
                  <a:gd name="T4" fmla="*/ 180 w 204"/>
                  <a:gd name="T5" fmla="*/ 76 h 130"/>
                  <a:gd name="T6" fmla="*/ 200 w 204"/>
                  <a:gd name="T7" fmla="*/ 92 h 130"/>
                  <a:gd name="T8" fmla="*/ 164 w 204"/>
                  <a:gd name="T9" fmla="*/ 112 h 130"/>
                  <a:gd name="T10" fmla="*/ 136 w 204"/>
                  <a:gd name="T11" fmla="*/ 124 h 130"/>
                  <a:gd name="T12" fmla="*/ 116 w 204"/>
                  <a:gd name="T13" fmla="*/ 102 h 130"/>
                  <a:gd name="T14" fmla="*/ 22 w 204"/>
                  <a:gd name="T15" fmla="*/ 96 h 130"/>
                  <a:gd name="T16" fmla="*/ 14 w 204"/>
                  <a:gd name="T17" fmla="*/ 54 h 130"/>
                  <a:gd name="T18" fmla="*/ 4 w 204"/>
                  <a:gd name="T19" fmla="*/ 42 h 130"/>
                  <a:gd name="T20" fmla="*/ 28 w 204"/>
                  <a:gd name="T21" fmla="*/ 40 h 130"/>
                  <a:gd name="T22" fmla="*/ 22 w 204"/>
                  <a:gd name="T23" fmla="*/ 18 h 130"/>
                  <a:gd name="T24" fmla="*/ 6 w 204"/>
                  <a:gd name="T25" fmla="*/ 28 h 130"/>
                  <a:gd name="T26" fmla="*/ 14 w 204"/>
                  <a:gd name="T27" fmla="*/ 8 h 130"/>
                  <a:gd name="T28" fmla="*/ 44 w 204"/>
                  <a:gd name="T29" fmla="*/ 26 h 130"/>
                  <a:gd name="T30" fmla="*/ 64 w 204"/>
                  <a:gd name="T31" fmla="*/ 16 h 130"/>
                  <a:gd name="T32" fmla="*/ 88 w 204"/>
                  <a:gd name="T33" fmla="*/ 0 h 130"/>
                  <a:gd name="T34" fmla="*/ 62 w 204"/>
                  <a:gd name="T35" fmla="*/ 12 h 130"/>
                  <a:gd name="T36" fmla="*/ 52 w 204"/>
                  <a:gd name="T37" fmla="*/ 24 h 130"/>
                  <a:gd name="T38" fmla="*/ 40 w 204"/>
                  <a:gd name="T39" fmla="*/ 12 h 130"/>
                  <a:gd name="T40" fmla="*/ 28 w 204"/>
                  <a:gd name="T41" fmla="*/ 4 h 130"/>
                  <a:gd name="T42" fmla="*/ 24 w 204"/>
                  <a:gd name="T43" fmla="*/ 4 h 130"/>
                  <a:gd name="T44" fmla="*/ 12 w 204"/>
                  <a:gd name="T45" fmla="*/ 6 h 130"/>
                  <a:gd name="T46" fmla="*/ 0 w 204"/>
                  <a:gd name="T47" fmla="*/ 14 h 130"/>
                  <a:gd name="T48" fmla="*/ 0 w 204"/>
                  <a:gd name="T49" fmla="*/ 24 h 130"/>
                  <a:gd name="T50" fmla="*/ 4 w 204"/>
                  <a:gd name="T51" fmla="*/ 32 h 130"/>
                  <a:gd name="T52" fmla="*/ 6 w 204"/>
                  <a:gd name="T53" fmla="*/ 32 h 130"/>
                  <a:gd name="T54" fmla="*/ 8 w 204"/>
                  <a:gd name="T55" fmla="*/ 32 h 130"/>
                  <a:gd name="T56" fmla="*/ 2 w 204"/>
                  <a:gd name="T57" fmla="*/ 40 h 130"/>
                  <a:gd name="T58" fmla="*/ 0 w 204"/>
                  <a:gd name="T59" fmla="*/ 50 h 130"/>
                  <a:gd name="T60" fmla="*/ 4 w 204"/>
                  <a:gd name="T61" fmla="*/ 54 h 130"/>
                  <a:gd name="T62" fmla="*/ 10 w 204"/>
                  <a:gd name="T63" fmla="*/ 52 h 130"/>
                  <a:gd name="T64" fmla="*/ 16 w 204"/>
                  <a:gd name="T65" fmla="*/ 72 h 130"/>
                  <a:gd name="T66" fmla="*/ 18 w 204"/>
                  <a:gd name="T67" fmla="*/ 96 h 130"/>
                  <a:gd name="T68" fmla="*/ 20 w 204"/>
                  <a:gd name="T69" fmla="*/ 100 h 130"/>
                  <a:gd name="T70" fmla="*/ 24 w 204"/>
                  <a:gd name="T71" fmla="*/ 100 h 130"/>
                  <a:gd name="T72" fmla="*/ 114 w 204"/>
                  <a:gd name="T73" fmla="*/ 106 h 130"/>
                  <a:gd name="T74" fmla="*/ 120 w 204"/>
                  <a:gd name="T75" fmla="*/ 106 h 130"/>
                  <a:gd name="T76" fmla="*/ 124 w 204"/>
                  <a:gd name="T77" fmla="*/ 126 h 130"/>
                  <a:gd name="T78" fmla="*/ 144 w 204"/>
                  <a:gd name="T79" fmla="*/ 130 h 130"/>
                  <a:gd name="T80" fmla="*/ 146 w 204"/>
                  <a:gd name="T81" fmla="*/ 130 h 130"/>
                  <a:gd name="T82" fmla="*/ 166 w 204"/>
                  <a:gd name="T83" fmla="*/ 116 h 130"/>
                  <a:gd name="T84" fmla="*/ 178 w 204"/>
                  <a:gd name="T85" fmla="*/ 100 h 130"/>
                  <a:gd name="T86" fmla="*/ 200 w 204"/>
                  <a:gd name="T87" fmla="*/ 96 h 130"/>
                  <a:gd name="T88" fmla="*/ 204 w 204"/>
                  <a:gd name="T89" fmla="*/ 84 h 130"/>
                  <a:gd name="T90" fmla="*/ 194 w 204"/>
                  <a:gd name="T91" fmla="*/ 76 h 130"/>
                  <a:gd name="T92" fmla="*/ 182 w 204"/>
                  <a:gd name="T93" fmla="*/ 74 h 130"/>
                  <a:gd name="T94" fmla="*/ 134 w 204"/>
                  <a:gd name="T95" fmla="*/ 26 h 130"/>
                  <a:gd name="T96" fmla="*/ 112 w 204"/>
                  <a:gd name="T97" fmla="*/ 24 h 130"/>
                  <a:gd name="T98" fmla="*/ 112 w 204"/>
                  <a:gd name="T99" fmla="*/ 12 h 130"/>
                  <a:gd name="T100" fmla="*/ 108 w 204"/>
                  <a:gd name="T101" fmla="*/ 6 h 130"/>
                  <a:gd name="T102" fmla="*/ 92 w 204"/>
                  <a:gd name="T103" fmla="*/ 0 h 130"/>
                  <a:gd name="T104" fmla="*/ 12 w 204"/>
                  <a:gd name="T105" fmla="*/ 18 h 130"/>
                  <a:gd name="T106" fmla="*/ 24 w 204"/>
                  <a:gd name="T107" fmla="*/ 28 h 130"/>
                  <a:gd name="T108" fmla="*/ 28 w 204"/>
                  <a:gd name="T109" fmla="*/ 32 h 130"/>
                  <a:gd name="T110" fmla="*/ 12 w 204"/>
                  <a:gd name="T111" fmla="*/ 32 h 130"/>
                  <a:gd name="T112" fmla="*/ 10 w 204"/>
                  <a:gd name="T113" fmla="*/ 32 h 130"/>
                  <a:gd name="T114" fmla="*/ 10 w 204"/>
                  <a:gd name="T115"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0">
                    <a:moveTo>
                      <a:pt x="88" y="4"/>
                    </a:moveTo>
                    <a:lnTo>
                      <a:pt x="94" y="8"/>
                    </a:lnTo>
                    <a:lnTo>
                      <a:pt x="106" y="10"/>
                    </a:lnTo>
                    <a:lnTo>
                      <a:pt x="108" y="14"/>
                    </a:lnTo>
                    <a:lnTo>
                      <a:pt x="108" y="28"/>
                    </a:lnTo>
                    <a:lnTo>
                      <a:pt x="132" y="28"/>
                    </a:lnTo>
                    <a:lnTo>
                      <a:pt x="144" y="52"/>
                    </a:lnTo>
                    <a:lnTo>
                      <a:pt x="162" y="62"/>
                    </a:lnTo>
                    <a:lnTo>
                      <a:pt x="180" y="76"/>
                    </a:lnTo>
                    <a:lnTo>
                      <a:pt x="192" y="78"/>
                    </a:lnTo>
                    <a:lnTo>
                      <a:pt x="200" y="84"/>
                    </a:lnTo>
                    <a:lnTo>
                      <a:pt x="200" y="92"/>
                    </a:lnTo>
                    <a:lnTo>
                      <a:pt x="190" y="92"/>
                    </a:lnTo>
                    <a:lnTo>
                      <a:pt x="176" y="96"/>
                    </a:lnTo>
                    <a:lnTo>
                      <a:pt x="164" y="112"/>
                    </a:lnTo>
                    <a:lnTo>
                      <a:pt x="154" y="116"/>
                    </a:lnTo>
                    <a:lnTo>
                      <a:pt x="146" y="126"/>
                    </a:lnTo>
                    <a:lnTo>
                      <a:pt x="136" y="124"/>
                    </a:lnTo>
                    <a:lnTo>
                      <a:pt x="126" y="124"/>
                    </a:lnTo>
                    <a:lnTo>
                      <a:pt x="124" y="104"/>
                    </a:lnTo>
                    <a:lnTo>
                      <a:pt x="116" y="102"/>
                    </a:lnTo>
                    <a:lnTo>
                      <a:pt x="64" y="78"/>
                    </a:lnTo>
                    <a:lnTo>
                      <a:pt x="42" y="82"/>
                    </a:lnTo>
                    <a:lnTo>
                      <a:pt x="22" y="96"/>
                    </a:lnTo>
                    <a:lnTo>
                      <a:pt x="20" y="76"/>
                    </a:lnTo>
                    <a:lnTo>
                      <a:pt x="26" y="68"/>
                    </a:lnTo>
                    <a:lnTo>
                      <a:pt x="14" y="54"/>
                    </a:lnTo>
                    <a:lnTo>
                      <a:pt x="12" y="48"/>
                    </a:lnTo>
                    <a:lnTo>
                      <a:pt x="4" y="50"/>
                    </a:lnTo>
                    <a:lnTo>
                      <a:pt x="4" y="42"/>
                    </a:lnTo>
                    <a:lnTo>
                      <a:pt x="10" y="36"/>
                    </a:lnTo>
                    <a:lnTo>
                      <a:pt x="14" y="40"/>
                    </a:lnTo>
                    <a:lnTo>
                      <a:pt x="28" y="40"/>
                    </a:lnTo>
                    <a:lnTo>
                      <a:pt x="34" y="32"/>
                    </a:lnTo>
                    <a:lnTo>
                      <a:pt x="28" y="24"/>
                    </a:lnTo>
                    <a:lnTo>
                      <a:pt x="22" y="18"/>
                    </a:lnTo>
                    <a:lnTo>
                      <a:pt x="16" y="12"/>
                    </a:lnTo>
                    <a:lnTo>
                      <a:pt x="8" y="16"/>
                    </a:lnTo>
                    <a:lnTo>
                      <a:pt x="6" y="28"/>
                    </a:lnTo>
                    <a:lnTo>
                      <a:pt x="4" y="24"/>
                    </a:lnTo>
                    <a:lnTo>
                      <a:pt x="4" y="14"/>
                    </a:lnTo>
                    <a:lnTo>
                      <a:pt x="14" y="8"/>
                    </a:lnTo>
                    <a:lnTo>
                      <a:pt x="26" y="8"/>
                    </a:lnTo>
                    <a:lnTo>
                      <a:pt x="36" y="14"/>
                    </a:lnTo>
                    <a:lnTo>
                      <a:pt x="44" y="26"/>
                    </a:lnTo>
                    <a:lnTo>
                      <a:pt x="52" y="28"/>
                    </a:lnTo>
                    <a:lnTo>
                      <a:pt x="64" y="26"/>
                    </a:lnTo>
                    <a:lnTo>
                      <a:pt x="64" y="16"/>
                    </a:lnTo>
                    <a:lnTo>
                      <a:pt x="88" y="4"/>
                    </a:lnTo>
                    <a:close/>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close/>
                    <a:moveTo>
                      <a:pt x="12" y="18"/>
                    </a:moveTo>
                    <a:lnTo>
                      <a:pt x="16" y="18"/>
                    </a:lnTo>
                    <a:lnTo>
                      <a:pt x="18" y="20"/>
                    </a:lnTo>
                    <a:lnTo>
                      <a:pt x="24" y="28"/>
                    </a:lnTo>
                    <a:lnTo>
                      <a:pt x="24" y="28"/>
                    </a:lnTo>
                    <a:lnTo>
                      <a:pt x="24" y="28"/>
                    </a:lnTo>
                    <a:lnTo>
                      <a:pt x="28" y="32"/>
                    </a:lnTo>
                    <a:lnTo>
                      <a:pt x="26" y="36"/>
                    </a:lnTo>
                    <a:lnTo>
                      <a:pt x="16" y="36"/>
                    </a:lnTo>
                    <a:lnTo>
                      <a:pt x="12" y="32"/>
                    </a:lnTo>
                    <a:lnTo>
                      <a:pt x="12" y="32"/>
                    </a:lnTo>
                    <a:lnTo>
                      <a:pt x="10" y="32"/>
                    </a:lnTo>
                    <a:lnTo>
                      <a:pt x="10" y="32"/>
                    </a:lnTo>
                    <a:lnTo>
                      <a:pt x="8" y="32"/>
                    </a:lnTo>
                    <a:lnTo>
                      <a:pt x="8" y="32"/>
                    </a:lnTo>
                    <a:lnTo>
                      <a:pt x="10" y="30"/>
                    </a:lnTo>
                    <a:lnTo>
                      <a:pt x="12" y="18"/>
                    </a:lnTo>
                    <a:lnTo>
                      <a:pt x="12"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6" name="Freeform 738"/>
              <p:cNvSpPr>
                <a:spLocks/>
              </p:cNvSpPr>
              <p:nvPr/>
            </p:nvSpPr>
            <p:spPr bwMode="auto">
              <a:xfrm>
                <a:off x="3609" y="1877"/>
                <a:ext cx="196" cy="122"/>
              </a:xfrm>
              <a:custGeom>
                <a:avLst/>
                <a:gdLst>
                  <a:gd name="T0" fmla="*/ 84 w 196"/>
                  <a:gd name="T1" fmla="*/ 0 h 122"/>
                  <a:gd name="T2" fmla="*/ 90 w 196"/>
                  <a:gd name="T3" fmla="*/ 4 h 122"/>
                  <a:gd name="T4" fmla="*/ 102 w 196"/>
                  <a:gd name="T5" fmla="*/ 6 h 122"/>
                  <a:gd name="T6" fmla="*/ 104 w 196"/>
                  <a:gd name="T7" fmla="*/ 10 h 122"/>
                  <a:gd name="T8" fmla="*/ 104 w 196"/>
                  <a:gd name="T9" fmla="*/ 24 h 122"/>
                  <a:gd name="T10" fmla="*/ 128 w 196"/>
                  <a:gd name="T11" fmla="*/ 24 h 122"/>
                  <a:gd name="T12" fmla="*/ 140 w 196"/>
                  <a:gd name="T13" fmla="*/ 48 h 122"/>
                  <a:gd name="T14" fmla="*/ 158 w 196"/>
                  <a:gd name="T15" fmla="*/ 58 h 122"/>
                  <a:gd name="T16" fmla="*/ 176 w 196"/>
                  <a:gd name="T17" fmla="*/ 72 h 122"/>
                  <a:gd name="T18" fmla="*/ 188 w 196"/>
                  <a:gd name="T19" fmla="*/ 74 h 122"/>
                  <a:gd name="T20" fmla="*/ 196 w 196"/>
                  <a:gd name="T21" fmla="*/ 80 h 122"/>
                  <a:gd name="T22" fmla="*/ 196 w 196"/>
                  <a:gd name="T23" fmla="*/ 88 h 122"/>
                  <a:gd name="T24" fmla="*/ 186 w 196"/>
                  <a:gd name="T25" fmla="*/ 88 h 122"/>
                  <a:gd name="T26" fmla="*/ 172 w 196"/>
                  <a:gd name="T27" fmla="*/ 92 h 122"/>
                  <a:gd name="T28" fmla="*/ 160 w 196"/>
                  <a:gd name="T29" fmla="*/ 108 h 122"/>
                  <a:gd name="T30" fmla="*/ 150 w 196"/>
                  <a:gd name="T31" fmla="*/ 112 h 122"/>
                  <a:gd name="T32" fmla="*/ 142 w 196"/>
                  <a:gd name="T33" fmla="*/ 122 h 122"/>
                  <a:gd name="T34" fmla="*/ 132 w 196"/>
                  <a:gd name="T35" fmla="*/ 120 h 122"/>
                  <a:gd name="T36" fmla="*/ 122 w 196"/>
                  <a:gd name="T37" fmla="*/ 120 h 122"/>
                  <a:gd name="T38" fmla="*/ 120 w 196"/>
                  <a:gd name="T39" fmla="*/ 100 h 122"/>
                  <a:gd name="T40" fmla="*/ 112 w 196"/>
                  <a:gd name="T41" fmla="*/ 98 h 122"/>
                  <a:gd name="T42" fmla="*/ 60 w 196"/>
                  <a:gd name="T43" fmla="*/ 74 h 122"/>
                  <a:gd name="T44" fmla="*/ 38 w 196"/>
                  <a:gd name="T45" fmla="*/ 78 h 122"/>
                  <a:gd name="T46" fmla="*/ 18 w 196"/>
                  <a:gd name="T47" fmla="*/ 92 h 122"/>
                  <a:gd name="T48" fmla="*/ 16 w 196"/>
                  <a:gd name="T49" fmla="*/ 72 h 122"/>
                  <a:gd name="T50" fmla="*/ 22 w 196"/>
                  <a:gd name="T51" fmla="*/ 64 h 122"/>
                  <a:gd name="T52" fmla="*/ 10 w 196"/>
                  <a:gd name="T53" fmla="*/ 50 h 122"/>
                  <a:gd name="T54" fmla="*/ 8 w 196"/>
                  <a:gd name="T55" fmla="*/ 44 h 122"/>
                  <a:gd name="T56" fmla="*/ 0 w 196"/>
                  <a:gd name="T57" fmla="*/ 46 h 122"/>
                  <a:gd name="T58" fmla="*/ 0 w 196"/>
                  <a:gd name="T59" fmla="*/ 38 h 122"/>
                  <a:gd name="T60" fmla="*/ 6 w 196"/>
                  <a:gd name="T61" fmla="*/ 32 h 122"/>
                  <a:gd name="T62" fmla="*/ 10 w 196"/>
                  <a:gd name="T63" fmla="*/ 36 h 122"/>
                  <a:gd name="T64" fmla="*/ 24 w 196"/>
                  <a:gd name="T65" fmla="*/ 36 h 122"/>
                  <a:gd name="T66" fmla="*/ 30 w 196"/>
                  <a:gd name="T67" fmla="*/ 28 h 122"/>
                  <a:gd name="T68" fmla="*/ 24 w 196"/>
                  <a:gd name="T69" fmla="*/ 20 h 122"/>
                  <a:gd name="T70" fmla="*/ 18 w 196"/>
                  <a:gd name="T71" fmla="*/ 14 h 122"/>
                  <a:gd name="T72" fmla="*/ 12 w 196"/>
                  <a:gd name="T73" fmla="*/ 8 h 122"/>
                  <a:gd name="T74" fmla="*/ 4 w 196"/>
                  <a:gd name="T75" fmla="*/ 12 h 122"/>
                  <a:gd name="T76" fmla="*/ 2 w 196"/>
                  <a:gd name="T77" fmla="*/ 24 h 122"/>
                  <a:gd name="T78" fmla="*/ 0 w 196"/>
                  <a:gd name="T79" fmla="*/ 20 h 122"/>
                  <a:gd name="T80" fmla="*/ 0 w 196"/>
                  <a:gd name="T81" fmla="*/ 10 h 122"/>
                  <a:gd name="T82" fmla="*/ 10 w 196"/>
                  <a:gd name="T83" fmla="*/ 4 h 122"/>
                  <a:gd name="T84" fmla="*/ 22 w 196"/>
                  <a:gd name="T85" fmla="*/ 4 h 122"/>
                  <a:gd name="T86" fmla="*/ 32 w 196"/>
                  <a:gd name="T87" fmla="*/ 10 h 122"/>
                  <a:gd name="T88" fmla="*/ 40 w 196"/>
                  <a:gd name="T89" fmla="*/ 22 h 122"/>
                  <a:gd name="T90" fmla="*/ 48 w 196"/>
                  <a:gd name="T91" fmla="*/ 24 h 122"/>
                  <a:gd name="T92" fmla="*/ 60 w 196"/>
                  <a:gd name="T93" fmla="*/ 22 h 122"/>
                  <a:gd name="T94" fmla="*/ 60 w 196"/>
                  <a:gd name="T95" fmla="*/ 12 h 122"/>
                  <a:gd name="T96" fmla="*/ 84 w 196"/>
                  <a:gd name="T9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2">
                    <a:moveTo>
                      <a:pt x="84" y="0"/>
                    </a:moveTo>
                    <a:lnTo>
                      <a:pt x="90" y="4"/>
                    </a:lnTo>
                    <a:lnTo>
                      <a:pt x="102" y="6"/>
                    </a:lnTo>
                    <a:lnTo>
                      <a:pt x="104" y="10"/>
                    </a:lnTo>
                    <a:lnTo>
                      <a:pt x="104" y="24"/>
                    </a:lnTo>
                    <a:lnTo>
                      <a:pt x="128" y="24"/>
                    </a:lnTo>
                    <a:lnTo>
                      <a:pt x="140" y="48"/>
                    </a:lnTo>
                    <a:lnTo>
                      <a:pt x="158" y="58"/>
                    </a:lnTo>
                    <a:lnTo>
                      <a:pt x="176" y="72"/>
                    </a:lnTo>
                    <a:lnTo>
                      <a:pt x="188" y="74"/>
                    </a:lnTo>
                    <a:lnTo>
                      <a:pt x="196" y="80"/>
                    </a:lnTo>
                    <a:lnTo>
                      <a:pt x="196" y="88"/>
                    </a:lnTo>
                    <a:lnTo>
                      <a:pt x="186" y="88"/>
                    </a:lnTo>
                    <a:lnTo>
                      <a:pt x="172" y="92"/>
                    </a:lnTo>
                    <a:lnTo>
                      <a:pt x="160" y="108"/>
                    </a:lnTo>
                    <a:lnTo>
                      <a:pt x="150" y="112"/>
                    </a:lnTo>
                    <a:lnTo>
                      <a:pt x="142" y="122"/>
                    </a:lnTo>
                    <a:lnTo>
                      <a:pt x="132" y="120"/>
                    </a:lnTo>
                    <a:lnTo>
                      <a:pt x="122" y="120"/>
                    </a:lnTo>
                    <a:lnTo>
                      <a:pt x="120" y="100"/>
                    </a:lnTo>
                    <a:lnTo>
                      <a:pt x="112" y="98"/>
                    </a:lnTo>
                    <a:lnTo>
                      <a:pt x="60" y="74"/>
                    </a:lnTo>
                    <a:lnTo>
                      <a:pt x="38" y="78"/>
                    </a:lnTo>
                    <a:lnTo>
                      <a:pt x="18" y="92"/>
                    </a:lnTo>
                    <a:lnTo>
                      <a:pt x="16" y="72"/>
                    </a:lnTo>
                    <a:lnTo>
                      <a:pt x="22" y="64"/>
                    </a:lnTo>
                    <a:lnTo>
                      <a:pt x="10" y="50"/>
                    </a:lnTo>
                    <a:lnTo>
                      <a:pt x="8" y="44"/>
                    </a:lnTo>
                    <a:lnTo>
                      <a:pt x="0" y="46"/>
                    </a:lnTo>
                    <a:lnTo>
                      <a:pt x="0" y="38"/>
                    </a:lnTo>
                    <a:lnTo>
                      <a:pt x="6" y="32"/>
                    </a:lnTo>
                    <a:lnTo>
                      <a:pt x="10" y="36"/>
                    </a:lnTo>
                    <a:lnTo>
                      <a:pt x="24" y="36"/>
                    </a:lnTo>
                    <a:lnTo>
                      <a:pt x="30" y="28"/>
                    </a:lnTo>
                    <a:lnTo>
                      <a:pt x="24" y="20"/>
                    </a:lnTo>
                    <a:lnTo>
                      <a:pt x="18" y="14"/>
                    </a:lnTo>
                    <a:lnTo>
                      <a:pt x="12" y="8"/>
                    </a:lnTo>
                    <a:lnTo>
                      <a:pt x="4" y="12"/>
                    </a:lnTo>
                    <a:lnTo>
                      <a:pt x="2" y="24"/>
                    </a:lnTo>
                    <a:lnTo>
                      <a:pt x="0" y="20"/>
                    </a:lnTo>
                    <a:lnTo>
                      <a:pt x="0" y="10"/>
                    </a:lnTo>
                    <a:lnTo>
                      <a:pt x="10" y="4"/>
                    </a:lnTo>
                    <a:lnTo>
                      <a:pt x="22" y="4"/>
                    </a:lnTo>
                    <a:lnTo>
                      <a:pt x="32" y="10"/>
                    </a:lnTo>
                    <a:lnTo>
                      <a:pt x="40" y="22"/>
                    </a:lnTo>
                    <a:lnTo>
                      <a:pt x="48" y="24"/>
                    </a:lnTo>
                    <a:lnTo>
                      <a:pt x="60" y="22"/>
                    </a:lnTo>
                    <a:lnTo>
                      <a:pt x="60" y="1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7" name="Freeform 739"/>
              <p:cNvSpPr>
                <a:spLocks/>
              </p:cNvSpPr>
              <p:nvPr/>
            </p:nvSpPr>
            <p:spPr bwMode="auto">
              <a:xfrm>
                <a:off x="3605" y="1873"/>
                <a:ext cx="204" cy="130"/>
              </a:xfrm>
              <a:custGeom>
                <a:avLst/>
                <a:gdLst>
                  <a:gd name="T0" fmla="*/ 88 w 204"/>
                  <a:gd name="T1" fmla="*/ 0 h 130"/>
                  <a:gd name="T2" fmla="*/ 62 w 204"/>
                  <a:gd name="T3" fmla="*/ 12 h 130"/>
                  <a:gd name="T4" fmla="*/ 60 w 204"/>
                  <a:gd name="T5" fmla="*/ 16 h 130"/>
                  <a:gd name="T6" fmla="*/ 52 w 204"/>
                  <a:gd name="T7" fmla="*/ 24 h 130"/>
                  <a:gd name="T8" fmla="*/ 40 w 204"/>
                  <a:gd name="T9" fmla="*/ 12 h 130"/>
                  <a:gd name="T10" fmla="*/ 38 w 204"/>
                  <a:gd name="T11" fmla="*/ 10 h 130"/>
                  <a:gd name="T12" fmla="*/ 28 w 204"/>
                  <a:gd name="T13" fmla="*/ 4 h 130"/>
                  <a:gd name="T14" fmla="*/ 26 w 204"/>
                  <a:gd name="T15" fmla="*/ 4 h 130"/>
                  <a:gd name="T16" fmla="*/ 12 w 204"/>
                  <a:gd name="T17" fmla="*/ 4 h 130"/>
                  <a:gd name="T18" fmla="*/ 12 w 204"/>
                  <a:gd name="T19" fmla="*/ 6 h 130"/>
                  <a:gd name="T20" fmla="*/ 2 w 204"/>
                  <a:gd name="T21" fmla="*/ 10 h 130"/>
                  <a:gd name="T22" fmla="*/ 0 w 204"/>
                  <a:gd name="T23" fmla="*/ 24 h 130"/>
                  <a:gd name="T24" fmla="*/ 0 w 204"/>
                  <a:gd name="T25" fmla="*/ 24 h 130"/>
                  <a:gd name="T26" fmla="*/ 2 w 204"/>
                  <a:gd name="T27" fmla="*/ 30 h 130"/>
                  <a:gd name="T28" fmla="*/ 6 w 204"/>
                  <a:gd name="T29" fmla="*/ 32 h 130"/>
                  <a:gd name="T30" fmla="*/ 6 w 204"/>
                  <a:gd name="T31" fmla="*/ 32 h 130"/>
                  <a:gd name="T32" fmla="*/ 8 w 204"/>
                  <a:gd name="T33" fmla="*/ 32 h 130"/>
                  <a:gd name="T34" fmla="*/ 6 w 204"/>
                  <a:gd name="T35" fmla="*/ 34 h 130"/>
                  <a:gd name="T36" fmla="*/ 2 w 204"/>
                  <a:gd name="T37" fmla="*/ 40 h 130"/>
                  <a:gd name="T38" fmla="*/ 0 w 204"/>
                  <a:gd name="T39" fmla="*/ 50 h 130"/>
                  <a:gd name="T40" fmla="*/ 2 w 204"/>
                  <a:gd name="T41" fmla="*/ 54 h 130"/>
                  <a:gd name="T42" fmla="*/ 4 w 204"/>
                  <a:gd name="T43" fmla="*/ 54 h 130"/>
                  <a:gd name="T44" fmla="*/ 6 w 204"/>
                  <a:gd name="T45" fmla="*/ 54 h 130"/>
                  <a:gd name="T46" fmla="*/ 12 w 204"/>
                  <a:gd name="T47" fmla="*/ 56 h 130"/>
                  <a:gd name="T48" fmla="*/ 16 w 204"/>
                  <a:gd name="T49" fmla="*/ 72 h 130"/>
                  <a:gd name="T50" fmla="*/ 16 w 204"/>
                  <a:gd name="T51" fmla="*/ 76 h 130"/>
                  <a:gd name="T52" fmla="*/ 18 w 204"/>
                  <a:gd name="T53" fmla="*/ 96 h 130"/>
                  <a:gd name="T54" fmla="*/ 20 w 204"/>
                  <a:gd name="T55" fmla="*/ 100 h 130"/>
                  <a:gd name="T56" fmla="*/ 22 w 204"/>
                  <a:gd name="T57" fmla="*/ 100 h 130"/>
                  <a:gd name="T58" fmla="*/ 42 w 204"/>
                  <a:gd name="T59" fmla="*/ 86 h 130"/>
                  <a:gd name="T60" fmla="*/ 114 w 204"/>
                  <a:gd name="T61" fmla="*/ 106 h 130"/>
                  <a:gd name="T62" fmla="*/ 114 w 204"/>
                  <a:gd name="T63" fmla="*/ 106 h 130"/>
                  <a:gd name="T64" fmla="*/ 122 w 204"/>
                  <a:gd name="T65" fmla="*/ 124 h 130"/>
                  <a:gd name="T66" fmla="*/ 124 w 204"/>
                  <a:gd name="T67" fmla="*/ 126 h 130"/>
                  <a:gd name="T68" fmla="*/ 136 w 204"/>
                  <a:gd name="T69" fmla="*/ 128 h 130"/>
                  <a:gd name="T70" fmla="*/ 144 w 204"/>
                  <a:gd name="T71" fmla="*/ 130 h 130"/>
                  <a:gd name="T72" fmla="*/ 146 w 204"/>
                  <a:gd name="T73" fmla="*/ 130 h 130"/>
                  <a:gd name="T74" fmla="*/ 156 w 204"/>
                  <a:gd name="T75" fmla="*/ 120 h 130"/>
                  <a:gd name="T76" fmla="*/ 166 w 204"/>
                  <a:gd name="T77" fmla="*/ 116 h 130"/>
                  <a:gd name="T78" fmla="*/ 178 w 204"/>
                  <a:gd name="T79" fmla="*/ 100 h 130"/>
                  <a:gd name="T80" fmla="*/ 200 w 204"/>
                  <a:gd name="T81" fmla="*/ 96 h 130"/>
                  <a:gd name="T82" fmla="*/ 202 w 204"/>
                  <a:gd name="T83" fmla="*/ 94 h 130"/>
                  <a:gd name="T84" fmla="*/ 204 w 204"/>
                  <a:gd name="T85" fmla="*/ 84 h 130"/>
                  <a:gd name="T86" fmla="*/ 202 w 204"/>
                  <a:gd name="T87" fmla="*/ 80 h 130"/>
                  <a:gd name="T88" fmla="*/ 194 w 204"/>
                  <a:gd name="T89" fmla="*/ 76 h 130"/>
                  <a:gd name="T90" fmla="*/ 182 w 204"/>
                  <a:gd name="T91" fmla="*/ 74 h 130"/>
                  <a:gd name="T92" fmla="*/ 146 w 204"/>
                  <a:gd name="T93" fmla="*/ 48 h 130"/>
                  <a:gd name="T94" fmla="*/ 134 w 204"/>
                  <a:gd name="T95" fmla="*/ 26 h 130"/>
                  <a:gd name="T96" fmla="*/ 112 w 204"/>
                  <a:gd name="T97" fmla="*/ 24 h 130"/>
                  <a:gd name="T98" fmla="*/ 112 w 204"/>
                  <a:gd name="T99" fmla="*/ 14 h 130"/>
                  <a:gd name="T100" fmla="*/ 110 w 204"/>
                  <a:gd name="T101" fmla="*/ 8 h 130"/>
                  <a:gd name="T102" fmla="*/ 108 w 204"/>
                  <a:gd name="T103" fmla="*/ 6 h 130"/>
                  <a:gd name="T104" fmla="*/ 92 w 204"/>
                  <a:gd name="T105" fmla="*/ 0 h 130"/>
                  <a:gd name="T106" fmla="*/ 88 w 204"/>
                  <a:gd name="T10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130">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8" name="Freeform 740"/>
              <p:cNvSpPr>
                <a:spLocks/>
              </p:cNvSpPr>
              <p:nvPr/>
            </p:nvSpPr>
            <p:spPr bwMode="auto">
              <a:xfrm>
                <a:off x="3613" y="1891"/>
                <a:ext cx="20" cy="18"/>
              </a:xfrm>
              <a:custGeom>
                <a:avLst/>
                <a:gdLst>
                  <a:gd name="T0" fmla="*/ 4 w 20"/>
                  <a:gd name="T1" fmla="*/ 0 h 18"/>
                  <a:gd name="T2" fmla="*/ 8 w 20"/>
                  <a:gd name="T3" fmla="*/ 0 h 18"/>
                  <a:gd name="T4" fmla="*/ 10 w 20"/>
                  <a:gd name="T5" fmla="*/ 2 h 18"/>
                  <a:gd name="T6" fmla="*/ 16 w 20"/>
                  <a:gd name="T7" fmla="*/ 10 h 18"/>
                  <a:gd name="T8" fmla="*/ 16 w 20"/>
                  <a:gd name="T9" fmla="*/ 10 h 18"/>
                  <a:gd name="T10" fmla="*/ 16 w 20"/>
                  <a:gd name="T11" fmla="*/ 10 h 18"/>
                  <a:gd name="T12" fmla="*/ 20 w 20"/>
                  <a:gd name="T13" fmla="*/ 14 h 18"/>
                  <a:gd name="T14" fmla="*/ 18 w 20"/>
                  <a:gd name="T15" fmla="*/ 18 h 18"/>
                  <a:gd name="T16" fmla="*/ 8 w 20"/>
                  <a:gd name="T17" fmla="*/ 18 h 18"/>
                  <a:gd name="T18" fmla="*/ 4 w 20"/>
                  <a:gd name="T19" fmla="*/ 14 h 18"/>
                  <a:gd name="T20" fmla="*/ 4 w 20"/>
                  <a:gd name="T21" fmla="*/ 14 h 18"/>
                  <a:gd name="T22" fmla="*/ 2 w 20"/>
                  <a:gd name="T23" fmla="*/ 14 h 18"/>
                  <a:gd name="T24" fmla="*/ 2 w 20"/>
                  <a:gd name="T25" fmla="*/ 14 h 18"/>
                  <a:gd name="T26" fmla="*/ 0 w 20"/>
                  <a:gd name="T27" fmla="*/ 14 h 18"/>
                  <a:gd name="T28" fmla="*/ 0 w 20"/>
                  <a:gd name="T29" fmla="*/ 14 h 18"/>
                  <a:gd name="T30" fmla="*/ 2 w 20"/>
                  <a:gd name="T31" fmla="*/ 12 h 18"/>
                  <a:gd name="T32" fmla="*/ 4 w 20"/>
                  <a:gd name="T33" fmla="*/ 0 h 18"/>
                  <a:gd name="T34" fmla="*/ 4 w 20"/>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4" y="0"/>
                    </a:moveTo>
                    <a:lnTo>
                      <a:pt x="8" y="0"/>
                    </a:lnTo>
                    <a:lnTo>
                      <a:pt x="10" y="2"/>
                    </a:lnTo>
                    <a:lnTo>
                      <a:pt x="16" y="10"/>
                    </a:lnTo>
                    <a:lnTo>
                      <a:pt x="16" y="10"/>
                    </a:lnTo>
                    <a:lnTo>
                      <a:pt x="16" y="10"/>
                    </a:lnTo>
                    <a:lnTo>
                      <a:pt x="20" y="14"/>
                    </a:lnTo>
                    <a:lnTo>
                      <a:pt x="18" y="18"/>
                    </a:lnTo>
                    <a:lnTo>
                      <a:pt x="8" y="18"/>
                    </a:lnTo>
                    <a:lnTo>
                      <a:pt x="4" y="14"/>
                    </a:lnTo>
                    <a:lnTo>
                      <a:pt x="4" y="14"/>
                    </a:lnTo>
                    <a:lnTo>
                      <a:pt x="2" y="14"/>
                    </a:lnTo>
                    <a:lnTo>
                      <a:pt x="2" y="14"/>
                    </a:lnTo>
                    <a:lnTo>
                      <a:pt x="0" y="14"/>
                    </a:lnTo>
                    <a:lnTo>
                      <a:pt x="0" y="14"/>
                    </a:lnTo>
                    <a:lnTo>
                      <a:pt x="2" y="1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9" name="Freeform 741"/>
              <p:cNvSpPr>
                <a:spLocks/>
              </p:cNvSpPr>
              <p:nvPr/>
            </p:nvSpPr>
            <p:spPr bwMode="auto">
              <a:xfrm>
                <a:off x="3815" y="1909"/>
                <a:ext cx="110" cy="70"/>
              </a:xfrm>
              <a:custGeom>
                <a:avLst/>
                <a:gdLst>
                  <a:gd name="T0" fmla="*/ 58 w 110"/>
                  <a:gd name="T1" fmla="*/ 70 h 70"/>
                  <a:gd name="T2" fmla="*/ 58 w 110"/>
                  <a:gd name="T3" fmla="*/ 70 h 70"/>
                  <a:gd name="T4" fmla="*/ 56 w 110"/>
                  <a:gd name="T5" fmla="*/ 64 h 70"/>
                  <a:gd name="T6" fmla="*/ 58 w 110"/>
                  <a:gd name="T7" fmla="*/ 46 h 70"/>
                  <a:gd name="T8" fmla="*/ 44 w 110"/>
                  <a:gd name="T9" fmla="*/ 56 h 70"/>
                  <a:gd name="T10" fmla="*/ 44 w 110"/>
                  <a:gd name="T11" fmla="*/ 56 h 70"/>
                  <a:gd name="T12" fmla="*/ 18 w 110"/>
                  <a:gd name="T13" fmla="*/ 68 h 70"/>
                  <a:gd name="T14" fmla="*/ 18 w 110"/>
                  <a:gd name="T15" fmla="*/ 68 h 70"/>
                  <a:gd name="T16" fmla="*/ 16 w 110"/>
                  <a:gd name="T17" fmla="*/ 68 h 70"/>
                  <a:gd name="T18" fmla="*/ 8 w 110"/>
                  <a:gd name="T19" fmla="*/ 66 h 70"/>
                  <a:gd name="T20" fmla="*/ 6 w 110"/>
                  <a:gd name="T21" fmla="*/ 56 h 70"/>
                  <a:gd name="T22" fmla="*/ 6 w 110"/>
                  <a:gd name="T23" fmla="*/ 54 h 70"/>
                  <a:gd name="T24" fmla="*/ 10 w 110"/>
                  <a:gd name="T25" fmla="*/ 48 h 70"/>
                  <a:gd name="T26" fmla="*/ 8 w 110"/>
                  <a:gd name="T27" fmla="*/ 46 h 70"/>
                  <a:gd name="T28" fmla="*/ 2 w 110"/>
                  <a:gd name="T29" fmla="*/ 36 h 70"/>
                  <a:gd name="T30" fmla="*/ 0 w 110"/>
                  <a:gd name="T31" fmla="*/ 34 h 70"/>
                  <a:gd name="T32" fmla="*/ 0 w 110"/>
                  <a:gd name="T33" fmla="*/ 24 h 70"/>
                  <a:gd name="T34" fmla="*/ 16 w 110"/>
                  <a:gd name="T35" fmla="*/ 22 h 70"/>
                  <a:gd name="T36" fmla="*/ 16 w 110"/>
                  <a:gd name="T37" fmla="*/ 12 h 70"/>
                  <a:gd name="T38" fmla="*/ 16 w 110"/>
                  <a:gd name="T39" fmla="*/ 10 h 70"/>
                  <a:gd name="T40" fmla="*/ 18 w 110"/>
                  <a:gd name="T41" fmla="*/ 10 h 70"/>
                  <a:gd name="T42" fmla="*/ 22 w 110"/>
                  <a:gd name="T43" fmla="*/ 12 h 70"/>
                  <a:gd name="T44" fmla="*/ 32 w 110"/>
                  <a:gd name="T45" fmla="*/ 2 h 70"/>
                  <a:gd name="T46" fmla="*/ 34 w 110"/>
                  <a:gd name="T47" fmla="*/ 0 h 70"/>
                  <a:gd name="T48" fmla="*/ 44 w 110"/>
                  <a:gd name="T49" fmla="*/ 0 h 70"/>
                  <a:gd name="T50" fmla="*/ 46 w 110"/>
                  <a:gd name="T51" fmla="*/ 0 h 70"/>
                  <a:gd name="T52" fmla="*/ 50 w 110"/>
                  <a:gd name="T53" fmla="*/ 2 h 70"/>
                  <a:gd name="T54" fmla="*/ 52 w 110"/>
                  <a:gd name="T55" fmla="*/ 2 h 70"/>
                  <a:gd name="T56" fmla="*/ 48 w 110"/>
                  <a:gd name="T57" fmla="*/ 14 h 70"/>
                  <a:gd name="T58" fmla="*/ 52 w 110"/>
                  <a:gd name="T59" fmla="*/ 24 h 70"/>
                  <a:gd name="T60" fmla="*/ 74 w 110"/>
                  <a:gd name="T61" fmla="*/ 26 h 70"/>
                  <a:gd name="T62" fmla="*/ 92 w 110"/>
                  <a:gd name="T63" fmla="*/ 26 h 70"/>
                  <a:gd name="T64" fmla="*/ 92 w 110"/>
                  <a:gd name="T65" fmla="*/ 26 h 70"/>
                  <a:gd name="T66" fmla="*/ 92 w 110"/>
                  <a:gd name="T67" fmla="*/ 34 h 70"/>
                  <a:gd name="T68" fmla="*/ 96 w 110"/>
                  <a:gd name="T69" fmla="*/ 40 h 70"/>
                  <a:gd name="T70" fmla="*/ 108 w 110"/>
                  <a:gd name="T71" fmla="*/ 38 h 70"/>
                  <a:gd name="T72" fmla="*/ 108 w 110"/>
                  <a:gd name="T73" fmla="*/ 38 h 70"/>
                  <a:gd name="T74" fmla="*/ 110 w 110"/>
                  <a:gd name="T75" fmla="*/ 40 h 70"/>
                  <a:gd name="T76" fmla="*/ 110 w 110"/>
                  <a:gd name="T77" fmla="*/ 58 h 70"/>
                  <a:gd name="T78" fmla="*/ 82 w 110"/>
                  <a:gd name="T79" fmla="*/ 60 h 70"/>
                  <a:gd name="T80" fmla="*/ 60 w 110"/>
                  <a:gd name="T81" fmla="*/ 70 h 70"/>
                  <a:gd name="T82" fmla="*/ 58 w 110"/>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58" y="70"/>
                    </a:moveTo>
                    <a:lnTo>
                      <a:pt x="58" y="70"/>
                    </a:lnTo>
                    <a:lnTo>
                      <a:pt x="58" y="70"/>
                    </a:lnTo>
                    <a:lnTo>
                      <a:pt x="58" y="70"/>
                    </a:lnTo>
                    <a:lnTo>
                      <a:pt x="56" y="68"/>
                    </a:lnTo>
                    <a:lnTo>
                      <a:pt x="56" y="64"/>
                    </a:lnTo>
                    <a:lnTo>
                      <a:pt x="58" y="56"/>
                    </a:lnTo>
                    <a:lnTo>
                      <a:pt x="58" y="46"/>
                    </a:lnTo>
                    <a:lnTo>
                      <a:pt x="52" y="42"/>
                    </a:lnTo>
                    <a:lnTo>
                      <a:pt x="44" y="56"/>
                    </a:lnTo>
                    <a:lnTo>
                      <a:pt x="44" y="56"/>
                    </a:lnTo>
                    <a:lnTo>
                      <a:pt x="44" y="56"/>
                    </a:lnTo>
                    <a:lnTo>
                      <a:pt x="36" y="58"/>
                    </a:lnTo>
                    <a:lnTo>
                      <a:pt x="18" y="68"/>
                    </a:lnTo>
                    <a:lnTo>
                      <a:pt x="18" y="68"/>
                    </a:lnTo>
                    <a:lnTo>
                      <a:pt x="18" y="68"/>
                    </a:lnTo>
                    <a:lnTo>
                      <a:pt x="18" y="68"/>
                    </a:lnTo>
                    <a:lnTo>
                      <a:pt x="16" y="68"/>
                    </a:lnTo>
                    <a:lnTo>
                      <a:pt x="8" y="66"/>
                    </a:lnTo>
                    <a:lnTo>
                      <a:pt x="8" y="66"/>
                    </a:lnTo>
                    <a:lnTo>
                      <a:pt x="6" y="64"/>
                    </a:lnTo>
                    <a:lnTo>
                      <a:pt x="6" y="56"/>
                    </a:lnTo>
                    <a:lnTo>
                      <a:pt x="6" y="56"/>
                    </a:lnTo>
                    <a:lnTo>
                      <a:pt x="6" y="54"/>
                    </a:lnTo>
                    <a:lnTo>
                      <a:pt x="12" y="48"/>
                    </a:lnTo>
                    <a:lnTo>
                      <a:pt x="10" y="48"/>
                    </a:lnTo>
                    <a:lnTo>
                      <a:pt x="10" y="48"/>
                    </a:lnTo>
                    <a:lnTo>
                      <a:pt x="8" y="46"/>
                    </a:lnTo>
                    <a:lnTo>
                      <a:pt x="10" y="36"/>
                    </a:lnTo>
                    <a:lnTo>
                      <a:pt x="2" y="36"/>
                    </a:lnTo>
                    <a:lnTo>
                      <a:pt x="2" y="36"/>
                    </a:lnTo>
                    <a:lnTo>
                      <a:pt x="0" y="34"/>
                    </a:lnTo>
                    <a:lnTo>
                      <a:pt x="0" y="24"/>
                    </a:lnTo>
                    <a:lnTo>
                      <a:pt x="0" y="24"/>
                    </a:lnTo>
                    <a:lnTo>
                      <a:pt x="2" y="22"/>
                    </a:lnTo>
                    <a:lnTo>
                      <a:pt x="16" y="22"/>
                    </a:lnTo>
                    <a:lnTo>
                      <a:pt x="16" y="12"/>
                    </a:lnTo>
                    <a:lnTo>
                      <a:pt x="16" y="12"/>
                    </a:lnTo>
                    <a:lnTo>
                      <a:pt x="16" y="10"/>
                    </a:lnTo>
                    <a:lnTo>
                      <a:pt x="16" y="10"/>
                    </a:lnTo>
                    <a:lnTo>
                      <a:pt x="18" y="10"/>
                    </a:lnTo>
                    <a:lnTo>
                      <a:pt x="18" y="10"/>
                    </a:lnTo>
                    <a:lnTo>
                      <a:pt x="18" y="10"/>
                    </a:lnTo>
                    <a:lnTo>
                      <a:pt x="22" y="12"/>
                    </a:lnTo>
                    <a:lnTo>
                      <a:pt x="28" y="8"/>
                    </a:lnTo>
                    <a:lnTo>
                      <a:pt x="32" y="2"/>
                    </a:lnTo>
                    <a:lnTo>
                      <a:pt x="32" y="2"/>
                    </a:lnTo>
                    <a:lnTo>
                      <a:pt x="34" y="0"/>
                    </a:lnTo>
                    <a:lnTo>
                      <a:pt x="34" y="0"/>
                    </a:lnTo>
                    <a:lnTo>
                      <a:pt x="44" y="0"/>
                    </a:lnTo>
                    <a:lnTo>
                      <a:pt x="44" y="0"/>
                    </a:lnTo>
                    <a:lnTo>
                      <a:pt x="46" y="0"/>
                    </a:lnTo>
                    <a:lnTo>
                      <a:pt x="50" y="2"/>
                    </a:lnTo>
                    <a:lnTo>
                      <a:pt x="50" y="2"/>
                    </a:lnTo>
                    <a:lnTo>
                      <a:pt x="52" y="2"/>
                    </a:lnTo>
                    <a:lnTo>
                      <a:pt x="52" y="2"/>
                    </a:lnTo>
                    <a:lnTo>
                      <a:pt x="52" y="4"/>
                    </a:lnTo>
                    <a:lnTo>
                      <a:pt x="48" y="14"/>
                    </a:lnTo>
                    <a:lnTo>
                      <a:pt x="50" y="18"/>
                    </a:lnTo>
                    <a:lnTo>
                      <a:pt x="52" y="24"/>
                    </a:lnTo>
                    <a:lnTo>
                      <a:pt x="60" y="24"/>
                    </a:lnTo>
                    <a:lnTo>
                      <a:pt x="74" y="26"/>
                    </a:lnTo>
                    <a:lnTo>
                      <a:pt x="92" y="26"/>
                    </a:lnTo>
                    <a:lnTo>
                      <a:pt x="92" y="26"/>
                    </a:lnTo>
                    <a:lnTo>
                      <a:pt x="92" y="26"/>
                    </a:lnTo>
                    <a:lnTo>
                      <a:pt x="92" y="26"/>
                    </a:lnTo>
                    <a:lnTo>
                      <a:pt x="94" y="28"/>
                    </a:lnTo>
                    <a:lnTo>
                      <a:pt x="92" y="34"/>
                    </a:lnTo>
                    <a:lnTo>
                      <a:pt x="94" y="38"/>
                    </a:lnTo>
                    <a:lnTo>
                      <a:pt x="96" y="40"/>
                    </a:lnTo>
                    <a:lnTo>
                      <a:pt x="96" y="40"/>
                    </a:lnTo>
                    <a:lnTo>
                      <a:pt x="108" y="38"/>
                    </a:lnTo>
                    <a:lnTo>
                      <a:pt x="108" y="38"/>
                    </a:lnTo>
                    <a:lnTo>
                      <a:pt x="108" y="38"/>
                    </a:lnTo>
                    <a:lnTo>
                      <a:pt x="108" y="38"/>
                    </a:lnTo>
                    <a:lnTo>
                      <a:pt x="110" y="40"/>
                    </a:lnTo>
                    <a:lnTo>
                      <a:pt x="110" y="58"/>
                    </a:lnTo>
                    <a:lnTo>
                      <a:pt x="110" y="58"/>
                    </a:lnTo>
                    <a:lnTo>
                      <a:pt x="108" y="60"/>
                    </a:lnTo>
                    <a:lnTo>
                      <a:pt x="82" y="60"/>
                    </a:lnTo>
                    <a:lnTo>
                      <a:pt x="74" y="64"/>
                    </a:lnTo>
                    <a:lnTo>
                      <a:pt x="60" y="70"/>
                    </a:lnTo>
                    <a:lnTo>
                      <a:pt x="60"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0" name="Freeform 742"/>
              <p:cNvSpPr>
                <a:spLocks noEditPoints="1"/>
              </p:cNvSpPr>
              <p:nvPr/>
            </p:nvSpPr>
            <p:spPr bwMode="auto">
              <a:xfrm>
                <a:off x="3813" y="1907"/>
                <a:ext cx="114" cy="74"/>
              </a:xfrm>
              <a:custGeom>
                <a:avLst/>
                <a:gdLst>
                  <a:gd name="T0" fmla="*/ 50 w 114"/>
                  <a:gd name="T1" fmla="*/ 10 h 74"/>
                  <a:gd name="T2" fmla="*/ 52 w 114"/>
                  <a:gd name="T3" fmla="*/ 28 h 74"/>
                  <a:gd name="T4" fmla="*/ 94 w 114"/>
                  <a:gd name="T5" fmla="*/ 30 h 74"/>
                  <a:gd name="T6" fmla="*/ 98 w 114"/>
                  <a:gd name="T7" fmla="*/ 44 h 74"/>
                  <a:gd name="T8" fmla="*/ 84 w 114"/>
                  <a:gd name="T9" fmla="*/ 60 h 74"/>
                  <a:gd name="T10" fmla="*/ 60 w 114"/>
                  <a:gd name="T11" fmla="*/ 66 h 74"/>
                  <a:gd name="T12" fmla="*/ 54 w 114"/>
                  <a:gd name="T13" fmla="*/ 42 h 74"/>
                  <a:gd name="T14" fmla="*/ 20 w 114"/>
                  <a:gd name="T15" fmla="*/ 68 h 74"/>
                  <a:gd name="T16" fmla="*/ 18 w 114"/>
                  <a:gd name="T17" fmla="*/ 50 h 74"/>
                  <a:gd name="T18" fmla="*/ 4 w 114"/>
                  <a:gd name="T19" fmla="*/ 36 h 74"/>
                  <a:gd name="T20" fmla="*/ 20 w 114"/>
                  <a:gd name="T21" fmla="*/ 14 h 74"/>
                  <a:gd name="T22" fmla="*/ 36 w 114"/>
                  <a:gd name="T23" fmla="*/ 4 h 74"/>
                  <a:gd name="T24" fmla="*/ 94 w 114"/>
                  <a:gd name="T25" fmla="*/ 30 h 74"/>
                  <a:gd name="T26" fmla="*/ 46 w 114"/>
                  <a:gd name="T27" fmla="*/ 0 h 74"/>
                  <a:gd name="T28" fmla="*/ 32 w 114"/>
                  <a:gd name="T29" fmla="*/ 4 h 74"/>
                  <a:gd name="T30" fmla="*/ 20 w 114"/>
                  <a:gd name="T31" fmla="*/ 10 h 74"/>
                  <a:gd name="T32" fmla="*/ 20 w 114"/>
                  <a:gd name="T33" fmla="*/ 10 h 74"/>
                  <a:gd name="T34" fmla="*/ 16 w 114"/>
                  <a:gd name="T35" fmla="*/ 14 h 74"/>
                  <a:gd name="T36" fmla="*/ 4 w 114"/>
                  <a:gd name="T37" fmla="*/ 22 h 74"/>
                  <a:gd name="T38" fmla="*/ 0 w 114"/>
                  <a:gd name="T39" fmla="*/ 36 h 74"/>
                  <a:gd name="T40" fmla="*/ 4 w 114"/>
                  <a:gd name="T41" fmla="*/ 40 h 74"/>
                  <a:gd name="T42" fmla="*/ 8 w 114"/>
                  <a:gd name="T43" fmla="*/ 46 h 74"/>
                  <a:gd name="T44" fmla="*/ 8 w 114"/>
                  <a:gd name="T45" fmla="*/ 56 h 74"/>
                  <a:gd name="T46" fmla="*/ 6 w 114"/>
                  <a:gd name="T47" fmla="*/ 66 h 74"/>
                  <a:gd name="T48" fmla="*/ 8 w 114"/>
                  <a:gd name="T49" fmla="*/ 68 h 74"/>
                  <a:gd name="T50" fmla="*/ 20 w 114"/>
                  <a:gd name="T51" fmla="*/ 72 h 74"/>
                  <a:gd name="T52" fmla="*/ 40 w 114"/>
                  <a:gd name="T53" fmla="*/ 62 h 74"/>
                  <a:gd name="T54" fmla="*/ 48 w 114"/>
                  <a:gd name="T55" fmla="*/ 58 h 74"/>
                  <a:gd name="T56" fmla="*/ 58 w 114"/>
                  <a:gd name="T57" fmla="*/ 58 h 74"/>
                  <a:gd name="T58" fmla="*/ 56 w 114"/>
                  <a:gd name="T59" fmla="*/ 66 h 74"/>
                  <a:gd name="T60" fmla="*/ 58 w 114"/>
                  <a:gd name="T61" fmla="*/ 74 h 74"/>
                  <a:gd name="T62" fmla="*/ 60 w 114"/>
                  <a:gd name="T63" fmla="*/ 74 h 74"/>
                  <a:gd name="T64" fmla="*/ 76 w 114"/>
                  <a:gd name="T65" fmla="*/ 68 h 74"/>
                  <a:gd name="T66" fmla="*/ 110 w 114"/>
                  <a:gd name="T67" fmla="*/ 64 h 74"/>
                  <a:gd name="T68" fmla="*/ 114 w 114"/>
                  <a:gd name="T69" fmla="*/ 60 h 74"/>
                  <a:gd name="T70" fmla="*/ 112 w 114"/>
                  <a:gd name="T71" fmla="*/ 40 h 74"/>
                  <a:gd name="T72" fmla="*/ 110 w 114"/>
                  <a:gd name="T73" fmla="*/ 38 h 74"/>
                  <a:gd name="T74" fmla="*/ 96 w 114"/>
                  <a:gd name="T75" fmla="*/ 38 h 74"/>
                  <a:gd name="T76" fmla="*/ 98 w 114"/>
                  <a:gd name="T77" fmla="*/ 32 h 74"/>
                  <a:gd name="T78" fmla="*/ 96 w 114"/>
                  <a:gd name="T79" fmla="*/ 26 h 74"/>
                  <a:gd name="T80" fmla="*/ 76 w 114"/>
                  <a:gd name="T81" fmla="*/ 26 h 74"/>
                  <a:gd name="T82" fmla="*/ 62 w 114"/>
                  <a:gd name="T83" fmla="*/ 24 h 74"/>
                  <a:gd name="T84" fmla="*/ 52 w 114"/>
                  <a:gd name="T85" fmla="*/ 16 h 74"/>
                  <a:gd name="T86" fmla="*/ 56 w 114"/>
                  <a:gd name="T87" fmla="*/ 6 h 74"/>
                  <a:gd name="T88" fmla="*/ 54 w 114"/>
                  <a:gd name="T89" fmla="*/ 2 h 74"/>
                  <a:gd name="T90" fmla="*/ 46 w 114"/>
                  <a:gd name="T9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4" h="74">
                    <a:moveTo>
                      <a:pt x="46" y="4"/>
                    </a:moveTo>
                    <a:lnTo>
                      <a:pt x="52" y="4"/>
                    </a:lnTo>
                    <a:lnTo>
                      <a:pt x="50" y="10"/>
                    </a:lnTo>
                    <a:lnTo>
                      <a:pt x="48" y="16"/>
                    </a:lnTo>
                    <a:lnTo>
                      <a:pt x="50" y="20"/>
                    </a:lnTo>
                    <a:lnTo>
                      <a:pt x="52" y="28"/>
                    </a:lnTo>
                    <a:lnTo>
                      <a:pt x="62" y="28"/>
                    </a:lnTo>
                    <a:lnTo>
                      <a:pt x="76" y="30"/>
                    </a:lnTo>
                    <a:lnTo>
                      <a:pt x="94" y="30"/>
                    </a:lnTo>
                    <a:lnTo>
                      <a:pt x="92" y="36"/>
                    </a:lnTo>
                    <a:lnTo>
                      <a:pt x="94" y="42"/>
                    </a:lnTo>
                    <a:lnTo>
                      <a:pt x="98" y="44"/>
                    </a:lnTo>
                    <a:lnTo>
                      <a:pt x="110" y="42"/>
                    </a:lnTo>
                    <a:lnTo>
                      <a:pt x="110" y="60"/>
                    </a:lnTo>
                    <a:lnTo>
                      <a:pt x="84" y="60"/>
                    </a:lnTo>
                    <a:lnTo>
                      <a:pt x="76" y="66"/>
                    </a:lnTo>
                    <a:lnTo>
                      <a:pt x="60" y="70"/>
                    </a:lnTo>
                    <a:lnTo>
                      <a:pt x="60" y="66"/>
                    </a:lnTo>
                    <a:lnTo>
                      <a:pt x="62" y="58"/>
                    </a:lnTo>
                    <a:lnTo>
                      <a:pt x="60" y="48"/>
                    </a:lnTo>
                    <a:lnTo>
                      <a:pt x="54" y="42"/>
                    </a:lnTo>
                    <a:lnTo>
                      <a:pt x="44" y="56"/>
                    </a:lnTo>
                    <a:lnTo>
                      <a:pt x="38" y="58"/>
                    </a:lnTo>
                    <a:lnTo>
                      <a:pt x="20" y="68"/>
                    </a:lnTo>
                    <a:lnTo>
                      <a:pt x="10" y="66"/>
                    </a:lnTo>
                    <a:lnTo>
                      <a:pt x="10" y="58"/>
                    </a:lnTo>
                    <a:lnTo>
                      <a:pt x="18" y="50"/>
                    </a:lnTo>
                    <a:lnTo>
                      <a:pt x="12" y="48"/>
                    </a:lnTo>
                    <a:lnTo>
                      <a:pt x="14" y="36"/>
                    </a:lnTo>
                    <a:lnTo>
                      <a:pt x="4" y="36"/>
                    </a:lnTo>
                    <a:lnTo>
                      <a:pt x="4" y="26"/>
                    </a:lnTo>
                    <a:lnTo>
                      <a:pt x="22" y="26"/>
                    </a:lnTo>
                    <a:lnTo>
                      <a:pt x="20" y="14"/>
                    </a:lnTo>
                    <a:lnTo>
                      <a:pt x="24" y="16"/>
                    </a:lnTo>
                    <a:lnTo>
                      <a:pt x="32" y="12"/>
                    </a:lnTo>
                    <a:lnTo>
                      <a:pt x="36" y="4"/>
                    </a:lnTo>
                    <a:lnTo>
                      <a:pt x="46" y="4"/>
                    </a:lnTo>
                    <a:close/>
                    <a:moveTo>
                      <a:pt x="94" y="30"/>
                    </a:moveTo>
                    <a:lnTo>
                      <a:pt x="94" y="30"/>
                    </a:lnTo>
                    <a:close/>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1" name="Freeform 743"/>
              <p:cNvSpPr>
                <a:spLocks/>
              </p:cNvSpPr>
              <p:nvPr/>
            </p:nvSpPr>
            <p:spPr bwMode="auto">
              <a:xfrm>
                <a:off x="3817" y="1911"/>
                <a:ext cx="106" cy="66"/>
              </a:xfrm>
              <a:custGeom>
                <a:avLst/>
                <a:gdLst>
                  <a:gd name="T0" fmla="*/ 42 w 106"/>
                  <a:gd name="T1" fmla="*/ 0 h 66"/>
                  <a:gd name="T2" fmla="*/ 48 w 106"/>
                  <a:gd name="T3" fmla="*/ 0 h 66"/>
                  <a:gd name="T4" fmla="*/ 46 w 106"/>
                  <a:gd name="T5" fmla="*/ 6 h 66"/>
                  <a:gd name="T6" fmla="*/ 44 w 106"/>
                  <a:gd name="T7" fmla="*/ 12 h 66"/>
                  <a:gd name="T8" fmla="*/ 46 w 106"/>
                  <a:gd name="T9" fmla="*/ 16 h 66"/>
                  <a:gd name="T10" fmla="*/ 48 w 106"/>
                  <a:gd name="T11" fmla="*/ 24 h 66"/>
                  <a:gd name="T12" fmla="*/ 58 w 106"/>
                  <a:gd name="T13" fmla="*/ 24 h 66"/>
                  <a:gd name="T14" fmla="*/ 72 w 106"/>
                  <a:gd name="T15" fmla="*/ 26 h 66"/>
                  <a:gd name="T16" fmla="*/ 90 w 106"/>
                  <a:gd name="T17" fmla="*/ 26 h 66"/>
                  <a:gd name="T18" fmla="*/ 88 w 106"/>
                  <a:gd name="T19" fmla="*/ 32 h 66"/>
                  <a:gd name="T20" fmla="*/ 90 w 106"/>
                  <a:gd name="T21" fmla="*/ 38 h 66"/>
                  <a:gd name="T22" fmla="*/ 94 w 106"/>
                  <a:gd name="T23" fmla="*/ 40 h 66"/>
                  <a:gd name="T24" fmla="*/ 106 w 106"/>
                  <a:gd name="T25" fmla="*/ 38 h 66"/>
                  <a:gd name="T26" fmla="*/ 106 w 106"/>
                  <a:gd name="T27" fmla="*/ 56 h 66"/>
                  <a:gd name="T28" fmla="*/ 80 w 106"/>
                  <a:gd name="T29" fmla="*/ 56 h 66"/>
                  <a:gd name="T30" fmla="*/ 72 w 106"/>
                  <a:gd name="T31" fmla="*/ 62 h 66"/>
                  <a:gd name="T32" fmla="*/ 56 w 106"/>
                  <a:gd name="T33" fmla="*/ 66 h 66"/>
                  <a:gd name="T34" fmla="*/ 56 w 106"/>
                  <a:gd name="T35" fmla="*/ 62 h 66"/>
                  <a:gd name="T36" fmla="*/ 58 w 106"/>
                  <a:gd name="T37" fmla="*/ 54 h 66"/>
                  <a:gd name="T38" fmla="*/ 56 w 106"/>
                  <a:gd name="T39" fmla="*/ 44 h 66"/>
                  <a:gd name="T40" fmla="*/ 50 w 106"/>
                  <a:gd name="T41" fmla="*/ 38 h 66"/>
                  <a:gd name="T42" fmla="*/ 40 w 106"/>
                  <a:gd name="T43" fmla="*/ 52 h 66"/>
                  <a:gd name="T44" fmla="*/ 34 w 106"/>
                  <a:gd name="T45" fmla="*/ 54 h 66"/>
                  <a:gd name="T46" fmla="*/ 16 w 106"/>
                  <a:gd name="T47" fmla="*/ 64 h 66"/>
                  <a:gd name="T48" fmla="*/ 6 w 106"/>
                  <a:gd name="T49" fmla="*/ 62 h 66"/>
                  <a:gd name="T50" fmla="*/ 6 w 106"/>
                  <a:gd name="T51" fmla="*/ 54 h 66"/>
                  <a:gd name="T52" fmla="*/ 14 w 106"/>
                  <a:gd name="T53" fmla="*/ 46 h 66"/>
                  <a:gd name="T54" fmla="*/ 8 w 106"/>
                  <a:gd name="T55" fmla="*/ 44 h 66"/>
                  <a:gd name="T56" fmla="*/ 10 w 106"/>
                  <a:gd name="T57" fmla="*/ 32 h 66"/>
                  <a:gd name="T58" fmla="*/ 0 w 106"/>
                  <a:gd name="T59" fmla="*/ 32 h 66"/>
                  <a:gd name="T60" fmla="*/ 0 w 106"/>
                  <a:gd name="T61" fmla="*/ 22 h 66"/>
                  <a:gd name="T62" fmla="*/ 18 w 106"/>
                  <a:gd name="T63" fmla="*/ 22 h 66"/>
                  <a:gd name="T64" fmla="*/ 16 w 106"/>
                  <a:gd name="T65" fmla="*/ 10 h 66"/>
                  <a:gd name="T66" fmla="*/ 20 w 106"/>
                  <a:gd name="T67" fmla="*/ 12 h 66"/>
                  <a:gd name="T68" fmla="*/ 28 w 106"/>
                  <a:gd name="T69" fmla="*/ 8 h 66"/>
                  <a:gd name="T70" fmla="*/ 32 w 106"/>
                  <a:gd name="T71" fmla="*/ 0 h 66"/>
                  <a:gd name="T72" fmla="*/ 42 w 106"/>
                  <a:gd name="T7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66">
                    <a:moveTo>
                      <a:pt x="42" y="0"/>
                    </a:moveTo>
                    <a:lnTo>
                      <a:pt x="48" y="0"/>
                    </a:lnTo>
                    <a:lnTo>
                      <a:pt x="46" y="6"/>
                    </a:lnTo>
                    <a:lnTo>
                      <a:pt x="44" y="12"/>
                    </a:lnTo>
                    <a:lnTo>
                      <a:pt x="46" y="16"/>
                    </a:lnTo>
                    <a:lnTo>
                      <a:pt x="48" y="24"/>
                    </a:lnTo>
                    <a:lnTo>
                      <a:pt x="58" y="24"/>
                    </a:lnTo>
                    <a:lnTo>
                      <a:pt x="72" y="26"/>
                    </a:lnTo>
                    <a:lnTo>
                      <a:pt x="90" y="26"/>
                    </a:lnTo>
                    <a:lnTo>
                      <a:pt x="88" y="32"/>
                    </a:lnTo>
                    <a:lnTo>
                      <a:pt x="90" y="38"/>
                    </a:lnTo>
                    <a:lnTo>
                      <a:pt x="94" y="40"/>
                    </a:lnTo>
                    <a:lnTo>
                      <a:pt x="106" y="38"/>
                    </a:lnTo>
                    <a:lnTo>
                      <a:pt x="106" y="56"/>
                    </a:lnTo>
                    <a:lnTo>
                      <a:pt x="80" y="56"/>
                    </a:lnTo>
                    <a:lnTo>
                      <a:pt x="72" y="62"/>
                    </a:lnTo>
                    <a:lnTo>
                      <a:pt x="56" y="66"/>
                    </a:lnTo>
                    <a:lnTo>
                      <a:pt x="56" y="62"/>
                    </a:lnTo>
                    <a:lnTo>
                      <a:pt x="58" y="54"/>
                    </a:lnTo>
                    <a:lnTo>
                      <a:pt x="56" y="44"/>
                    </a:lnTo>
                    <a:lnTo>
                      <a:pt x="50" y="38"/>
                    </a:lnTo>
                    <a:lnTo>
                      <a:pt x="40" y="52"/>
                    </a:lnTo>
                    <a:lnTo>
                      <a:pt x="34" y="54"/>
                    </a:lnTo>
                    <a:lnTo>
                      <a:pt x="16" y="64"/>
                    </a:lnTo>
                    <a:lnTo>
                      <a:pt x="6" y="62"/>
                    </a:lnTo>
                    <a:lnTo>
                      <a:pt x="6" y="54"/>
                    </a:lnTo>
                    <a:lnTo>
                      <a:pt x="14" y="46"/>
                    </a:lnTo>
                    <a:lnTo>
                      <a:pt x="8" y="44"/>
                    </a:lnTo>
                    <a:lnTo>
                      <a:pt x="10" y="32"/>
                    </a:lnTo>
                    <a:lnTo>
                      <a:pt x="0" y="32"/>
                    </a:lnTo>
                    <a:lnTo>
                      <a:pt x="0" y="22"/>
                    </a:lnTo>
                    <a:lnTo>
                      <a:pt x="18" y="22"/>
                    </a:lnTo>
                    <a:lnTo>
                      <a:pt x="16" y="10"/>
                    </a:lnTo>
                    <a:lnTo>
                      <a:pt x="20" y="12"/>
                    </a:lnTo>
                    <a:lnTo>
                      <a:pt x="28" y="8"/>
                    </a:lnTo>
                    <a:lnTo>
                      <a:pt x="3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2" name="Line 744"/>
              <p:cNvSpPr>
                <a:spLocks noChangeShapeType="1"/>
              </p:cNvSpPr>
              <p:nvPr/>
            </p:nvSpPr>
            <p:spPr bwMode="auto">
              <a:xfrm>
                <a:off x="3907" y="193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3" name="Freeform 745"/>
              <p:cNvSpPr>
                <a:spLocks/>
              </p:cNvSpPr>
              <p:nvPr/>
            </p:nvSpPr>
            <p:spPr bwMode="auto">
              <a:xfrm>
                <a:off x="3813" y="1907"/>
                <a:ext cx="114" cy="74"/>
              </a:xfrm>
              <a:custGeom>
                <a:avLst/>
                <a:gdLst>
                  <a:gd name="T0" fmla="*/ 46 w 114"/>
                  <a:gd name="T1" fmla="*/ 0 h 74"/>
                  <a:gd name="T2" fmla="*/ 36 w 114"/>
                  <a:gd name="T3" fmla="*/ 0 h 74"/>
                  <a:gd name="T4" fmla="*/ 32 w 114"/>
                  <a:gd name="T5" fmla="*/ 4 h 74"/>
                  <a:gd name="T6" fmla="*/ 24 w 114"/>
                  <a:gd name="T7" fmla="*/ 12 h 74"/>
                  <a:gd name="T8" fmla="*/ 20 w 114"/>
                  <a:gd name="T9" fmla="*/ 10 h 74"/>
                  <a:gd name="T10" fmla="*/ 20 w 114"/>
                  <a:gd name="T11" fmla="*/ 10 h 74"/>
                  <a:gd name="T12" fmla="*/ 16 w 114"/>
                  <a:gd name="T13" fmla="*/ 10 h 74"/>
                  <a:gd name="T14" fmla="*/ 16 w 114"/>
                  <a:gd name="T15" fmla="*/ 22 h 74"/>
                  <a:gd name="T16" fmla="*/ 4 w 114"/>
                  <a:gd name="T17" fmla="*/ 22 h 74"/>
                  <a:gd name="T18" fmla="*/ 0 w 114"/>
                  <a:gd name="T19" fmla="*/ 26 h 74"/>
                  <a:gd name="T20" fmla="*/ 0 w 114"/>
                  <a:gd name="T21" fmla="*/ 36 h 74"/>
                  <a:gd name="T22" fmla="*/ 4 w 114"/>
                  <a:gd name="T23" fmla="*/ 40 h 74"/>
                  <a:gd name="T24" fmla="*/ 8 w 114"/>
                  <a:gd name="T25" fmla="*/ 46 h 74"/>
                  <a:gd name="T26" fmla="*/ 8 w 114"/>
                  <a:gd name="T27" fmla="*/ 50 h 74"/>
                  <a:gd name="T28" fmla="*/ 8 w 114"/>
                  <a:gd name="T29" fmla="*/ 56 h 74"/>
                  <a:gd name="T30" fmla="*/ 6 w 114"/>
                  <a:gd name="T31" fmla="*/ 58 h 74"/>
                  <a:gd name="T32" fmla="*/ 6 w 114"/>
                  <a:gd name="T33" fmla="*/ 66 h 74"/>
                  <a:gd name="T34" fmla="*/ 8 w 114"/>
                  <a:gd name="T35" fmla="*/ 68 h 74"/>
                  <a:gd name="T36" fmla="*/ 18 w 114"/>
                  <a:gd name="T37" fmla="*/ 72 h 74"/>
                  <a:gd name="T38" fmla="*/ 20 w 114"/>
                  <a:gd name="T39" fmla="*/ 72 h 74"/>
                  <a:gd name="T40" fmla="*/ 40 w 114"/>
                  <a:gd name="T41" fmla="*/ 62 h 74"/>
                  <a:gd name="T42" fmla="*/ 46 w 114"/>
                  <a:gd name="T43" fmla="*/ 60 h 74"/>
                  <a:gd name="T44" fmla="*/ 54 w 114"/>
                  <a:gd name="T45" fmla="*/ 48 h 74"/>
                  <a:gd name="T46" fmla="*/ 58 w 114"/>
                  <a:gd name="T47" fmla="*/ 58 h 74"/>
                  <a:gd name="T48" fmla="*/ 58 w 114"/>
                  <a:gd name="T49" fmla="*/ 64 h 74"/>
                  <a:gd name="T50" fmla="*/ 56 w 114"/>
                  <a:gd name="T51" fmla="*/ 70 h 74"/>
                  <a:gd name="T52" fmla="*/ 58 w 114"/>
                  <a:gd name="T53" fmla="*/ 74 h 74"/>
                  <a:gd name="T54" fmla="*/ 60 w 114"/>
                  <a:gd name="T55" fmla="*/ 74 h 74"/>
                  <a:gd name="T56" fmla="*/ 62 w 114"/>
                  <a:gd name="T57" fmla="*/ 74 h 74"/>
                  <a:gd name="T58" fmla="*/ 76 w 114"/>
                  <a:gd name="T59" fmla="*/ 68 h 74"/>
                  <a:gd name="T60" fmla="*/ 86 w 114"/>
                  <a:gd name="T61" fmla="*/ 64 h 74"/>
                  <a:gd name="T62" fmla="*/ 110 w 114"/>
                  <a:gd name="T63" fmla="*/ 64 h 74"/>
                  <a:gd name="T64" fmla="*/ 114 w 114"/>
                  <a:gd name="T65" fmla="*/ 60 h 74"/>
                  <a:gd name="T66" fmla="*/ 114 w 114"/>
                  <a:gd name="T67" fmla="*/ 42 h 74"/>
                  <a:gd name="T68" fmla="*/ 112 w 114"/>
                  <a:gd name="T69" fmla="*/ 40 h 74"/>
                  <a:gd name="T70" fmla="*/ 110 w 114"/>
                  <a:gd name="T71" fmla="*/ 38 h 74"/>
                  <a:gd name="T72" fmla="*/ 100 w 114"/>
                  <a:gd name="T73" fmla="*/ 40 h 74"/>
                  <a:gd name="T74" fmla="*/ 96 w 114"/>
                  <a:gd name="T75" fmla="*/ 36 h 74"/>
                  <a:gd name="T76" fmla="*/ 98 w 114"/>
                  <a:gd name="T77" fmla="*/ 32 h 74"/>
                  <a:gd name="T78" fmla="*/ 98 w 114"/>
                  <a:gd name="T79" fmla="*/ 30 h 74"/>
                  <a:gd name="T80" fmla="*/ 94 w 114"/>
                  <a:gd name="T81" fmla="*/ 26 h 74"/>
                  <a:gd name="T82" fmla="*/ 76 w 114"/>
                  <a:gd name="T83" fmla="*/ 26 h 74"/>
                  <a:gd name="T84" fmla="*/ 64 w 114"/>
                  <a:gd name="T85" fmla="*/ 24 h 74"/>
                  <a:gd name="T86" fmla="*/ 56 w 114"/>
                  <a:gd name="T87" fmla="*/ 24 h 74"/>
                  <a:gd name="T88" fmla="*/ 52 w 114"/>
                  <a:gd name="T89" fmla="*/ 16 h 74"/>
                  <a:gd name="T90" fmla="*/ 56 w 114"/>
                  <a:gd name="T91" fmla="*/ 6 h 74"/>
                  <a:gd name="T92" fmla="*/ 56 w 114"/>
                  <a:gd name="T93" fmla="*/ 4 h 74"/>
                  <a:gd name="T94" fmla="*/ 54 w 114"/>
                  <a:gd name="T95" fmla="*/ 2 h 74"/>
                  <a:gd name="T96" fmla="*/ 48 w 114"/>
                  <a:gd name="T97" fmla="*/ 0 h 74"/>
                  <a:gd name="T98" fmla="*/ 46 w 114"/>
                  <a:gd name="T9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 h="74">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4" name="Freeform 746"/>
              <p:cNvSpPr>
                <a:spLocks/>
              </p:cNvSpPr>
              <p:nvPr/>
            </p:nvSpPr>
            <p:spPr bwMode="auto">
              <a:xfrm>
                <a:off x="3657" y="1829"/>
                <a:ext cx="240" cy="144"/>
              </a:xfrm>
              <a:custGeom>
                <a:avLst/>
                <a:gdLst>
                  <a:gd name="T0" fmla="*/ 168 w 240"/>
                  <a:gd name="T1" fmla="*/ 144 h 144"/>
                  <a:gd name="T2" fmla="*/ 150 w 240"/>
                  <a:gd name="T3" fmla="*/ 138 h 144"/>
                  <a:gd name="T4" fmla="*/ 132 w 240"/>
                  <a:gd name="T5" fmla="*/ 126 h 144"/>
                  <a:gd name="T6" fmla="*/ 94 w 240"/>
                  <a:gd name="T7" fmla="*/ 100 h 144"/>
                  <a:gd name="T8" fmla="*/ 80 w 240"/>
                  <a:gd name="T9" fmla="*/ 78 h 144"/>
                  <a:gd name="T10" fmla="*/ 58 w 240"/>
                  <a:gd name="T11" fmla="*/ 76 h 144"/>
                  <a:gd name="T12" fmla="*/ 44 w 240"/>
                  <a:gd name="T13" fmla="*/ 58 h 144"/>
                  <a:gd name="T14" fmla="*/ 40 w 240"/>
                  <a:gd name="T15" fmla="*/ 52 h 144"/>
                  <a:gd name="T16" fmla="*/ 16 w 240"/>
                  <a:gd name="T17" fmla="*/ 74 h 144"/>
                  <a:gd name="T18" fmla="*/ 2 w 240"/>
                  <a:gd name="T19" fmla="*/ 78 h 144"/>
                  <a:gd name="T20" fmla="*/ 2 w 240"/>
                  <a:gd name="T21" fmla="*/ 76 h 144"/>
                  <a:gd name="T22" fmla="*/ 0 w 240"/>
                  <a:gd name="T23" fmla="*/ 10 h 144"/>
                  <a:gd name="T24" fmla="*/ 18 w 240"/>
                  <a:gd name="T25" fmla="*/ 4 h 144"/>
                  <a:gd name="T26" fmla="*/ 44 w 240"/>
                  <a:gd name="T27" fmla="*/ 0 h 144"/>
                  <a:gd name="T28" fmla="*/ 74 w 240"/>
                  <a:gd name="T29" fmla="*/ 18 h 144"/>
                  <a:gd name="T30" fmla="*/ 86 w 240"/>
                  <a:gd name="T31" fmla="*/ 34 h 144"/>
                  <a:gd name="T32" fmla="*/ 126 w 240"/>
                  <a:gd name="T33" fmla="*/ 30 h 144"/>
                  <a:gd name="T34" fmla="*/ 128 w 240"/>
                  <a:gd name="T35" fmla="*/ 32 h 144"/>
                  <a:gd name="T36" fmla="*/ 144 w 240"/>
                  <a:gd name="T37" fmla="*/ 48 h 144"/>
                  <a:gd name="T38" fmla="*/ 152 w 240"/>
                  <a:gd name="T39" fmla="*/ 62 h 144"/>
                  <a:gd name="T40" fmla="*/ 154 w 240"/>
                  <a:gd name="T41" fmla="*/ 74 h 144"/>
                  <a:gd name="T42" fmla="*/ 170 w 240"/>
                  <a:gd name="T43" fmla="*/ 74 h 144"/>
                  <a:gd name="T44" fmla="*/ 174 w 240"/>
                  <a:gd name="T45" fmla="*/ 78 h 144"/>
                  <a:gd name="T46" fmla="*/ 180 w 240"/>
                  <a:gd name="T47" fmla="*/ 76 h 144"/>
                  <a:gd name="T48" fmla="*/ 190 w 240"/>
                  <a:gd name="T49" fmla="*/ 66 h 144"/>
                  <a:gd name="T50" fmla="*/ 210 w 240"/>
                  <a:gd name="T51" fmla="*/ 56 h 144"/>
                  <a:gd name="T52" fmla="*/ 210 w 240"/>
                  <a:gd name="T53" fmla="*/ 56 h 144"/>
                  <a:gd name="T54" fmla="*/ 206 w 240"/>
                  <a:gd name="T55" fmla="*/ 70 h 144"/>
                  <a:gd name="T56" fmla="*/ 222 w 240"/>
                  <a:gd name="T57" fmla="*/ 68 h 144"/>
                  <a:gd name="T58" fmla="*/ 222 w 240"/>
                  <a:gd name="T59" fmla="*/ 68 h 144"/>
                  <a:gd name="T60" fmla="*/ 240 w 240"/>
                  <a:gd name="T61" fmla="*/ 82 h 144"/>
                  <a:gd name="T62" fmla="*/ 232 w 240"/>
                  <a:gd name="T63" fmla="*/ 90 h 144"/>
                  <a:gd name="T64" fmla="*/ 212 w 240"/>
                  <a:gd name="T65" fmla="*/ 96 h 144"/>
                  <a:gd name="T66" fmla="*/ 206 w 240"/>
                  <a:gd name="T67" fmla="*/ 90 h 144"/>
                  <a:gd name="T68" fmla="*/ 206 w 240"/>
                  <a:gd name="T69" fmla="*/ 84 h 144"/>
                  <a:gd name="T70" fmla="*/ 192 w 240"/>
                  <a:gd name="T71" fmla="*/ 90 h 144"/>
                  <a:gd name="T72" fmla="*/ 184 w 240"/>
                  <a:gd name="T73" fmla="*/ 94 h 144"/>
                  <a:gd name="T74" fmla="*/ 182 w 240"/>
                  <a:gd name="T75" fmla="*/ 96 h 144"/>
                  <a:gd name="T76" fmla="*/ 182 w 240"/>
                  <a:gd name="T77" fmla="*/ 104 h 144"/>
                  <a:gd name="T78" fmla="*/ 180 w 240"/>
                  <a:gd name="T79" fmla="*/ 106 h 144"/>
                  <a:gd name="T80" fmla="*/ 164 w 240"/>
                  <a:gd name="T81" fmla="*/ 110 h 144"/>
                  <a:gd name="T82" fmla="*/ 174 w 240"/>
                  <a:gd name="T83" fmla="*/ 112 h 144"/>
                  <a:gd name="T84" fmla="*/ 172 w 240"/>
                  <a:gd name="T85" fmla="*/ 124 h 144"/>
                  <a:gd name="T86" fmla="*/ 178 w 240"/>
                  <a:gd name="T87" fmla="*/ 126 h 144"/>
                  <a:gd name="T88" fmla="*/ 170 w 240"/>
                  <a:gd name="T89" fmla="*/ 136 h 144"/>
                  <a:gd name="T90" fmla="*/ 170 w 240"/>
                  <a:gd name="T91" fmla="*/ 144 h 144"/>
                  <a:gd name="T92" fmla="*/ 168 w 240"/>
                  <a:gd name="T9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44">
                    <a:moveTo>
                      <a:pt x="168" y="144"/>
                    </a:moveTo>
                    <a:lnTo>
                      <a:pt x="168" y="144"/>
                    </a:lnTo>
                    <a:lnTo>
                      <a:pt x="168" y="144"/>
                    </a:lnTo>
                    <a:lnTo>
                      <a:pt x="150" y="140"/>
                    </a:lnTo>
                    <a:lnTo>
                      <a:pt x="150" y="140"/>
                    </a:lnTo>
                    <a:lnTo>
                      <a:pt x="150" y="138"/>
                    </a:lnTo>
                    <a:lnTo>
                      <a:pt x="150" y="132"/>
                    </a:lnTo>
                    <a:lnTo>
                      <a:pt x="142" y="126"/>
                    </a:lnTo>
                    <a:lnTo>
                      <a:pt x="132" y="126"/>
                    </a:lnTo>
                    <a:lnTo>
                      <a:pt x="132" y="126"/>
                    </a:lnTo>
                    <a:lnTo>
                      <a:pt x="130" y="124"/>
                    </a:lnTo>
                    <a:lnTo>
                      <a:pt x="94" y="100"/>
                    </a:lnTo>
                    <a:lnTo>
                      <a:pt x="94" y="100"/>
                    </a:lnTo>
                    <a:lnTo>
                      <a:pt x="92" y="100"/>
                    </a:lnTo>
                    <a:lnTo>
                      <a:pt x="80" y="78"/>
                    </a:lnTo>
                    <a:lnTo>
                      <a:pt x="60" y="78"/>
                    </a:lnTo>
                    <a:lnTo>
                      <a:pt x="60" y="78"/>
                    </a:lnTo>
                    <a:lnTo>
                      <a:pt x="58" y="76"/>
                    </a:lnTo>
                    <a:lnTo>
                      <a:pt x="58" y="62"/>
                    </a:lnTo>
                    <a:lnTo>
                      <a:pt x="56" y="60"/>
                    </a:lnTo>
                    <a:lnTo>
                      <a:pt x="44" y="58"/>
                    </a:lnTo>
                    <a:lnTo>
                      <a:pt x="44" y="58"/>
                    </a:lnTo>
                    <a:lnTo>
                      <a:pt x="44" y="58"/>
                    </a:lnTo>
                    <a:lnTo>
                      <a:pt x="40" y="52"/>
                    </a:lnTo>
                    <a:lnTo>
                      <a:pt x="16" y="64"/>
                    </a:lnTo>
                    <a:lnTo>
                      <a:pt x="16" y="74"/>
                    </a:lnTo>
                    <a:lnTo>
                      <a:pt x="16" y="74"/>
                    </a:lnTo>
                    <a:lnTo>
                      <a:pt x="16" y="76"/>
                    </a:lnTo>
                    <a:lnTo>
                      <a:pt x="16" y="76"/>
                    </a:lnTo>
                    <a:lnTo>
                      <a:pt x="2" y="78"/>
                    </a:lnTo>
                    <a:lnTo>
                      <a:pt x="2" y="78"/>
                    </a:lnTo>
                    <a:lnTo>
                      <a:pt x="2" y="76"/>
                    </a:lnTo>
                    <a:lnTo>
                      <a:pt x="2" y="76"/>
                    </a:lnTo>
                    <a:lnTo>
                      <a:pt x="0" y="76"/>
                    </a:lnTo>
                    <a:lnTo>
                      <a:pt x="0" y="10"/>
                    </a:lnTo>
                    <a:lnTo>
                      <a:pt x="0" y="10"/>
                    </a:lnTo>
                    <a:lnTo>
                      <a:pt x="2" y="8"/>
                    </a:lnTo>
                    <a:lnTo>
                      <a:pt x="18" y="4"/>
                    </a:lnTo>
                    <a:lnTo>
                      <a:pt x="18" y="4"/>
                    </a:lnTo>
                    <a:lnTo>
                      <a:pt x="44" y="0"/>
                    </a:lnTo>
                    <a:lnTo>
                      <a:pt x="44" y="0"/>
                    </a:lnTo>
                    <a:lnTo>
                      <a:pt x="44" y="0"/>
                    </a:lnTo>
                    <a:lnTo>
                      <a:pt x="52" y="6"/>
                    </a:lnTo>
                    <a:lnTo>
                      <a:pt x="66" y="16"/>
                    </a:lnTo>
                    <a:lnTo>
                      <a:pt x="74" y="18"/>
                    </a:lnTo>
                    <a:lnTo>
                      <a:pt x="74" y="18"/>
                    </a:lnTo>
                    <a:lnTo>
                      <a:pt x="74" y="20"/>
                    </a:lnTo>
                    <a:lnTo>
                      <a:pt x="86" y="34"/>
                    </a:lnTo>
                    <a:lnTo>
                      <a:pt x="120" y="32"/>
                    </a:lnTo>
                    <a:lnTo>
                      <a:pt x="126" y="30"/>
                    </a:lnTo>
                    <a:lnTo>
                      <a:pt x="126" y="30"/>
                    </a:lnTo>
                    <a:lnTo>
                      <a:pt x="126" y="30"/>
                    </a:lnTo>
                    <a:lnTo>
                      <a:pt x="126" y="30"/>
                    </a:lnTo>
                    <a:lnTo>
                      <a:pt x="128" y="32"/>
                    </a:lnTo>
                    <a:lnTo>
                      <a:pt x="144" y="48"/>
                    </a:lnTo>
                    <a:lnTo>
                      <a:pt x="144" y="48"/>
                    </a:lnTo>
                    <a:lnTo>
                      <a:pt x="144" y="48"/>
                    </a:lnTo>
                    <a:lnTo>
                      <a:pt x="144" y="54"/>
                    </a:lnTo>
                    <a:lnTo>
                      <a:pt x="152" y="62"/>
                    </a:lnTo>
                    <a:lnTo>
                      <a:pt x="152" y="62"/>
                    </a:lnTo>
                    <a:lnTo>
                      <a:pt x="154" y="62"/>
                    </a:lnTo>
                    <a:lnTo>
                      <a:pt x="154" y="74"/>
                    </a:lnTo>
                    <a:lnTo>
                      <a:pt x="154" y="74"/>
                    </a:lnTo>
                    <a:lnTo>
                      <a:pt x="168" y="74"/>
                    </a:lnTo>
                    <a:lnTo>
                      <a:pt x="168" y="74"/>
                    </a:lnTo>
                    <a:lnTo>
                      <a:pt x="170" y="74"/>
                    </a:lnTo>
                    <a:lnTo>
                      <a:pt x="174" y="76"/>
                    </a:lnTo>
                    <a:lnTo>
                      <a:pt x="174" y="76"/>
                    </a:lnTo>
                    <a:lnTo>
                      <a:pt x="174" y="78"/>
                    </a:lnTo>
                    <a:lnTo>
                      <a:pt x="174" y="84"/>
                    </a:lnTo>
                    <a:lnTo>
                      <a:pt x="178" y="84"/>
                    </a:lnTo>
                    <a:lnTo>
                      <a:pt x="180" y="76"/>
                    </a:lnTo>
                    <a:lnTo>
                      <a:pt x="180" y="76"/>
                    </a:lnTo>
                    <a:lnTo>
                      <a:pt x="180" y="76"/>
                    </a:lnTo>
                    <a:lnTo>
                      <a:pt x="190" y="66"/>
                    </a:lnTo>
                    <a:lnTo>
                      <a:pt x="208" y="56"/>
                    </a:lnTo>
                    <a:lnTo>
                      <a:pt x="208" y="56"/>
                    </a:lnTo>
                    <a:lnTo>
                      <a:pt x="210" y="56"/>
                    </a:lnTo>
                    <a:lnTo>
                      <a:pt x="210" y="56"/>
                    </a:lnTo>
                    <a:lnTo>
                      <a:pt x="210" y="56"/>
                    </a:lnTo>
                    <a:lnTo>
                      <a:pt x="210" y="56"/>
                    </a:lnTo>
                    <a:lnTo>
                      <a:pt x="212" y="58"/>
                    </a:lnTo>
                    <a:lnTo>
                      <a:pt x="208" y="68"/>
                    </a:lnTo>
                    <a:lnTo>
                      <a:pt x="206" y="70"/>
                    </a:lnTo>
                    <a:lnTo>
                      <a:pt x="212" y="72"/>
                    </a:lnTo>
                    <a:lnTo>
                      <a:pt x="222" y="68"/>
                    </a:lnTo>
                    <a:lnTo>
                      <a:pt x="222" y="68"/>
                    </a:lnTo>
                    <a:lnTo>
                      <a:pt x="222" y="68"/>
                    </a:lnTo>
                    <a:lnTo>
                      <a:pt x="222" y="68"/>
                    </a:lnTo>
                    <a:lnTo>
                      <a:pt x="222" y="68"/>
                    </a:lnTo>
                    <a:lnTo>
                      <a:pt x="232" y="74"/>
                    </a:lnTo>
                    <a:lnTo>
                      <a:pt x="240" y="82"/>
                    </a:lnTo>
                    <a:lnTo>
                      <a:pt x="240" y="82"/>
                    </a:lnTo>
                    <a:lnTo>
                      <a:pt x="240" y="84"/>
                    </a:lnTo>
                    <a:lnTo>
                      <a:pt x="232" y="90"/>
                    </a:lnTo>
                    <a:lnTo>
                      <a:pt x="232" y="90"/>
                    </a:lnTo>
                    <a:lnTo>
                      <a:pt x="232" y="92"/>
                    </a:lnTo>
                    <a:lnTo>
                      <a:pt x="222" y="94"/>
                    </a:lnTo>
                    <a:lnTo>
                      <a:pt x="212" y="96"/>
                    </a:lnTo>
                    <a:lnTo>
                      <a:pt x="212" y="96"/>
                    </a:lnTo>
                    <a:lnTo>
                      <a:pt x="210" y="94"/>
                    </a:lnTo>
                    <a:lnTo>
                      <a:pt x="206" y="90"/>
                    </a:lnTo>
                    <a:lnTo>
                      <a:pt x="206" y="90"/>
                    </a:lnTo>
                    <a:lnTo>
                      <a:pt x="206" y="90"/>
                    </a:lnTo>
                    <a:lnTo>
                      <a:pt x="206" y="84"/>
                    </a:lnTo>
                    <a:lnTo>
                      <a:pt x="204" y="82"/>
                    </a:lnTo>
                    <a:lnTo>
                      <a:pt x="194" y="84"/>
                    </a:lnTo>
                    <a:lnTo>
                      <a:pt x="192" y="90"/>
                    </a:lnTo>
                    <a:lnTo>
                      <a:pt x="192" y="90"/>
                    </a:lnTo>
                    <a:lnTo>
                      <a:pt x="190" y="92"/>
                    </a:lnTo>
                    <a:lnTo>
                      <a:pt x="184" y="94"/>
                    </a:lnTo>
                    <a:lnTo>
                      <a:pt x="184" y="94"/>
                    </a:lnTo>
                    <a:lnTo>
                      <a:pt x="182" y="96"/>
                    </a:lnTo>
                    <a:lnTo>
                      <a:pt x="182" y="96"/>
                    </a:lnTo>
                    <a:lnTo>
                      <a:pt x="182" y="96"/>
                    </a:lnTo>
                    <a:lnTo>
                      <a:pt x="180" y="94"/>
                    </a:lnTo>
                    <a:lnTo>
                      <a:pt x="182" y="104"/>
                    </a:lnTo>
                    <a:lnTo>
                      <a:pt x="182" y="104"/>
                    </a:lnTo>
                    <a:lnTo>
                      <a:pt x="180" y="106"/>
                    </a:lnTo>
                    <a:lnTo>
                      <a:pt x="180" y="106"/>
                    </a:lnTo>
                    <a:lnTo>
                      <a:pt x="180" y="106"/>
                    </a:lnTo>
                    <a:lnTo>
                      <a:pt x="164" y="106"/>
                    </a:lnTo>
                    <a:lnTo>
                      <a:pt x="164" y="110"/>
                    </a:lnTo>
                    <a:lnTo>
                      <a:pt x="172" y="110"/>
                    </a:lnTo>
                    <a:lnTo>
                      <a:pt x="172" y="110"/>
                    </a:lnTo>
                    <a:lnTo>
                      <a:pt x="174" y="112"/>
                    </a:lnTo>
                    <a:lnTo>
                      <a:pt x="174" y="112"/>
                    </a:lnTo>
                    <a:lnTo>
                      <a:pt x="174" y="112"/>
                    </a:lnTo>
                    <a:lnTo>
                      <a:pt x="172" y="124"/>
                    </a:lnTo>
                    <a:lnTo>
                      <a:pt x="176" y="124"/>
                    </a:lnTo>
                    <a:lnTo>
                      <a:pt x="176" y="124"/>
                    </a:lnTo>
                    <a:lnTo>
                      <a:pt x="178" y="126"/>
                    </a:lnTo>
                    <a:lnTo>
                      <a:pt x="178" y="126"/>
                    </a:lnTo>
                    <a:lnTo>
                      <a:pt x="178" y="128"/>
                    </a:lnTo>
                    <a:lnTo>
                      <a:pt x="170" y="136"/>
                    </a:lnTo>
                    <a:lnTo>
                      <a:pt x="170" y="142"/>
                    </a:lnTo>
                    <a:lnTo>
                      <a:pt x="170" y="142"/>
                    </a:lnTo>
                    <a:lnTo>
                      <a:pt x="170" y="144"/>
                    </a:lnTo>
                    <a:lnTo>
                      <a:pt x="170" y="144"/>
                    </a:lnTo>
                    <a:lnTo>
                      <a:pt x="168" y="144"/>
                    </a:lnTo>
                    <a:lnTo>
                      <a:pt x="168"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5" name="Freeform 747"/>
              <p:cNvSpPr>
                <a:spLocks noEditPoints="1"/>
              </p:cNvSpPr>
              <p:nvPr/>
            </p:nvSpPr>
            <p:spPr bwMode="auto">
              <a:xfrm>
                <a:off x="3655" y="1827"/>
                <a:ext cx="244" cy="148"/>
              </a:xfrm>
              <a:custGeom>
                <a:avLst/>
                <a:gdLst>
                  <a:gd name="T0" fmla="*/ 76 w 244"/>
                  <a:gd name="T1" fmla="*/ 22 h 148"/>
                  <a:gd name="T2" fmla="*/ 144 w 244"/>
                  <a:gd name="T3" fmla="*/ 50 h 148"/>
                  <a:gd name="T4" fmla="*/ 170 w 244"/>
                  <a:gd name="T5" fmla="*/ 78 h 148"/>
                  <a:gd name="T6" fmla="*/ 184 w 244"/>
                  <a:gd name="T7" fmla="*/ 80 h 148"/>
                  <a:gd name="T8" fmla="*/ 206 w 244"/>
                  <a:gd name="T9" fmla="*/ 72 h 148"/>
                  <a:gd name="T10" fmla="*/ 240 w 244"/>
                  <a:gd name="T11" fmla="*/ 84 h 148"/>
                  <a:gd name="T12" fmla="*/ 210 w 244"/>
                  <a:gd name="T13" fmla="*/ 92 h 148"/>
                  <a:gd name="T14" fmla="*/ 192 w 244"/>
                  <a:gd name="T15" fmla="*/ 92 h 148"/>
                  <a:gd name="T16" fmla="*/ 164 w 244"/>
                  <a:gd name="T17" fmla="*/ 106 h 148"/>
                  <a:gd name="T18" fmla="*/ 178 w 244"/>
                  <a:gd name="T19" fmla="*/ 128 h 148"/>
                  <a:gd name="T20" fmla="*/ 154 w 244"/>
                  <a:gd name="T21" fmla="*/ 132 h 148"/>
                  <a:gd name="T22" fmla="*/ 84 w 244"/>
                  <a:gd name="T23" fmla="*/ 78 h 148"/>
                  <a:gd name="T24" fmla="*/ 48 w 244"/>
                  <a:gd name="T25" fmla="*/ 58 h 148"/>
                  <a:gd name="T26" fmla="*/ 4 w 244"/>
                  <a:gd name="T27" fmla="*/ 78 h 148"/>
                  <a:gd name="T28" fmla="*/ 212 w 244"/>
                  <a:gd name="T29" fmla="*/ 60 h 148"/>
                  <a:gd name="T30" fmla="*/ 46 w 244"/>
                  <a:gd name="T31" fmla="*/ 0 h 148"/>
                  <a:gd name="T32" fmla="*/ 4 w 244"/>
                  <a:gd name="T33" fmla="*/ 8 h 148"/>
                  <a:gd name="T34" fmla="*/ 0 w 244"/>
                  <a:gd name="T35" fmla="*/ 78 h 148"/>
                  <a:gd name="T36" fmla="*/ 4 w 244"/>
                  <a:gd name="T37" fmla="*/ 82 h 148"/>
                  <a:gd name="T38" fmla="*/ 18 w 244"/>
                  <a:gd name="T39" fmla="*/ 80 h 148"/>
                  <a:gd name="T40" fmla="*/ 40 w 244"/>
                  <a:gd name="T41" fmla="*/ 58 h 148"/>
                  <a:gd name="T42" fmla="*/ 56 w 244"/>
                  <a:gd name="T43" fmla="*/ 64 h 148"/>
                  <a:gd name="T44" fmla="*/ 58 w 244"/>
                  <a:gd name="T45" fmla="*/ 80 h 148"/>
                  <a:gd name="T46" fmla="*/ 92 w 244"/>
                  <a:gd name="T47" fmla="*/ 102 h 148"/>
                  <a:gd name="T48" fmla="*/ 132 w 244"/>
                  <a:gd name="T49" fmla="*/ 130 h 148"/>
                  <a:gd name="T50" fmla="*/ 150 w 244"/>
                  <a:gd name="T51" fmla="*/ 140 h 148"/>
                  <a:gd name="T52" fmla="*/ 170 w 244"/>
                  <a:gd name="T53" fmla="*/ 148 h 148"/>
                  <a:gd name="T54" fmla="*/ 174 w 244"/>
                  <a:gd name="T55" fmla="*/ 148 h 148"/>
                  <a:gd name="T56" fmla="*/ 180 w 244"/>
                  <a:gd name="T57" fmla="*/ 132 h 148"/>
                  <a:gd name="T58" fmla="*/ 176 w 244"/>
                  <a:gd name="T59" fmla="*/ 124 h 148"/>
                  <a:gd name="T60" fmla="*/ 178 w 244"/>
                  <a:gd name="T61" fmla="*/ 114 h 148"/>
                  <a:gd name="T62" fmla="*/ 168 w 244"/>
                  <a:gd name="T63" fmla="*/ 110 h 148"/>
                  <a:gd name="T64" fmla="*/ 184 w 244"/>
                  <a:gd name="T65" fmla="*/ 108 h 148"/>
                  <a:gd name="T66" fmla="*/ 184 w 244"/>
                  <a:gd name="T67" fmla="*/ 100 h 148"/>
                  <a:gd name="T68" fmla="*/ 194 w 244"/>
                  <a:gd name="T69" fmla="*/ 96 h 148"/>
                  <a:gd name="T70" fmla="*/ 206 w 244"/>
                  <a:gd name="T71" fmla="*/ 86 h 148"/>
                  <a:gd name="T72" fmla="*/ 206 w 244"/>
                  <a:gd name="T73" fmla="*/ 94 h 148"/>
                  <a:gd name="T74" fmla="*/ 224 w 244"/>
                  <a:gd name="T75" fmla="*/ 100 h 148"/>
                  <a:gd name="T76" fmla="*/ 234 w 244"/>
                  <a:gd name="T77" fmla="*/ 96 h 148"/>
                  <a:gd name="T78" fmla="*/ 244 w 244"/>
                  <a:gd name="T79" fmla="*/ 84 h 148"/>
                  <a:gd name="T80" fmla="*/ 234 w 244"/>
                  <a:gd name="T81" fmla="*/ 74 h 148"/>
                  <a:gd name="T82" fmla="*/ 224 w 244"/>
                  <a:gd name="T83" fmla="*/ 68 h 148"/>
                  <a:gd name="T84" fmla="*/ 214 w 244"/>
                  <a:gd name="T85" fmla="*/ 62 h 148"/>
                  <a:gd name="T86" fmla="*/ 214 w 244"/>
                  <a:gd name="T87" fmla="*/ 56 h 148"/>
                  <a:gd name="T88" fmla="*/ 212 w 244"/>
                  <a:gd name="T89" fmla="*/ 56 h 148"/>
                  <a:gd name="T90" fmla="*/ 212 w 244"/>
                  <a:gd name="T91" fmla="*/ 56 h 148"/>
                  <a:gd name="T92" fmla="*/ 192 w 244"/>
                  <a:gd name="T93" fmla="*/ 66 h 148"/>
                  <a:gd name="T94" fmla="*/ 180 w 244"/>
                  <a:gd name="T95" fmla="*/ 76 h 148"/>
                  <a:gd name="T96" fmla="*/ 178 w 244"/>
                  <a:gd name="T97" fmla="*/ 80 h 148"/>
                  <a:gd name="T98" fmla="*/ 170 w 244"/>
                  <a:gd name="T99" fmla="*/ 74 h 148"/>
                  <a:gd name="T100" fmla="*/ 156 w 244"/>
                  <a:gd name="T101" fmla="*/ 64 h 148"/>
                  <a:gd name="T102" fmla="*/ 148 w 244"/>
                  <a:gd name="T103" fmla="*/ 50 h 148"/>
                  <a:gd name="T104" fmla="*/ 132 w 244"/>
                  <a:gd name="T105" fmla="*/ 32 h 148"/>
                  <a:gd name="T106" fmla="*/ 120 w 244"/>
                  <a:gd name="T107" fmla="*/ 32 h 148"/>
                  <a:gd name="T108" fmla="*/ 76 w 244"/>
                  <a:gd name="T109" fmla="*/ 18 h 148"/>
                  <a:gd name="T110" fmla="*/ 48 w 244"/>
                  <a:gd name="T111"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4" h="148">
                    <a:moveTo>
                      <a:pt x="46" y="4"/>
                    </a:moveTo>
                    <a:lnTo>
                      <a:pt x="52" y="10"/>
                    </a:lnTo>
                    <a:lnTo>
                      <a:pt x="66" y="18"/>
                    </a:lnTo>
                    <a:lnTo>
                      <a:pt x="76" y="22"/>
                    </a:lnTo>
                    <a:lnTo>
                      <a:pt x="88" y="38"/>
                    </a:lnTo>
                    <a:lnTo>
                      <a:pt x="122" y="36"/>
                    </a:lnTo>
                    <a:lnTo>
                      <a:pt x="128" y="34"/>
                    </a:lnTo>
                    <a:lnTo>
                      <a:pt x="144" y="50"/>
                    </a:lnTo>
                    <a:lnTo>
                      <a:pt x="144" y="58"/>
                    </a:lnTo>
                    <a:lnTo>
                      <a:pt x="154" y="64"/>
                    </a:lnTo>
                    <a:lnTo>
                      <a:pt x="154" y="80"/>
                    </a:lnTo>
                    <a:lnTo>
                      <a:pt x="170" y="78"/>
                    </a:lnTo>
                    <a:lnTo>
                      <a:pt x="174" y="80"/>
                    </a:lnTo>
                    <a:lnTo>
                      <a:pt x="174" y="88"/>
                    </a:lnTo>
                    <a:lnTo>
                      <a:pt x="182" y="88"/>
                    </a:lnTo>
                    <a:lnTo>
                      <a:pt x="184" y="80"/>
                    </a:lnTo>
                    <a:lnTo>
                      <a:pt x="194" y="70"/>
                    </a:lnTo>
                    <a:lnTo>
                      <a:pt x="212" y="60"/>
                    </a:lnTo>
                    <a:lnTo>
                      <a:pt x="208" y="68"/>
                    </a:lnTo>
                    <a:lnTo>
                      <a:pt x="206" y="72"/>
                    </a:lnTo>
                    <a:lnTo>
                      <a:pt x="214" y="76"/>
                    </a:lnTo>
                    <a:lnTo>
                      <a:pt x="224" y="72"/>
                    </a:lnTo>
                    <a:lnTo>
                      <a:pt x="232" y="78"/>
                    </a:lnTo>
                    <a:lnTo>
                      <a:pt x="240" y="84"/>
                    </a:lnTo>
                    <a:lnTo>
                      <a:pt x="232" y="92"/>
                    </a:lnTo>
                    <a:lnTo>
                      <a:pt x="224" y="96"/>
                    </a:lnTo>
                    <a:lnTo>
                      <a:pt x="214" y="96"/>
                    </a:lnTo>
                    <a:lnTo>
                      <a:pt x="210" y="92"/>
                    </a:lnTo>
                    <a:lnTo>
                      <a:pt x="212" y="84"/>
                    </a:lnTo>
                    <a:lnTo>
                      <a:pt x="206" y="82"/>
                    </a:lnTo>
                    <a:lnTo>
                      <a:pt x="196" y="84"/>
                    </a:lnTo>
                    <a:lnTo>
                      <a:pt x="192" y="92"/>
                    </a:lnTo>
                    <a:lnTo>
                      <a:pt x="184" y="96"/>
                    </a:lnTo>
                    <a:lnTo>
                      <a:pt x="180" y="94"/>
                    </a:lnTo>
                    <a:lnTo>
                      <a:pt x="182" y="106"/>
                    </a:lnTo>
                    <a:lnTo>
                      <a:pt x="164" y="106"/>
                    </a:lnTo>
                    <a:lnTo>
                      <a:pt x="164" y="114"/>
                    </a:lnTo>
                    <a:lnTo>
                      <a:pt x="174" y="114"/>
                    </a:lnTo>
                    <a:lnTo>
                      <a:pt x="172" y="128"/>
                    </a:lnTo>
                    <a:lnTo>
                      <a:pt x="178" y="128"/>
                    </a:lnTo>
                    <a:lnTo>
                      <a:pt x="170" y="138"/>
                    </a:lnTo>
                    <a:lnTo>
                      <a:pt x="170" y="144"/>
                    </a:lnTo>
                    <a:lnTo>
                      <a:pt x="154" y="140"/>
                    </a:lnTo>
                    <a:lnTo>
                      <a:pt x="154" y="132"/>
                    </a:lnTo>
                    <a:lnTo>
                      <a:pt x="144" y="128"/>
                    </a:lnTo>
                    <a:lnTo>
                      <a:pt x="134" y="126"/>
                    </a:lnTo>
                    <a:lnTo>
                      <a:pt x="96" y="100"/>
                    </a:lnTo>
                    <a:lnTo>
                      <a:pt x="84" y="78"/>
                    </a:lnTo>
                    <a:lnTo>
                      <a:pt x="62" y="78"/>
                    </a:lnTo>
                    <a:lnTo>
                      <a:pt x="62" y="64"/>
                    </a:lnTo>
                    <a:lnTo>
                      <a:pt x="60" y="60"/>
                    </a:lnTo>
                    <a:lnTo>
                      <a:pt x="48" y="58"/>
                    </a:lnTo>
                    <a:lnTo>
                      <a:pt x="42" y="52"/>
                    </a:lnTo>
                    <a:lnTo>
                      <a:pt x="16" y="64"/>
                    </a:lnTo>
                    <a:lnTo>
                      <a:pt x="16" y="76"/>
                    </a:lnTo>
                    <a:lnTo>
                      <a:pt x="4" y="78"/>
                    </a:lnTo>
                    <a:lnTo>
                      <a:pt x="4" y="12"/>
                    </a:lnTo>
                    <a:lnTo>
                      <a:pt x="20" y="8"/>
                    </a:lnTo>
                    <a:lnTo>
                      <a:pt x="46" y="4"/>
                    </a:lnTo>
                    <a:close/>
                    <a:moveTo>
                      <a:pt x="212" y="60"/>
                    </a:moveTo>
                    <a:lnTo>
                      <a:pt x="212" y="60"/>
                    </a:lnTo>
                    <a:close/>
                    <a:moveTo>
                      <a:pt x="174" y="114"/>
                    </a:moveTo>
                    <a:lnTo>
                      <a:pt x="174" y="114"/>
                    </a:lnTo>
                    <a:close/>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6" name="Freeform 748"/>
              <p:cNvSpPr>
                <a:spLocks/>
              </p:cNvSpPr>
              <p:nvPr/>
            </p:nvSpPr>
            <p:spPr bwMode="auto">
              <a:xfrm>
                <a:off x="3659" y="1831"/>
                <a:ext cx="236" cy="140"/>
              </a:xfrm>
              <a:custGeom>
                <a:avLst/>
                <a:gdLst>
                  <a:gd name="T0" fmla="*/ 42 w 236"/>
                  <a:gd name="T1" fmla="*/ 0 h 140"/>
                  <a:gd name="T2" fmla="*/ 48 w 236"/>
                  <a:gd name="T3" fmla="*/ 6 h 140"/>
                  <a:gd name="T4" fmla="*/ 62 w 236"/>
                  <a:gd name="T5" fmla="*/ 14 h 140"/>
                  <a:gd name="T6" fmla="*/ 72 w 236"/>
                  <a:gd name="T7" fmla="*/ 18 h 140"/>
                  <a:gd name="T8" fmla="*/ 84 w 236"/>
                  <a:gd name="T9" fmla="*/ 34 h 140"/>
                  <a:gd name="T10" fmla="*/ 118 w 236"/>
                  <a:gd name="T11" fmla="*/ 32 h 140"/>
                  <a:gd name="T12" fmla="*/ 124 w 236"/>
                  <a:gd name="T13" fmla="*/ 30 h 140"/>
                  <a:gd name="T14" fmla="*/ 140 w 236"/>
                  <a:gd name="T15" fmla="*/ 46 h 140"/>
                  <a:gd name="T16" fmla="*/ 140 w 236"/>
                  <a:gd name="T17" fmla="*/ 54 h 140"/>
                  <a:gd name="T18" fmla="*/ 150 w 236"/>
                  <a:gd name="T19" fmla="*/ 60 h 140"/>
                  <a:gd name="T20" fmla="*/ 150 w 236"/>
                  <a:gd name="T21" fmla="*/ 76 h 140"/>
                  <a:gd name="T22" fmla="*/ 166 w 236"/>
                  <a:gd name="T23" fmla="*/ 74 h 140"/>
                  <a:gd name="T24" fmla="*/ 170 w 236"/>
                  <a:gd name="T25" fmla="*/ 76 h 140"/>
                  <a:gd name="T26" fmla="*/ 170 w 236"/>
                  <a:gd name="T27" fmla="*/ 84 h 140"/>
                  <a:gd name="T28" fmla="*/ 178 w 236"/>
                  <a:gd name="T29" fmla="*/ 84 h 140"/>
                  <a:gd name="T30" fmla="*/ 180 w 236"/>
                  <a:gd name="T31" fmla="*/ 76 h 140"/>
                  <a:gd name="T32" fmla="*/ 190 w 236"/>
                  <a:gd name="T33" fmla="*/ 66 h 140"/>
                  <a:gd name="T34" fmla="*/ 208 w 236"/>
                  <a:gd name="T35" fmla="*/ 56 h 140"/>
                  <a:gd name="T36" fmla="*/ 204 w 236"/>
                  <a:gd name="T37" fmla="*/ 64 h 140"/>
                  <a:gd name="T38" fmla="*/ 202 w 236"/>
                  <a:gd name="T39" fmla="*/ 68 h 140"/>
                  <a:gd name="T40" fmla="*/ 210 w 236"/>
                  <a:gd name="T41" fmla="*/ 72 h 140"/>
                  <a:gd name="T42" fmla="*/ 220 w 236"/>
                  <a:gd name="T43" fmla="*/ 68 h 140"/>
                  <a:gd name="T44" fmla="*/ 228 w 236"/>
                  <a:gd name="T45" fmla="*/ 74 h 140"/>
                  <a:gd name="T46" fmla="*/ 236 w 236"/>
                  <a:gd name="T47" fmla="*/ 80 h 140"/>
                  <a:gd name="T48" fmla="*/ 228 w 236"/>
                  <a:gd name="T49" fmla="*/ 88 h 140"/>
                  <a:gd name="T50" fmla="*/ 220 w 236"/>
                  <a:gd name="T51" fmla="*/ 92 h 140"/>
                  <a:gd name="T52" fmla="*/ 210 w 236"/>
                  <a:gd name="T53" fmla="*/ 92 h 140"/>
                  <a:gd name="T54" fmla="*/ 206 w 236"/>
                  <a:gd name="T55" fmla="*/ 88 h 140"/>
                  <a:gd name="T56" fmla="*/ 208 w 236"/>
                  <a:gd name="T57" fmla="*/ 80 h 140"/>
                  <a:gd name="T58" fmla="*/ 202 w 236"/>
                  <a:gd name="T59" fmla="*/ 78 h 140"/>
                  <a:gd name="T60" fmla="*/ 192 w 236"/>
                  <a:gd name="T61" fmla="*/ 80 h 140"/>
                  <a:gd name="T62" fmla="*/ 188 w 236"/>
                  <a:gd name="T63" fmla="*/ 88 h 140"/>
                  <a:gd name="T64" fmla="*/ 180 w 236"/>
                  <a:gd name="T65" fmla="*/ 92 h 140"/>
                  <a:gd name="T66" fmla="*/ 176 w 236"/>
                  <a:gd name="T67" fmla="*/ 90 h 140"/>
                  <a:gd name="T68" fmla="*/ 178 w 236"/>
                  <a:gd name="T69" fmla="*/ 102 h 140"/>
                  <a:gd name="T70" fmla="*/ 160 w 236"/>
                  <a:gd name="T71" fmla="*/ 102 h 140"/>
                  <a:gd name="T72" fmla="*/ 160 w 236"/>
                  <a:gd name="T73" fmla="*/ 110 h 140"/>
                  <a:gd name="T74" fmla="*/ 170 w 236"/>
                  <a:gd name="T75" fmla="*/ 110 h 140"/>
                  <a:gd name="T76" fmla="*/ 168 w 236"/>
                  <a:gd name="T77" fmla="*/ 124 h 140"/>
                  <a:gd name="T78" fmla="*/ 174 w 236"/>
                  <a:gd name="T79" fmla="*/ 124 h 140"/>
                  <a:gd name="T80" fmla="*/ 166 w 236"/>
                  <a:gd name="T81" fmla="*/ 134 h 140"/>
                  <a:gd name="T82" fmla="*/ 166 w 236"/>
                  <a:gd name="T83" fmla="*/ 140 h 140"/>
                  <a:gd name="T84" fmla="*/ 150 w 236"/>
                  <a:gd name="T85" fmla="*/ 136 h 140"/>
                  <a:gd name="T86" fmla="*/ 150 w 236"/>
                  <a:gd name="T87" fmla="*/ 128 h 140"/>
                  <a:gd name="T88" fmla="*/ 140 w 236"/>
                  <a:gd name="T89" fmla="*/ 124 h 140"/>
                  <a:gd name="T90" fmla="*/ 130 w 236"/>
                  <a:gd name="T91" fmla="*/ 122 h 140"/>
                  <a:gd name="T92" fmla="*/ 92 w 236"/>
                  <a:gd name="T93" fmla="*/ 96 h 140"/>
                  <a:gd name="T94" fmla="*/ 80 w 236"/>
                  <a:gd name="T95" fmla="*/ 74 h 140"/>
                  <a:gd name="T96" fmla="*/ 58 w 236"/>
                  <a:gd name="T97" fmla="*/ 74 h 140"/>
                  <a:gd name="T98" fmla="*/ 58 w 236"/>
                  <a:gd name="T99" fmla="*/ 60 h 140"/>
                  <a:gd name="T100" fmla="*/ 56 w 236"/>
                  <a:gd name="T101" fmla="*/ 56 h 140"/>
                  <a:gd name="T102" fmla="*/ 44 w 236"/>
                  <a:gd name="T103" fmla="*/ 54 h 140"/>
                  <a:gd name="T104" fmla="*/ 38 w 236"/>
                  <a:gd name="T105" fmla="*/ 48 h 140"/>
                  <a:gd name="T106" fmla="*/ 12 w 236"/>
                  <a:gd name="T107" fmla="*/ 60 h 140"/>
                  <a:gd name="T108" fmla="*/ 12 w 236"/>
                  <a:gd name="T109" fmla="*/ 72 h 140"/>
                  <a:gd name="T110" fmla="*/ 0 w 236"/>
                  <a:gd name="T111" fmla="*/ 74 h 140"/>
                  <a:gd name="T112" fmla="*/ 0 w 236"/>
                  <a:gd name="T113" fmla="*/ 8 h 140"/>
                  <a:gd name="T114" fmla="*/ 16 w 236"/>
                  <a:gd name="T115" fmla="*/ 4 h 140"/>
                  <a:gd name="T116" fmla="*/ 42 w 236"/>
                  <a:gd name="T1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40">
                    <a:moveTo>
                      <a:pt x="42" y="0"/>
                    </a:moveTo>
                    <a:lnTo>
                      <a:pt x="48" y="6"/>
                    </a:lnTo>
                    <a:lnTo>
                      <a:pt x="62" y="14"/>
                    </a:lnTo>
                    <a:lnTo>
                      <a:pt x="72" y="18"/>
                    </a:lnTo>
                    <a:lnTo>
                      <a:pt x="84" y="34"/>
                    </a:lnTo>
                    <a:lnTo>
                      <a:pt x="118" y="32"/>
                    </a:lnTo>
                    <a:lnTo>
                      <a:pt x="124" y="30"/>
                    </a:lnTo>
                    <a:lnTo>
                      <a:pt x="140" y="46"/>
                    </a:lnTo>
                    <a:lnTo>
                      <a:pt x="140" y="54"/>
                    </a:lnTo>
                    <a:lnTo>
                      <a:pt x="150" y="60"/>
                    </a:lnTo>
                    <a:lnTo>
                      <a:pt x="150" y="76"/>
                    </a:lnTo>
                    <a:lnTo>
                      <a:pt x="166" y="74"/>
                    </a:lnTo>
                    <a:lnTo>
                      <a:pt x="170" y="76"/>
                    </a:lnTo>
                    <a:lnTo>
                      <a:pt x="170" y="84"/>
                    </a:lnTo>
                    <a:lnTo>
                      <a:pt x="178" y="84"/>
                    </a:lnTo>
                    <a:lnTo>
                      <a:pt x="180" y="76"/>
                    </a:lnTo>
                    <a:lnTo>
                      <a:pt x="190" y="66"/>
                    </a:lnTo>
                    <a:lnTo>
                      <a:pt x="208" y="56"/>
                    </a:lnTo>
                    <a:lnTo>
                      <a:pt x="204" y="64"/>
                    </a:lnTo>
                    <a:lnTo>
                      <a:pt x="202" y="68"/>
                    </a:lnTo>
                    <a:lnTo>
                      <a:pt x="210" y="72"/>
                    </a:lnTo>
                    <a:lnTo>
                      <a:pt x="220" y="68"/>
                    </a:lnTo>
                    <a:lnTo>
                      <a:pt x="228" y="74"/>
                    </a:lnTo>
                    <a:lnTo>
                      <a:pt x="236" y="80"/>
                    </a:lnTo>
                    <a:lnTo>
                      <a:pt x="228" y="88"/>
                    </a:lnTo>
                    <a:lnTo>
                      <a:pt x="220" y="92"/>
                    </a:lnTo>
                    <a:lnTo>
                      <a:pt x="210" y="92"/>
                    </a:lnTo>
                    <a:lnTo>
                      <a:pt x="206" y="88"/>
                    </a:lnTo>
                    <a:lnTo>
                      <a:pt x="208" y="80"/>
                    </a:lnTo>
                    <a:lnTo>
                      <a:pt x="202" y="78"/>
                    </a:lnTo>
                    <a:lnTo>
                      <a:pt x="192" y="80"/>
                    </a:lnTo>
                    <a:lnTo>
                      <a:pt x="188" y="88"/>
                    </a:lnTo>
                    <a:lnTo>
                      <a:pt x="180" y="92"/>
                    </a:lnTo>
                    <a:lnTo>
                      <a:pt x="176" y="90"/>
                    </a:lnTo>
                    <a:lnTo>
                      <a:pt x="178" y="102"/>
                    </a:lnTo>
                    <a:lnTo>
                      <a:pt x="160" y="102"/>
                    </a:lnTo>
                    <a:lnTo>
                      <a:pt x="160" y="110"/>
                    </a:lnTo>
                    <a:lnTo>
                      <a:pt x="170" y="110"/>
                    </a:lnTo>
                    <a:lnTo>
                      <a:pt x="168" y="124"/>
                    </a:lnTo>
                    <a:lnTo>
                      <a:pt x="174" y="124"/>
                    </a:lnTo>
                    <a:lnTo>
                      <a:pt x="166" y="134"/>
                    </a:lnTo>
                    <a:lnTo>
                      <a:pt x="166" y="140"/>
                    </a:lnTo>
                    <a:lnTo>
                      <a:pt x="150" y="136"/>
                    </a:lnTo>
                    <a:lnTo>
                      <a:pt x="150" y="128"/>
                    </a:lnTo>
                    <a:lnTo>
                      <a:pt x="140" y="124"/>
                    </a:lnTo>
                    <a:lnTo>
                      <a:pt x="130" y="122"/>
                    </a:lnTo>
                    <a:lnTo>
                      <a:pt x="92" y="96"/>
                    </a:lnTo>
                    <a:lnTo>
                      <a:pt x="80" y="74"/>
                    </a:lnTo>
                    <a:lnTo>
                      <a:pt x="58" y="74"/>
                    </a:lnTo>
                    <a:lnTo>
                      <a:pt x="58" y="60"/>
                    </a:lnTo>
                    <a:lnTo>
                      <a:pt x="56" y="56"/>
                    </a:lnTo>
                    <a:lnTo>
                      <a:pt x="44" y="54"/>
                    </a:lnTo>
                    <a:lnTo>
                      <a:pt x="38" y="48"/>
                    </a:lnTo>
                    <a:lnTo>
                      <a:pt x="12" y="60"/>
                    </a:lnTo>
                    <a:lnTo>
                      <a:pt x="12" y="72"/>
                    </a:lnTo>
                    <a:lnTo>
                      <a:pt x="0" y="74"/>
                    </a:lnTo>
                    <a:lnTo>
                      <a:pt x="0" y="8"/>
                    </a:lnTo>
                    <a:lnTo>
                      <a:pt x="16" y="4"/>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7" name="Line 749"/>
              <p:cNvSpPr>
                <a:spLocks noChangeShapeType="1"/>
              </p:cNvSpPr>
              <p:nvPr/>
            </p:nvSpPr>
            <p:spPr bwMode="auto">
              <a:xfrm>
                <a:off x="3867" y="188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8" name="Line 750"/>
              <p:cNvSpPr>
                <a:spLocks noChangeShapeType="1"/>
              </p:cNvSpPr>
              <p:nvPr/>
            </p:nvSpPr>
            <p:spPr bwMode="auto">
              <a:xfrm>
                <a:off x="3829" y="194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9" name="Freeform 751"/>
              <p:cNvSpPr>
                <a:spLocks/>
              </p:cNvSpPr>
              <p:nvPr/>
            </p:nvSpPr>
            <p:spPr bwMode="auto">
              <a:xfrm>
                <a:off x="3655" y="1827"/>
                <a:ext cx="244" cy="148"/>
              </a:xfrm>
              <a:custGeom>
                <a:avLst/>
                <a:gdLst>
                  <a:gd name="T0" fmla="*/ 44 w 244"/>
                  <a:gd name="T1" fmla="*/ 0 h 148"/>
                  <a:gd name="T2" fmla="*/ 4 w 244"/>
                  <a:gd name="T3" fmla="*/ 8 h 148"/>
                  <a:gd name="T4" fmla="*/ 0 w 244"/>
                  <a:gd name="T5" fmla="*/ 78 h 148"/>
                  <a:gd name="T6" fmla="*/ 2 w 244"/>
                  <a:gd name="T7" fmla="*/ 80 h 148"/>
                  <a:gd name="T8" fmla="*/ 6 w 244"/>
                  <a:gd name="T9" fmla="*/ 82 h 148"/>
                  <a:gd name="T10" fmla="*/ 20 w 244"/>
                  <a:gd name="T11" fmla="*/ 78 h 148"/>
                  <a:gd name="T12" fmla="*/ 40 w 244"/>
                  <a:gd name="T13" fmla="*/ 58 h 148"/>
                  <a:gd name="T14" fmla="*/ 46 w 244"/>
                  <a:gd name="T15" fmla="*/ 62 h 148"/>
                  <a:gd name="T16" fmla="*/ 58 w 244"/>
                  <a:gd name="T17" fmla="*/ 78 h 148"/>
                  <a:gd name="T18" fmla="*/ 62 w 244"/>
                  <a:gd name="T19" fmla="*/ 82 h 148"/>
                  <a:gd name="T20" fmla="*/ 92 w 244"/>
                  <a:gd name="T21" fmla="*/ 102 h 148"/>
                  <a:gd name="T22" fmla="*/ 132 w 244"/>
                  <a:gd name="T23" fmla="*/ 128 h 148"/>
                  <a:gd name="T24" fmla="*/ 150 w 244"/>
                  <a:gd name="T25" fmla="*/ 134 h 148"/>
                  <a:gd name="T26" fmla="*/ 150 w 244"/>
                  <a:gd name="T27" fmla="*/ 142 h 148"/>
                  <a:gd name="T28" fmla="*/ 170 w 244"/>
                  <a:gd name="T29" fmla="*/ 148 h 148"/>
                  <a:gd name="T30" fmla="*/ 174 w 244"/>
                  <a:gd name="T31" fmla="*/ 148 h 148"/>
                  <a:gd name="T32" fmla="*/ 174 w 244"/>
                  <a:gd name="T33" fmla="*/ 140 h 148"/>
                  <a:gd name="T34" fmla="*/ 182 w 244"/>
                  <a:gd name="T35" fmla="*/ 128 h 148"/>
                  <a:gd name="T36" fmla="*/ 176 w 244"/>
                  <a:gd name="T37" fmla="*/ 124 h 148"/>
                  <a:gd name="T38" fmla="*/ 178 w 244"/>
                  <a:gd name="T39" fmla="*/ 114 h 148"/>
                  <a:gd name="T40" fmla="*/ 174 w 244"/>
                  <a:gd name="T41" fmla="*/ 110 h 148"/>
                  <a:gd name="T42" fmla="*/ 168 w 244"/>
                  <a:gd name="T43" fmla="*/ 110 h 148"/>
                  <a:gd name="T44" fmla="*/ 184 w 244"/>
                  <a:gd name="T45" fmla="*/ 108 h 148"/>
                  <a:gd name="T46" fmla="*/ 184 w 244"/>
                  <a:gd name="T47" fmla="*/ 100 h 148"/>
                  <a:gd name="T48" fmla="*/ 184 w 244"/>
                  <a:gd name="T49" fmla="*/ 100 h 148"/>
                  <a:gd name="T50" fmla="*/ 194 w 244"/>
                  <a:gd name="T51" fmla="*/ 96 h 148"/>
                  <a:gd name="T52" fmla="*/ 206 w 244"/>
                  <a:gd name="T53" fmla="*/ 86 h 148"/>
                  <a:gd name="T54" fmla="*/ 206 w 244"/>
                  <a:gd name="T55" fmla="*/ 90 h 148"/>
                  <a:gd name="T56" fmla="*/ 210 w 244"/>
                  <a:gd name="T57" fmla="*/ 98 h 148"/>
                  <a:gd name="T58" fmla="*/ 224 w 244"/>
                  <a:gd name="T59" fmla="*/ 100 h 148"/>
                  <a:gd name="T60" fmla="*/ 234 w 244"/>
                  <a:gd name="T61" fmla="*/ 96 h 148"/>
                  <a:gd name="T62" fmla="*/ 242 w 244"/>
                  <a:gd name="T63" fmla="*/ 88 h 148"/>
                  <a:gd name="T64" fmla="*/ 236 w 244"/>
                  <a:gd name="T65" fmla="*/ 74 h 148"/>
                  <a:gd name="T66" fmla="*/ 226 w 244"/>
                  <a:gd name="T67" fmla="*/ 68 h 148"/>
                  <a:gd name="T68" fmla="*/ 224 w 244"/>
                  <a:gd name="T69" fmla="*/ 68 h 148"/>
                  <a:gd name="T70" fmla="*/ 212 w 244"/>
                  <a:gd name="T71" fmla="*/ 70 h 148"/>
                  <a:gd name="T72" fmla="*/ 216 w 244"/>
                  <a:gd name="T73" fmla="*/ 60 h 148"/>
                  <a:gd name="T74" fmla="*/ 212 w 244"/>
                  <a:gd name="T75" fmla="*/ 56 h 148"/>
                  <a:gd name="T76" fmla="*/ 212 w 244"/>
                  <a:gd name="T77" fmla="*/ 56 h 148"/>
                  <a:gd name="T78" fmla="*/ 212 w 244"/>
                  <a:gd name="T79" fmla="*/ 56 h 148"/>
                  <a:gd name="T80" fmla="*/ 212 w 244"/>
                  <a:gd name="T81" fmla="*/ 56 h 148"/>
                  <a:gd name="T82" fmla="*/ 192 w 244"/>
                  <a:gd name="T83" fmla="*/ 66 h 148"/>
                  <a:gd name="T84" fmla="*/ 180 w 244"/>
                  <a:gd name="T85" fmla="*/ 76 h 148"/>
                  <a:gd name="T86" fmla="*/ 178 w 244"/>
                  <a:gd name="T87" fmla="*/ 80 h 148"/>
                  <a:gd name="T88" fmla="*/ 172 w 244"/>
                  <a:gd name="T89" fmla="*/ 74 h 148"/>
                  <a:gd name="T90" fmla="*/ 170 w 244"/>
                  <a:gd name="T91" fmla="*/ 74 h 148"/>
                  <a:gd name="T92" fmla="*/ 156 w 244"/>
                  <a:gd name="T93" fmla="*/ 64 h 148"/>
                  <a:gd name="T94" fmla="*/ 148 w 244"/>
                  <a:gd name="T95" fmla="*/ 56 h 148"/>
                  <a:gd name="T96" fmla="*/ 148 w 244"/>
                  <a:gd name="T97" fmla="*/ 48 h 148"/>
                  <a:gd name="T98" fmla="*/ 128 w 244"/>
                  <a:gd name="T99" fmla="*/ 30 h 148"/>
                  <a:gd name="T100" fmla="*/ 120 w 244"/>
                  <a:gd name="T101" fmla="*/ 32 h 148"/>
                  <a:gd name="T102" fmla="*/ 78 w 244"/>
                  <a:gd name="T103" fmla="*/ 20 h 148"/>
                  <a:gd name="T104" fmla="*/ 54 w 244"/>
                  <a:gd name="T105" fmla="*/ 6 h 148"/>
                  <a:gd name="T106" fmla="*/ 46 w 244"/>
                  <a:gd name="T10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4" h="148">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0" name="Freeform 752"/>
              <p:cNvSpPr>
                <a:spLocks/>
              </p:cNvSpPr>
              <p:nvPr/>
            </p:nvSpPr>
            <p:spPr bwMode="auto">
              <a:xfrm>
                <a:off x="3859" y="1869"/>
                <a:ext cx="144" cy="72"/>
              </a:xfrm>
              <a:custGeom>
                <a:avLst/>
                <a:gdLst>
                  <a:gd name="T0" fmla="*/ 18 w 144"/>
                  <a:gd name="T1" fmla="*/ 70 h 72"/>
                  <a:gd name="T2" fmla="*/ 8 w 144"/>
                  <a:gd name="T3" fmla="*/ 70 h 72"/>
                  <a:gd name="T4" fmla="*/ 4 w 144"/>
                  <a:gd name="T5" fmla="*/ 60 h 72"/>
                  <a:gd name="T6" fmla="*/ 2 w 144"/>
                  <a:gd name="T7" fmla="*/ 56 h 72"/>
                  <a:gd name="T8" fmla="*/ 4 w 144"/>
                  <a:gd name="T9" fmla="*/ 50 h 72"/>
                  <a:gd name="T10" fmla="*/ 6 w 144"/>
                  <a:gd name="T11" fmla="*/ 50 h 72"/>
                  <a:gd name="T12" fmla="*/ 6 w 144"/>
                  <a:gd name="T13" fmla="*/ 50 h 72"/>
                  <a:gd name="T14" fmla="*/ 6 w 144"/>
                  <a:gd name="T15" fmla="*/ 50 h 72"/>
                  <a:gd name="T16" fmla="*/ 20 w 144"/>
                  <a:gd name="T17" fmla="*/ 54 h 72"/>
                  <a:gd name="T18" fmla="*/ 32 w 144"/>
                  <a:gd name="T19" fmla="*/ 44 h 72"/>
                  <a:gd name="T20" fmla="*/ 20 w 144"/>
                  <a:gd name="T21" fmla="*/ 34 h 72"/>
                  <a:gd name="T22" fmla="*/ 10 w 144"/>
                  <a:gd name="T23" fmla="*/ 38 h 72"/>
                  <a:gd name="T24" fmla="*/ 10 w 144"/>
                  <a:gd name="T25" fmla="*/ 38 h 72"/>
                  <a:gd name="T26" fmla="*/ 2 w 144"/>
                  <a:gd name="T27" fmla="*/ 34 h 72"/>
                  <a:gd name="T28" fmla="*/ 0 w 144"/>
                  <a:gd name="T29" fmla="*/ 32 h 72"/>
                  <a:gd name="T30" fmla="*/ 6 w 144"/>
                  <a:gd name="T31" fmla="*/ 18 h 72"/>
                  <a:gd name="T32" fmla="*/ 14 w 144"/>
                  <a:gd name="T33" fmla="*/ 8 h 72"/>
                  <a:gd name="T34" fmla="*/ 26 w 144"/>
                  <a:gd name="T35" fmla="*/ 6 h 72"/>
                  <a:gd name="T36" fmla="*/ 28 w 144"/>
                  <a:gd name="T37" fmla="*/ 8 h 72"/>
                  <a:gd name="T38" fmla="*/ 44 w 144"/>
                  <a:gd name="T39" fmla="*/ 8 h 72"/>
                  <a:gd name="T40" fmla="*/ 46 w 144"/>
                  <a:gd name="T41" fmla="*/ 4 h 72"/>
                  <a:gd name="T42" fmla="*/ 54 w 144"/>
                  <a:gd name="T43" fmla="*/ 0 h 72"/>
                  <a:gd name="T44" fmla="*/ 56 w 144"/>
                  <a:gd name="T45" fmla="*/ 0 h 72"/>
                  <a:gd name="T46" fmla="*/ 56 w 144"/>
                  <a:gd name="T47" fmla="*/ 0 h 72"/>
                  <a:gd name="T48" fmla="*/ 66 w 144"/>
                  <a:gd name="T49" fmla="*/ 2 h 72"/>
                  <a:gd name="T50" fmla="*/ 70 w 144"/>
                  <a:gd name="T51" fmla="*/ 8 h 72"/>
                  <a:gd name="T52" fmla="*/ 120 w 144"/>
                  <a:gd name="T53" fmla="*/ 6 h 72"/>
                  <a:gd name="T54" fmla="*/ 122 w 144"/>
                  <a:gd name="T55" fmla="*/ 8 h 72"/>
                  <a:gd name="T56" fmla="*/ 134 w 144"/>
                  <a:gd name="T57" fmla="*/ 14 h 72"/>
                  <a:gd name="T58" fmla="*/ 142 w 144"/>
                  <a:gd name="T59" fmla="*/ 18 h 72"/>
                  <a:gd name="T60" fmla="*/ 144 w 144"/>
                  <a:gd name="T61" fmla="*/ 20 h 72"/>
                  <a:gd name="T62" fmla="*/ 138 w 144"/>
                  <a:gd name="T63" fmla="*/ 24 h 72"/>
                  <a:gd name="T64" fmla="*/ 114 w 144"/>
                  <a:gd name="T65" fmla="*/ 36 h 72"/>
                  <a:gd name="T66" fmla="*/ 112 w 144"/>
                  <a:gd name="T67" fmla="*/ 42 h 72"/>
                  <a:gd name="T68" fmla="*/ 94 w 144"/>
                  <a:gd name="T69" fmla="*/ 42 h 72"/>
                  <a:gd name="T70" fmla="*/ 90 w 144"/>
                  <a:gd name="T71" fmla="*/ 50 h 72"/>
                  <a:gd name="T72" fmla="*/ 76 w 144"/>
                  <a:gd name="T73" fmla="*/ 56 h 72"/>
                  <a:gd name="T74" fmla="*/ 74 w 144"/>
                  <a:gd name="T75" fmla="*/ 56 h 72"/>
                  <a:gd name="T76" fmla="*/ 74 w 144"/>
                  <a:gd name="T77" fmla="*/ 54 h 72"/>
                  <a:gd name="T78" fmla="*/ 72 w 144"/>
                  <a:gd name="T79" fmla="*/ 54 h 72"/>
                  <a:gd name="T80" fmla="*/ 64 w 144"/>
                  <a:gd name="T81" fmla="*/ 50 h 72"/>
                  <a:gd name="T82" fmla="*/ 62 w 144"/>
                  <a:gd name="T83" fmla="*/ 54 h 72"/>
                  <a:gd name="T84" fmla="*/ 54 w 144"/>
                  <a:gd name="T85" fmla="*/ 58 h 72"/>
                  <a:gd name="T86" fmla="*/ 50 w 144"/>
                  <a:gd name="T87" fmla="*/ 70 h 72"/>
                  <a:gd name="T88" fmla="*/ 48 w 144"/>
                  <a:gd name="T8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72">
                    <a:moveTo>
                      <a:pt x="30" y="72"/>
                    </a:moveTo>
                    <a:lnTo>
                      <a:pt x="18" y="70"/>
                    </a:lnTo>
                    <a:lnTo>
                      <a:pt x="8" y="70"/>
                    </a:lnTo>
                    <a:lnTo>
                      <a:pt x="8" y="70"/>
                    </a:lnTo>
                    <a:lnTo>
                      <a:pt x="6" y="68"/>
                    </a:lnTo>
                    <a:lnTo>
                      <a:pt x="4" y="60"/>
                    </a:lnTo>
                    <a:lnTo>
                      <a:pt x="2" y="56"/>
                    </a:lnTo>
                    <a:lnTo>
                      <a:pt x="2" y="56"/>
                    </a:lnTo>
                    <a:lnTo>
                      <a:pt x="2" y="54"/>
                    </a:lnTo>
                    <a:lnTo>
                      <a:pt x="4" y="50"/>
                    </a:lnTo>
                    <a:lnTo>
                      <a:pt x="4" y="50"/>
                    </a:lnTo>
                    <a:lnTo>
                      <a:pt x="6" y="50"/>
                    </a:lnTo>
                    <a:lnTo>
                      <a:pt x="6" y="50"/>
                    </a:lnTo>
                    <a:lnTo>
                      <a:pt x="6" y="50"/>
                    </a:lnTo>
                    <a:lnTo>
                      <a:pt x="6" y="50"/>
                    </a:lnTo>
                    <a:lnTo>
                      <a:pt x="6" y="50"/>
                    </a:lnTo>
                    <a:lnTo>
                      <a:pt x="10" y="54"/>
                    </a:lnTo>
                    <a:lnTo>
                      <a:pt x="20" y="54"/>
                    </a:lnTo>
                    <a:lnTo>
                      <a:pt x="28" y="50"/>
                    </a:lnTo>
                    <a:lnTo>
                      <a:pt x="32" y="44"/>
                    </a:lnTo>
                    <a:lnTo>
                      <a:pt x="28" y="38"/>
                    </a:lnTo>
                    <a:lnTo>
                      <a:pt x="20" y="34"/>
                    </a:lnTo>
                    <a:lnTo>
                      <a:pt x="10" y="38"/>
                    </a:lnTo>
                    <a:lnTo>
                      <a:pt x="10" y="38"/>
                    </a:lnTo>
                    <a:lnTo>
                      <a:pt x="10" y="38"/>
                    </a:lnTo>
                    <a:lnTo>
                      <a:pt x="10" y="38"/>
                    </a:lnTo>
                    <a:lnTo>
                      <a:pt x="8" y="38"/>
                    </a:lnTo>
                    <a:lnTo>
                      <a:pt x="2" y="34"/>
                    </a:lnTo>
                    <a:lnTo>
                      <a:pt x="2" y="34"/>
                    </a:lnTo>
                    <a:lnTo>
                      <a:pt x="0" y="32"/>
                    </a:lnTo>
                    <a:lnTo>
                      <a:pt x="2" y="28"/>
                    </a:lnTo>
                    <a:lnTo>
                      <a:pt x="6" y="18"/>
                    </a:lnTo>
                    <a:lnTo>
                      <a:pt x="14" y="8"/>
                    </a:lnTo>
                    <a:lnTo>
                      <a:pt x="14" y="8"/>
                    </a:lnTo>
                    <a:lnTo>
                      <a:pt x="16" y="6"/>
                    </a:lnTo>
                    <a:lnTo>
                      <a:pt x="26" y="6"/>
                    </a:lnTo>
                    <a:lnTo>
                      <a:pt x="26" y="6"/>
                    </a:lnTo>
                    <a:lnTo>
                      <a:pt x="28" y="8"/>
                    </a:lnTo>
                    <a:lnTo>
                      <a:pt x="32" y="10"/>
                    </a:lnTo>
                    <a:lnTo>
                      <a:pt x="44" y="8"/>
                    </a:lnTo>
                    <a:lnTo>
                      <a:pt x="46" y="4"/>
                    </a:lnTo>
                    <a:lnTo>
                      <a:pt x="46" y="4"/>
                    </a:lnTo>
                    <a:lnTo>
                      <a:pt x="48" y="4"/>
                    </a:lnTo>
                    <a:lnTo>
                      <a:pt x="54" y="0"/>
                    </a:lnTo>
                    <a:lnTo>
                      <a:pt x="54" y="0"/>
                    </a:lnTo>
                    <a:lnTo>
                      <a:pt x="56" y="0"/>
                    </a:lnTo>
                    <a:lnTo>
                      <a:pt x="56" y="0"/>
                    </a:lnTo>
                    <a:lnTo>
                      <a:pt x="56" y="0"/>
                    </a:lnTo>
                    <a:lnTo>
                      <a:pt x="66" y="2"/>
                    </a:lnTo>
                    <a:lnTo>
                      <a:pt x="66" y="2"/>
                    </a:lnTo>
                    <a:lnTo>
                      <a:pt x="68" y="4"/>
                    </a:lnTo>
                    <a:lnTo>
                      <a:pt x="70" y="8"/>
                    </a:lnTo>
                    <a:lnTo>
                      <a:pt x="70" y="8"/>
                    </a:lnTo>
                    <a:lnTo>
                      <a:pt x="120" y="6"/>
                    </a:lnTo>
                    <a:lnTo>
                      <a:pt x="120" y="6"/>
                    </a:lnTo>
                    <a:lnTo>
                      <a:pt x="122" y="8"/>
                    </a:lnTo>
                    <a:lnTo>
                      <a:pt x="126" y="12"/>
                    </a:lnTo>
                    <a:lnTo>
                      <a:pt x="134" y="14"/>
                    </a:lnTo>
                    <a:lnTo>
                      <a:pt x="142" y="18"/>
                    </a:lnTo>
                    <a:lnTo>
                      <a:pt x="142" y="18"/>
                    </a:lnTo>
                    <a:lnTo>
                      <a:pt x="144" y="20"/>
                    </a:lnTo>
                    <a:lnTo>
                      <a:pt x="144" y="20"/>
                    </a:lnTo>
                    <a:lnTo>
                      <a:pt x="142" y="22"/>
                    </a:lnTo>
                    <a:lnTo>
                      <a:pt x="138" y="24"/>
                    </a:lnTo>
                    <a:lnTo>
                      <a:pt x="126" y="32"/>
                    </a:lnTo>
                    <a:lnTo>
                      <a:pt x="114" y="36"/>
                    </a:lnTo>
                    <a:lnTo>
                      <a:pt x="112" y="42"/>
                    </a:lnTo>
                    <a:lnTo>
                      <a:pt x="112" y="42"/>
                    </a:lnTo>
                    <a:lnTo>
                      <a:pt x="110" y="42"/>
                    </a:lnTo>
                    <a:lnTo>
                      <a:pt x="94" y="42"/>
                    </a:lnTo>
                    <a:lnTo>
                      <a:pt x="90" y="50"/>
                    </a:lnTo>
                    <a:lnTo>
                      <a:pt x="90" y="50"/>
                    </a:lnTo>
                    <a:lnTo>
                      <a:pt x="90" y="52"/>
                    </a:lnTo>
                    <a:lnTo>
                      <a:pt x="76" y="56"/>
                    </a:lnTo>
                    <a:lnTo>
                      <a:pt x="76" y="56"/>
                    </a:lnTo>
                    <a:lnTo>
                      <a:pt x="74" y="56"/>
                    </a:lnTo>
                    <a:lnTo>
                      <a:pt x="74" y="56"/>
                    </a:lnTo>
                    <a:lnTo>
                      <a:pt x="74" y="54"/>
                    </a:lnTo>
                    <a:lnTo>
                      <a:pt x="74" y="54"/>
                    </a:lnTo>
                    <a:lnTo>
                      <a:pt x="72" y="54"/>
                    </a:lnTo>
                    <a:lnTo>
                      <a:pt x="72" y="50"/>
                    </a:lnTo>
                    <a:lnTo>
                      <a:pt x="64" y="50"/>
                    </a:lnTo>
                    <a:lnTo>
                      <a:pt x="62" y="54"/>
                    </a:lnTo>
                    <a:lnTo>
                      <a:pt x="62" y="54"/>
                    </a:lnTo>
                    <a:lnTo>
                      <a:pt x="62" y="56"/>
                    </a:lnTo>
                    <a:lnTo>
                      <a:pt x="54" y="58"/>
                    </a:lnTo>
                    <a:lnTo>
                      <a:pt x="52" y="62"/>
                    </a:lnTo>
                    <a:lnTo>
                      <a:pt x="50" y="70"/>
                    </a:lnTo>
                    <a:lnTo>
                      <a:pt x="50" y="70"/>
                    </a:lnTo>
                    <a:lnTo>
                      <a:pt x="48" y="72"/>
                    </a:lnTo>
                    <a:lnTo>
                      <a:pt x="3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1" name="Freeform 753"/>
              <p:cNvSpPr>
                <a:spLocks noEditPoints="1"/>
              </p:cNvSpPr>
              <p:nvPr/>
            </p:nvSpPr>
            <p:spPr bwMode="auto">
              <a:xfrm>
                <a:off x="3857" y="1867"/>
                <a:ext cx="148" cy="76"/>
              </a:xfrm>
              <a:custGeom>
                <a:avLst/>
                <a:gdLst>
                  <a:gd name="T0" fmla="*/ 70 w 148"/>
                  <a:gd name="T1" fmla="*/ 12 h 76"/>
                  <a:gd name="T2" fmla="*/ 136 w 148"/>
                  <a:gd name="T3" fmla="*/ 18 h 76"/>
                  <a:gd name="T4" fmla="*/ 126 w 148"/>
                  <a:gd name="T5" fmla="*/ 32 h 76"/>
                  <a:gd name="T6" fmla="*/ 94 w 148"/>
                  <a:gd name="T7" fmla="*/ 42 h 76"/>
                  <a:gd name="T8" fmla="*/ 76 w 148"/>
                  <a:gd name="T9" fmla="*/ 50 h 76"/>
                  <a:gd name="T10" fmla="*/ 56 w 148"/>
                  <a:gd name="T11" fmla="*/ 58 h 76"/>
                  <a:gd name="T12" fmla="*/ 32 w 148"/>
                  <a:gd name="T13" fmla="*/ 72 h 76"/>
                  <a:gd name="T14" fmla="*/ 8 w 148"/>
                  <a:gd name="T15" fmla="*/ 62 h 76"/>
                  <a:gd name="T16" fmla="*/ 12 w 148"/>
                  <a:gd name="T17" fmla="*/ 58 h 76"/>
                  <a:gd name="T18" fmla="*/ 38 w 148"/>
                  <a:gd name="T19" fmla="*/ 46 h 76"/>
                  <a:gd name="T20" fmla="*/ 12 w 148"/>
                  <a:gd name="T21" fmla="*/ 38 h 76"/>
                  <a:gd name="T22" fmla="*/ 10 w 148"/>
                  <a:gd name="T23" fmla="*/ 22 h 76"/>
                  <a:gd name="T24" fmla="*/ 32 w 148"/>
                  <a:gd name="T25" fmla="*/ 14 h 76"/>
                  <a:gd name="T26" fmla="*/ 58 w 148"/>
                  <a:gd name="T27" fmla="*/ 4 h 76"/>
                  <a:gd name="T28" fmla="*/ 56 w 148"/>
                  <a:gd name="T29" fmla="*/ 0 h 76"/>
                  <a:gd name="T30" fmla="*/ 46 w 148"/>
                  <a:gd name="T31" fmla="*/ 6 h 76"/>
                  <a:gd name="T32" fmla="*/ 32 w 148"/>
                  <a:gd name="T33" fmla="*/ 8 h 76"/>
                  <a:gd name="T34" fmla="*/ 18 w 148"/>
                  <a:gd name="T35" fmla="*/ 6 h 76"/>
                  <a:gd name="T36" fmla="*/ 6 w 148"/>
                  <a:gd name="T37" fmla="*/ 20 h 76"/>
                  <a:gd name="T38" fmla="*/ 2 w 148"/>
                  <a:gd name="T39" fmla="*/ 28 h 76"/>
                  <a:gd name="T40" fmla="*/ 0 w 148"/>
                  <a:gd name="T41" fmla="*/ 36 h 76"/>
                  <a:gd name="T42" fmla="*/ 10 w 148"/>
                  <a:gd name="T43" fmla="*/ 42 h 76"/>
                  <a:gd name="T44" fmla="*/ 12 w 148"/>
                  <a:gd name="T45" fmla="*/ 42 h 76"/>
                  <a:gd name="T46" fmla="*/ 32 w 148"/>
                  <a:gd name="T47" fmla="*/ 46 h 76"/>
                  <a:gd name="T48" fmla="*/ 12 w 148"/>
                  <a:gd name="T49" fmla="*/ 54 h 76"/>
                  <a:gd name="T50" fmla="*/ 8 w 148"/>
                  <a:gd name="T51" fmla="*/ 50 h 76"/>
                  <a:gd name="T52" fmla="*/ 6 w 148"/>
                  <a:gd name="T53" fmla="*/ 50 h 76"/>
                  <a:gd name="T54" fmla="*/ 2 w 148"/>
                  <a:gd name="T55" fmla="*/ 56 h 76"/>
                  <a:gd name="T56" fmla="*/ 6 w 148"/>
                  <a:gd name="T57" fmla="*/ 70 h 76"/>
                  <a:gd name="T58" fmla="*/ 10 w 148"/>
                  <a:gd name="T59" fmla="*/ 74 h 76"/>
                  <a:gd name="T60" fmla="*/ 32 w 148"/>
                  <a:gd name="T61" fmla="*/ 76 h 76"/>
                  <a:gd name="T62" fmla="*/ 50 w 148"/>
                  <a:gd name="T63" fmla="*/ 76 h 76"/>
                  <a:gd name="T64" fmla="*/ 56 w 148"/>
                  <a:gd name="T65" fmla="*/ 64 h 76"/>
                  <a:gd name="T66" fmla="*/ 64 w 148"/>
                  <a:gd name="T67" fmla="*/ 58 h 76"/>
                  <a:gd name="T68" fmla="*/ 72 w 148"/>
                  <a:gd name="T69" fmla="*/ 54 h 76"/>
                  <a:gd name="T70" fmla="*/ 74 w 148"/>
                  <a:gd name="T71" fmla="*/ 58 h 76"/>
                  <a:gd name="T72" fmla="*/ 76 w 148"/>
                  <a:gd name="T73" fmla="*/ 60 h 76"/>
                  <a:gd name="T74" fmla="*/ 92 w 148"/>
                  <a:gd name="T75" fmla="*/ 56 h 76"/>
                  <a:gd name="T76" fmla="*/ 112 w 148"/>
                  <a:gd name="T77" fmla="*/ 46 h 76"/>
                  <a:gd name="T78" fmla="*/ 118 w 148"/>
                  <a:gd name="T79" fmla="*/ 40 h 76"/>
                  <a:gd name="T80" fmla="*/ 128 w 148"/>
                  <a:gd name="T81" fmla="*/ 36 h 76"/>
                  <a:gd name="T82" fmla="*/ 146 w 148"/>
                  <a:gd name="T83" fmla="*/ 24 h 76"/>
                  <a:gd name="T84" fmla="*/ 146 w 148"/>
                  <a:gd name="T85" fmla="*/ 18 h 76"/>
                  <a:gd name="T86" fmla="*/ 136 w 148"/>
                  <a:gd name="T87" fmla="*/ 14 h 76"/>
                  <a:gd name="T88" fmla="*/ 126 w 148"/>
                  <a:gd name="T89" fmla="*/ 8 h 76"/>
                  <a:gd name="T90" fmla="*/ 122 w 148"/>
                  <a:gd name="T91" fmla="*/ 6 h 76"/>
                  <a:gd name="T92" fmla="*/ 72 w 148"/>
                  <a:gd name="T93" fmla="*/ 4 h 76"/>
                  <a:gd name="T94" fmla="*/ 58 w 148"/>
                  <a:gd name="T95" fmla="*/ 0 h 76"/>
                  <a:gd name="T96" fmla="*/ 58 w 148"/>
                  <a:gd name="T9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76">
                    <a:moveTo>
                      <a:pt x="58" y="4"/>
                    </a:moveTo>
                    <a:lnTo>
                      <a:pt x="68" y="6"/>
                    </a:lnTo>
                    <a:lnTo>
                      <a:pt x="70" y="12"/>
                    </a:lnTo>
                    <a:lnTo>
                      <a:pt x="122" y="10"/>
                    </a:lnTo>
                    <a:lnTo>
                      <a:pt x="128" y="16"/>
                    </a:lnTo>
                    <a:lnTo>
                      <a:pt x="136" y="18"/>
                    </a:lnTo>
                    <a:lnTo>
                      <a:pt x="144" y="22"/>
                    </a:lnTo>
                    <a:lnTo>
                      <a:pt x="138" y="26"/>
                    </a:lnTo>
                    <a:lnTo>
                      <a:pt x="126" y="32"/>
                    </a:lnTo>
                    <a:lnTo>
                      <a:pt x="116" y="36"/>
                    </a:lnTo>
                    <a:lnTo>
                      <a:pt x="112" y="42"/>
                    </a:lnTo>
                    <a:lnTo>
                      <a:pt x="94" y="42"/>
                    </a:lnTo>
                    <a:lnTo>
                      <a:pt x="90" y="52"/>
                    </a:lnTo>
                    <a:lnTo>
                      <a:pt x="76" y="56"/>
                    </a:lnTo>
                    <a:lnTo>
                      <a:pt x="76" y="50"/>
                    </a:lnTo>
                    <a:lnTo>
                      <a:pt x="64" y="50"/>
                    </a:lnTo>
                    <a:lnTo>
                      <a:pt x="62" y="56"/>
                    </a:lnTo>
                    <a:lnTo>
                      <a:pt x="56" y="58"/>
                    </a:lnTo>
                    <a:lnTo>
                      <a:pt x="52" y="62"/>
                    </a:lnTo>
                    <a:lnTo>
                      <a:pt x="50" y="72"/>
                    </a:lnTo>
                    <a:lnTo>
                      <a:pt x="32" y="72"/>
                    </a:lnTo>
                    <a:lnTo>
                      <a:pt x="20" y="70"/>
                    </a:lnTo>
                    <a:lnTo>
                      <a:pt x="10" y="70"/>
                    </a:lnTo>
                    <a:lnTo>
                      <a:pt x="8" y="62"/>
                    </a:lnTo>
                    <a:lnTo>
                      <a:pt x="6" y="58"/>
                    </a:lnTo>
                    <a:lnTo>
                      <a:pt x="8" y="54"/>
                    </a:lnTo>
                    <a:lnTo>
                      <a:pt x="12" y="58"/>
                    </a:lnTo>
                    <a:lnTo>
                      <a:pt x="22" y="58"/>
                    </a:lnTo>
                    <a:lnTo>
                      <a:pt x="30" y="54"/>
                    </a:lnTo>
                    <a:lnTo>
                      <a:pt x="38" y="46"/>
                    </a:lnTo>
                    <a:lnTo>
                      <a:pt x="30" y="40"/>
                    </a:lnTo>
                    <a:lnTo>
                      <a:pt x="22" y="34"/>
                    </a:lnTo>
                    <a:lnTo>
                      <a:pt x="12" y="38"/>
                    </a:lnTo>
                    <a:lnTo>
                      <a:pt x="4" y="34"/>
                    </a:lnTo>
                    <a:lnTo>
                      <a:pt x="6" y="30"/>
                    </a:lnTo>
                    <a:lnTo>
                      <a:pt x="10" y="22"/>
                    </a:lnTo>
                    <a:lnTo>
                      <a:pt x="18" y="10"/>
                    </a:lnTo>
                    <a:lnTo>
                      <a:pt x="28" y="10"/>
                    </a:lnTo>
                    <a:lnTo>
                      <a:pt x="32" y="14"/>
                    </a:lnTo>
                    <a:lnTo>
                      <a:pt x="48" y="12"/>
                    </a:lnTo>
                    <a:lnTo>
                      <a:pt x="50" y="8"/>
                    </a:lnTo>
                    <a:lnTo>
                      <a:pt x="58" y="4"/>
                    </a:lnTo>
                    <a:close/>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2" name="Freeform 754"/>
              <p:cNvSpPr>
                <a:spLocks/>
              </p:cNvSpPr>
              <p:nvPr/>
            </p:nvSpPr>
            <p:spPr bwMode="auto">
              <a:xfrm>
                <a:off x="3861" y="1871"/>
                <a:ext cx="140" cy="68"/>
              </a:xfrm>
              <a:custGeom>
                <a:avLst/>
                <a:gdLst>
                  <a:gd name="T0" fmla="*/ 54 w 140"/>
                  <a:gd name="T1" fmla="*/ 0 h 68"/>
                  <a:gd name="T2" fmla="*/ 64 w 140"/>
                  <a:gd name="T3" fmla="*/ 2 h 68"/>
                  <a:gd name="T4" fmla="*/ 66 w 140"/>
                  <a:gd name="T5" fmla="*/ 8 h 68"/>
                  <a:gd name="T6" fmla="*/ 118 w 140"/>
                  <a:gd name="T7" fmla="*/ 6 h 68"/>
                  <a:gd name="T8" fmla="*/ 124 w 140"/>
                  <a:gd name="T9" fmla="*/ 12 h 68"/>
                  <a:gd name="T10" fmla="*/ 132 w 140"/>
                  <a:gd name="T11" fmla="*/ 14 h 68"/>
                  <a:gd name="T12" fmla="*/ 140 w 140"/>
                  <a:gd name="T13" fmla="*/ 18 h 68"/>
                  <a:gd name="T14" fmla="*/ 134 w 140"/>
                  <a:gd name="T15" fmla="*/ 22 h 68"/>
                  <a:gd name="T16" fmla="*/ 122 w 140"/>
                  <a:gd name="T17" fmla="*/ 28 h 68"/>
                  <a:gd name="T18" fmla="*/ 112 w 140"/>
                  <a:gd name="T19" fmla="*/ 32 h 68"/>
                  <a:gd name="T20" fmla="*/ 108 w 140"/>
                  <a:gd name="T21" fmla="*/ 38 h 68"/>
                  <a:gd name="T22" fmla="*/ 90 w 140"/>
                  <a:gd name="T23" fmla="*/ 38 h 68"/>
                  <a:gd name="T24" fmla="*/ 86 w 140"/>
                  <a:gd name="T25" fmla="*/ 48 h 68"/>
                  <a:gd name="T26" fmla="*/ 72 w 140"/>
                  <a:gd name="T27" fmla="*/ 52 h 68"/>
                  <a:gd name="T28" fmla="*/ 72 w 140"/>
                  <a:gd name="T29" fmla="*/ 46 h 68"/>
                  <a:gd name="T30" fmla="*/ 60 w 140"/>
                  <a:gd name="T31" fmla="*/ 46 h 68"/>
                  <a:gd name="T32" fmla="*/ 58 w 140"/>
                  <a:gd name="T33" fmla="*/ 52 h 68"/>
                  <a:gd name="T34" fmla="*/ 52 w 140"/>
                  <a:gd name="T35" fmla="*/ 54 h 68"/>
                  <a:gd name="T36" fmla="*/ 48 w 140"/>
                  <a:gd name="T37" fmla="*/ 58 h 68"/>
                  <a:gd name="T38" fmla="*/ 46 w 140"/>
                  <a:gd name="T39" fmla="*/ 68 h 68"/>
                  <a:gd name="T40" fmla="*/ 28 w 140"/>
                  <a:gd name="T41" fmla="*/ 68 h 68"/>
                  <a:gd name="T42" fmla="*/ 16 w 140"/>
                  <a:gd name="T43" fmla="*/ 66 h 68"/>
                  <a:gd name="T44" fmla="*/ 6 w 140"/>
                  <a:gd name="T45" fmla="*/ 66 h 68"/>
                  <a:gd name="T46" fmla="*/ 4 w 140"/>
                  <a:gd name="T47" fmla="*/ 58 h 68"/>
                  <a:gd name="T48" fmla="*/ 2 w 140"/>
                  <a:gd name="T49" fmla="*/ 54 h 68"/>
                  <a:gd name="T50" fmla="*/ 4 w 140"/>
                  <a:gd name="T51" fmla="*/ 50 h 68"/>
                  <a:gd name="T52" fmla="*/ 8 w 140"/>
                  <a:gd name="T53" fmla="*/ 54 h 68"/>
                  <a:gd name="T54" fmla="*/ 18 w 140"/>
                  <a:gd name="T55" fmla="*/ 54 h 68"/>
                  <a:gd name="T56" fmla="*/ 26 w 140"/>
                  <a:gd name="T57" fmla="*/ 50 h 68"/>
                  <a:gd name="T58" fmla="*/ 34 w 140"/>
                  <a:gd name="T59" fmla="*/ 42 h 68"/>
                  <a:gd name="T60" fmla="*/ 26 w 140"/>
                  <a:gd name="T61" fmla="*/ 36 h 68"/>
                  <a:gd name="T62" fmla="*/ 18 w 140"/>
                  <a:gd name="T63" fmla="*/ 30 h 68"/>
                  <a:gd name="T64" fmla="*/ 8 w 140"/>
                  <a:gd name="T65" fmla="*/ 34 h 68"/>
                  <a:gd name="T66" fmla="*/ 0 w 140"/>
                  <a:gd name="T67" fmla="*/ 30 h 68"/>
                  <a:gd name="T68" fmla="*/ 2 w 140"/>
                  <a:gd name="T69" fmla="*/ 26 h 68"/>
                  <a:gd name="T70" fmla="*/ 6 w 140"/>
                  <a:gd name="T71" fmla="*/ 18 h 68"/>
                  <a:gd name="T72" fmla="*/ 14 w 140"/>
                  <a:gd name="T73" fmla="*/ 6 h 68"/>
                  <a:gd name="T74" fmla="*/ 24 w 140"/>
                  <a:gd name="T75" fmla="*/ 6 h 68"/>
                  <a:gd name="T76" fmla="*/ 28 w 140"/>
                  <a:gd name="T77" fmla="*/ 10 h 68"/>
                  <a:gd name="T78" fmla="*/ 44 w 140"/>
                  <a:gd name="T79" fmla="*/ 8 h 68"/>
                  <a:gd name="T80" fmla="*/ 46 w 140"/>
                  <a:gd name="T81" fmla="*/ 4 h 68"/>
                  <a:gd name="T82" fmla="*/ 54 w 140"/>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68">
                    <a:moveTo>
                      <a:pt x="54" y="0"/>
                    </a:moveTo>
                    <a:lnTo>
                      <a:pt x="64" y="2"/>
                    </a:lnTo>
                    <a:lnTo>
                      <a:pt x="66" y="8"/>
                    </a:lnTo>
                    <a:lnTo>
                      <a:pt x="118" y="6"/>
                    </a:lnTo>
                    <a:lnTo>
                      <a:pt x="124" y="12"/>
                    </a:lnTo>
                    <a:lnTo>
                      <a:pt x="132" y="14"/>
                    </a:lnTo>
                    <a:lnTo>
                      <a:pt x="140" y="18"/>
                    </a:lnTo>
                    <a:lnTo>
                      <a:pt x="134" y="22"/>
                    </a:lnTo>
                    <a:lnTo>
                      <a:pt x="122" y="28"/>
                    </a:lnTo>
                    <a:lnTo>
                      <a:pt x="112" y="32"/>
                    </a:lnTo>
                    <a:lnTo>
                      <a:pt x="108" y="38"/>
                    </a:lnTo>
                    <a:lnTo>
                      <a:pt x="90" y="38"/>
                    </a:lnTo>
                    <a:lnTo>
                      <a:pt x="86" y="48"/>
                    </a:lnTo>
                    <a:lnTo>
                      <a:pt x="72" y="52"/>
                    </a:lnTo>
                    <a:lnTo>
                      <a:pt x="72" y="46"/>
                    </a:lnTo>
                    <a:lnTo>
                      <a:pt x="60" y="46"/>
                    </a:lnTo>
                    <a:lnTo>
                      <a:pt x="58" y="52"/>
                    </a:lnTo>
                    <a:lnTo>
                      <a:pt x="52" y="54"/>
                    </a:lnTo>
                    <a:lnTo>
                      <a:pt x="48" y="58"/>
                    </a:lnTo>
                    <a:lnTo>
                      <a:pt x="46" y="68"/>
                    </a:lnTo>
                    <a:lnTo>
                      <a:pt x="28" y="68"/>
                    </a:lnTo>
                    <a:lnTo>
                      <a:pt x="16" y="66"/>
                    </a:lnTo>
                    <a:lnTo>
                      <a:pt x="6" y="66"/>
                    </a:lnTo>
                    <a:lnTo>
                      <a:pt x="4" y="58"/>
                    </a:lnTo>
                    <a:lnTo>
                      <a:pt x="2" y="54"/>
                    </a:lnTo>
                    <a:lnTo>
                      <a:pt x="4" y="50"/>
                    </a:lnTo>
                    <a:lnTo>
                      <a:pt x="8" y="54"/>
                    </a:lnTo>
                    <a:lnTo>
                      <a:pt x="18" y="54"/>
                    </a:lnTo>
                    <a:lnTo>
                      <a:pt x="26" y="50"/>
                    </a:lnTo>
                    <a:lnTo>
                      <a:pt x="34" y="42"/>
                    </a:lnTo>
                    <a:lnTo>
                      <a:pt x="26" y="36"/>
                    </a:lnTo>
                    <a:lnTo>
                      <a:pt x="18" y="30"/>
                    </a:lnTo>
                    <a:lnTo>
                      <a:pt x="8" y="34"/>
                    </a:lnTo>
                    <a:lnTo>
                      <a:pt x="0" y="30"/>
                    </a:lnTo>
                    <a:lnTo>
                      <a:pt x="2" y="26"/>
                    </a:lnTo>
                    <a:lnTo>
                      <a:pt x="6" y="18"/>
                    </a:lnTo>
                    <a:lnTo>
                      <a:pt x="14" y="6"/>
                    </a:lnTo>
                    <a:lnTo>
                      <a:pt x="24" y="6"/>
                    </a:lnTo>
                    <a:lnTo>
                      <a:pt x="28" y="10"/>
                    </a:lnTo>
                    <a:lnTo>
                      <a:pt x="44" y="8"/>
                    </a:lnTo>
                    <a:lnTo>
                      <a:pt x="46" y="4"/>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3" name="Freeform 755"/>
              <p:cNvSpPr>
                <a:spLocks/>
              </p:cNvSpPr>
              <p:nvPr/>
            </p:nvSpPr>
            <p:spPr bwMode="auto">
              <a:xfrm>
                <a:off x="3857" y="1867"/>
                <a:ext cx="148" cy="76"/>
              </a:xfrm>
              <a:custGeom>
                <a:avLst/>
                <a:gdLst>
                  <a:gd name="T0" fmla="*/ 58 w 148"/>
                  <a:gd name="T1" fmla="*/ 0 h 76"/>
                  <a:gd name="T2" fmla="*/ 48 w 148"/>
                  <a:gd name="T3" fmla="*/ 4 h 76"/>
                  <a:gd name="T4" fmla="*/ 46 w 148"/>
                  <a:gd name="T5" fmla="*/ 6 h 76"/>
                  <a:gd name="T6" fmla="*/ 34 w 148"/>
                  <a:gd name="T7" fmla="*/ 10 h 76"/>
                  <a:gd name="T8" fmla="*/ 32 w 148"/>
                  <a:gd name="T9" fmla="*/ 8 h 76"/>
                  <a:gd name="T10" fmla="*/ 18 w 148"/>
                  <a:gd name="T11" fmla="*/ 6 h 76"/>
                  <a:gd name="T12" fmla="*/ 16 w 148"/>
                  <a:gd name="T13" fmla="*/ 8 h 76"/>
                  <a:gd name="T14" fmla="*/ 6 w 148"/>
                  <a:gd name="T15" fmla="*/ 20 h 76"/>
                  <a:gd name="T16" fmla="*/ 2 w 148"/>
                  <a:gd name="T17" fmla="*/ 28 h 76"/>
                  <a:gd name="T18" fmla="*/ 0 w 148"/>
                  <a:gd name="T19" fmla="*/ 32 h 76"/>
                  <a:gd name="T20" fmla="*/ 2 w 148"/>
                  <a:gd name="T21" fmla="*/ 38 h 76"/>
                  <a:gd name="T22" fmla="*/ 10 w 148"/>
                  <a:gd name="T23" fmla="*/ 42 h 76"/>
                  <a:gd name="T24" fmla="*/ 12 w 148"/>
                  <a:gd name="T25" fmla="*/ 42 h 76"/>
                  <a:gd name="T26" fmla="*/ 22 w 148"/>
                  <a:gd name="T27" fmla="*/ 38 h 76"/>
                  <a:gd name="T28" fmla="*/ 32 w 148"/>
                  <a:gd name="T29" fmla="*/ 46 h 76"/>
                  <a:gd name="T30" fmla="*/ 20 w 148"/>
                  <a:gd name="T31" fmla="*/ 54 h 76"/>
                  <a:gd name="T32" fmla="*/ 10 w 148"/>
                  <a:gd name="T33" fmla="*/ 50 h 76"/>
                  <a:gd name="T34" fmla="*/ 8 w 148"/>
                  <a:gd name="T35" fmla="*/ 50 h 76"/>
                  <a:gd name="T36" fmla="*/ 6 w 148"/>
                  <a:gd name="T37" fmla="*/ 50 h 76"/>
                  <a:gd name="T38" fmla="*/ 4 w 148"/>
                  <a:gd name="T39" fmla="*/ 52 h 76"/>
                  <a:gd name="T40" fmla="*/ 2 w 148"/>
                  <a:gd name="T41" fmla="*/ 56 h 76"/>
                  <a:gd name="T42" fmla="*/ 4 w 148"/>
                  <a:gd name="T43" fmla="*/ 64 h 76"/>
                  <a:gd name="T44" fmla="*/ 6 w 148"/>
                  <a:gd name="T45" fmla="*/ 70 h 76"/>
                  <a:gd name="T46" fmla="*/ 10 w 148"/>
                  <a:gd name="T47" fmla="*/ 74 h 76"/>
                  <a:gd name="T48" fmla="*/ 32 w 148"/>
                  <a:gd name="T49" fmla="*/ 76 h 76"/>
                  <a:gd name="T50" fmla="*/ 32 w 148"/>
                  <a:gd name="T51" fmla="*/ 76 h 76"/>
                  <a:gd name="T52" fmla="*/ 50 w 148"/>
                  <a:gd name="T53" fmla="*/ 76 h 76"/>
                  <a:gd name="T54" fmla="*/ 54 w 148"/>
                  <a:gd name="T55" fmla="*/ 72 h 76"/>
                  <a:gd name="T56" fmla="*/ 58 w 148"/>
                  <a:gd name="T57" fmla="*/ 62 h 76"/>
                  <a:gd name="T58" fmla="*/ 64 w 148"/>
                  <a:gd name="T59" fmla="*/ 58 h 76"/>
                  <a:gd name="T60" fmla="*/ 68 w 148"/>
                  <a:gd name="T61" fmla="*/ 54 h 76"/>
                  <a:gd name="T62" fmla="*/ 72 w 148"/>
                  <a:gd name="T63" fmla="*/ 56 h 76"/>
                  <a:gd name="T64" fmla="*/ 74 w 148"/>
                  <a:gd name="T65" fmla="*/ 58 h 76"/>
                  <a:gd name="T66" fmla="*/ 76 w 148"/>
                  <a:gd name="T67" fmla="*/ 60 h 76"/>
                  <a:gd name="T68" fmla="*/ 78 w 148"/>
                  <a:gd name="T69" fmla="*/ 60 h 76"/>
                  <a:gd name="T70" fmla="*/ 92 w 148"/>
                  <a:gd name="T71" fmla="*/ 56 h 76"/>
                  <a:gd name="T72" fmla="*/ 98 w 148"/>
                  <a:gd name="T73" fmla="*/ 46 h 76"/>
                  <a:gd name="T74" fmla="*/ 112 w 148"/>
                  <a:gd name="T75" fmla="*/ 46 h 76"/>
                  <a:gd name="T76" fmla="*/ 118 w 148"/>
                  <a:gd name="T77" fmla="*/ 40 h 76"/>
                  <a:gd name="T78" fmla="*/ 128 w 148"/>
                  <a:gd name="T79" fmla="*/ 36 h 76"/>
                  <a:gd name="T80" fmla="*/ 140 w 148"/>
                  <a:gd name="T81" fmla="*/ 28 h 76"/>
                  <a:gd name="T82" fmla="*/ 146 w 148"/>
                  <a:gd name="T83" fmla="*/ 24 h 76"/>
                  <a:gd name="T84" fmla="*/ 148 w 148"/>
                  <a:gd name="T85" fmla="*/ 22 h 76"/>
                  <a:gd name="T86" fmla="*/ 136 w 148"/>
                  <a:gd name="T87" fmla="*/ 14 h 76"/>
                  <a:gd name="T88" fmla="*/ 136 w 148"/>
                  <a:gd name="T89" fmla="*/ 14 h 76"/>
                  <a:gd name="T90" fmla="*/ 126 w 148"/>
                  <a:gd name="T91" fmla="*/ 8 h 76"/>
                  <a:gd name="T92" fmla="*/ 122 w 148"/>
                  <a:gd name="T93" fmla="*/ 6 h 76"/>
                  <a:gd name="T94" fmla="*/ 122 w 148"/>
                  <a:gd name="T95" fmla="*/ 6 h 76"/>
                  <a:gd name="T96" fmla="*/ 72 w 148"/>
                  <a:gd name="T97" fmla="*/ 4 h 76"/>
                  <a:gd name="T98" fmla="*/ 70 w 148"/>
                  <a:gd name="T99" fmla="*/ 2 h 76"/>
                  <a:gd name="T100" fmla="*/ 58 w 148"/>
                  <a:gd name="T101" fmla="*/ 0 h 76"/>
                  <a:gd name="T102" fmla="*/ 58 w 148"/>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76">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4" name="Freeform 756"/>
              <p:cNvSpPr>
                <a:spLocks/>
              </p:cNvSpPr>
              <p:nvPr/>
            </p:nvSpPr>
            <p:spPr bwMode="auto">
              <a:xfrm>
                <a:off x="3523" y="1645"/>
                <a:ext cx="574" cy="272"/>
              </a:xfrm>
              <a:custGeom>
                <a:avLst/>
                <a:gdLst>
                  <a:gd name="T0" fmla="*/ 306 w 574"/>
                  <a:gd name="T1" fmla="*/ 262 h 272"/>
                  <a:gd name="T2" fmla="*/ 288 w 574"/>
                  <a:gd name="T3" fmla="*/ 264 h 272"/>
                  <a:gd name="T4" fmla="*/ 276 w 574"/>
                  <a:gd name="T5" fmla="*/ 242 h 272"/>
                  <a:gd name="T6" fmla="*/ 254 w 574"/>
                  <a:gd name="T7" fmla="*/ 220 h 272"/>
                  <a:gd name="T8" fmla="*/ 218 w 574"/>
                  <a:gd name="T9" fmla="*/ 222 h 272"/>
                  <a:gd name="T10" fmla="*/ 152 w 574"/>
                  <a:gd name="T11" fmla="*/ 192 h 272"/>
                  <a:gd name="T12" fmla="*/ 138 w 574"/>
                  <a:gd name="T13" fmla="*/ 262 h 272"/>
                  <a:gd name="T14" fmla="*/ 136 w 574"/>
                  <a:gd name="T15" fmla="*/ 262 h 272"/>
                  <a:gd name="T16" fmla="*/ 118 w 574"/>
                  <a:gd name="T17" fmla="*/ 246 h 272"/>
                  <a:gd name="T18" fmla="*/ 104 w 574"/>
                  <a:gd name="T19" fmla="*/ 242 h 272"/>
                  <a:gd name="T20" fmla="*/ 86 w 574"/>
                  <a:gd name="T21" fmla="*/ 238 h 272"/>
                  <a:gd name="T22" fmla="*/ 60 w 574"/>
                  <a:gd name="T23" fmla="*/ 214 h 272"/>
                  <a:gd name="T24" fmla="*/ 52 w 574"/>
                  <a:gd name="T25" fmla="*/ 204 h 272"/>
                  <a:gd name="T26" fmla="*/ 60 w 574"/>
                  <a:gd name="T27" fmla="*/ 198 h 272"/>
                  <a:gd name="T28" fmla="*/ 68 w 574"/>
                  <a:gd name="T29" fmla="*/ 192 h 272"/>
                  <a:gd name="T30" fmla="*/ 76 w 574"/>
                  <a:gd name="T31" fmla="*/ 186 h 272"/>
                  <a:gd name="T32" fmla="*/ 94 w 574"/>
                  <a:gd name="T33" fmla="*/ 188 h 272"/>
                  <a:gd name="T34" fmla="*/ 60 w 574"/>
                  <a:gd name="T35" fmla="*/ 164 h 272"/>
                  <a:gd name="T36" fmla="*/ 38 w 574"/>
                  <a:gd name="T37" fmla="*/ 174 h 272"/>
                  <a:gd name="T38" fmla="*/ 32 w 574"/>
                  <a:gd name="T39" fmla="*/ 160 h 272"/>
                  <a:gd name="T40" fmla="*/ 10 w 574"/>
                  <a:gd name="T41" fmla="*/ 142 h 272"/>
                  <a:gd name="T42" fmla="*/ 6 w 574"/>
                  <a:gd name="T43" fmla="*/ 106 h 272"/>
                  <a:gd name="T44" fmla="*/ 16 w 574"/>
                  <a:gd name="T45" fmla="*/ 92 h 272"/>
                  <a:gd name="T46" fmla="*/ 18 w 574"/>
                  <a:gd name="T47" fmla="*/ 92 h 272"/>
                  <a:gd name="T48" fmla="*/ 32 w 574"/>
                  <a:gd name="T49" fmla="*/ 94 h 272"/>
                  <a:gd name="T50" fmla="*/ 70 w 574"/>
                  <a:gd name="T51" fmla="*/ 70 h 272"/>
                  <a:gd name="T52" fmla="*/ 70 w 574"/>
                  <a:gd name="T53" fmla="*/ 70 h 272"/>
                  <a:gd name="T54" fmla="*/ 154 w 574"/>
                  <a:gd name="T55" fmla="*/ 80 h 272"/>
                  <a:gd name="T56" fmla="*/ 172 w 574"/>
                  <a:gd name="T57" fmla="*/ 80 h 272"/>
                  <a:gd name="T58" fmla="*/ 212 w 574"/>
                  <a:gd name="T59" fmla="*/ 82 h 272"/>
                  <a:gd name="T60" fmla="*/ 192 w 574"/>
                  <a:gd name="T61" fmla="*/ 70 h 272"/>
                  <a:gd name="T62" fmla="*/ 202 w 574"/>
                  <a:gd name="T63" fmla="*/ 56 h 272"/>
                  <a:gd name="T64" fmla="*/ 214 w 574"/>
                  <a:gd name="T65" fmla="*/ 44 h 272"/>
                  <a:gd name="T66" fmla="*/ 208 w 574"/>
                  <a:gd name="T67" fmla="*/ 28 h 272"/>
                  <a:gd name="T68" fmla="*/ 252 w 574"/>
                  <a:gd name="T69" fmla="*/ 18 h 272"/>
                  <a:gd name="T70" fmla="*/ 344 w 574"/>
                  <a:gd name="T71" fmla="*/ 2 h 272"/>
                  <a:gd name="T72" fmla="*/ 358 w 574"/>
                  <a:gd name="T73" fmla="*/ 20 h 272"/>
                  <a:gd name="T74" fmla="*/ 428 w 574"/>
                  <a:gd name="T75" fmla="*/ 20 h 272"/>
                  <a:gd name="T76" fmla="*/ 430 w 574"/>
                  <a:gd name="T77" fmla="*/ 20 h 272"/>
                  <a:gd name="T78" fmla="*/ 448 w 574"/>
                  <a:gd name="T79" fmla="*/ 40 h 272"/>
                  <a:gd name="T80" fmla="*/ 480 w 574"/>
                  <a:gd name="T81" fmla="*/ 82 h 272"/>
                  <a:gd name="T82" fmla="*/ 484 w 574"/>
                  <a:gd name="T83" fmla="*/ 76 h 272"/>
                  <a:gd name="T84" fmla="*/ 494 w 574"/>
                  <a:gd name="T85" fmla="*/ 82 h 272"/>
                  <a:gd name="T86" fmla="*/ 528 w 574"/>
                  <a:gd name="T87" fmla="*/ 82 h 272"/>
                  <a:gd name="T88" fmla="*/ 550 w 574"/>
                  <a:gd name="T89" fmla="*/ 104 h 272"/>
                  <a:gd name="T90" fmla="*/ 574 w 574"/>
                  <a:gd name="T91" fmla="*/ 120 h 272"/>
                  <a:gd name="T92" fmla="*/ 574 w 574"/>
                  <a:gd name="T93" fmla="*/ 130 h 272"/>
                  <a:gd name="T94" fmla="*/ 558 w 574"/>
                  <a:gd name="T95" fmla="*/ 156 h 272"/>
                  <a:gd name="T96" fmla="*/ 534 w 574"/>
                  <a:gd name="T97" fmla="*/ 158 h 272"/>
                  <a:gd name="T98" fmla="*/ 508 w 574"/>
                  <a:gd name="T99" fmla="*/ 190 h 272"/>
                  <a:gd name="T100" fmla="*/ 484 w 574"/>
                  <a:gd name="T101" fmla="*/ 210 h 272"/>
                  <a:gd name="T102" fmla="*/ 482 w 574"/>
                  <a:gd name="T103" fmla="*/ 234 h 272"/>
                  <a:gd name="T104" fmla="*/ 482 w 574"/>
                  <a:gd name="T105" fmla="*/ 244 h 272"/>
                  <a:gd name="T106" fmla="*/ 470 w 574"/>
                  <a:gd name="T107" fmla="*/ 240 h 272"/>
                  <a:gd name="T108" fmla="*/ 458 w 574"/>
                  <a:gd name="T109" fmla="*/ 234 h 272"/>
                  <a:gd name="T110" fmla="*/ 404 w 574"/>
                  <a:gd name="T111" fmla="*/ 234 h 272"/>
                  <a:gd name="T112" fmla="*/ 386 w 574"/>
                  <a:gd name="T113" fmla="*/ 234 h 272"/>
                  <a:gd name="T114" fmla="*/ 368 w 574"/>
                  <a:gd name="T115" fmla="*/ 236 h 272"/>
                  <a:gd name="T116" fmla="*/ 354 w 574"/>
                  <a:gd name="T117" fmla="*/ 232 h 272"/>
                  <a:gd name="T118" fmla="*/ 338 w 574"/>
                  <a:gd name="T119" fmla="*/ 248 h 272"/>
                  <a:gd name="T120" fmla="*/ 314 w 574"/>
                  <a:gd name="T121"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4" h="272">
                    <a:moveTo>
                      <a:pt x="308" y="272"/>
                    </a:moveTo>
                    <a:lnTo>
                      <a:pt x="308" y="272"/>
                    </a:lnTo>
                    <a:lnTo>
                      <a:pt x="306" y="270"/>
                    </a:lnTo>
                    <a:lnTo>
                      <a:pt x="306" y="262"/>
                    </a:lnTo>
                    <a:lnTo>
                      <a:pt x="304" y="262"/>
                    </a:lnTo>
                    <a:lnTo>
                      <a:pt x="304" y="262"/>
                    </a:lnTo>
                    <a:lnTo>
                      <a:pt x="288" y="264"/>
                    </a:lnTo>
                    <a:lnTo>
                      <a:pt x="288" y="264"/>
                    </a:lnTo>
                    <a:lnTo>
                      <a:pt x="286" y="262"/>
                    </a:lnTo>
                    <a:lnTo>
                      <a:pt x="284" y="248"/>
                    </a:lnTo>
                    <a:lnTo>
                      <a:pt x="276" y="242"/>
                    </a:lnTo>
                    <a:lnTo>
                      <a:pt x="276" y="242"/>
                    </a:lnTo>
                    <a:lnTo>
                      <a:pt x="274" y="240"/>
                    </a:lnTo>
                    <a:lnTo>
                      <a:pt x="274" y="234"/>
                    </a:lnTo>
                    <a:lnTo>
                      <a:pt x="260" y="218"/>
                    </a:lnTo>
                    <a:lnTo>
                      <a:pt x="254" y="220"/>
                    </a:lnTo>
                    <a:lnTo>
                      <a:pt x="254" y="220"/>
                    </a:lnTo>
                    <a:lnTo>
                      <a:pt x="220" y="222"/>
                    </a:lnTo>
                    <a:lnTo>
                      <a:pt x="220" y="222"/>
                    </a:lnTo>
                    <a:lnTo>
                      <a:pt x="218" y="222"/>
                    </a:lnTo>
                    <a:lnTo>
                      <a:pt x="206" y="206"/>
                    </a:lnTo>
                    <a:lnTo>
                      <a:pt x="184" y="192"/>
                    </a:lnTo>
                    <a:lnTo>
                      <a:pt x="176" y="188"/>
                    </a:lnTo>
                    <a:lnTo>
                      <a:pt x="152" y="192"/>
                    </a:lnTo>
                    <a:lnTo>
                      <a:pt x="138" y="194"/>
                    </a:lnTo>
                    <a:lnTo>
                      <a:pt x="138" y="260"/>
                    </a:lnTo>
                    <a:lnTo>
                      <a:pt x="138" y="260"/>
                    </a:lnTo>
                    <a:lnTo>
                      <a:pt x="138" y="262"/>
                    </a:lnTo>
                    <a:lnTo>
                      <a:pt x="138" y="262"/>
                    </a:lnTo>
                    <a:lnTo>
                      <a:pt x="136" y="262"/>
                    </a:lnTo>
                    <a:lnTo>
                      <a:pt x="136" y="262"/>
                    </a:lnTo>
                    <a:lnTo>
                      <a:pt x="136" y="262"/>
                    </a:lnTo>
                    <a:lnTo>
                      <a:pt x="126" y="260"/>
                    </a:lnTo>
                    <a:lnTo>
                      <a:pt x="126" y="260"/>
                    </a:lnTo>
                    <a:lnTo>
                      <a:pt x="126" y="260"/>
                    </a:lnTo>
                    <a:lnTo>
                      <a:pt x="118" y="246"/>
                    </a:lnTo>
                    <a:lnTo>
                      <a:pt x="110" y="240"/>
                    </a:lnTo>
                    <a:lnTo>
                      <a:pt x="104" y="242"/>
                    </a:lnTo>
                    <a:lnTo>
                      <a:pt x="104" y="242"/>
                    </a:lnTo>
                    <a:lnTo>
                      <a:pt x="104" y="242"/>
                    </a:lnTo>
                    <a:lnTo>
                      <a:pt x="104" y="242"/>
                    </a:lnTo>
                    <a:lnTo>
                      <a:pt x="104" y="242"/>
                    </a:lnTo>
                    <a:lnTo>
                      <a:pt x="98" y="240"/>
                    </a:lnTo>
                    <a:lnTo>
                      <a:pt x="86" y="238"/>
                    </a:lnTo>
                    <a:lnTo>
                      <a:pt x="86" y="238"/>
                    </a:lnTo>
                    <a:lnTo>
                      <a:pt x="84" y="238"/>
                    </a:lnTo>
                    <a:lnTo>
                      <a:pt x="70" y="228"/>
                    </a:lnTo>
                    <a:lnTo>
                      <a:pt x="60" y="214"/>
                    </a:lnTo>
                    <a:lnTo>
                      <a:pt x="52" y="206"/>
                    </a:lnTo>
                    <a:lnTo>
                      <a:pt x="52" y="206"/>
                    </a:lnTo>
                    <a:lnTo>
                      <a:pt x="52" y="204"/>
                    </a:lnTo>
                    <a:lnTo>
                      <a:pt x="52" y="204"/>
                    </a:lnTo>
                    <a:lnTo>
                      <a:pt x="52" y="202"/>
                    </a:lnTo>
                    <a:lnTo>
                      <a:pt x="58" y="198"/>
                    </a:lnTo>
                    <a:lnTo>
                      <a:pt x="58" y="198"/>
                    </a:lnTo>
                    <a:lnTo>
                      <a:pt x="60" y="198"/>
                    </a:lnTo>
                    <a:lnTo>
                      <a:pt x="60" y="198"/>
                    </a:lnTo>
                    <a:lnTo>
                      <a:pt x="70" y="200"/>
                    </a:lnTo>
                    <a:lnTo>
                      <a:pt x="68" y="192"/>
                    </a:lnTo>
                    <a:lnTo>
                      <a:pt x="68" y="192"/>
                    </a:lnTo>
                    <a:lnTo>
                      <a:pt x="68" y="190"/>
                    </a:lnTo>
                    <a:lnTo>
                      <a:pt x="74" y="186"/>
                    </a:lnTo>
                    <a:lnTo>
                      <a:pt x="74" y="186"/>
                    </a:lnTo>
                    <a:lnTo>
                      <a:pt x="76" y="186"/>
                    </a:lnTo>
                    <a:lnTo>
                      <a:pt x="76" y="186"/>
                    </a:lnTo>
                    <a:lnTo>
                      <a:pt x="76" y="186"/>
                    </a:lnTo>
                    <a:lnTo>
                      <a:pt x="86" y="188"/>
                    </a:lnTo>
                    <a:lnTo>
                      <a:pt x="94" y="188"/>
                    </a:lnTo>
                    <a:lnTo>
                      <a:pt x="96" y="178"/>
                    </a:lnTo>
                    <a:lnTo>
                      <a:pt x="90" y="162"/>
                    </a:lnTo>
                    <a:lnTo>
                      <a:pt x="76" y="162"/>
                    </a:lnTo>
                    <a:lnTo>
                      <a:pt x="60" y="164"/>
                    </a:lnTo>
                    <a:lnTo>
                      <a:pt x="38" y="174"/>
                    </a:lnTo>
                    <a:lnTo>
                      <a:pt x="38" y="174"/>
                    </a:lnTo>
                    <a:lnTo>
                      <a:pt x="38" y="174"/>
                    </a:lnTo>
                    <a:lnTo>
                      <a:pt x="38" y="174"/>
                    </a:lnTo>
                    <a:lnTo>
                      <a:pt x="38" y="174"/>
                    </a:lnTo>
                    <a:lnTo>
                      <a:pt x="38" y="174"/>
                    </a:lnTo>
                    <a:lnTo>
                      <a:pt x="36" y="172"/>
                    </a:lnTo>
                    <a:lnTo>
                      <a:pt x="32" y="160"/>
                    </a:lnTo>
                    <a:lnTo>
                      <a:pt x="22" y="146"/>
                    </a:lnTo>
                    <a:lnTo>
                      <a:pt x="10" y="142"/>
                    </a:lnTo>
                    <a:lnTo>
                      <a:pt x="10" y="142"/>
                    </a:lnTo>
                    <a:lnTo>
                      <a:pt x="10" y="142"/>
                    </a:lnTo>
                    <a:lnTo>
                      <a:pt x="0" y="130"/>
                    </a:lnTo>
                    <a:lnTo>
                      <a:pt x="0" y="130"/>
                    </a:lnTo>
                    <a:lnTo>
                      <a:pt x="0" y="128"/>
                    </a:lnTo>
                    <a:lnTo>
                      <a:pt x="6" y="106"/>
                    </a:lnTo>
                    <a:lnTo>
                      <a:pt x="6" y="106"/>
                    </a:lnTo>
                    <a:lnTo>
                      <a:pt x="6" y="104"/>
                    </a:lnTo>
                    <a:lnTo>
                      <a:pt x="16" y="92"/>
                    </a:lnTo>
                    <a:lnTo>
                      <a:pt x="16" y="92"/>
                    </a:lnTo>
                    <a:lnTo>
                      <a:pt x="18" y="92"/>
                    </a:lnTo>
                    <a:lnTo>
                      <a:pt x="18" y="92"/>
                    </a:lnTo>
                    <a:lnTo>
                      <a:pt x="18" y="92"/>
                    </a:lnTo>
                    <a:lnTo>
                      <a:pt x="18" y="92"/>
                    </a:lnTo>
                    <a:lnTo>
                      <a:pt x="20" y="92"/>
                    </a:lnTo>
                    <a:lnTo>
                      <a:pt x="26" y="106"/>
                    </a:lnTo>
                    <a:lnTo>
                      <a:pt x="30" y="104"/>
                    </a:lnTo>
                    <a:lnTo>
                      <a:pt x="32" y="94"/>
                    </a:lnTo>
                    <a:lnTo>
                      <a:pt x="32" y="94"/>
                    </a:lnTo>
                    <a:lnTo>
                      <a:pt x="34" y="92"/>
                    </a:lnTo>
                    <a:lnTo>
                      <a:pt x="54" y="76"/>
                    </a:lnTo>
                    <a:lnTo>
                      <a:pt x="70" y="70"/>
                    </a:lnTo>
                    <a:lnTo>
                      <a:pt x="70" y="70"/>
                    </a:lnTo>
                    <a:lnTo>
                      <a:pt x="70" y="70"/>
                    </a:lnTo>
                    <a:lnTo>
                      <a:pt x="70" y="70"/>
                    </a:lnTo>
                    <a:lnTo>
                      <a:pt x="70" y="70"/>
                    </a:lnTo>
                    <a:lnTo>
                      <a:pt x="102" y="76"/>
                    </a:lnTo>
                    <a:lnTo>
                      <a:pt x="124" y="88"/>
                    </a:lnTo>
                    <a:lnTo>
                      <a:pt x="136" y="90"/>
                    </a:lnTo>
                    <a:lnTo>
                      <a:pt x="154" y="80"/>
                    </a:lnTo>
                    <a:lnTo>
                      <a:pt x="154" y="80"/>
                    </a:lnTo>
                    <a:lnTo>
                      <a:pt x="156" y="80"/>
                    </a:lnTo>
                    <a:lnTo>
                      <a:pt x="172" y="80"/>
                    </a:lnTo>
                    <a:lnTo>
                      <a:pt x="172" y="80"/>
                    </a:lnTo>
                    <a:lnTo>
                      <a:pt x="174" y="82"/>
                    </a:lnTo>
                    <a:lnTo>
                      <a:pt x="182" y="90"/>
                    </a:lnTo>
                    <a:lnTo>
                      <a:pt x="204" y="88"/>
                    </a:lnTo>
                    <a:lnTo>
                      <a:pt x="212" y="82"/>
                    </a:lnTo>
                    <a:lnTo>
                      <a:pt x="204" y="76"/>
                    </a:lnTo>
                    <a:lnTo>
                      <a:pt x="192" y="72"/>
                    </a:lnTo>
                    <a:lnTo>
                      <a:pt x="192" y="72"/>
                    </a:lnTo>
                    <a:lnTo>
                      <a:pt x="192" y="70"/>
                    </a:lnTo>
                    <a:lnTo>
                      <a:pt x="192" y="70"/>
                    </a:lnTo>
                    <a:lnTo>
                      <a:pt x="192" y="68"/>
                    </a:lnTo>
                    <a:lnTo>
                      <a:pt x="196" y="62"/>
                    </a:lnTo>
                    <a:lnTo>
                      <a:pt x="202" y="56"/>
                    </a:lnTo>
                    <a:lnTo>
                      <a:pt x="204" y="48"/>
                    </a:lnTo>
                    <a:lnTo>
                      <a:pt x="204" y="48"/>
                    </a:lnTo>
                    <a:lnTo>
                      <a:pt x="204" y="46"/>
                    </a:lnTo>
                    <a:lnTo>
                      <a:pt x="214" y="44"/>
                    </a:lnTo>
                    <a:lnTo>
                      <a:pt x="210" y="38"/>
                    </a:lnTo>
                    <a:lnTo>
                      <a:pt x="208" y="30"/>
                    </a:lnTo>
                    <a:lnTo>
                      <a:pt x="208" y="30"/>
                    </a:lnTo>
                    <a:lnTo>
                      <a:pt x="208" y="28"/>
                    </a:lnTo>
                    <a:lnTo>
                      <a:pt x="208" y="28"/>
                    </a:lnTo>
                    <a:lnTo>
                      <a:pt x="210" y="26"/>
                    </a:lnTo>
                    <a:lnTo>
                      <a:pt x="228" y="24"/>
                    </a:lnTo>
                    <a:lnTo>
                      <a:pt x="252" y="18"/>
                    </a:lnTo>
                    <a:lnTo>
                      <a:pt x="284" y="8"/>
                    </a:lnTo>
                    <a:lnTo>
                      <a:pt x="310" y="4"/>
                    </a:lnTo>
                    <a:lnTo>
                      <a:pt x="326" y="0"/>
                    </a:lnTo>
                    <a:lnTo>
                      <a:pt x="344" y="2"/>
                    </a:lnTo>
                    <a:lnTo>
                      <a:pt x="344" y="2"/>
                    </a:lnTo>
                    <a:lnTo>
                      <a:pt x="346" y="2"/>
                    </a:lnTo>
                    <a:lnTo>
                      <a:pt x="350" y="14"/>
                    </a:lnTo>
                    <a:lnTo>
                      <a:pt x="358" y="20"/>
                    </a:lnTo>
                    <a:lnTo>
                      <a:pt x="376" y="24"/>
                    </a:lnTo>
                    <a:lnTo>
                      <a:pt x="392" y="34"/>
                    </a:lnTo>
                    <a:lnTo>
                      <a:pt x="408" y="26"/>
                    </a:lnTo>
                    <a:lnTo>
                      <a:pt x="428" y="20"/>
                    </a:lnTo>
                    <a:lnTo>
                      <a:pt x="428" y="20"/>
                    </a:lnTo>
                    <a:lnTo>
                      <a:pt x="428" y="20"/>
                    </a:lnTo>
                    <a:lnTo>
                      <a:pt x="428" y="20"/>
                    </a:lnTo>
                    <a:lnTo>
                      <a:pt x="430" y="20"/>
                    </a:lnTo>
                    <a:lnTo>
                      <a:pt x="430" y="20"/>
                    </a:lnTo>
                    <a:lnTo>
                      <a:pt x="430" y="20"/>
                    </a:lnTo>
                    <a:lnTo>
                      <a:pt x="432" y="30"/>
                    </a:lnTo>
                    <a:lnTo>
                      <a:pt x="448" y="40"/>
                    </a:lnTo>
                    <a:lnTo>
                      <a:pt x="458" y="54"/>
                    </a:lnTo>
                    <a:lnTo>
                      <a:pt x="472" y="76"/>
                    </a:lnTo>
                    <a:lnTo>
                      <a:pt x="474" y="82"/>
                    </a:lnTo>
                    <a:lnTo>
                      <a:pt x="480" y="82"/>
                    </a:lnTo>
                    <a:lnTo>
                      <a:pt x="482" y="76"/>
                    </a:lnTo>
                    <a:lnTo>
                      <a:pt x="482" y="76"/>
                    </a:lnTo>
                    <a:lnTo>
                      <a:pt x="484" y="76"/>
                    </a:lnTo>
                    <a:lnTo>
                      <a:pt x="484" y="76"/>
                    </a:lnTo>
                    <a:lnTo>
                      <a:pt x="484" y="76"/>
                    </a:lnTo>
                    <a:lnTo>
                      <a:pt x="484" y="76"/>
                    </a:lnTo>
                    <a:lnTo>
                      <a:pt x="484" y="76"/>
                    </a:lnTo>
                    <a:lnTo>
                      <a:pt x="494" y="82"/>
                    </a:lnTo>
                    <a:lnTo>
                      <a:pt x="504" y="86"/>
                    </a:lnTo>
                    <a:lnTo>
                      <a:pt x="512" y="84"/>
                    </a:lnTo>
                    <a:lnTo>
                      <a:pt x="512" y="84"/>
                    </a:lnTo>
                    <a:lnTo>
                      <a:pt x="528" y="82"/>
                    </a:lnTo>
                    <a:lnTo>
                      <a:pt x="528" y="82"/>
                    </a:lnTo>
                    <a:lnTo>
                      <a:pt x="530" y="84"/>
                    </a:lnTo>
                    <a:lnTo>
                      <a:pt x="538" y="96"/>
                    </a:lnTo>
                    <a:lnTo>
                      <a:pt x="550" y="104"/>
                    </a:lnTo>
                    <a:lnTo>
                      <a:pt x="570" y="106"/>
                    </a:lnTo>
                    <a:lnTo>
                      <a:pt x="570" y="106"/>
                    </a:lnTo>
                    <a:lnTo>
                      <a:pt x="572" y="108"/>
                    </a:lnTo>
                    <a:lnTo>
                      <a:pt x="574" y="120"/>
                    </a:lnTo>
                    <a:lnTo>
                      <a:pt x="574" y="120"/>
                    </a:lnTo>
                    <a:lnTo>
                      <a:pt x="574" y="122"/>
                    </a:lnTo>
                    <a:lnTo>
                      <a:pt x="574" y="130"/>
                    </a:lnTo>
                    <a:lnTo>
                      <a:pt x="574" y="130"/>
                    </a:lnTo>
                    <a:lnTo>
                      <a:pt x="572" y="132"/>
                    </a:lnTo>
                    <a:lnTo>
                      <a:pt x="562" y="132"/>
                    </a:lnTo>
                    <a:lnTo>
                      <a:pt x="558" y="142"/>
                    </a:lnTo>
                    <a:lnTo>
                      <a:pt x="558" y="156"/>
                    </a:lnTo>
                    <a:lnTo>
                      <a:pt x="558" y="156"/>
                    </a:lnTo>
                    <a:lnTo>
                      <a:pt x="558" y="158"/>
                    </a:lnTo>
                    <a:lnTo>
                      <a:pt x="548" y="158"/>
                    </a:lnTo>
                    <a:lnTo>
                      <a:pt x="534" y="158"/>
                    </a:lnTo>
                    <a:lnTo>
                      <a:pt x="520" y="158"/>
                    </a:lnTo>
                    <a:lnTo>
                      <a:pt x="512" y="178"/>
                    </a:lnTo>
                    <a:lnTo>
                      <a:pt x="508" y="190"/>
                    </a:lnTo>
                    <a:lnTo>
                      <a:pt x="508" y="190"/>
                    </a:lnTo>
                    <a:lnTo>
                      <a:pt x="508" y="192"/>
                    </a:lnTo>
                    <a:lnTo>
                      <a:pt x="492" y="192"/>
                    </a:lnTo>
                    <a:lnTo>
                      <a:pt x="482" y="196"/>
                    </a:lnTo>
                    <a:lnTo>
                      <a:pt x="484" y="210"/>
                    </a:lnTo>
                    <a:lnTo>
                      <a:pt x="490" y="224"/>
                    </a:lnTo>
                    <a:lnTo>
                      <a:pt x="490" y="224"/>
                    </a:lnTo>
                    <a:lnTo>
                      <a:pt x="488" y="226"/>
                    </a:lnTo>
                    <a:lnTo>
                      <a:pt x="482" y="234"/>
                    </a:lnTo>
                    <a:lnTo>
                      <a:pt x="482" y="242"/>
                    </a:lnTo>
                    <a:lnTo>
                      <a:pt x="482" y="242"/>
                    </a:lnTo>
                    <a:lnTo>
                      <a:pt x="482" y="244"/>
                    </a:lnTo>
                    <a:lnTo>
                      <a:pt x="482" y="244"/>
                    </a:lnTo>
                    <a:lnTo>
                      <a:pt x="480" y="244"/>
                    </a:lnTo>
                    <a:lnTo>
                      <a:pt x="480" y="244"/>
                    </a:lnTo>
                    <a:lnTo>
                      <a:pt x="480" y="244"/>
                    </a:lnTo>
                    <a:lnTo>
                      <a:pt x="470" y="240"/>
                    </a:lnTo>
                    <a:lnTo>
                      <a:pt x="464" y="238"/>
                    </a:lnTo>
                    <a:lnTo>
                      <a:pt x="464" y="238"/>
                    </a:lnTo>
                    <a:lnTo>
                      <a:pt x="462" y="238"/>
                    </a:lnTo>
                    <a:lnTo>
                      <a:pt x="458" y="234"/>
                    </a:lnTo>
                    <a:lnTo>
                      <a:pt x="458" y="234"/>
                    </a:lnTo>
                    <a:lnTo>
                      <a:pt x="406" y="234"/>
                    </a:lnTo>
                    <a:lnTo>
                      <a:pt x="406" y="234"/>
                    </a:lnTo>
                    <a:lnTo>
                      <a:pt x="404" y="234"/>
                    </a:lnTo>
                    <a:lnTo>
                      <a:pt x="402" y="228"/>
                    </a:lnTo>
                    <a:lnTo>
                      <a:pt x="394" y="226"/>
                    </a:lnTo>
                    <a:lnTo>
                      <a:pt x="388" y="228"/>
                    </a:lnTo>
                    <a:lnTo>
                      <a:pt x="386" y="234"/>
                    </a:lnTo>
                    <a:lnTo>
                      <a:pt x="386" y="234"/>
                    </a:lnTo>
                    <a:lnTo>
                      <a:pt x="384" y="234"/>
                    </a:lnTo>
                    <a:lnTo>
                      <a:pt x="384" y="234"/>
                    </a:lnTo>
                    <a:lnTo>
                      <a:pt x="368" y="236"/>
                    </a:lnTo>
                    <a:lnTo>
                      <a:pt x="368" y="236"/>
                    </a:lnTo>
                    <a:lnTo>
                      <a:pt x="366" y="236"/>
                    </a:lnTo>
                    <a:lnTo>
                      <a:pt x="364" y="232"/>
                    </a:lnTo>
                    <a:lnTo>
                      <a:pt x="354" y="232"/>
                    </a:lnTo>
                    <a:lnTo>
                      <a:pt x="346" y="244"/>
                    </a:lnTo>
                    <a:lnTo>
                      <a:pt x="346" y="244"/>
                    </a:lnTo>
                    <a:lnTo>
                      <a:pt x="346" y="244"/>
                    </a:lnTo>
                    <a:lnTo>
                      <a:pt x="338" y="248"/>
                    </a:lnTo>
                    <a:lnTo>
                      <a:pt x="318" y="262"/>
                    </a:lnTo>
                    <a:lnTo>
                      <a:pt x="316" y="272"/>
                    </a:lnTo>
                    <a:lnTo>
                      <a:pt x="316" y="272"/>
                    </a:lnTo>
                    <a:lnTo>
                      <a:pt x="314" y="272"/>
                    </a:lnTo>
                    <a:lnTo>
                      <a:pt x="308" y="2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5" name="Freeform 757"/>
              <p:cNvSpPr>
                <a:spLocks noEditPoints="1"/>
              </p:cNvSpPr>
              <p:nvPr/>
            </p:nvSpPr>
            <p:spPr bwMode="auto">
              <a:xfrm>
                <a:off x="3521" y="1643"/>
                <a:ext cx="578" cy="276"/>
              </a:xfrm>
              <a:custGeom>
                <a:avLst/>
                <a:gdLst>
                  <a:gd name="T0" fmla="*/ 410 w 578"/>
                  <a:gd name="T1" fmla="*/ 28 h 276"/>
                  <a:gd name="T2" fmla="*/ 482 w 578"/>
                  <a:gd name="T3" fmla="*/ 86 h 276"/>
                  <a:gd name="T4" fmla="*/ 552 w 578"/>
                  <a:gd name="T5" fmla="*/ 108 h 276"/>
                  <a:gd name="T6" fmla="*/ 550 w 578"/>
                  <a:gd name="T7" fmla="*/ 158 h 276"/>
                  <a:gd name="T8" fmla="*/ 484 w 578"/>
                  <a:gd name="T9" fmla="*/ 214 h 276"/>
                  <a:gd name="T10" fmla="*/ 408 w 578"/>
                  <a:gd name="T11" fmla="*/ 234 h 276"/>
                  <a:gd name="T12" fmla="*/ 356 w 578"/>
                  <a:gd name="T13" fmla="*/ 232 h 276"/>
                  <a:gd name="T14" fmla="*/ 306 w 578"/>
                  <a:gd name="T15" fmla="*/ 262 h 276"/>
                  <a:gd name="T16" fmla="*/ 222 w 578"/>
                  <a:gd name="T17" fmla="*/ 222 h 276"/>
                  <a:gd name="T18" fmla="*/ 130 w 578"/>
                  <a:gd name="T19" fmla="*/ 260 h 276"/>
                  <a:gd name="T20" fmla="*/ 64 w 578"/>
                  <a:gd name="T21" fmla="*/ 214 h 276"/>
                  <a:gd name="T22" fmla="*/ 98 w 578"/>
                  <a:gd name="T23" fmla="*/ 194 h 276"/>
                  <a:gd name="T24" fmla="*/ 26 w 578"/>
                  <a:gd name="T25" fmla="*/ 146 h 276"/>
                  <a:gd name="T26" fmla="*/ 36 w 578"/>
                  <a:gd name="T27" fmla="*/ 96 h 276"/>
                  <a:gd name="T28" fmla="*/ 174 w 578"/>
                  <a:gd name="T29" fmla="*/ 84 h 276"/>
                  <a:gd name="T30" fmla="*/ 206 w 578"/>
                  <a:gd name="T31" fmla="*/ 60 h 276"/>
                  <a:gd name="T32" fmla="*/ 286 w 578"/>
                  <a:gd name="T33" fmla="*/ 12 h 276"/>
                  <a:gd name="T34" fmla="*/ 286 w 578"/>
                  <a:gd name="T35" fmla="*/ 8 h 276"/>
                  <a:gd name="T36" fmla="*/ 208 w 578"/>
                  <a:gd name="T37" fmla="*/ 32 h 276"/>
                  <a:gd name="T38" fmla="*/ 198 w 578"/>
                  <a:gd name="T39" fmla="*/ 62 h 276"/>
                  <a:gd name="T40" fmla="*/ 194 w 578"/>
                  <a:gd name="T41" fmla="*/ 76 h 276"/>
                  <a:gd name="T42" fmla="*/ 174 w 578"/>
                  <a:gd name="T43" fmla="*/ 80 h 276"/>
                  <a:gd name="T44" fmla="*/ 106 w 578"/>
                  <a:gd name="T45" fmla="*/ 76 h 276"/>
                  <a:gd name="T46" fmla="*/ 56 w 578"/>
                  <a:gd name="T47" fmla="*/ 76 h 276"/>
                  <a:gd name="T48" fmla="*/ 30 w 578"/>
                  <a:gd name="T49" fmla="*/ 104 h 276"/>
                  <a:gd name="T50" fmla="*/ 18 w 578"/>
                  <a:gd name="T51" fmla="*/ 94 h 276"/>
                  <a:gd name="T52" fmla="*/ 10 w 578"/>
                  <a:gd name="T53" fmla="*/ 144 h 276"/>
                  <a:gd name="T54" fmla="*/ 38 w 578"/>
                  <a:gd name="T55" fmla="*/ 176 h 276"/>
                  <a:gd name="T56" fmla="*/ 90 w 578"/>
                  <a:gd name="T57" fmla="*/ 166 h 276"/>
                  <a:gd name="T58" fmla="*/ 78 w 578"/>
                  <a:gd name="T59" fmla="*/ 186 h 276"/>
                  <a:gd name="T60" fmla="*/ 62 w 578"/>
                  <a:gd name="T61" fmla="*/ 198 h 276"/>
                  <a:gd name="T62" fmla="*/ 52 w 578"/>
                  <a:gd name="T63" fmla="*/ 206 h 276"/>
                  <a:gd name="T64" fmla="*/ 86 w 578"/>
                  <a:gd name="T65" fmla="*/ 242 h 276"/>
                  <a:gd name="T66" fmla="*/ 106 w 578"/>
                  <a:gd name="T67" fmla="*/ 246 h 276"/>
                  <a:gd name="T68" fmla="*/ 138 w 578"/>
                  <a:gd name="T69" fmla="*/ 266 h 276"/>
                  <a:gd name="T70" fmla="*/ 142 w 578"/>
                  <a:gd name="T71" fmla="*/ 198 h 276"/>
                  <a:gd name="T72" fmla="*/ 218 w 578"/>
                  <a:gd name="T73" fmla="*/ 224 h 276"/>
                  <a:gd name="T74" fmla="*/ 256 w 578"/>
                  <a:gd name="T75" fmla="*/ 224 h 276"/>
                  <a:gd name="T76" fmla="*/ 286 w 578"/>
                  <a:gd name="T77" fmla="*/ 264 h 276"/>
                  <a:gd name="T78" fmla="*/ 306 w 578"/>
                  <a:gd name="T79" fmla="*/ 266 h 276"/>
                  <a:gd name="T80" fmla="*/ 318 w 578"/>
                  <a:gd name="T81" fmla="*/ 276 h 276"/>
                  <a:gd name="T82" fmla="*/ 358 w 578"/>
                  <a:gd name="T83" fmla="*/ 236 h 276"/>
                  <a:gd name="T84" fmla="*/ 386 w 578"/>
                  <a:gd name="T85" fmla="*/ 238 h 276"/>
                  <a:gd name="T86" fmla="*/ 404 w 578"/>
                  <a:gd name="T87" fmla="*/ 236 h 276"/>
                  <a:gd name="T88" fmla="*/ 464 w 578"/>
                  <a:gd name="T89" fmla="*/ 242 h 276"/>
                  <a:gd name="T90" fmla="*/ 482 w 578"/>
                  <a:gd name="T91" fmla="*/ 248 h 276"/>
                  <a:gd name="T92" fmla="*/ 494 w 578"/>
                  <a:gd name="T93" fmla="*/ 228 h 276"/>
                  <a:gd name="T94" fmla="*/ 512 w 578"/>
                  <a:gd name="T95" fmla="*/ 194 h 276"/>
                  <a:gd name="T96" fmla="*/ 550 w 578"/>
                  <a:gd name="T97" fmla="*/ 162 h 276"/>
                  <a:gd name="T98" fmla="*/ 562 w 578"/>
                  <a:gd name="T99" fmla="*/ 144 h 276"/>
                  <a:gd name="T100" fmla="*/ 578 w 578"/>
                  <a:gd name="T101" fmla="*/ 124 h 276"/>
                  <a:gd name="T102" fmla="*/ 542 w 578"/>
                  <a:gd name="T103" fmla="*/ 96 h 276"/>
                  <a:gd name="T104" fmla="*/ 506 w 578"/>
                  <a:gd name="T105" fmla="*/ 86 h 276"/>
                  <a:gd name="T106" fmla="*/ 484 w 578"/>
                  <a:gd name="T107" fmla="*/ 76 h 276"/>
                  <a:gd name="T108" fmla="*/ 462 w 578"/>
                  <a:gd name="T109" fmla="*/ 56 h 276"/>
                  <a:gd name="T110" fmla="*/ 432 w 578"/>
                  <a:gd name="T111" fmla="*/ 20 h 276"/>
                  <a:gd name="T112" fmla="*/ 408 w 578"/>
                  <a:gd name="T113" fmla="*/ 26 h 276"/>
                  <a:gd name="T114" fmla="*/ 350 w 578"/>
                  <a:gd name="T115" fmla="*/ 4 h 276"/>
                  <a:gd name="T116" fmla="*/ 328 w 578"/>
                  <a:gd name="T1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276">
                    <a:moveTo>
                      <a:pt x="328" y="4"/>
                    </a:moveTo>
                    <a:lnTo>
                      <a:pt x="346" y="6"/>
                    </a:lnTo>
                    <a:lnTo>
                      <a:pt x="350" y="18"/>
                    </a:lnTo>
                    <a:lnTo>
                      <a:pt x="360" y="24"/>
                    </a:lnTo>
                    <a:lnTo>
                      <a:pt x="378" y="28"/>
                    </a:lnTo>
                    <a:lnTo>
                      <a:pt x="394" y="38"/>
                    </a:lnTo>
                    <a:lnTo>
                      <a:pt x="410" y="28"/>
                    </a:lnTo>
                    <a:lnTo>
                      <a:pt x="430" y="24"/>
                    </a:lnTo>
                    <a:lnTo>
                      <a:pt x="432" y="32"/>
                    </a:lnTo>
                    <a:lnTo>
                      <a:pt x="448" y="44"/>
                    </a:lnTo>
                    <a:lnTo>
                      <a:pt x="460" y="58"/>
                    </a:lnTo>
                    <a:lnTo>
                      <a:pt x="472" y="80"/>
                    </a:lnTo>
                    <a:lnTo>
                      <a:pt x="476" y="86"/>
                    </a:lnTo>
                    <a:lnTo>
                      <a:pt x="482" y="86"/>
                    </a:lnTo>
                    <a:lnTo>
                      <a:pt x="486" y="80"/>
                    </a:lnTo>
                    <a:lnTo>
                      <a:pt x="494" y="84"/>
                    </a:lnTo>
                    <a:lnTo>
                      <a:pt x="506" y="90"/>
                    </a:lnTo>
                    <a:lnTo>
                      <a:pt x="514" y="88"/>
                    </a:lnTo>
                    <a:lnTo>
                      <a:pt x="530" y="86"/>
                    </a:lnTo>
                    <a:lnTo>
                      <a:pt x="540" y="100"/>
                    </a:lnTo>
                    <a:lnTo>
                      <a:pt x="552" y="108"/>
                    </a:lnTo>
                    <a:lnTo>
                      <a:pt x="572" y="110"/>
                    </a:lnTo>
                    <a:lnTo>
                      <a:pt x="574" y="122"/>
                    </a:lnTo>
                    <a:lnTo>
                      <a:pt x="574" y="132"/>
                    </a:lnTo>
                    <a:lnTo>
                      <a:pt x="562" y="132"/>
                    </a:lnTo>
                    <a:lnTo>
                      <a:pt x="558" y="144"/>
                    </a:lnTo>
                    <a:lnTo>
                      <a:pt x="558" y="158"/>
                    </a:lnTo>
                    <a:lnTo>
                      <a:pt x="550" y="158"/>
                    </a:lnTo>
                    <a:lnTo>
                      <a:pt x="536" y="158"/>
                    </a:lnTo>
                    <a:lnTo>
                      <a:pt x="522" y="158"/>
                    </a:lnTo>
                    <a:lnTo>
                      <a:pt x="512" y="178"/>
                    </a:lnTo>
                    <a:lnTo>
                      <a:pt x="510" y="192"/>
                    </a:lnTo>
                    <a:lnTo>
                      <a:pt x="492" y="192"/>
                    </a:lnTo>
                    <a:lnTo>
                      <a:pt x="482" y="196"/>
                    </a:lnTo>
                    <a:lnTo>
                      <a:pt x="484" y="214"/>
                    </a:lnTo>
                    <a:lnTo>
                      <a:pt x="490" y="228"/>
                    </a:lnTo>
                    <a:lnTo>
                      <a:pt x="482" y="234"/>
                    </a:lnTo>
                    <a:lnTo>
                      <a:pt x="482" y="244"/>
                    </a:lnTo>
                    <a:lnTo>
                      <a:pt x="474" y="240"/>
                    </a:lnTo>
                    <a:lnTo>
                      <a:pt x="466" y="238"/>
                    </a:lnTo>
                    <a:lnTo>
                      <a:pt x="460" y="232"/>
                    </a:lnTo>
                    <a:lnTo>
                      <a:pt x="408" y="234"/>
                    </a:lnTo>
                    <a:lnTo>
                      <a:pt x="406" y="228"/>
                    </a:lnTo>
                    <a:lnTo>
                      <a:pt x="394" y="226"/>
                    </a:lnTo>
                    <a:lnTo>
                      <a:pt x="388" y="230"/>
                    </a:lnTo>
                    <a:lnTo>
                      <a:pt x="386" y="234"/>
                    </a:lnTo>
                    <a:lnTo>
                      <a:pt x="370" y="236"/>
                    </a:lnTo>
                    <a:lnTo>
                      <a:pt x="366" y="232"/>
                    </a:lnTo>
                    <a:lnTo>
                      <a:pt x="356" y="232"/>
                    </a:lnTo>
                    <a:lnTo>
                      <a:pt x="346" y="244"/>
                    </a:lnTo>
                    <a:lnTo>
                      <a:pt x="340" y="248"/>
                    </a:lnTo>
                    <a:lnTo>
                      <a:pt x="318" y="264"/>
                    </a:lnTo>
                    <a:lnTo>
                      <a:pt x="316" y="272"/>
                    </a:lnTo>
                    <a:lnTo>
                      <a:pt x="310" y="272"/>
                    </a:lnTo>
                    <a:lnTo>
                      <a:pt x="310" y="264"/>
                    </a:lnTo>
                    <a:lnTo>
                      <a:pt x="306" y="262"/>
                    </a:lnTo>
                    <a:lnTo>
                      <a:pt x="290" y="264"/>
                    </a:lnTo>
                    <a:lnTo>
                      <a:pt x="288" y="250"/>
                    </a:lnTo>
                    <a:lnTo>
                      <a:pt x="278" y="242"/>
                    </a:lnTo>
                    <a:lnTo>
                      <a:pt x="278" y="234"/>
                    </a:lnTo>
                    <a:lnTo>
                      <a:pt x="262" y="218"/>
                    </a:lnTo>
                    <a:lnTo>
                      <a:pt x="256" y="220"/>
                    </a:lnTo>
                    <a:lnTo>
                      <a:pt x="222" y="222"/>
                    </a:lnTo>
                    <a:lnTo>
                      <a:pt x="210" y="206"/>
                    </a:lnTo>
                    <a:lnTo>
                      <a:pt x="186" y="194"/>
                    </a:lnTo>
                    <a:lnTo>
                      <a:pt x="180" y="188"/>
                    </a:lnTo>
                    <a:lnTo>
                      <a:pt x="154" y="192"/>
                    </a:lnTo>
                    <a:lnTo>
                      <a:pt x="138" y="196"/>
                    </a:lnTo>
                    <a:lnTo>
                      <a:pt x="138" y="262"/>
                    </a:lnTo>
                    <a:lnTo>
                      <a:pt x="130" y="260"/>
                    </a:lnTo>
                    <a:lnTo>
                      <a:pt x="122" y="248"/>
                    </a:lnTo>
                    <a:lnTo>
                      <a:pt x="112" y="240"/>
                    </a:lnTo>
                    <a:lnTo>
                      <a:pt x="106" y="242"/>
                    </a:lnTo>
                    <a:lnTo>
                      <a:pt x="100" y="240"/>
                    </a:lnTo>
                    <a:lnTo>
                      <a:pt x="88" y="238"/>
                    </a:lnTo>
                    <a:lnTo>
                      <a:pt x="74" y="228"/>
                    </a:lnTo>
                    <a:lnTo>
                      <a:pt x="64" y="214"/>
                    </a:lnTo>
                    <a:lnTo>
                      <a:pt x="56" y="206"/>
                    </a:lnTo>
                    <a:lnTo>
                      <a:pt x="62" y="202"/>
                    </a:lnTo>
                    <a:lnTo>
                      <a:pt x="74" y="204"/>
                    </a:lnTo>
                    <a:lnTo>
                      <a:pt x="72" y="194"/>
                    </a:lnTo>
                    <a:lnTo>
                      <a:pt x="78" y="190"/>
                    </a:lnTo>
                    <a:lnTo>
                      <a:pt x="88" y="192"/>
                    </a:lnTo>
                    <a:lnTo>
                      <a:pt x="98" y="194"/>
                    </a:lnTo>
                    <a:lnTo>
                      <a:pt x="100" y="180"/>
                    </a:lnTo>
                    <a:lnTo>
                      <a:pt x="94" y="162"/>
                    </a:lnTo>
                    <a:lnTo>
                      <a:pt x="78" y="162"/>
                    </a:lnTo>
                    <a:lnTo>
                      <a:pt x="62" y="164"/>
                    </a:lnTo>
                    <a:lnTo>
                      <a:pt x="40" y="174"/>
                    </a:lnTo>
                    <a:lnTo>
                      <a:pt x="36" y="160"/>
                    </a:lnTo>
                    <a:lnTo>
                      <a:pt x="26" y="146"/>
                    </a:lnTo>
                    <a:lnTo>
                      <a:pt x="14" y="142"/>
                    </a:lnTo>
                    <a:lnTo>
                      <a:pt x="4" y="130"/>
                    </a:lnTo>
                    <a:lnTo>
                      <a:pt x="10" y="108"/>
                    </a:lnTo>
                    <a:lnTo>
                      <a:pt x="20" y="96"/>
                    </a:lnTo>
                    <a:lnTo>
                      <a:pt x="28" y="110"/>
                    </a:lnTo>
                    <a:lnTo>
                      <a:pt x="34" y="106"/>
                    </a:lnTo>
                    <a:lnTo>
                      <a:pt x="36" y="96"/>
                    </a:lnTo>
                    <a:lnTo>
                      <a:pt x="58" y="80"/>
                    </a:lnTo>
                    <a:lnTo>
                      <a:pt x="72" y="74"/>
                    </a:lnTo>
                    <a:lnTo>
                      <a:pt x="104" y="80"/>
                    </a:lnTo>
                    <a:lnTo>
                      <a:pt x="126" y="92"/>
                    </a:lnTo>
                    <a:lnTo>
                      <a:pt x="138" y="94"/>
                    </a:lnTo>
                    <a:lnTo>
                      <a:pt x="158" y="84"/>
                    </a:lnTo>
                    <a:lnTo>
                      <a:pt x="174" y="84"/>
                    </a:lnTo>
                    <a:lnTo>
                      <a:pt x="182" y="94"/>
                    </a:lnTo>
                    <a:lnTo>
                      <a:pt x="206" y="92"/>
                    </a:lnTo>
                    <a:lnTo>
                      <a:pt x="216" y="82"/>
                    </a:lnTo>
                    <a:lnTo>
                      <a:pt x="208" y="76"/>
                    </a:lnTo>
                    <a:lnTo>
                      <a:pt x="196" y="72"/>
                    </a:lnTo>
                    <a:lnTo>
                      <a:pt x="200" y="64"/>
                    </a:lnTo>
                    <a:lnTo>
                      <a:pt x="206" y="60"/>
                    </a:lnTo>
                    <a:lnTo>
                      <a:pt x="208" y="50"/>
                    </a:lnTo>
                    <a:lnTo>
                      <a:pt x="218" y="46"/>
                    </a:lnTo>
                    <a:lnTo>
                      <a:pt x="214" y="40"/>
                    </a:lnTo>
                    <a:lnTo>
                      <a:pt x="212" y="30"/>
                    </a:lnTo>
                    <a:lnTo>
                      <a:pt x="230" y="28"/>
                    </a:lnTo>
                    <a:lnTo>
                      <a:pt x="254" y="22"/>
                    </a:lnTo>
                    <a:lnTo>
                      <a:pt x="286" y="12"/>
                    </a:lnTo>
                    <a:lnTo>
                      <a:pt x="312" y="8"/>
                    </a:lnTo>
                    <a:lnTo>
                      <a:pt x="328" y="4"/>
                    </a:lnTo>
                    <a:close/>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6" name="Freeform 758"/>
              <p:cNvSpPr>
                <a:spLocks/>
              </p:cNvSpPr>
              <p:nvPr/>
            </p:nvSpPr>
            <p:spPr bwMode="auto">
              <a:xfrm>
                <a:off x="3525" y="1647"/>
                <a:ext cx="570" cy="268"/>
              </a:xfrm>
              <a:custGeom>
                <a:avLst/>
                <a:gdLst>
                  <a:gd name="T0" fmla="*/ 342 w 570"/>
                  <a:gd name="T1" fmla="*/ 2 h 268"/>
                  <a:gd name="T2" fmla="*/ 356 w 570"/>
                  <a:gd name="T3" fmla="*/ 20 h 268"/>
                  <a:gd name="T4" fmla="*/ 390 w 570"/>
                  <a:gd name="T5" fmla="*/ 34 h 268"/>
                  <a:gd name="T6" fmla="*/ 426 w 570"/>
                  <a:gd name="T7" fmla="*/ 20 h 268"/>
                  <a:gd name="T8" fmla="*/ 444 w 570"/>
                  <a:gd name="T9" fmla="*/ 40 h 268"/>
                  <a:gd name="T10" fmla="*/ 468 w 570"/>
                  <a:gd name="T11" fmla="*/ 76 h 268"/>
                  <a:gd name="T12" fmla="*/ 478 w 570"/>
                  <a:gd name="T13" fmla="*/ 82 h 268"/>
                  <a:gd name="T14" fmla="*/ 490 w 570"/>
                  <a:gd name="T15" fmla="*/ 80 h 268"/>
                  <a:gd name="T16" fmla="*/ 510 w 570"/>
                  <a:gd name="T17" fmla="*/ 84 h 268"/>
                  <a:gd name="T18" fmla="*/ 536 w 570"/>
                  <a:gd name="T19" fmla="*/ 96 h 268"/>
                  <a:gd name="T20" fmla="*/ 568 w 570"/>
                  <a:gd name="T21" fmla="*/ 106 h 268"/>
                  <a:gd name="T22" fmla="*/ 570 w 570"/>
                  <a:gd name="T23" fmla="*/ 128 h 268"/>
                  <a:gd name="T24" fmla="*/ 554 w 570"/>
                  <a:gd name="T25" fmla="*/ 140 h 268"/>
                  <a:gd name="T26" fmla="*/ 546 w 570"/>
                  <a:gd name="T27" fmla="*/ 154 h 268"/>
                  <a:gd name="T28" fmla="*/ 518 w 570"/>
                  <a:gd name="T29" fmla="*/ 154 h 268"/>
                  <a:gd name="T30" fmla="*/ 506 w 570"/>
                  <a:gd name="T31" fmla="*/ 188 h 268"/>
                  <a:gd name="T32" fmla="*/ 478 w 570"/>
                  <a:gd name="T33" fmla="*/ 192 h 268"/>
                  <a:gd name="T34" fmla="*/ 486 w 570"/>
                  <a:gd name="T35" fmla="*/ 224 h 268"/>
                  <a:gd name="T36" fmla="*/ 478 w 570"/>
                  <a:gd name="T37" fmla="*/ 240 h 268"/>
                  <a:gd name="T38" fmla="*/ 462 w 570"/>
                  <a:gd name="T39" fmla="*/ 234 h 268"/>
                  <a:gd name="T40" fmla="*/ 404 w 570"/>
                  <a:gd name="T41" fmla="*/ 230 h 268"/>
                  <a:gd name="T42" fmla="*/ 390 w 570"/>
                  <a:gd name="T43" fmla="*/ 222 h 268"/>
                  <a:gd name="T44" fmla="*/ 382 w 570"/>
                  <a:gd name="T45" fmla="*/ 230 h 268"/>
                  <a:gd name="T46" fmla="*/ 362 w 570"/>
                  <a:gd name="T47" fmla="*/ 228 h 268"/>
                  <a:gd name="T48" fmla="*/ 342 w 570"/>
                  <a:gd name="T49" fmla="*/ 240 h 268"/>
                  <a:gd name="T50" fmla="*/ 314 w 570"/>
                  <a:gd name="T51" fmla="*/ 260 h 268"/>
                  <a:gd name="T52" fmla="*/ 306 w 570"/>
                  <a:gd name="T53" fmla="*/ 268 h 268"/>
                  <a:gd name="T54" fmla="*/ 302 w 570"/>
                  <a:gd name="T55" fmla="*/ 258 h 268"/>
                  <a:gd name="T56" fmla="*/ 284 w 570"/>
                  <a:gd name="T57" fmla="*/ 246 h 268"/>
                  <a:gd name="T58" fmla="*/ 274 w 570"/>
                  <a:gd name="T59" fmla="*/ 230 h 268"/>
                  <a:gd name="T60" fmla="*/ 252 w 570"/>
                  <a:gd name="T61" fmla="*/ 216 h 268"/>
                  <a:gd name="T62" fmla="*/ 206 w 570"/>
                  <a:gd name="T63" fmla="*/ 202 h 268"/>
                  <a:gd name="T64" fmla="*/ 176 w 570"/>
                  <a:gd name="T65" fmla="*/ 184 h 268"/>
                  <a:gd name="T66" fmla="*/ 134 w 570"/>
                  <a:gd name="T67" fmla="*/ 192 h 268"/>
                  <a:gd name="T68" fmla="*/ 126 w 570"/>
                  <a:gd name="T69" fmla="*/ 256 h 268"/>
                  <a:gd name="T70" fmla="*/ 108 w 570"/>
                  <a:gd name="T71" fmla="*/ 236 h 268"/>
                  <a:gd name="T72" fmla="*/ 96 w 570"/>
                  <a:gd name="T73" fmla="*/ 236 h 268"/>
                  <a:gd name="T74" fmla="*/ 70 w 570"/>
                  <a:gd name="T75" fmla="*/ 224 h 268"/>
                  <a:gd name="T76" fmla="*/ 52 w 570"/>
                  <a:gd name="T77" fmla="*/ 202 h 268"/>
                  <a:gd name="T78" fmla="*/ 70 w 570"/>
                  <a:gd name="T79" fmla="*/ 200 h 268"/>
                  <a:gd name="T80" fmla="*/ 74 w 570"/>
                  <a:gd name="T81" fmla="*/ 186 h 268"/>
                  <a:gd name="T82" fmla="*/ 94 w 570"/>
                  <a:gd name="T83" fmla="*/ 190 h 268"/>
                  <a:gd name="T84" fmla="*/ 90 w 570"/>
                  <a:gd name="T85" fmla="*/ 158 h 268"/>
                  <a:gd name="T86" fmla="*/ 58 w 570"/>
                  <a:gd name="T87" fmla="*/ 160 h 268"/>
                  <a:gd name="T88" fmla="*/ 32 w 570"/>
                  <a:gd name="T89" fmla="*/ 156 h 268"/>
                  <a:gd name="T90" fmla="*/ 10 w 570"/>
                  <a:gd name="T91" fmla="*/ 138 h 268"/>
                  <a:gd name="T92" fmla="*/ 6 w 570"/>
                  <a:gd name="T93" fmla="*/ 104 h 268"/>
                  <a:gd name="T94" fmla="*/ 24 w 570"/>
                  <a:gd name="T95" fmla="*/ 106 h 268"/>
                  <a:gd name="T96" fmla="*/ 32 w 570"/>
                  <a:gd name="T97" fmla="*/ 92 h 268"/>
                  <a:gd name="T98" fmla="*/ 68 w 570"/>
                  <a:gd name="T99" fmla="*/ 70 h 268"/>
                  <a:gd name="T100" fmla="*/ 122 w 570"/>
                  <a:gd name="T101" fmla="*/ 88 h 268"/>
                  <a:gd name="T102" fmla="*/ 154 w 570"/>
                  <a:gd name="T103" fmla="*/ 80 h 268"/>
                  <a:gd name="T104" fmla="*/ 178 w 570"/>
                  <a:gd name="T105" fmla="*/ 90 h 268"/>
                  <a:gd name="T106" fmla="*/ 212 w 570"/>
                  <a:gd name="T107" fmla="*/ 78 h 268"/>
                  <a:gd name="T108" fmla="*/ 192 w 570"/>
                  <a:gd name="T109" fmla="*/ 68 h 268"/>
                  <a:gd name="T110" fmla="*/ 202 w 570"/>
                  <a:gd name="T111" fmla="*/ 56 h 268"/>
                  <a:gd name="T112" fmla="*/ 214 w 570"/>
                  <a:gd name="T113" fmla="*/ 42 h 268"/>
                  <a:gd name="T114" fmla="*/ 208 w 570"/>
                  <a:gd name="T115" fmla="*/ 26 h 268"/>
                  <a:gd name="T116" fmla="*/ 250 w 570"/>
                  <a:gd name="T117" fmla="*/ 18 h 268"/>
                  <a:gd name="T118" fmla="*/ 308 w 570"/>
                  <a:gd name="T119" fmla="*/ 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268">
                    <a:moveTo>
                      <a:pt x="324" y="0"/>
                    </a:moveTo>
                    <a:lnTo>
                      <a:pt x="342" y="2"/>
                    </a:lnTo>
                    <a:lnTo>
                      <a:pt x="346" y="14"/>
                    </a:lnTo>
                    <a:lnTo>
                      <a:pt x="356" y="20"/>
                    </a:lnTo>
                    <a:lnTo>
                      <a:pt x="374" y="24"/>
                    </a:lnTo>
                    <a:lnTo>
                      <a:pt x="390" y="34"/>
                    </a:lnTo>
                    <a:lnTo>
                      <a:pt x="406" y="24"/>
                    </a:lnTo>
                    <a:lnTo>
                      <a:pt x="426" y="20"/>
                    </a:lnTo>
                    <a:lnTo>
                      <a:pt x="428" y="28"/>
                    </a:lnTo>
                    <a:lnTo>
                      <a:pt x="444" y="40"/>
                    </a:lnTo>
                    <a:lnTo>
                      <a:pt x="456" y="54"/>
                    </a:lnTo>
                    <a:lnTo>
                      <a:pt x="468" y="76"/>
                    </a:lnTo>
                    <a:lnTo>
                      <a:pt x="472" y="82"/>
                    </a:lnTo>
                    <a:lnTo>
                      <a:pt x="478" y="82"/>
                    </a:lnTo>
                    <a:lnTo>
                      <a:pt x="482" y="76"/>
                    </a:lnTo>
                    <a:lnTo>
                      <a:pt x="490" y="80"/>
                    </a:lnTo>
                    <a:lnTo>
                      <a:pt x="502" y="86"/>
                    </a:lnTo>
                    <a:lnTo>
                      <a:pt x="510" y="84"/>
                    </a:lnTo>
                    <a:lnTo>
                      <a:pt x="526" y="82"/>
                    </a:lnTo>
                    <a:lnTo>
                      <a:pt x="536" y="96"/>
                    </a:lnTo>
                    <a:lnTo>
                      <a:pt x="548" y="104"/>
                    </a:lnTo>
                    <a:lnTo>
                      <a:pt x="568" y="106"/>
                    </a:lnTo>
                    <a:lnTo>
                      <a:pt x="570" y="118"/>
                    </a:lnTo>
                    <a:lnTo>
                      <a:pt x="570" y="128"/>
                    </a:lnTo>
                    <a:lnTo>
                      <a:pt x="558" y="128"/>
                    </a:lnTo>
                    <a:lnTo>
                      <a:pt x="554" y="140"/>
                    </a:lnTo>
                    <a:lnTo>
                      <a:pt x="554" y="154"/>
                    </a:lnTo>
                    <a:lnTo>
                      <a:pt x="546" y="154"/>
                    </a:lnTo>
                    <a:lnTo>
                      <a:pt x="532" y="154"/>
                    </a:lnTo>
                    <a:lnTo>
                      <a:pt x="518" y="154"/>
                    </a:lnTo>
                    <a:lnTo>
                      <a:pt x="508" y="174"/>
                    </a:lnTo>
                    <a:lnTo>
                      <a:pt x="506" y="188"/>
                    </a:lnTo>
                    <a:lnTo>
                      <a:pt x="488" y="188"/>
                    </a:lnTo>
                    <a:lnTo>
                      <a:pt x="478" y="192"/>
                    </a:lnTo>
                    <a:lnTo>
                      <a:pt x="480" y="210"/>
                    </a:lnTo>
                    <a:lnTo>
                      <a:pt x="486" y="224"/>
                    </a:lnTo>
                    <a:lnTo>
                      <a:pt x="478" y="230"/>
                    </a:lnTo>
                    <a:lnTo>
                      <a:pt x="478" y="240"/>
                    </a:lnTo>
                    <a:lnTo>
                      <a:pt x="470" y="236"/>
                    </a:lnTo>
                    <a:lnTo>
                      <a:pt x="462" y="234"/>
                    </a:lnTo>
                    <a:lnTo>
                      <a:pt x="456" y="228"/>
                    </a:lnTo>
                    <a:lnTo>
                      <a:pt x="404" y="230"/>
                    </a:lnTo>
                    <a:lnTo>
                      <a:pt x="402" y="224"/>
                    </a:lnTo>
                    <a:lnTo>
                      <a:pt x="390" y="222"/>
                    </a:lnTo>
                    <a:lnTo>
                      <a:pt x="384" y="226"/>
                    </a:lnTo>
                    <a:lnTo>
                      <a:pt x="382" y="230"/>
                    </a:lnTo>
                    <a:lnTo>
                      <a:pt x="366" y="232"/>
                    </a:lnTo>
                    <a:lnTo>
                      <a:pt x="362" y="228"/>
                    </a:lnTo>
                    <a:lnTo>
                      <a:pt x="352" y="228"/>
                    </a:lnTo>
                    <a:lnTo>
                      <a:pt x="342" y="240"/>
                    </a:lnTo>
                    <a:lnTo>
                      <a:pt x="336" y="244"/>
                    </a:lnTo>
                    <a:lnTo>
                      <a:pt x="314" y="260"/>
                    </a:lnTo>
                    <a:lnTo>
                      <a:pt x="312" y="268"/>
                    </a:lnTo>
                    <a:lnTo>
                      <a:pt x="306" y="268"/>
                    </a:lnTo>
                    <a:lnTo>
                      <a:pt x="306" y="260"/>
                    </a:lnTo>
                    <a:lnTo>
                      <a:pt x="302" y="258"/>
                    </a:lnTo>
                    <a:lnTo>
                      <a:pt x="286" y="260"/>
                    </a:lnTo>
                    <a:lnTo>
                      <a:pt x="284" y="246"/>
                    </a:lnTo>
                    <a:lnTo>
                      <a:pt x="274" y="238"/>
                    </a:lnTo>
                    <a:lnTo>
                      <a:pt x="274" y="230"/>
                    </a:lnTo>
                    <a:lnTo>
                      <a:pt x="258" y="214"/>
                    </a:lnTo>
                    <a:lnTo>
                      <a:pt x="252" y="216"/>
                    </a:lnTo>
                    <a:lnTo>
                      <a:pt x="218" y="218"/>
                    </a:lnTo>
                    <a:lnTo>
                      <a:pt x="206" y="202"/>
                    </a:lnTo>
                    <a:lnTo>
                      <a:pt x="182" y="190"/>
                    </a:lnTo>
                    <a:lnTo>
                      <a:pt x="176" y="184"/>
                    </a:lnTo>
                    <a:lnTo>
                      <a:pt x="150" y="188"/>
                    </a:lnTo>
                    <a:lnTo>
                      <a:pt x="134" y="192"/>
                    </a:lnTo>
                    <a:lnTo>
                      <a:pt x="134" y="258"/>
                    </a:lnTo>
                    <a:lnTo>
                      <a:pt x="126" y="256"/>
                    </a:lnTo>
                    <a:lnTo>
                      <a:pt x="118" y="244"/>
                    </a:lnTo>
                    <a:lnTo>
                      <a:pt x="108" y="236"/>
                    </a:lnTo>
                    <a:lnTo>
                      <a:pt x="102" y="238"/>
                    </a:lnTo>
                    <a:lnTo>
                      <a:pt x="96" y="236"/>
                    </a:lnTo>
                    <a:lnTo>
                      <a:pt x="84" y="234"/>
                    </a:lnTo>
                    <a:lnTo>
                      <a:pt x="70" y="224"/>
                    </a:lnTo>
                    <a:lnTo>
                      <a:pt x="60" y="210"/>
                    </a:lnTo>
                    <a:lnTo>
                      <a:pt x="52" y="202"/>
                    </a:lnTo>
                    <a:lnTo>
                      <a:pt x="58" y="198"/>
                    </a:lnTo>
                    <a:lnTo>
                      <a:pt x="70" y="200"/>
                    </a:lnTo>
                    <a:lnTo>
                      <a:pt x="68" y="190"/>
                    </a:lnTo>
                    <a:lnTo>
                      <a:pt x="74" y="186"/>
                    </a:lnTo>
                    <a:lnTo>
                      <a:pt x="84" y="188"/>
                    </a:lnTo>
                    <a:lnTo>
                      <a:pt x="94" y="190"/>
                    </a:lnTo>
                    <a:lnTo>
                      <a:pt x="96" y="176"/>
                    </a:lnTo>
                    <a:lnTo>
                      <a:pt x="90" y="158"/>
                    </a:lnTo>
                    <a:lnTo>
                      <a:pt x="74" y="158"/>
                    </a:lnTo>
                    <a:lnTo>
                      <a:pt x="58" y="160"/>
                    </a:lnTo>
                    <a:lnTo>
                      <a:pt x="36" y="170"/>
                    </a:lnTo>
                    <a:lnTo>
                      <a:pt x="32" y="156"/>
                    </a:lnTo>
                    <a:lnTo>
                      <a:pt x="22" y="142"/>
                    </a:lnTo>
                    <a:lnTo>
                      <a:pt x="10" y="138"/>
                    </a:lnTo>
                    <a:lnTo>
                      <a:pt x="0" y="126"/>
                    </a:lnTo>
                    <a:lnTo>
                      <a:pt x="6" y="104"/>
                    </a:lnTo>
                    <a:lnTo>
                      <a:pt x="16" y="92"/>
                    </a:lnTo>
                    <a:lnTo>
                      <a:pt x="24" y="106"/>
                    </a:lnTo>
                    <a:lnTo>
                      <a:pt x="30" y="102"/>
                    </a:lnTo>
                    <a:lnTo>
                      <a:pt x="32" y="92"/>
                    </a:lnTo>
                    <a:lnTo>
                      <a:pt x="54" y="76"/>
                    </a:lnTo>
                    <a:lnTo>
                      <a:pt x="68" y="70"/>
                    </a:lnTo>
                    <a:lnTo>
                      <a:pt x="100" y="76"/>
                    </a:lnTo>
                    <a:lnTo>
                      <a:pt x="122" y="88"/>
                    </a:lnTo>
                    <a:lnTo>
                      <a:pt x="134" y="90"/>
                    </a:lnTo>
                    <a:lnTo>
                      <a:pt x="154" y="80"/>
                    </a:lnTo>
                    <a:lnTo>
                      <a:pt x="170" y="80"/>
                    </a:lnTo>
                    <a:lnTo>
                      <a:pt x="178" y="90"/>
                    </a:lnTo>
                    <a:lnTo>
                      <a:pt x="202" y="88"/>
                    </a:lnTo>
                    <a:lnTo>
                      <a:pt x="212" y="78"/>
                    </a:lnTo>
                    <a:lnTo>
                      <a:pt x="204" y="72"/>
                    </a:lnTo>
                    <a:lnTo>
                      <a:pt x="192" y="68"/>
                    </a:lnTo>
                    <a:lnTo>
                      <a:pt x="196" y="60"/>
                    </a:lnTo>
                    <a:lnTo>
                      <a:pt x="202" y="56"/>
                    </a:lnTo>
                    <a:lnTo>
                      <a:pt x="204" y="46"/>
                    </a:lnTo>
                    <a:lnTo>
                      <a:pt x="214" y="42"/>
                    </a:lnTo>
                    <a:lnTo>
                      <a:pt x="210" y="36"/>
                    </a:lnTo>
                    <a:lnTo>
                      <a:pt x="208" y="26"/>
                    </a:lnTo>
                    <a:lnTo>
                      <a:pt x="226" y="24"/>
                    </a:lnTo>
                    <a:lnTo>
                      <a:pt x="250" y="18"/>
                    </a:lnTo>
                    <a:lnTo>
                      <a:pt x="282" y="8"/>
                    </a:lnTo>
                    <a:lnTo>
                      <a:pt x="308" y="4"/>
                    </a:lnTo>
                    <a:lnTo>
                      <a:pt x="3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7" name="Freeform 759"/>
              <p:cNvSpPr>
                <a:spLocks/>
              </p:cNvSpPr>
              <p:nvPr/>
            </p:nvSpPr>
            <p:spPr bwMode="auto">
              <a:xfrm>
                <a:off x="3521" y="1643"/>
                <a:ext cx="578" cy="276"/>
              </a:xfrm>
              <a:custGeom>
                <a:avLst/>
                <a:gdLst>
                  <a:gd name="T0" fmla="*/ 286 w 578"/>
                  <a:gd name="T1" fmla="*/ 8 h 276"/>
                  <a:gd name="T2" fmla="*/ 208 w 578"/>
                  <a:gd name="T3" fmla="*/ 28 h 276"/>
                  <a:gd name="T4" fmla="*/ 206 w 578"/>
                  <a:gd name="T5" fmla="*/ 46 h 276"/>
                  <a:gd name="T6" fmla="*/ 198 w 578"/>
                  <a:gd name="T7" fmla="*/ 62 h 276"/>
                  <a:gd name="T8" fmla="*/ 192 w 578"/>
                  <a:gd name="T9" fmla="*/ 74 h 276"/>
                  <a:gd name="T10" fmla="*/ 184 w 578"/>
                  <a:gd name="T11" fmla="*/ 90 h 276"/>
                  <a:gd name="T12" fmla="*/ 158 w 578"/>
                  <a:gd name="T13" fmla="*/ 80 h 276"/>
                  <a:gd name="T14" fmla="*/ 106 w 578"/>
                  <a:gd name="T15" fmla="*/ 76 h 276"/>
                  <a:gd name="T16" fmla="*/ 72 w 578"/>
                  <a:gd name="T17" fmla="*/ 70 h 276"/>
                  <a:gd name="T18" fmla="*/ 34 w 578"/>
                  <a:gd name="T19" fmla="*/ 92 h 276"/>
                  <a:gd name="T20" fmla="*/ 24 w 578"/>
                  <a:gd name="T21" fmla="*/ 94 h 276"/>
                  <a:gd name="T22" fmla="*/ 20 w 578"/>
                  <a:gd name="T23" fmla="*/ 92 h 276"/>
                  <a:gd name="T24" fmla="*/ 0 w 578"/>
                  <a:gd name="T25" fmla="*/ 130 h 276"/>
                  <a:gd name="T26" fmla="*/ 12 w 578"/>
                  <a:gd name="T27" fmla="*/ 146 h 276"/>
                  <a:gd name="T28" fmla="*/ 38 w 578"/>
                  <a:gd name="T29" fmla="*/ 176 h 276"/>
                  <a:gd name="T30" fmla="*/ 62 w 578"/>
                  <a:gd name="T31" fmla="*/ 168 h 276"/>
                  <a:gd name="T32" fmla="*/ 88 w 578"/>
                  <a:gd name="T33" fmla="*/ 188 h 276"/>
                  <a:gd name="T34" fmla="*/ 76 w 578"/>
                  <a:gd name="T35" fmla="*/ 186 h 276"/>
                  <a:gd name="T36" fmla="*/ 70 w 578"/>
                  <a:gd name="T37" fmla="*/ 200 h 276"/>
                  <a:gd name="T38" fmla="*/ 60 w 578"/>
                  <a:gd name="T39" fmla="*/ 198 h 276"/>
                  <a:gd name="T40" fmla="*/ 52 w 578"/>
                  <a:gd name="T41" fmla="*/ 208 h 276"/>
                  <a:gd name="T42" fmla="*/ 86 w 578"/>
                  <a:gd name="T43" fmla="*/ 242 h 276"/>
                  <a:gd name="T44" fmla="*/ 104 w 578"/>
                  <a:gd name="T45" fmla="*/ 246 h 276"/>
                  <a:gd name="T46" fmla="*/ 120 w 578"/>
                  <a:gd name="T47" fmla="*/ 250 h 276"/>
                  <a:gd name="T48" fmla="*/ 138 w 578"/>
                  <a:gd name="T49" fmla="*/ 266 h 276"/>
                  <a:gd name="T50" fmla="*/ 142 w 578"/>
                  <a:gd name="T51" fmla="*/ 262 h 276"/>
                  <a:gd name="T52" fmla="*/ 184 w 578"/>
                  <a:gd name="T53" fmla="*/ 196 h 276"/>
                  <a:gd name="T54" fmla="*/ 222 w 578"/>
                  <a:gd name="T55" fmla="*/ 226 h 276"/>
                  <a:gd name="T56" fmla="*/ 256 w 578"/>
                  <a:gd name="T57" fmla="*/ 224 h 276"/>
                  <a:gd name="T58" fmla="*/ 276 w 578"/>
                  <a:gd name="T59" fmla="*/ 246 h 276"/>
                  <a:gd name="T60" fmla="*/ 290 w 578"/>
                  <a:gd name="T61" fmla="*/ 268 h 276"/>
                  <a:gd name="T62" fmla="*/ 306 w 578"/>
                  <a:gd name="T63" fmla="*/ 272 h 276"/>
                  <a:gd name="T64" fmla="*/ 316 w 578"/>
                  <a:gd name="T65" fmla="*/ 276 h 276"/>
                  <a:gd name="T66" fmla="*/ 348 w 578"/>
                  <a:gd name="T67" fmla="*/ 248 h 276"/>
                  <a:gd name="T68" fmla="*/ 368 w 578"/>
                  <a:gd name="T69" fmla="*/ 240 h 276"/>
                  <a:gd name="T70" fmla="*/ 386 w 578"/>
                  <a:gd name="T71" fmla="*/ 238 h 276"/>
                  <a:gd name="T72" fmla="*/ 396 w 578"/>
                  <a:gd name="T73" fmla="*/ 230 h 276"/>
                  <a:gd name="T74" fmla="*/ 408 w 578"/>
                  <a:gd name="T75" fmla="*/ 238 h 276"/>
                  <a:gd name="T76" fmla="*/ 464 w 578"/>
                  <a:gd name="T77" fmla="*/ 242 h 276"/>
                  <a:gd name="T78" fmla="*/ 482 w 578"/>
                  <a:gd name="T79" fmla="*/ 248 h 276"/>
                  <a:gd name="T80" fmla="*/ 486 w 578"/>
                  <a:gd name="T81" fmla="*/ 236 h 276"/>
                  <a:gd name="T82" fmla="*/ 488 w 578"/>
                  <a:gd name="T83" fmla="*/ 212 h 276"/>
                  <a:gd name="T84" fmla="*/ 512 w 578"/>
                  <a:gd name="T85" fmla="*/ 194 h 276"/>
                  <a:gd name="T86" fmla="*/ 536 w 578"/>
                  <a:gd name="T87" fmla="*/ 162 h 276"/>
                  <a:gd name="T88" fmla="*/ 560 w 578"/>
                  <a:gd name="T89" fmla="*/ 160 h 276"/>
                  <a:gd name="T90" fmla="*/ 566 w 578"/>
                  <a:gd name="T91" fmla="*/ 136 h 276"/>
                  <a:gd name="T92" fmla="*/ 578 w 578"/>
                  <a:gd name="T93" fmla="*/ 124 h 276"/>
                  <a:gd name="T94" fmla="*/ 574 w 578"/>
                  <a:gd name="T95" fmla="*/ 108 h 276"/>
                  <a:gd name="T96" fmla="*/ 534 w 578"/>
                  <a:gd name="T97" fmla="*/ 84 h 276"/>
                  <a:gd name="T98" fmla="*/ 506 w 578"/>
                  <a:gd name="T99" fmla="*/ 86 h 276"/>
                  <a:gd name="T100" fmla="*/ 486 w 578"/>
                  <a:gd name="T101" fmla="*/ 76 h 276"/>
                  <a:gd name="T102" fmla="*/ 478 w 578"/>
                  <a:gd name="T103" fmla="*/ 82 h 276"/>
                  <a:gd name="T104" fmla="*/ 452 w 578"/>
                  <a:gd name="T105" fmla="*/ 40 h 276"/>
                  <a:gd name="T106" fmla="*/ 434 w 578"/>
                  <a:gd name="T107" fmla="*/ 22 h 276"/>
                  <a:gd name="T108" fmla="*/ 430 w 578"/>
                  <a:gd name="T109" fmla="*/ 20 h 276"/>
                  <a:gd name="T110" fmla="*/ 378 w 578"/>
                  <a:gd name="T111" fmla="*/ 26 h 276"/>
                  <a:gd name="T112" fmla="*/ 350 w 578"/>
                  <a:gd name="T113" fmla="*/ 4 h 276"/>
                  <a:gd name="T114" fmla="*/ 330 w 578"/>
                  <a:gd name="T11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8" h="276">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8" name="Freeform 760"/>
              <p:cNvSpPr>
                <a:spLocks/>
              </p:cNvSpPr>
              <p:nvPr/>
            </p:nvSpPr>
            <p:spPr bwMode="auto">
              <a:xfrm>
                <a:off x="3249" y="1105"/>
                <a:ext cx="2302" cy="802"/>
              </a:xfrm>
              <a:custGeom>
                <a:avLst/>
                <a:gdLst>
                  <a:gd name="T0" fmla="*/ 200 w 2302"/>
                  <a:gd name="T1" fmla="*/ 768 h 802"/>
                  <a:gd name="T2" fmla="*/ 154 w 2302"/>
                  <a:gd name="T3" fmla="*/ 706 h 802"/>
                  <a:gd name="T4" fmla="*/ 148 w 2302"/>
                  <a:gd name="T5" fmla="*/ 646 h 802"/>
                  <a:gd name="T6" fmla="*/ 68 w 2302"/>
                  <a:gd name="T7" fmla="*/ 608 h 802"/>
                  <a:gd name="T8" fmla="*/ 28 w 2302"/>
                  <a:gd name="T9" fmla="*/ 534 h 802"/>
                  <a:gd name="T10" fmla="*/ 24 w 2302"/>
                  <a:gd name="T11" fmla="*/ 446 h 802"/>
                  <a:gd name="T12" fmla="*/ 36 w 2302"/>
                  <a:gd name="T13" fmla="*/ 366 h 802"/>
                  <a:gd name="T14" fmla="*/ 18 w 2302"/>
                  <a:gd name="T15" fmla="*/ 240 h 802"/>
                  <a:gd name="T16" fmla="*/ 122 w 2302"/>
                  <a:gd name="T17" fmla="*/ 234 h 802"/>
                  <a:gd name="T18" fmla="*/ 132 w 2302"/>
                  <a:gd name="T19" fmla="*/ 308 h 802"/>
                  <a:gd name="T20" fmla="*/ 142 w 2302"/>
                  <a:gd name="T21" fmla="*/ 352 h 802"/>
                  <a:gd name="T22" fmla="*/ 176 w 2302"/>
                  <a:gd name="T23" fmla="*/ 330 h 802"/>
                  <a:gd name="T24" fmla="*/ 230 w 2302"/>
                  <a:gd name="T25" fmla="*/ 254 h 802"/>
                  <a:gd name="T26" fmla="*/ 284 w 2302"/>
                  <a:gd name="T27" fmla="*/ 292 h 802"/>
                  <a:gd name="T28" fmla="*/ 378 w 2302"/>
                  <a:gd name="T29" fmla="*/ 240 h 802"/>
                  <a:gd name="T30" fmla="*/ 454 w 2302"/>
                  <a:gd name="T31" fmla="*/ 248 h 802"/>
                  <a:gd name="T32" fmla="*/ 452 w 2302"/>
                  <a:gd name="T33" fmla="*/ 202 h 802"/>
                  <a:gd name="T34" fmla="*/ 558 w 2302"/>
                  <a:gd name="T35" fmla="*/ 192 h 802"/>
                  <a:gd name="T36" fmla="*/ 634 w 2302"/>
                  <a:gd name="T37" fmla="*/ 180 h 802"/>
                  <a:gd name="T38" fmla="*/ 610 w 2302"/>
                  <a:gd name="T39" fmla="*/ 298 h 802"/>
                  <a:gd name="T40" fmla="*/ 696 w 2302"/>
                  <a:gd name="T41" fmla="*/ 242 h 802"/>
                  <a:gd name="T42" fmla="*/ 650 w 2302"/>
                  <a:gd name="T43" fmla="*/ 174 h 802"/>
                  <a:gd name="T44" fmla="*/ 698 w 2302"/>
                  <a:gd name="T45" fmla="*/ 178 h 802"/>
                  <a:gd name="T46" fmla="*/ 706 w 2302"/>
                  <a:gd name="T47" fmla="*/ 152 h 802"/>
                  <a:gd name="T48" fmla="*/ 762 w 2302"/>
                  <a:gd name="T49" fmla="*/ 118 h 802"/>
                  <a:gd name="T50" fmla="*/ 1046 w 2302"/>
                  <a:gd name="T51" fmla="*/ 20 h 802"/>
                  <a:gd name="T52" fmla="*/ 1128 w 2302"/>
                  <a:gd name="T53" fmla="*/ 34 h 802"/>
                  <a:gd name="T54" fmla="*/ 1112 w 2302"/>
                  <a:gd name="T55" fmla="*/ 138 h 802"/>
                  <a:gd name="T56" fmla="*/ 1228 w 2302"/>
                  <a:gd name="T57" fmla="*/ 120 h 802"/>
                  <a:gd name="T58" fmla="*/ 1424 w 2302"/>
                  <a:gd name="T59" fmla="*/ 122 h 802"/>
                  <a:gd name="T60" fmla="*/ 1534 w 2302"/>
                  <a:gd name="T61" fmla="*/ 172 h 802"/>
                  <a:gd name="T62" fmla="*/ 1672 w 2302"/>
                  <a:gd name="T63" fmla="*/ 146 h 802"/>
                  <a:gd name="T64" fmla="*/ 1860 w 2302"/>
                  <a:gd name="T65" fmla="*/ 190 h 802"/>
                  <a:gd name="T66" fmla="*/ 1990 w 2302"/>
                  <a:gd name="T67" fmla="*/ 218 h 802"/>
                  <a:gd name="T68" fmla="*/ 2038 w 2302"/>
                  <a:gd name="T69" fmla="*/ 208 h 802"/>
                  <a:gd name="T70" fmla="*/ 2242 w 2302"/>
                  <a:gd name="T71" fmla="*/ 282 h 802"/>
                  <a:gd name="T72" fmla="*/ 2258 w 2302"/>
                  <a:gd name="T73" fmla="*/ 358 h 802"/>
                  <a:gd name="T74" fmla="*/ 2170 w 2302"/>
                  <a:gd name="T75" fmla="*/ 326 h 802"/>
                  <a:gd name="T76" fmla="*/ 2156 w 2302"/>
                  <a:gd name="T77" fmla="*/ 386 h 802"/>
                  <a:gd name="T78" fmla="*/ 2022 w 2302"/>
                  <a:gd name="T79" fmla="*/ 448 h 802"/>
                  <a:gd name="T80" fmla="*/ 1908 w 2302"/>
                  <a:gd name="T81" fmla="*/ 482 h 802"/>
                  <a:gd name="T82" fmla="*/ 1906 w 2302"/>
                  <a:gd name="T83" fmla="*/ 558 h 802"/>
                  <a:gd name="T84" fmla="*/ 1830 w 2302"/>
                  <a:gd name="T85" fmla="*/ 632 h 802"/>
                  <a:gd name="T86" fmla="*/ 1938 w 2302"/>
                  <a:gd name="T87" fmla="*/ 396 h 802"/>
                  <a:gd name="T88" fmla="*/ 1872 w 2302"/>
                  <a:gd name="T89" fmla="*/ 424 h 802"/>
                  <a:gd name="T90" fmla="*/ 1750 w 2302"/>
                  <a:gd name="T91" fmla="*/ 470 h 802"/>
                  <a:gd name="T92" fmla="*/ 1548 w 2302"/>
                  <a:gd name="T93" fmla="*/ 556 h 802"/>
                  <a:gd name="T94" fmla="*/ 1600 w 2302"/>
                  <a:gd name="T95" fmla="*/ 566 h 802"/>
                  <a:gd name="T96" fmla="*/ 1496 w 2302"/>
                  <a:gd name="T97" fmla="*/ 774 h 802"/>
                  <a:gd name="T98" fmla="*/ 1488 w 2302"/>
                  <a:gd name="T99" fmla="*/ 732 h 802"/>
                  <a:gd name="T100" fmla="*/ 1462 w 2302"/>
                  <a:gd name="T101" fmla="*/ 668 h 802"/>
                  <a:gd name="T102" fmla="*/ 1316 w 2302"/>
                  <a:gd name="T103" fmla="*/ 614 h 802"/>
                  <a:gd name="T104" fmla="*/ 1214 w 2302"/>
                  <a:gd name="T105" fmla="*/ 654 h 802"/>
                  <a:gd name="T106" fmla="*/ 1092 w 2302"/>
                  <a:gd name="T107" fmla="*/ 644 h 802"/>
                  <a:gd name="T108" fmla="*/ 1006 w 2302"/>
                  <a:gd name="T109" fmla="*/ 644 h 802"/>
                  <a:gd name="T110" fmla="*/ 866 w 2302"/>
                  <a:gd name="T111" fmla="*/ 656 h 802"/>
                  <a:gd name="T112" fmla="*/ 756 w 2302"/>
                  <a:gd name="T113" fmla="*/ 622 h 802"/>
                  <a:gd name="T114" fmla="*/ 664 w 2302"/>
                  <a:gd name="T115" fmla="*/ 580 h 802"/>
                  <a:gd name="T116" fmla="*/ 488 w 2302"/>
                  <a:gd name="T117" fmla="*/ 588 h 802"/>
                  <a:gd name="T118" fmla="*/ 452 w 2302"/>
                  <a:gd name="T119" fmla="*/ 636 h 802"/>
                  <a:gd name="T120" fmla="*/ 306 w 2302"/>
                  <a:gd name="T121" fmla="*/ 646 h 802"/>
                  <a:gd name="T122" fmla="*/ 310 w 2302"/>
                  <a:gd name="T123" fmla="*/ 712 h 802"/>
                  <a:gd name="T124" fmla="*/ 290 w 2302"/>
                  <a:gd name="T125"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2" h="802">
                    <a:moveTo>
                      <a:pt x="290" y="802"/>
                    </a:moveTo>
                    <a:lnTo>
                      <a:pt x="290" y="802"/>
                    </a:lnTo>
                    <a:lnTo>
                      <a:pt x="288" y="802"/>
                    </a:lnTo>
                    <a:lnTo>
                      <a:pt x="274" y="790"/>
                    </a:lnTo>
                    <a:lnTo>
                      <a:pt x="268" y="788"/>
                    </a:lnTo>
                    <a:lnTo>
                      <a:pt x="268" y="788"/>
                    </a:lnTo>
                    <a:lnTo>
                      <a:pt x="268" y="788"/>
                    </a:lnTo>
                    <a:lnTo>
                      <a:pt x="260" y="780"/>
                    </a:lnTo>
                    <a:lnTo>
                      <a:pt x="252" y="774"/>
                    </a:lnTo>
                    <a:lnTo>
                      <a:pt x="244" y="776"/>
                    </a:lnTo>
                    <a:lnTo>
                      <a:pt x="238" y="776"/>
                    </a:lnTo>
                    <a:lnTo>
                      <a:pt x="228" y="772"/>
                    </a:lnTo>
                    <a:lnTo>
                      <a:pt x="216" y="766"/>
                    </a:lnTo>
                    <a:lnTo>
                      <a:pt x="208" y="766"/>
                    </a:lnTo>
                    <a:lnTo>
                      <a:pt x="200" y="768"/>
                    </a:lnTo>
                    <a:lnTo>
                      <a:pt x="200" y="768"/>
                    </a:lnTo>
                    <a:lnTo>
                      <a:pt x="200" y="768"/>
                    </a:lnTo>
                    <a:lnTo>
                      <a:pt x="200" y="768"/>
                    </a:lnTo>
                    <a:lnTo>
                      <a:pt x="198" y="768"/>
                    </a:lnTo>
                    <a:lnTo>
                      <a:pt x="188" y="760"/>
                    </a:lnTo>
                    <a:lnTo>
                      <a:pt x="178" y="762"/>
                    </a:lnTo>
                    <a:lnTo>
                      <a:pt x="178" y="762"/>
                    </a:lnTo>
                    <a:lnTo>
                      <a:pt x="178" y="762"/>
                    </a:lnTo>
                    <a:lnTo>
                      <a:pt x="178" y="762"/>
                    </a:lnTo>
                    <a:lnTo>
                      <a:pt x="178" y="762"/>
                    </a:lnTo>
                    <a:lnTo>
                      <a:pt x="154" y="746"/>
                    </a:lnTo>
                    <a:lnTo>
                      <a:pt x="142" y="740"/>
                    </a:lnTo>
                    <a:lnTo>
                      <a:pt x="142" y="740"/>
                    </a:lnTo>
                    <a:lnTo>
                      <a:pt x="142" y="738"/>
                    </a:lnTo>
                    <a:lnTo>
                      <a:pt x="144" y="726"/>
                    </a:lnTo>
                    <a:lnTo>
                      <a:pt x="144" y="726"/>
                    </a:lnTo>
                    <a:lnTo>
                      <a:pt x="146" y="724"/>
                    </a:lnTo>
                    <a:lnTo>
                      <a:pt x="156" y="714"/>
                    </a:lnTo>
                    <a:lnTo>
                      <a:pt x="154" y="706"/>
                    </a:lnTo>
                    <a:lnTo>
                      <a:pt x="154" y="706"/>
                    </a:lnTo>
                    <a:lnTo>
                      <a:pt x="154" y="704"/>
                    </a:lnTo>
                    <a:lnTo>
                      <a:pt x="164" y="698"/>
                    </a:lnTo>
                    <a:lnTo>
                      <a:pt x="154" y="698"/>
                    </a:lnTo>
                    <a:lnTo>
                      <a:pt x="154" y="698"/>
                    </a:lnTo>
                    <a:lnTo>
                      <a:pt x="152" y="696"/>
                    </a:lnTo>
                    <a:lnTo>
                      <a:pt x="152" y="696"/>
                    </a:lnTo>
                    <a:lnTo>
                      <a:pt x="152" y="696"/>
                    </a:lnTo>
                    <a:lnTo>
                      <a:pt x="154" y="688"/>
                    </a:lnTo>
                    <a:lnTo>
                      <a:pt x="154" y="688"/>
                    </a:lnTo>
                    <a:lnTo>
                      <a:pt x="154" y="686"/>
                    </a:lnTo>
                    <a:lnTo>
                      <a:pt x="164" y="684"/>
                    </a:lnTo>
                    <a:lnTo>
                      <a:pt x="176" y="680"/>
                    </a:lnTo>
                    <a:lnTo>
                      <a:pt x="178" y="654"/>
                    </a:lnTo>
                    <a:lnTo>
                      <a:pt x="166" y="646"/>
                    </a:lnTo>
                    <a:lnTo>
                      <a:pt x="148" y="646"/>
                    </a:lnTo>
                    <a:lnTo>
                      <a:pt x="148" y="646"/>
                    </a:lnTo>
                    <a:lnTo>
                      <a:pt x="146" y="644"/>
                    </a:lnTo>
                    <a:lnTo>
                      <a:pt x="146" y="640"/>
                    </a:lnTo>
                    <a:lnTo>
                      <a:pt x="118" y="638"/>
                    </a:lnTo>
                    <a:lnTo>
                      <a:pt x="118" y="638"/>
                    </a:lnTo>
                    <a:lnTo>
                      <a:pt x="116" y="638"/>
                    </a:lnTo>
                    <a:lnTo>
                      <a:pt x="112" y="626"/>
                    </a:lnTo>
                    <a:lnTo>
                      <a:pt x="98" y="622"/>
                    </a:lnTo>
                    <a:lnTo>
                      <a:pt x="98" y="622"/>
                    </a:lnTo>
                    <a:lnTo>
                      <a:pt x="96" y="620"/>
                    </a:lnTo>
                    <a:lnTo>
                      <a:pt x="98" y="610"/>
                    </a:lnTo>
                    <a:lnTo>
                      <a:pt x="96" y="602"/>
                    </a:lnTo>
                    <a:lnTo>
                      <a:pt x="76" y="602"/>
                    </a:lnTo>
                    <a:lnTo>
                      <a:pt x="74" y="606"/>
                    </a:lnTo>
                    <a:lnTo>
                      <a:pt x="74" y="606"/>
                    </a:lnTo>
                    <a:lnTo>
                      <a:pt x="72" y="606"/>
                    </a:lnTo>
                    <a:lnTo>
                      <a:pt x="68" y="608"/>
                    </a:lnTo>
                    <a:lnTo>
                      <a:pt x="68" y="608"/>
                    </a:lnTo>
                    <a:lnTo>
                      <a:pt x="66" y="608"/>
                    </a:lnTo>
                    <a:lnTo>
                      <a:pt x="66" y="608"/>
                    </a:lnTo>
                    <a:lnTo>
                      <a:pt x="66" y="608"/>
                    </a:lnTo>
                    <a:lnTo>
                      <a:pt x="58" y="604"/>
                    </a:lnTo>
                    <a:lnTo>
                      <a:pt x="58" y="604"/>
                    </a:lnTo>
                    <a:lnTo>
                      <a:pt x="58" y="602"/>
                    </a:lnTo>
                    <a:lnTo>
                      <a:pt x="58" y="584"/>
                    </a:lnTo>
                    <a:lnTo>
                      <a:pt x="58" y="584"/>
                    </a:lnTo>
                    <a:lnTo>
                      <a:pt x="60" y="582"/>
                    </a:lnTo>
                    <a:lnTo>
                      <a:pt x="74" y="582"/>
                    </a:lnTo>
                    <a:lnTo>
                      <a:pt x="50" y="558"/>
                    </a:lnTo>
                    <a:lnTo>
                      <a:pt x="50" y="558"/>
                    </a:lnTo>
                    <a:lnTo>
                      <a:pt x="50" y="556"/>
                    </a:lnTo>
                    <a:lnTo>
                      <a:pt x="46" y="538"/>
                    </a:lnTo>
                    <a:lnTo>
                      <a:pt x="30" y="536"/>
                    </a:lnTo>
                    <a:lnTo>
                      <a:pt x="30" y="536"/>
                    </a:lnTo>
                    <a:lnTo>
                      <a:pt x="28" y="534"/>
                    </a:lnTo>
                    <a:lnTo>
                      <a:pt x="28" y="530"/>
                    </a:lnTo>
                    <a:lnTo>
                      <a:pt x="14" y="528"/>
                    </a:lnTo>
                    <a:lnTo>
                      <a:pt x="14" y="528"/>
                    </a:lnTo>
                    <a:lnTo>
                      <a:pt x="14" y="526"/>
                    </a:lnTo>
                    <a:lnTo>
                      <a:pt x="10" y="522"/>
                    </a:lnTo>
                    <a:lnTo>
                      <a:pt x="6" y="506"/>
                    </a:lnTo>
                    <a:lnTo>
                      <a:pt x="0" y="496"/>
                    </a:lnTo>
                    <a:lnTo>
                      <a:pt x="0" y="496"/>
                    </a:lnTo>
                    <a:lnTo>
                      <a:pt x="0" y="494"/>
                    </a:lnTo>
                    <a:lnTo>
                      <a:pt x="2" y="484"/>
                    </a:lnTo>
                    <a:lnTo>
                      <a:pt x="2" y="470"/>
                    </a:lnTo>
                    <a:lnTo>
                      <a:pt x="2" y="470"/>
                    </a:lnTo>
                    <a:lnTo>
                      <a:pt x="2" y="470"/>
                    </a:lnTo>
                    <a:lnTo>
                      <a:pt x="8" y="458"/>
                    </a:lnTo>
                    <a:lnTo>
                      <a:pt x="8" y="458"/>
                    </a:lnTo>
                    <a:lnTo>
                      <a:pt x="8" y="458"/>
                    </a:lnTo>
                    <a:lnTo>
                      <a:pt x="24" y="446"/>
                    </a:lnTo>
                    <a:lnTo>
                      <a:pt x="24" y="446"/>
                    </a:lnTo>
                    <a:lnTo>
                      <a:pt x="26" y="444"/>
                    </a:lnTo>
                    <a:lnTo>
                      <a:pt x="30" y="444"/>
                    </a:lnTo>
                    <a:lnTo>
                      <a:pt x="22" y="440"/>
                    </a:lnTo>
                    <a:lnTo>
                      <a:pt x="22" y="440"/>
                    </a:lnTo>
                    <a:lnTo>
                      <a:pt x="20" y="440"/>
                    </a:lnTo>
                    <a:lnTo>
                      <a:pt x="12" y="428"/>
                    </a:lnTo>
                    <a:lnTo>
                      <a:pt x="12" y="428"/>
                    </a:lnTo>
                    <a:lnTo>
                      <a:pt x="10" y="426"/>
                    </a:lnTo>
                    <a:lnTo>
                      <a:pt x="10" y="426"/>
                    </a:lnTo>
                    <a:lnTo>
                      <a:pt x="12" y="426"/>
                    </a:lnTo>
                    <a:lnTo>
                      <a:pt x="50" y="394"/>
                    </a:lnTo>
                    <a:lnTo>
                      <a:pt x="56" y="382"/>
                    </a:lnTo>
                    <a:lnTo>
                      <a:pt x="36" y="368"/>
                    </a:lnTo>
                    <a:lnTo>
                      <a:pt x="36" y="368"/>
                    </a:lnTo>
                    <a:lnTo>
                      <a:pt x="36" y="366"/>
                    </a:lnTo>
                    <a:lnTo>
                      <a:pt x="36" y="366"/>
                    </a:lnTo>
                    <a:lnTo>
                      <a:pt x="36" y="364"/>
                    </a:lnTo>
                    <a:lnTo>
                      <a:pt x="44" y="358"/>
                    </a:lnTo>
                    <a:lnTo>
                      <a:pt x="38" y="346"/>
                    </a:lnTo>
                    <a:lnTo>
                      <a:pt x="30" y="338"/>
                    </a:lnTo>
                    <a:lnTo>
                      <a:pt x="30" y="338"/>
                    </a:lnTo>
                    <a:lnTo>
                      <a:pt x="28" y="336"/>
                    </a:lnTo>
                    <a:lnTo>
                      <a:pt x="36" y="318"/>
                    </a:lnTo>
                    <a:lnTo>
                      <a:pt x="30" y="304"/>
                    </a:lnTo>
                    <a:lnTo>
                      <a:pt x="22" y="288"/>
                    </a:lnTo>
                    <a:lnTo>
                      <a:pt x="22" y="288"/>
                    </a:lnTo>
                    <a:lnTo>
                      <a:pt x="22" y="286"/>
                    </a:lnTo>
                    <a:lnTo>
                      <a:pt x="34" y="274"/>
                    </a:lnTo>
                    <a:lnTo>
                      <a:pt x="16" y="262"/>
                    </a:lnTo>
                    <a:lnTo>
                      <a:pt x="16" y="262"/>
                    </a:lnTo>
                    <a:lnTo>
                      <a:pt x="14" y="260"/>
                    </a:lnTo>
                    <a:lnTo>
                      <a:pt x="18" y="240"/>
                    </a:lnTo>
                    <a:lnTo>
                      <a:pt x="18" y="240"/>
                    </a:lnTo>
                    <a:lnTo>
                      <a:pt x="18" y="240"/>
                    </a:lnTo>
                    <a:lnTo>
                      <a:pt x="28" y="230"/>
                    </a:lnTo>
                    <a:lnTo>
                      <a:pt x="28" y="230"/>
                    </a:lnTo>
                    <a:lnTo>
                      <a:pt x="28" y="230"/>
                    </a:lnTo>
                    <a:lnTo>
                      <a:pt x="36" y="228"/>
                    </a:lnTo>
                    <a:lnTo>
                      <a:pt x="36" y="224"/>
                    </a:lnTo>
                    <a:lnTo>
                      <a:pt x="36" y="224"/>
                    </a:lnTo>
                    <a:lnTo>
                      <a:pt x="38" y="222"/>
                    </a:lnTo>
                    <a:lnTo>
                      <a:pt x="58" y="220"/>
                    </a:lnTo>
                    <a:lnTo>
                      <a:pt x="74" y="220"/>
                    </a:lnTo>
                    <a:lnTo>
                      <a:pt x="74" y="220"/>
                    </a:lnTo>
                    <a:lnTo>
                      <a:pt x="76" y="220"/>
                    </a:lnTo>
                    <a:lnTo>
                      <a:pt x="80" y="228"/>
                    </a:lnTo>
                    <a:lnTo>
                      <a:pt x="88" y="232"/>
                    </a:lnTo>
                    <a:lnTo>
                      <a:pt x="122" y="234"/>
                    </a:lnTo>
                    <a:lnTo>
                      <a:pt x="122" y="234"/>
                    </a:lnTo>
                    <a:lnTo>
                      <a:pt x="122" y="234"/>
                    </a:lnTo>
                    <a:lnTo>
                      <a:pt x="148" y="246"/>
                    </a:lnTo>
                    <a:lnTo>
                      <a:pt x="170" y="260"/>
                    </a:lnTo>
                    <a:lnTo>
                      <a:pt x="198" y="276"/>
                    </a:lnTo>
                    <a:lnTo>
                      <a:pt x="198" y="276"/>
                    </a:lnTo>
                    <a:lnTo>
                      <a:pt x="198" y="276"/>
                    </a:lnTo>
                    <a:lnTo>
                      <a:pt x="200" y="292"/>
                    </a:lnTo>
                    <a:lnTo>
                      <a:pt x="200" y="292"/>
                    </a:lnTo>
                    <a:lnTo>
                      <a:pt x="200" y="294"/>
                    </a:lnTo>
                    <a:lnTo>
                      <a:pt x="184" y="308"/>
                    </a:lnTo>
                    <a:lnTo>
                      <a:pt x="184" y="308"/>
                    </a:lnTo>
                    <a:lnTo>
                      <a:pt x="182" y="310"/>
                    </a:lnTo>
                    <a:lnTo>
                      <a:pt x="156" y="316"/>
                    </a:lnTo>
                    <a:lnTo>
                      <a:pt x="156" y="316"/>
                    </a:lnTo>
                    <a:lnTo>
                      <a:pt x="156" y="316"/>
                    </a:lnTo>
                    <a:lnTo>
                      <a:pt x="156" y="316"/>
                    </a:lnTo>
                    <a:lnTo>
                      <a:pt x="154" y="316"/>
                    </a:lnTo>
                    <a:lnTo>
                      <a:pt x="132" y="308"/>
                    </a:lnTo>
                    <a:lnTo>
                      <a:pt x="106" y="302"/>
                    </a:lnTo>
                    <a:lnTo>
                      <a:pt x="86" y="294"/>
                    </a:lnTo>
                    <a:lnTo>
                      <a:pt x="76" y="290"/>
                    </a:lnTo>
                    <a:lnTo>
                      <a:pt x="84" y="300"/>
                    </a:lnTo>
                    <a:lnTo>
                      <a:pt x="98" y="308"/>
                    </a:lnTo>
                    <a:lnTo>
                      <a:pt x="106" y="312"/>
                    </a:lnTo>
                    <a:lnTo>
                      <a:pt x="106" y="312"/>
                    </a:lnTo>
                    <a:lnTo>
                      <a:pt x="106" y="314"/>
                    </a:lnTo>
                    <a:lnTo>
                      <a:pt x="108" y="324"/>
                    </a:lnTo>
                    <a:lnTo>
                      <a:pt x="112" y="346"/>
                    </a:lnTo>
                    <a:lnTo>
                      <a:pt x="120" y="348"/>
                    </a:lnTo>
                    <a:lnTo>
                      <a:pt x="120" y="348"/>
                    </a:lnTo>
                    <a:lnTo>
                      <a:pt x="122" y="348"/>
                    </a:lnTo>
                    <a:lnTo>
                      <a:pt x="134" y="360"/>
                    </a:lnTo>
                    <a:lnTo>
                      <a:pt x="150" y="360"/>
                    </a:lnTo>
                    <a:lnTo>
                      <a:pt x="152" y="356"/>
                    </a:lnTo>
                    <a:lnTo>
                      <a:pt x="142" y="352"/>
                    </a:lnTo>
                    <a:lnTo>
                      <a:pt x="142" y="352"/>
                    </a:lnTo>
                    <a:lnTo>
                      <a:pt x="142" y="352"/>
                    </a:lnTo>
                    <a:lnTo>
                      <a:pt x="132" y="340"/>
                    </a:lnTo>
                    <a:lnTo>
                      <a:pt x="132" y="340"/>
                    </a:lnTo>
                    <a:lnTo>
                      <a:pt x="132" y="338"/>
                    </a:lnTo>
                    <a:lnTo>
                      <a:pt x="140" y="330"/>
                    </a:lnTo>
                    <a:lnTo>
                      <a:pt x="140" y="330"/>
                    </a:lnTo>
                    <a:lnTo>
                      <a:pt x="142" y="328"/>
                    </a:lnTo>
                    <a:lnTo>
                      <a:pt x="142" y="328"/>
                    </a:lnTo>
                    <a:lnTo>
                      <a:pt x="142" y="328"/>
                    </a:lnTo>
                    <a:lnTo>
                      <a:pt x="142" y="328"/>
                    </a:lnTo>
                    <a:lnTo>
                      <a:pt x="142" y="328"/>
                    </a:lnTo>
                    <a:lnTo>
                      <a:pt x="154" y="338"/>
                    </a:lnTo>
                    <a:lnTo>
                      <a:pt x="164" y="342"/>
                    </a:lnTo>
                    <a:lnTo>
                      <a:pt x="184" y="346"/>
                    </a:lnTo>
                    <a:lnTo>
                      <a:pt x="184" y="340"/>
                    </a:lnTo>
                    <a:lnTo>
                      <a:pt x="176" y="330"/>
                    </a:lnTo>
                    <a:lnTo>
                      <a:pt x="176" y="330"/>
                    </a:lnTo>
                    <a:lnTo>
                      <a:pt x="176" y="328"/>
                    </a:lnTo>
                    <a:lnTo>
                      <a:pt x="186" y="316"/>
                    </a:lnTo>
                    <a:lnTo>
                      <a:pt x="202" y="308"/>
                    </a:lnTo>
                    <a:lnTo>
                      <a:pt x="212" y="300"/>
                    </a:lnTo>
                    <a:lnTo>
                      <a:pt x="212" y="300"/>
                    </a:lnTo>
                    <a:lnTo>
                      <a:pt x="212" y="300"/>
                    </a:lnTo>
                    <a:lnTo>
                      <a:pt x="212" y="300"/>
                    </a:lnTo>
                    <a:lnTo>
                      <a:pt x="214" y="300"/>
                    </a:lnTo>
                    <a:lnTo>
                      <a:pt x="236" y="306"/>
                    </a:lnTo>
                    <a:lnTo>
                      <a:pt x="240" y="288"/>
                    </a:lnTo>
                    <a:lnTo>
                      <a:pt x="234" y="282"/>
                    </a:lnTo>
                    <a:lnTo>
                      <a:pt x="234" y="282"/>
                    </a:lnTo>
                    <a:lnTo>
                      <a:pt x="234" y="280"/>
                    </a:lnTo>
                    <a:lnTo>
                      <a:pt x="238" y="262"/>
                    </a:lnTo>
                    <a:lnTo>
                      <a:pt x="230" y="254"/>
                    </a:lnTo>
                    <a:lnTo>
                      <a:pt x="230" y="254"/>
                    </a:lnTo>
                    <a:lnTo>
                      <a:pt x="230" y="252"/>
                    </a:lnTo>
                    <a:lnTo>
                      <a:pt x="230" y="252"/>
                    </a:lnTo>
                    <a:lnTo>
                      <a:pt x="232" y="252"/>
                    </a:lnTo>
                    <a:lnTo>
                      <a:pt x="232" y="252"/>
                    </a:lnTo>
                    <a:lnTo>
                      <a:pt x="262" y="250"/>
                    </a:lnTo>
                    <a:lnTo>
                      <a:pt x="262" y="250"/>
                    </a:lnTo>
                    <a:lnTo>
                      <a:pt x="264" y="250"/>
                    </a:lnTo>
                    <a:lnTo>
                      <a:pt x="274" y="262"/>
                    </a:lnTo>
                    <a:lnTo>
                      <a:pt x="274" y="262"/>
                    </a:lnTo>
                    <a:lnTo>
                      <a:pt x="276" y="264"/>
                    </a:lnTo>
                    <a:lnTo>
                      <a:pt x="276" y="272"/>
                    </a:lnTo>
                    <a:lnTo>
                      <a:pt x="276" y="272"/>
                    </a:lnTo>
                    <a:lnTo>
                      <a:pt x="274" y="274"/>
                    </a:lnTo>
                    <a:lnTo>
                      <a:pt x="260" y="274"/>
                    </a:lnTo>
                    <a:lnTo>
                      <a:pt x="252" y="280"/>
                    </a:lnTo>
                    <a:lnTo>
                      <a:pt x="266" y="290"/>
                    </a:lnTo>
                    <a:lnTo>
                      <a:pt x="284" y="292"/>
                    </a:lnTo>
                    <a:lnTo>
                      <a:pt x="292" y="272"/>
                    </a:lnTo>
                    <a:lnTo>
                      <a:pt x="292" y="272"/>
                    </a:lnTo>
                    <a:lnTo>
                      <a:pt x="294" y="272"/>
                    </a:lnTo>
                    <a:lnTo>
                      <a:pt x="346" y="252"/>
                    </a:lnTo>
                    <a:lnTo>
                      <a:pt x="346" y="252"/>
                    </a:lnTo>
                    <a:lnTo>
                      <a:pt x="346" y="252"/>
                    </a:lnTo>
                    <a:lnTo>
                      <a:pt x="346" y="252"/>
                    </a:lnTo>
                    <a:lnTo>
                      <a:pt x="346" y="252"/>
                    </a:lnTo>
                    <a:lnTo>
                      <a:pt x="354" y="254"/>
                    </a:lnTo>
                    <a:lnTo>
                      <a:pt x="364" y="244"/>
                    </a:lnTo>
                    <a:lnTo>
                      <a:pt x="364" y="244"/>
                    </a:lnTo>
                    <a:lnTo>
                      <a:pt x="366" y="242"/>
                    </a:lnTo>
                    <a:lnTo>
                      <a:pt x="376" y="240"/>
                    </a:lnTo>
                    <a:lnTo>
                      <a:pt x="376" y="240"/>
                    </a:lnTo>
                    <a:lnTo>
                      <a:pt x="376" y="238"/>
                    </a:lnTo>
                    <a:lnTo>
                      <a:pt x="376" y="238"/>
                    </a:lnTo>
                    <a:lnTo>
                      <a:pt x="378" y="240"/>
                    </a:lnTo>
                    <a:lnTo>
                      <a:pt x="378" y="240"/>
                    </a:lnTo>
                    <a:lnTo>
                      <a:pt x="378" y="242"/>
                    </a:lnTo>
                    <a:lnTo>
                      <a:pt x="376" y="256"/>
                    </a:lnTo>
                    <a:lnTo>
                      <a:pt x="390" y="256"/>
                    </a:lnTo>
                    <a:lnTo>
                      <a:pt x="392" y="250"/>
                    </a:lnTo>
                    <a:lnTo>
                      <a:pt x="392" y="250"/>
                    </a:lnTo>
                    <a:lnTo>
                      <a:pt x="394" y="248"/>
                    </a:lnTo>
                    <a:lnTo>
                      <a:pt x="394" y="248"/>
                    </a:lnTo>
                    <a:lnTo>
                      <a:pt x="426" y="250"/>
                    </a:lnTo>
                    <a:lnTo>
                      <a:pt x="446" y="238"/>
                    </a:lnTo>
                    <a:lnTo>
                      <a:pt x="446" y="238"/>
                    </a:lnTo>
                    <a:lnTo>
                      <a:pt x="448" y="238"/>
                    </a:lnTo>
                    <a:lnTo>
                      <a:pt x="448" y="238"/>
                    </a:lnTo>
                    <a:lnTo>
                      <a:pt x="448" y="238"/>
                    </a:lnTo>
                    <a:lnTo>
                      <a:pt x="448" y="238"/>
                    </a:lnTo>
                    <a:lnTo>
                      <a:pt x="450" y="238"/>
                    </a:lnTo>
                    <a:lnTo>
                      <a:pt x="454" y="248"/>
                    </a:lnTo>
                    <a:lnTo>
                      <a:pt x="454" y="248"/>
                    </a:lnTo>
                    <a:lnTo>
                      <a:pt x="454" y="248"/>
                    </a:lnTo>
                    <a:lnTo>
                      <a:pt x="452" y="254"/>
                    </a:lnTo>
                    <a:lnTo>
                      <a:pt x="458" y="254"/>
                    </a:lnTo>
                    <a:lnTo>
                      <a:pt x="460" y="248"/>
                    </a:lnTo>
                    <a:lnTo>
                      <a:pt x="460" y="248"/>
                    </a:lnTo>
                    <a:lnTo>
                      <a:pt x="462" y="246"/>
                    </a:lnTo>
                    <a:lnTo>
                      <a:pt x="474" y="238"/>
                    </a:lnTo>
                    <a:lnTo>
                      <a:pt x="464" y="226"/>
                    </a:lnTo>
                    <a:lnTo>
                      <a:pt x="446" y="220"/>
                    </a:lnTo>
                    <a:lnTo>
                      <a:pt x="446" y="220"/>
                    </a:lnTo>
                    <a:lnTo>
                      <a:pt x="444" y="218"/>
                    </a:lnTo>
                    <a:lnTo>
                      <a:pt x="444" y="206"/>
                    </a:lnTo>
                    <a:lnTo>
                      <a:pt x="444" y="206"/>
                    </a:lnTo>
                    <a:lnTo>
                      <a:pt x="446" y="204"/>
                    </a:lnTo>
                    <a:lnTo>
                      <a:pt x="452" y="202"/>
                    </a:lnTo>
                    <a:lnTo>
                      <a:pt x="452" y="202"/>
                    </a:lnTo>
                    <a:lnTo>
                      <a:pt x="454" y="202"/>
                    </a:lnTo>
                    <a:lnTo>
                      <a:pt x="454" y="202"/>
                    </a:lnTo>
                    <a:lnTo>
                      <a:pt x="454" y="202"/>
                    </a:lnTo>
                    <a:lnTo>
                      <a:pt x="472" y="218"/>
                    </a:lnTo>
                    <a:lnTo>
                      <a:pt x="500" y="220"/>
                    </a:lnTo>
                    <a:lnTo>
                      <a:pt x="530" y="230"/>
                    </a:lnTo>
                    <a:lnTo>
                      <a:pt x="556" y="240"/>
                    </a:lnTo>
                    <a:lnTo>
                      <a:pt x="580" y="254"/>
                    </a:lnTo>
                    <a:lnTo>
                      <a:pt x="586" y="244"/>
                    </a:lnTo>
                    <a:lnTo>
                      <a:pt x="574" y="234"/>
                    </a:lnTo>
                    <a:lnTo>
                      <a:pt x="560" y="224"/>
                    </a:lnTo>
                    <a:lnTo>
                      <a:pt x="560" y="224"/>
                    </a:lnTo>
                    <a:lnTo>
                      <a:pt x="558" y="224"/>
                    </a:lnTo>
                    <a:lnTo>
                      <a:pt x="558" y="214"/>
                    </a:lnTo>
                    <a:lnTo>
                      <a:pt x="564" y="198"/>
                    </a:lnTo>
                    <a:lnTo>
                      <a:pt x="558" y="192"/>
                    </a:lnTo>
                    <a:lnTo>
                      <a:pt x="558" y="192"/>
                    </a:lnTo>
                    <a:lnTo>
                      <a:pt x="556" y="190"/>
                    </a:lnTo>
                    <a:lnTo>
                      <a:pt x="558" y="184"/>
                    </a:lnTo>
                    <a:lnTo>
                      <a:pt x="558" y="184"/>
                    </a:lnTo>
                    <a:lnTo>
                      <a:pt x="558" y="184"/>
                    </a:lnTo>
                    <a:lnTo>
                      <a:pt x="580" y="168"/>
                    </a:lnTo>
                    <a:lnTo>
                      <a:pt x="594" y="140"/>
                    </a:lnTo>
                    <a:lnTo>
                      <a:pt x="594" y="140"/>
                    </a:lnTo>
                    <a:lnTo>
                      <a:pt x="596" y="138"/>
                    </a:lnTo>
                    <a:lnTo>
                      <a:pt x="596" y="138"/>
                    </a:lnTo>
                    <a:lnTo>
                      <a:pt x="640" y="142"/>
                    </a:lnTo>
                    <a:lnTo>
                      <a:pt x="640" y="142"/>
                    </a:lnTo>
                    <a:lnTo>
                      <a:pt x="642" y="144"/>
                    </a:lnTo>
                    <a:lnTo>
                      <a:pt x="646" y="148"/>
                    </a:lnTo>
                    <a:lnTo>
                      <a:pt x="646" y="148"/>
                    </a:lnTo>
                    <a:lnTo>
                      <a:pt x="646" y="150"/>
                    </a:lnTo>
                    <a:lnTo>
                      <a:pt x="642" y="166"/>
                    </a:lnTo>
                    <a:lnTo>
                      <a:pt x="634" y="180"/>
                    </a:lnTo>
                    <a:lnTo>
                      <a:pt x="642" y="186"/>
                    </a:lnTo>
                    <a:lnTo>
                      <a:pt x="642" y="186"/>
                    </a:lnTo>
                    <a:lnTo>
                      <a:pt x="642" y="186"/>
                    </a:lnTo>
                    <a:lnTo>
                      <a:pt x="646" y="202"/>
                    </a:lnTo>
                    <a:lnTo>
                      <a:pt x="642" y="242"/>
                    </a:lnTo>
                    <a:lnTo>
                      <a:pt x="656" y="252"/>
                    </a:lnTo>
                    <a:lnTo>
                      <a:pt x="656" y="252"/>
                    </a:lnTo>
                    <a:lnTo>
                      <a:pt x="656" y="254"/>
                    </a:lnTo>
                    <a:lnTo>
                      <a:pt x="650" y="270"/>
                    </a:lnTo>
                    <a:lnTo>
                      <a:pt x="650" y="270"/>
                    </a:lnTo>
                    <a:lnTo>
                      <a:pt x="648" y="272"/>
                    </a:lnTo>
                    <a:lnTo>
                      <a:pt x="624" y="292"/>
                    </a:lnTo>
                    <a:lnTo>
                      <a:pt x="610" y="298"/>
                    </a:lnTo>
                    <a:lnTo>
                      <a:pt x="610" y="298"/>
                    </a:lnTo>
                    <a:lnTo>
                      <a:pt x="610" y="298"/>
                    </a:lnTo>
                    <a:lnTo>
                      <a:pt x="610" y="298"/>
                    </a:lnTo>
                    <a:lnTo>
                      <a:pt x="610" y="298"/>
                    </a:lnTo>
                    <a:lnTo>
                      <a:pt x="596" y="296"/>
                    </a:lnTo>
                    <a:lnTo>
                      <a:pt x="592" y="296"/>
                    </a:lnTo>
                    <a:lnTo>
                      <a:pt x="600" y="302"/>
                    </a:lnTo>
                    <a:lnTo>
                      <a:pt x="616" y="306"/>
                    </a:lnTo>
                    <a:lnTo>
                      <a:pt x="630" y="306"/>
                    </a:lnTo>
                    <a:lnTo>
                      <a:pt x="648" y="294"/>
                    </a:lnTo>
                    <a:lnTo>
                      <a:pt x="672" y="270"/>
                    </a:lnTo>
                    <a:lnTo>
                      <a:pt x="666" y="256"/>
                    </a:lnTo>
                    <a:lnTo>
                      <a:pt x="666" y="256"/>
                    </a:lnTo>
                    <a:lnTo>
                      <a:pt x="666" y="254"/>
                    </a:lnTo>
                    <a:lnTo>
                      <a:pt x="674" y="240"/>
                    </a:lnTo>
                    <a:lnTo>
                      <a:pt x="674" y="240"/>
                    </a:lnTo>
                    <a:lnTo>
                      <a:pt x="676" y="238"/>
                    </a:lnTo>
                    <a:lnTo>
                      <a:pt x="676" y="238"/>
                    </a:lnTo>
                    <a:lnTo>
                      <a:pt x="676" y="240"/>
                    </a:lnTo>
                    <a:lnTo>
                      <a:pt x="696" y="242"/>
                    </a:lnTo>
                    <a:lnTo>
                      <a:pt x="696" y="242"/>
                    </a:lnTo>
                    <a:lnTo>
                      <a:pt x="696" y="244"/>
                    </a:lnTo>
                    <a:lnTo>
                      <a:pt x="706" y="252"/>
                    </a:lnTo>
                    <a:lnTo>
                      <a:pt x="706" y="252"/>
                    </a:lnTo>
                    <a:lnTo>
                      <a:pt x="706" y="254"/>
                    </a:lnTo>
                    <a:lnTo>
                      <a:pt x="710" y="264"/>
                    </a:lnTo>
                    <a:lnTo>
                      <a:pt x="718" y="256"/>
                    </a:lnTo>
                    <a:lnTo>
                      <a:pt x="712" y="244"/>
                    </a:lnTo>
                    <a:lnTo>
                      <a:pt x="696" y="240"/>
                    </a:lnTo>
                    <a:lnTo>
                      <a:pt x="658" y="238"/>
                    </a:lnTo>
                    <a:lnTo>
                      <a:pt x="658" y="238"/>
                    </a:lnTo>
                    <a:lnTo>
                      <a:pt x="656" y="236"/>
                    </a:lnTo>
                    <a:lnTo>
                      <a:pt x="656" y="218"/>
                    </a:lnTo>
                    <a:lnTo>
                      <a:pt x="664" y="200"/>
                    </a:lnTo>
                    <a:lnTo>
                      <a:pt x="654" y="186"/>
                    </a:lnTo>
                    <a:lnTo>
                      <a:pt x="650" y="176"/>
                    </a:lnTo>
                    <a:lnTo>
                      <a:pt x="650" y="176"/>
                    </a:lnTo>
                    <a:lnTo>
                      <a:pt x="650" y="174"/>
                    </a:lnTo>
                    <a:lnTo>
                      <a:pt x="660" y="162"/>
                    </a:lnTo>
                    <a:lnTo>
                      <a:pt x="672" y="158"/>
                    </a:lnTo>
                    <a:lnTo>
                      <a:pt x="674" y="144"/>
                    </a:lnTo>
                    <a:lnTo>
                      <a:pt x="674" y="144"/>
                    </a:lnTo>
                    <a:lnTo>
                      <a:pt x="676" y="142"/>
                    </a:lnTo>
                    <a:lnTo>
                      <a:pt x="684" y="142"/>
                    </a:lnTo>
                    <a:lnTo>
                      <a:pt x="684" y="142"/>
                    </a:lnTo>
                    <a:lnTo>
                      <a:pt x="686" y="144"/>
                    </a:lnTo>
                    <a:lnTo>
                      <a:pt x="686" y="160"/>
                    </a:lnTo>
                    <a:lnTo>
                      <a:pt x="686" y="160"/>
                    </a:lnTo>
                    <a:lnTo>
                      <a:pt x="686" y="162"/>
                    </a:lnTo>
                    <a:lnTo>
                      <a:pt x="682" y="172"/>
                    </a:lnTo>
                    <a:lnTo>
                      <a:pt x="684" y="180"/>
                    </a:lnTo>
                    <a:lnTo>
                      <a:pt x="720" y="188"/>
                    </a:lnTo>
                    <a:lnTo>
                      <a:pt x="724" y="188"/>
                    </a:lnTo>
                    <a:lnTo>
                      <a:pt x="716" y="184"/>
                    </a:lnTo>
                    <a:lnTo>
                      <a:pt x="698" y="178"/>
                    </a:lnTo>
                    <a:lnTo>
                      <a:pt x="698" y="178"/>
                    </a:lnTo>
                    <a:lnTo>
                      <a:pt x="698" y="178"/>
                    </a:lnTo>
                    <a:lnTo>
                      <a:pt x="690" y="166"/>
                    </a:lnTo>
                    <a:lnTo>
                      <a:pt x="690" y="166"/>
                    </a:lnTo>
                    <a:lnTo>
                      <a:pt x="690" y="166"/>
                    </a:lnTo>
                    <a:lnTo>
                      <a:pt x="690" y="166"/>
                    </a:lnTo>
                    <a:lnTo>
                      <a:pt x="692" y="164"/>
                    </a:lnTo>
                    <a:lnTo>
                      <a:pt x="702" y="160"/>
                    </a:lnTo>
                    <a:lnTo>
                      <a:pt x="702" y="160"/>
                    </a:lnTo>
                    <a:lnTo>
                      <a:pt x="702" y="160"/>
                    </a:lnTo>
                    <a:lnTo>
                      <a:pt x="702" y="160"/>
                    </a:lnTo>
                    <a:lnTo>
                      <a:pt x="704" y="160"/>
                    </a:lnTo>
                    <a:lnTo>
                      <a:pt x="716" y="162"/>
                    </a:lnTo>
                    <a:lnTo>
                      <a:pt x="706" y="152"/>
                    </a:lnTo>
                    <a:lnTo>
                      <a:pt x="706" y="152"/>
                    </a:lnTo>
                    <a:lnTo>
                      <a:pt x="706" y="152"/>
                    </a:lnTo>
                    <a:lnTo>
                      <a:pt x="706" y="152"/>
                    </a:lnTo>
                    <a:lnTo>
                      <a:pt x="706" y="150"/>
                    </a:lnTo>
                    <a:lnTo>
                      <a:pt x="712" y="146"/>
                    </a:lnTo>
                    <a:lnTo>
                      <a:pt x="712" y="146"/>
                    </a:lnTo>
                    <a:lnTo>
                      <a:pt x="714" y="146"/>
                    </a:lnTo>
                    <a:lnTo>
                      <a:pt x="714" y="146"/>
                    </a:lnTo>
                    <a:lnTo>
                      <a:pt x="714" y="146"/>
                    </a:lnTo>
                    <a:lnTo>
                      <a:pt x="744" y="154"/>
                    </a:lnTo>
                    <a:lnTo>
                      <a:pt x="762" y="170"/>
                    </a:lnTo>
                    <a:lnTo>
                      <a:pt x="782" y="170"/>
                    </a:lnTo>
                    <a:lnTo>
                      <a:pt x="772" y="160"/>
                    </a:lnTo>
                    <a:lnTo>
                      <a:pt x="756" y="148"/>
                    </a:lnTo>
                    <a:lnTo>
                      <a:pt x="756" y="148"/>
                    </a:lnTo>
                    <a:lnTo>
                      <a:pt x="756" y="146"/>
                    </a:lnTo>
                    <a:lnTo>
                      <a:pt x="750" y="126"/>
                    </a:lnTo>
                    <a:lnTo>
                      <a:pt x="750" y="126"/>
                    </a:lnTo>
                    <a:lnTo>
                      <a:pt x="752" y="124"/>
                    </a:lnTo>
                    <a:lnTo>
                      <a:pt x="762" y="118"/>
                    </a:lnTo>
                    <a:lnTo>
                      <a:pt x="762" y="118"/>
                    </a:lnTo>
                    <a:lnTo>
                      <a:pt x="764" y="118"/>
                    </a:lnTo>
                    <a:lnTo>
                      <a:pt x="804" y="116"/>
                    </a:lnTo>
                    <a:lnTo>
                      <a:pt x="842" y="108"/>
                    </a:lnTo>
                    <a:lnTo>
                      <a:pt x="832" y="92"/>
                    </a:lnTo>
                    <a:lnTo>
                      <a:pt x="832" y="92"/>
                    </a:lnTo>
                    <a:lnTo>
                      <a:pt x="832" y="90"/>
                    </a:lnTo>
                    <a:lnTo>
                      <a:pt x="832" y="90"/>
                    </a:lnTo>
                    <a:lnTo>
                      <a:pt x="834" y="88"/>
                    </a:lnTo>
                    <a:lnTo>
                      <a:pt x="868" y="72"/>
                    </a:lnTo>
                    <a:lnTo>
                      <a:pt x="942" y="48"/>
                    </a:lnTo>
                    <a:lnTo>
                      <a:pt x="976" y="44"/>
                    </a:lnTo>
                    <a:lnTo>
                      <a:pt x="1006" y="48"/>
                    </a:lnTo>
                    <a:lnTo>
                      <a:pt x="1048" y="34"/>
                    </a:lnTo>
                    <a:lnTo>
                      <a:pt x="1044" y="22"/>
                    </a:lnTo>
                    <a:lnTo>
                      <a:pt x="1044" y="22"/>
                    </a:lnTo>
                    <a:lnTo>
                      <a:pt x="1046" y="20"/>
                    </a:lnTo>
                    <a:lnTo>
                      <a:pt x="1066" y="2"/>
                    </a:lnTo>
                    <a:lnTo>
                      <a:pt x="1066" y="2"/>
                    </a:lnTo>
                    <a:lnTo>
                      <a:pt x="1068" y="0"/>
                    </a:lnTo>
                    <a:lnTo>
                      <a:pt x="1068" y="0"/>
                    </a:lnTo>
                    <a:lnTo>
                      <a:pt x="1098" y="2"/>
                    </a:lnTo>
                    <a:lnTo>
                      <a:pt x="1116" y="8"/>
                    </a:lnTo>
                    <a:lnTo>
                      <a:pt x="1116" y="8"/>
                    </a:lnTo>
                    <a:lnTo>
                      <a:pt x="1116" y="10"/>
                    </a:lnTo>
                    <a:lnTo>
                      <a:pt x="1116" y="10"/>
                    </a:lnTo>
                    <a:lnTo>
                      <a:pt x="1116" y="12"/>
                    </a:lnTo>
                    <a:lnTo>
                      <a:pt x="1102" y="20"/>
                    </a:lnTo>
                    <a:lnTo>
                      <a:pt x="1132" y="20"/>
                    </a:lnTo>
                    <a:lnTo>
                      <a:pt x="1132" y="20"/>
                    </a:lnTo>
                    <a:lnTo>
                      <a:pt x="1134" y="22"/>
                    </a:lnTo>
                    <a:lnTo>
                      <a:pt x="1134" y="22"/>
                    </a:lnTo>
                    <a:lnTo>
                      <a:pt x="1134" y="24"/>
                    </a:lnTo>
                    <a:lnTo>
                      <a:pt x="1128" y="34"/>
                    </a:lnTo>
                    <a:lnTo>
                      <a:pt x="1128" y="34"/>
                    </a:lnTo>
                    <a:lnTo>
                      <a:pt x="1192" y="32"/>
                    </a:lnTo>
                    <a:lnTo>
                      <a:pt x="1192" y="32"/>
                    </a:lnTo>
                    <a:lnTo>
                      <a:pt x="1194" y="32"/>
                    </a:lnTo>
                    <a:lnTo>
                      <a:pt x="1218" y="48"/>
                    </a:lnTo>
                    <a:lnTo>
                      <a:pt x="1218" y="48"/>
                    </a:lnTo>
                    <a:lnTo>
                      <a:pt x="1220" y="48"/>
                    </a:lnTo>
                    <a:lnTo>
                      <a:pt x="1224" y="60"/>
                    </a:lnTo>
                    <a:lnTo>
                      <a:pt x="1224" y="60"/>
                    </a:lnTo>
                    <a:lnTo>
                      <a:pt x="1224" y="60"/>
                    </a:lnTo>
                    <a:lnTo>
                      <a:pt x="1216" y="78"/>
                    </a:lnTo>
                    <a:lnTo>
                      <a:pt x="1216" y="78"/>
                    </a:lnTo>
                    <a:lnTo>
                      <a:pt x="1216" y="80"/>
                    </a:lnTo>
                    <a:lnTo>
                      <a:pt x="1184" y="96"/>
                    </a:lnTo>
                    <a:lnTo>
                      <a:pt x="1152" y="114"/>
                    </a:lnTo>
                    <a:lnTo>
                      <a:pt x="1110" y="138"/>
                    </a:lnTo>
                    <a:lnTo>
                      <a:pt x="1112" y="138"/>
                    </a:lnTo>
                    <a:lnTo>
                      <a:pt x="1130" y="132"/>
                    </a:lnTo>
                    <a:lnTo>
                      <a:pt x="1166" y="122"/>
                    </a:lnTo>
                    <a:lnTo>
                      <a:pt x="1164" y="116"/>
                    </a:lnTo>
                    <a:lnTo>
                      <a:pt x="1164" y="116"/>
                    </a:lnTo>
                    <a:lnTo>
                      <a:pt x="1164" y="114"/>
                    </a:lnTo>
                    <a:lnTo>
                      <a:pt x="1174" y="106"/>
                    </a:lnTo>
                    <a:lnTo>
                      <a:pt x="1174" y="106"/>
                    </a:lnTo>
                    <a:lnTo>
                      <a:pt x="1174" y="104"/>
                    </a:lnTo>
                    <a:lnTo>
                      <a:pt x="1188" y="102"/>
                    </a:lnTo>
                    <a:lnTo>
                      <a:pt x="1188" y="102"/>
                    </a:lnTo>
                    <a:lnTo>
                      <a:pt x="1190" y="102"/>
                    </a:lnTo>
                    <a:lnTo>
                      <a:pt x="1190" y="102"/>
                    </a:lnTo>
                    <a:lnTo>
                      <a:pt x="1192" y="102"/>
                    </a:lnTo>
                    <a:lnTo>
                      <a:pt x="1194" y="110"/>
                    </a:lnTo>
                    <a:lnTo>
                      <a:pt x="1204" y="114"/>
                    </a:lnTo>
                    <a:lnTo>
                      <a:pt x="1220" y="124"/>
                    </a:lnTo>
                    <a:lnTo>
                      <a:pt x="1228" y="120"/>
                    </a:lnTo>
                    <a:lnTo>
                      <a:pt x="1228" y="120"/>
                    </a:lnTo>
                    <a:lnTo>
                      <a:pt x="1228" y="120"/>
                    </a:lnTo>
                    <a:lnTo>
                      <a:pt x="1228" y="120"/>
                    </a:lnTo>
                    <a:lnTo>
                      <a:pt x="1294" y="120"/>
                    </a:lnTo>
                    <a:lnTo>
                      <a:pt x="1294" y="120"/>
                    </a:lnTo>
                    <a:lnTo>
                      <a:pt x="1296" y="122"/>
                    </a:lnTo>
                    <a:lnTo>
                      <a:pt x="1296" y="130"/>
                    </a:lnTo>
                    <a:lnTo>
                      <a:pt x="1358" y="136"/>
                    </a:lnTo>
                    <a:lnTo>
                      <a:pt x="1364" y="116"/>
                    </a:lnTo>
                    <a:lnTo>
                      <a:pt x="1364" y="116"/>
                    </a:lnTo>
                    <a:lnTo>
                      <a:pt x="1366" y="114"/>
                    </a:lnTo>
                    <a:lnTo>
                      <a:pt x="1366" y="114"/>
                    </a:lnTo>
                    <a:lnTo>
                      <a:pt x="1378" y="116"/>
                    </a:lnTo>
                    <a:lnTo>
                      <a:pt x="1396" y="124"/>
                    </a:lnTo>
                    <a:lnTo>
                      <a:pt x="1396" y="124"/>
                    </a:lnTo>
                    <a:lnTo>
                      <a:pt x="1424" y="122"/>
                    </a:lnTo>
                    <a:lnTo>
                      <a:pt x="1424" y="122"/>
                    </a:lnTo>
                    <a:lnTo>
                      <a:pt x="1426" y="124"/>
                    </a:lnTo>
                    <a:lnTo>
                      <a:pt x="1442" y="142"/>
                    </a:lnTo>
                    <a:lnTo>
                      <a:pt x="1442" y="142"/>
                    </a:lnTo>
                    <a:lnTo>
                      <a:pt x="1442" y="142"/>
                    </a:lnTo>
                    <a:lnTo>
                      <a:pt x="1446" y="158"/>
                    </a:lnTo>
                    <a:lnTo>
                      <a:pt x="1446" y="158"/>
                    </a:lnTo>
                    <a:lnTo>
                      <a:pt x="1446" y="160"/>
                    </a:lnTo>
                    <a:lnTo>
                      <a:pt x="1436" y="166"/>
                    </a:lnTo>
                    <a:lnTo>
                      <a:pt x="1454" y="188"/>
                    </a:lnTo>
                    <a:lnTo>
                      <a:pt x="1472" y="192"/>
                    </a:lnTo>
                    <a:lnTo>
                      <a:pt x="1488" y="166"/>
                    </a:lnTo>
                    <a:lnTo>
                      <a:pt x="1488" y="166"/>
                    </a:lnTo>
                    <a:lnTo>
                      <a:pt x="1490" y="166"/>
                    </a:lnTo>
                    <a:lnTo>
                      <a:pt x="1490" y="166"/>
                    </a:lnTo>
                    <a:lnTo>
                      <a:pt x="1492" y="166"/>
                    </a:lnTo>
                    <a:lnTo>
                      <a:pt x="1514" y="178"/>
                    </a:lnTo>
                    <a:lnTo>
                      <a:pt x="1534" y="172"/>
                    </a:lnTo>
                    <a:lnTo>
                      <a:pt x="1534" y="172"/>
                    </a:lnTo>
                    <a:lnTo>
                      <a:pt x="1536" y="170"/>
                    </a:lnTo>
                    <a:lnTo>
                      <a:pt x="1536" y="170"/>
                    </a:lnTo>
                    <a:lnTo>
                      <a:pt x="1536" y="172"/>
                    </a:lnTo>
                    <a:lnTo>
                      <a:pt x="1558" y="180"/>
                    </a:lnTo>
                    <a:lnTo>
                      <a:pt x="1578" y="172"/>
                    </a:lnTo>
                    <a:lnTo>
                      <a:pt x="1590" y="166"/>
                    </a:lnTo>
                    <a:lnTo>
                      <a:pt x="1588" y="152"/>
                    </a:lnTo>
                    <a:lnTo>
                      <a:pt x="1588" y="152"/>
                    </a:lnTo>
                    <a:lnTo>
                      <a:pt x="1590" y="150"/>
                    </a:lnTo>
                    <a:lnTo>
                      <a:pt x="1610" y="142"/>
                    </a:lnTo>
                    <a:lnTo>
                      <a:pt x="1610" y="142"/>
                    </a:lnTo>
                    <a:lnTo>
                      <a:pt x="1610" y="142"/>
                    </a:lnTo>
                    <a:lnTo>
                      <a:pt x="1610" y="142"/>
                    </a:lnTo>
                    <a:lnTo>
                      <a:pt x="1670" y="146"/>
                    </a:lnTo>
                    <a:lnTo>
                      <a:pt x="1670" y="146"/>
                    </a:lnTo>
                    <a:lnTo>
                      <a:pt x="1672" y="146"/>
                    </a:lnTo>
                    <a:lnTo>
                      <a:pt x="1682" y="156"/>
                    </a:lnTo>
                    <a:lnTo>
                      <a:pt x="1688" y="158"/>
                    </a:lnTo>
                    <a:lnTo>
                      <a:pt x="1688" y="158"/>
                    </a:lnTo>
                    <a:lnTo>
                      <a:pt x="1718" y="154"/>
                    </a:lnTo>
                    <a:lnTo>
                      <a:pt x="1718" y="154"/>
                    </a:lnTo>
                    <a:lnTo>
                      <a:pt x="1720" y="156"/>
                    </a:lnTo>
                    <a:lnTo>
                      <a:pt x="1734" y="162"/>
                    </a:lnTo>
                    <a:lnTo>
                      <a:pt x="1734" y="162"/>
                    </a:lnTo>
                    <a:lnTo>
                      <a:pt x="1734" y="164"/>
                    </a:lnTo>
                    <a:lnTo>
                      <a:pt x="1734" y="164"/>
                    </a:lnTo>
                    <a:lnTo>
                      <a:pt x="1734" y="166"/>
                    </a:lnTo>
                    <a:lnTo>
                      <a:pt x="1730" y="172"/>
                    </a:lnTo>
                    <a:lnTo>
                      <a:pt x="1740" y="176"/>
                    </a:lnTo>
                    <a:lnTo>
                      <a:pt x="1766" y="188"/>
                    </a:lnTo>
                    <a:lnTo>
                      <a:pt x="1812" y="188"/>
                    </a:lnTo>
                    <a:lnTo>
                      <a:pt x="1860" y="190"/>
                    </a:lnTo>
                    <a:lnTo>
                      <a:pt x="1860" y="190"/>
                    </a:lnTo>
                    <a:lnTo>
                      <a:pt x="1860" y="190"/>
                    </a:lnTo>
                    <a:lnTo>
                      <a:pt x="1880" y="202"/>
                    </a:lnTo>
                    <a:lnTo>
                      <a:pt x="1880" y="202"/>
                    </a:lnTo>
                    <a:lnTo>
                      <a:pt x="1882" y="204"/>
                    </a:lnTo>
                    <a:lnTo>
                      <a:pt x="1880" y="216"/>
                    </a:lnTo>
                    <a:lnTo>
                      <a:pt x="1882" y="222"/>
                    </a:lnTo>
                    <a:lnTo>
                      <a:pt x="1896" y="226"/>
                    </a:lnTo>
                    <a:lnTo>
                      <a:pt x="1908" y="222"/>
                    </a:lnTo>
                    <a:lnTo>
                      <a:pt x="1908" y="222"/>
                    </a:lnTo>
                    <a:lnTo>
                      <a:pt x="1910" y="222"/>
                    </a:lnTo>
                    <a:lnTo>
                      <a:pt x="1910" y="222"/>
                    </a:lnTo>
                    <a:lnTo>
                      <a:pt x="1968" y="224"/>
                    </a:lnTo>
                    <a:lnTo>
                      <a:pt x="1974" y="224"/>
                    </a:lnTo>
                    <a:lnTo>
                      <a:pt x="1988" y="218"/>
                    </a:lnTo>
                    <a:lnTo>
                      <a:pt x="1988" y="218"/>
                    </a:lnTo>
                    <a:lnTo>
                      <a:pt x="1990" y="218"/>
                    </a:lnTo>
                    <a:lnTo>
                      <a:pt x="1990" y="218"/>
                    </a:lnTo>
                    <a:lnTo>
                      <a:pt x="1990" y="218"/>
                    </a:lnTo>
                    <a:lnTo>
                      <a:pt x="1996" y="220"/>
                    </a:lnTo>
                    <a:lnTo>
                      <a:pt x="1996" y="220"/>
                    </a:lnTo>
                    <a:lnTo>
                      <a:pt x="1996" y="222"/>
                    </a:lnTo>
                    <a:lnTo>
                      <a:pt x="1996" y="232"/>
                    </a:lnTo>
                    <a:lnTo>
                      <a:pt x="2012" y="242"/>
                    </a:lnTo>
                    <a:lnTo>
                      <a:pt x="2028" y="244"/>
                    </a:lnTo>
                    <a:lnTo>
                      <a:pt x="2032" y="238"/>
                    </a:lnTo>
                    <a:lnTo>
                      <a:pt x="2028" y="230"/>
                    </a:lnTo>
                    <a:lnTo>
                      <a:pt x="2026" y="212"/>
                    </a:lnTo>
                    <a:lnTo>
                      <a:pt x="2026" y="212"/>
                    </a:lnTo>
                    <a:lnTo>
                      <a:pt x="2026" y="210"/>
                    </a:lnTo>
                    <a:lnTo>
                      <a:pt x="2038" y="208"/>
                    </a:lnTo>
                    <a:lnTo>
                      <a:pt x="2038" y="208"/>
                    </a:lnTo>
                    <a:lnTo>
                      <a:pt x="2038" y="208"/>
                    </a:lnTo>
                    <a:lnTo>
                      <a:pt x="2038" y="208"/>
                    </a:lnTo>
                    <a:lnTo>
                      <a:pt x="2038" y="208"/>
                    </a:lnTo>
                    <a:lnTo>
                      <a:pt x="2054" y="216"/>
                    </a:lnTo>
                    <a:lnTo>
                      <a:pt x="2082" y="216"/>
                    </a:lnTo>
                    <a:lnTo>
                      <a:pt x="2116" y="222"/>
                    </a:lnTo>
                    <a:lnTo>
                      <a:pt x="2156" y="236"/>
                    </a:lnTo>
                    <a:lnTo>
                      <a:pt x="2180" y="248"/>
                    </a:lnTo>
                    <a:lnTo>
                      <a:pt x="2220" y="266"/>
                    </a:lnTo>
                    <a:lnTo>
                      <a:pt x="2220" y="266"/>
                    </a:lnTo>
                    <a:lnTo>
                      <a:pt x="2222" y="266"/>
                    </a:lnTo>
                    <a:lnTo>
                      <a:pt x="2228" y="278"/>
                    </a:lnTo>
                    <a:lnTo>
                      <a:pt x="2234" y="288"/>
                    </a:lnTo>
                    <a:lnTo>
                      <a:pt x="2242" y="302"/>
                    </a:lnTo>
                    <a:lnTo>
                      <a:pt x="2246" y="300"/>
                    </a:lnTo>
                    <a:lnTo>
                      <a:pt x="2240" y="284"/>
                    </a:lnTo>
                    <a:lnTo>
                      <a:pt x="2240" y="284"/>
                    </a:lnTo>
                    <a:lnTo>
                      <a:pt x="2242" y="282"/>
                    </a:lnTo>
                    <a:lnTo>
                      <a:pt x="2242" y="282"/>
                    </a:lnTo>
                    <a:lnTo>
                      <a:pt x="2242" y="282"/>
                    </a:lnTo>
                    <a:lnTo>
                      <a:pt x="2242" y="282"/>
                    </a:lnTo>
                    <a:lnTo>
                      <a:pt x="2258" y="284"/>
                    </a:lnTo>
                    <a:lnTo>
                      <a:pt x="2276" y="288"/>
                    </a:lnTo>
                    <a:lnTo>
                      <a:pt x="2292" y="298"/>
                    </a:lnTo>
                    <a:lnTo>
                      <a:pt x="2302" y="310"/>
                    </a:lnTo>
                    <a:lnTo>
                      <a:pt x="2302" y="310"/>
                    </a:lnTo>
                    <a:lnTo>
                      <a:pt x="2302" y="312"/>
                    </a:lnTo>
                    <a:lnTo>
                      <a:pt x="2292" y="322"/>
                    </a:lnTo>
                    <a:lnTo>
                      <a:pt x="2292" y="322"/>
                    </a:lnTo>
                    <a:lnTo>
                      <a:pt x="2292" y="324"/>
                    </a:lnTo>
                    <a:lnTo>
                      <a:pt x="2270" y="328"/>
                    </a:lnTo>
                    <a:lnTo>
                      <a:pt x="2266" y="340"/>
                    </a:lnTo>
                    <a:lnTo>
                      <a:pt x="2258" y="356"/>
                    </a:lnTo>
                    <a:lnTo>
                      <a:pt x="2258" y="356"/>
                    </a:lnTo>
                    <a:lnTo>
                      <a:pt x="2258" y="358"/>
                    </a:lnTo>
                    <a:lnTo>
                      <a:pt x="2258" y="358"/>
                    </a:lnTo>
                    <a:lnTo>
                      <a:pt x="2258" y="358"/>
                    </a:lnTo>
                    <a:lnTo>
                      <a:pt x="2258" y="358"/>
                    </a:lnTo>
                    <a:lnTo>
                      <a:pt x="2256" y="358"/>
                    </a:lnTo>
                    <a:lnTo>
                      <a:pt x="2232" y="344"/>
                    </a:lnTo>
                    <a:lnTo>
                      <a:pt x="2218" y="340"/>
                    </a:lnTo>
                    <a:lnTo>
                      <a:pt x="2218" y="340"/>
                    </a:lnTo>
                    <a:lnTo>
                      <a:pt x="2216" y="338"/>
                    </a:lnTo>
                    <a:lnTo>
                      <a:pt x="2218" y="326"/>
                    </a:lnTo>
                    <a:lnTo>
                      <a:pt x="2218" y="326"/>
                    </a:lnTo>
                    <a:lnTo>
                      <a:pt x="2182" y="328"/>
                    </a:lnTo>
                    <a:lnTo>
                      <a:pt x="2182" y="328"/>
                    </a:lnTo>
                    <a:lnTo>
                      <a:pt x="2180" y="326"/>
                    </a:lnTo>
                    <a:lnTo>
                      <a:pt x="2176" y="310"/>
                    </a:lnTo>
                    <a:lnTo>
                      <a:pt x="2166" y="310"/>
                    </a:lnTo>
                    <a:lnTo>
                      <a:pt x="2164" y="320"/>
                    </a:lnTo>
                    <a:lnTo>
                      <a:pt x="2170" y="326"/>
                    </a:lnTo>
                    <a:lnTo>
                      <a:pt x="2170" y="326"/>
                    </a:lnTo>
                    <a:lnTo>
                      <a:pt x="2170" y="326"/>
                    </a:lnTo>
                    <a:lnTo>
                      <a:pt x="2170" y="326"/>
                    </a:lnTo>
                    <a:lnTo>
                      <a:pt x="2170" y="328"/>
                    </a:lnTo>
                    <a:lnTo>
                      <a:pt x="2154" y="342"/>
                    </a:lnTo>
                    <a:lnTo>
                      <a:pt x="2154" y="342"/>
                    </a:lnTo>
                    <a:lnTo>
                      <a:pt x="2152" y="344"/>
                    </a:lnTo>
                    <a:lnTo>
                      <a:pt x="2134" y="346"/>
                    </a:lnTo>
                    <a:lnTo>
                      <a:pt x="2122" y="344"/>
                    </a:lnTo>
                    <a:lnTo>
                      <a:pt x="2122" y="344"/>
                    </a:lnTo>
                    <a:lnTo>
                      <a:pt x="2120" y="342"/>
                    </a:lnTo>
                    <a:lnTo>
                      <a:pt x="2116" y="340"/>
                    </a:lnTo>
                    <a:lnTo>
                      <a:pt x="2114" y="342"/>
                    </a:lnTo>
                    <a:lnTo>
                      <a:pt x="2126" y="346"/>
                    </a:lnTo>
                    <a:lnTo>
                      <a:pt x="2138" y="354"/>
                    </a:lnTo>
                    <a:lnTo>
                      <a:pt x="2138" y="354"/>
                    </a:lnTo>
                    <a:lnTo>
                      <a:pt x="2140" y="354"/>
                    </a:lnTo>
                    <a:lnTo>
                      <a:pt x="2144" y="372"/>
                    </a:lnTo>
                    <a:lnTo>
                      <a:pt x="2156" y="386"/>
                    </a:lnTo>
                    <a:lnTo>
                      <a:pt x="2156" y="386"/>
                    </a:lnTo>
                    <a:lnTo>
                      <a:pt x="2156" y="388"/>
                    </a:lnTo>
                    <a:lnTo>
                      <a:pt x="2156" y="388"/>
                    </a:lnTo>
                    <a:lnTo>
                      <a:pt x="2154" y="390"/>
                    </a:lnTo>
                    <a:lnTo>
                      <a:pt x="2142" y="396"/>
                    </a:lnTo>
                    <a:lnTo>
                      <a:pt x="2142" y="396"/>
                    </a:lnTo>
                    <a:lnTo>
                      <a:pt x="2142" y="396"/>
                    </a:lnTo>
                    <a:lnTo>
                      <a:pt x="2142" y="396"/>
                    </a:lnTo>
                    <a:lnTo>
                      <a:pt x="2140" y="396"/>
                    </a:lnTo>
                    <a:lnTo>
                      <a:pt x="2118" y="388"/>
                    </a:lnTo>
                    <a:lnTo>
                      <a:pt x="2108" y="396"/>
                    </a:lnTo>
                    <a:lnTo>
                      <a:pt x="2076" y="412"/>
                    </a:lnTo>
                    <a:lnTo>
                      <a:pt x="2058" y="420"/>
                    </a:lnTo>
                    <a:lnTo>
                      <a:pt x="2022" y="448"/>
                    </a:lnTo>
                    <a:lnTo>
                      <a:pt x="2022" y="448"/>
                    </a:lnTo>
                    <a:lnTo>
                      <a:pt x="2022" y="448"/>
                    </a:lnTo>
                    <a:lnTo>
                      <a:pt x="2022" y="448"/>
                    </a:lnTo>
                    <a:lnTo>
                      <a:pt x="2020" y="448"/>
                    </a:lnTo>
                    <a:lnTo>
                      <a:pt x="2008" y="438"/>
                    </a:lnTo>
                    <a:lnTo>
                      <a:pt x="1984" y="438"/>
                    </a:lnTo>
                    <a:lnTo>
                      <a:pt x="1970" y="452"/>
                    </a:lnTo>
                    <a:lnTo>
                      <a:pt x="1970" y="452"/>
                    </a:lnTo>
                    <a:lnTo>
                      <a:pt x="1968" y="452"/>
                    </a:lnTo>
                    <a:lnTo>
                      <a:pt x="1968" y="452"/>
                    </a:lnTo>
                    <a:lnTo>
                      <a:pt x="1968" y="452"/>
                    </a:lnTo>
                    <a:lnTo>
                      <a:pt x="1968" y="452"/>
                    </a:lnTo>
                    <a:lnTo>
                      <a:pt x="1966" y="450"/>
                    </a:lnTo>
                    <a:lnTo>
                      <a:pt x="1964" y="438"/>
                    </a:lnTo>
                    <a:lnTo>
                      <a:pt x="1958" y="438"/>
                    </a:lnTo>
                    <a:lnTo>
                      <a:pt x="1954" y="448"/>
                    </a:lnTo>
                    <a:lnTo>
                      <a:pt x="1954" y="448"/>
                    </a:lnTo>
                    <a:lnTo>
                      <a:pt x="1952" y="448"/>
                    </a:lnTo>
                    <a:lnTo>
                      <a:pt x="1928" y="448"/>
                    </a:lnTo>
                    <a:lnTo>
                      <a:pt x="1908" y="482"/>
                    </a:lnTo>
                    <a:lnTo>
                      <a:pt x="1908" y="490"/>
                    </a:lnTo>
                    <a:lnTo>
                      <a:pt x="1920" y="490"/>
                    </a:lnTo>
                    <a:lnTo>
                      <a:pt x="1920" y="490"/>
                    </a:lnTo>
                    <a:lnTo>
                      <a:pt x="1922" y="490"/>
                    </a:lnTo>
                    <a:lnTo>
                      <a:pt x="1922" y="490"/>
                    </a:lnTo>
                    <a:lnTo>
                      <a:pt x="1922" y="492"/>
                    </a:lnTo>
                    <a:lnTo>
                      <a:pt x="1918" y="508"/>
                    </a:lnTo>
                    <a:lnTo>
                      <a:pt x="1924" y="522"/>
                    </a:lnTo>
                    <a:lnTo>
                      <a:pt x="1924" y="522"/>
                    </a:lnTo>
                    <a:lnTo>
                      <a:pt x="1924" y="522"/>
                    </a:lnTo>
                    <a:lnTo>
                      <a:pt x="1924" y="522"/>
                    </a:lnTo>
                    <a:lnTo>
                      <a:pt x="1922" y="524"/>
                    </a:lnTo>
                    <a:lnTo>
                      <a:pt x="1908" y="530"/>
                    </a:lnTo>
                    <a:lnTo>
                      <a:pt x="1902" y="540"/>
                    </a:lnTo>
                    <a:lnTo>
                      <a:pt x="1908" y="556"/>
                    </a:lnTo>
                    <a:lnTo>
                      <a:pt x="1908" y="556"/>
                    </a:lnTo>
                    <a:lnTo>
                      <a:pt x="1906" y="558"/>
                    </a:lnTo>
                    <a:lnTo>
                      <a:pt x="1886" y="564"/>
                    </a:lnTo>
                    <a:lnTo>
                      <a:pt x="1880" y="572"/>
                    </a:lnTo>
                    <a:lnTo>
                      <a:pt x="1880" y="576"/>
                    </a:lnTo>
                    <a:lnTo>
                      <a:pt x="1880" y="578"/>
                    </a:lnTo>
                    <a:lnTo>
                      <a:pt x="1880" y="578"/>
                    </a:lnTo>
                    <a:lnTo>
                      <a:pt x="1880" y="580"/>
                    </a:lnTo>
                    <a:lnTo>
                      <a:pt x="1880" y="584"/>
                    </a:lnTo>
                    <a:lnTo>
                      <a:pt x="1880" y="584"/>
                    </a:lnTo>
                    <a:lnTo>
                      <a:pt x="1878" y="584"/>
                    </a:lnTo>
                    <a:lnTo>
                      <a:pt x="1858" y="592"/>
                    </a:lnTo>
                    <a:lnTo>
                      <a:pt x="1858" y="602"/>
                    </a:lnTo>
                    <a:lnTo>
                      <a:pt x="1858" y="602"/>
                    </a:lnTo>
                    <a:lnTo>
                      <a:pt x="1858" y="604"/>
                    </a:lnTo>
                    <a:lnTo>
                      <a:pt x="1830" y="630"/>
                    </a:lnTo>
                    <a:lnTo>
                      <a:pt x="1830" y="630"/>
                    </a:lnTo>
                    <a:lnTo>
                      <a:pt x="1830" y="632"/>
                    </a:lnTo>
                    <a:lnTo>
                      <a:pt x="1830" y="632"/>
                    </a:lnTo>
                    <a:lnTo>
                      <a:pt x="1828" y="632"/>
                    </a:lnTo>
                    <a:lnTo>
                      <a:pt x="1828" y="632"/>
                    </a:lnTo>
                    <a:lnTo>
                      <a:pt x="1828" y="630"/>
                    </a:lnTo>
                    <a:lnTo>
                      <a:pt x="1824" y="602"/>
                    </a:lnTo>
                    <a:lnTo>
                      <a:pt x="1814" y="556"/>
                    </a:lnTo>
                    <a:lnTo>
                      <a:pt x="1812" y="524"/>
                    </a:lnTo>
                    <a:lnTo>
                      <a:pt x="1812" y="524"/>
                    </a:lnTo>
                    <a:lnTo>
                      <a:pt x="1814" y="522"/>
                    </a:lnTo>
                    <a:lnTo>
                      <a:pt x="1824" y="510"/>
                    </a:lnTo>
                    <a:lnTo>
                      <a:pt x="1834" y="490"/>
                    </a:lnTo>
                    <a:lnTo>
                      <a:pt x="1834" y="490"/>
                    </a:lnTo>
                    <a:lnTo>
                      <a:pt x="1836" y="490"/>
                    </a:lnTo>
                    <a:lnTo>
                      <a:pt x="1850" y="486"/>
                    </a:lnTo>
                    <a:lnTo>
                      <a:pt x="1886" y="450"/>
                    </a:lnTo>
                    <a:lnTo>
                      <a:pt x="1916" y="430"/>
                    </a:lnTo>
                    <a:lnTo>
                      <a:pt x="1924" y="428"/>
                    </a:lnTo>
                    <a:lnTo>
                      <a:pt x="1938" y="396"/>
                    </a:lnTo>
                    <a:lnTo>
                      <a:pt x="1938" y="396"/>
                    </a:lnTo>
                    <a:lnTo>
                      <a:pt x="1938" y="394"/>
                    </a:lnTo>
                    <a:lnTo>
                      <a:pt x="1942" y="394"/>
                    </a:lnTo>
                    <a:lnTo>
                      <a:pt x="1932" y="390"/>
                    </a:lnTo>
                    <a:lnTo>
                      <a:pt x="1928" y="392"/>
                    </a:lnTo>
                    <a:lnTo>
                      <a:pt x="1924" y="396"/>
                    </a:lnTo>
                    <a:lnTo>
                      <a:pt x="1924" y="412"/>
                    </a:lnTo>
                    <a:lnTo>
                      <a:pt x="1924" y="412"/>
                    </a:lnTo>
                    <a:lnTo>
                      <a:pt x="1922" y="414"/>
                    </a:lnTo>
                    <a:lnTo>
                      <a:pt x="1910" y="414"/>
                    </a:lnTo>
                    <a:lnTo>
                      <a:pt x="1882" y="430"/>
                    </a:lnTo>
                    <a:lnTo>
                      <a:pt x="1882" y="430"/>
                    </a:lnTo>
                    <a:lnTo>
                      <a:pt x="1880" y="430"/>
                    </a:lnTo>
                    <a:lnTo>
                      <a:pt x="1880" y="430"/>
                    </a:lnTo>
                    <a:lnTo>
                      <a:pt x="1880" y="430"/>
                    </a:lnTo>
                    <a:lnTo>
                      <a:pt x="1872" y="424"/>
                    </a:lnTo>
                    <a:lnTo>
                      <a:pt x="1872" y="424"/>
                    </a:lnTo>
                    <a:lnTo>
                      <a:pt x="1872" y="420"/>
                    </a:lnTo>
                    <a:lnTo>
                      <a:pt x="1876" y="412"/>
                    </a:lnTo>
                    <a:lnTo>
                      <a:pt x="1872" y="412"/>
                    </a:lnTo>
                    <a:lnTo>
                      <a:pt x="1838" y="414"/>
                    </a:lnTo>
                    <a:lnTo>
                      <a:pt x="1804" y="440"/>
                    </a:lnTo>
                    <a:lnTo>
                      <a:pt x="1798" y="452"/>
                    </a:lnTo>
                    <a:lnTo>
                      <a:pt x="1810" y="464"/>
                    </a:lnTo>
                    <a:lnTo>
                      <a:pt x="1810" y="464"/>
                    </a:lnTo>
                    <a:lnTo>
                      <a:pt x="1810" y="466"/>
                    </a:lnTo>
                    <a:lnTo>
                      <a:pt x="1810" y="466"/>
                    </a:lnTo>
                    <a:lnTo>
                      <a:pt x="1808" y="466"/>
                    </a:lnTo>
                    <a:lnTo>
                      <a:pt x="1794" y="466"/>
                    </a:lnTo>
                    <a:lnTo>
                      <a:pt x="1780" y="468"/>
                    </a:lnTo>
                    <a:lnTo>
                      <a:pt x="1780" y="468"/>
                    </a:lnTo>
                    <a:lnTo>
                      <a:pt x="1752" y="470"/>
                    </a:lnTo>
                    <a:lnTo>
                      <a:pt x="1752" y="470"/>
                    </a:lnTo>
                    <a:lnTo>
                      <a:pt x="1750" y="470"/>
                    </a:lnTo>
                    <a:lnTo>
                      <a:pt x="1750" y="470"/>
                    </a:lnTo>
                    <a:lnTo>
                      <a:pt x="1752" y="466"/>
                    </a:lnTo>
                    <a:lnTo>
                      <a:pt x="1758" y="460"/>
                    </a:lnTo>
                    <a:lnTo>
                      <a:pt x="1754" y="456"/>
                    </a:lnTo>
                    <a:lnTo>
                      <a:pt x="1734" y="454"/>
                    </a:lnTo>
                    <a:lnTo>
                      <a:pt x="1724" y="456"/>
                    </a:lnTo>
                    <a:lnTo>
                      <a:pt x="1718" y="462"/>
                    </a:lnTo>
                    <a:lnTo>
                      <a:pt x="1718" y="462"/>
                    </a:lnTo>
                    <a:lnTo>
                      <a:pt x="1716" y="464"/>
                    </a:lnTo>
                    <a:lnTo>
                      <a:pt x="1716" y="464"/>
                    </a:lnTo>
                    <a:lnTo>
                      <a:pt x="1690" y="462"/>
                    </a:lnTo>
                    <a:lnTo>
                      <a:pt x="1678" y="464"/>
                    </a:lnTo>
                    <a:lnTo>
                      <a:pt x="1632" y="464"/>
                    </a:lnTo>
                    <a:lnTo>
                      <a:pt x="1530" y="552"/>
                    </a:lnTo>
                    <a:lnTo>
                      <a:pt x="1532" y="558"/>
                    </a:lnTo>
                    <a:lnTo>
                      <a:pt x="1532" y="558"/>
                    </a:lnTo>
                    <a:lnTo>
                      <a:pt x="1548" y="556"/>
                    </a:lnTo>
                    <a:lnTo>
                      <a:pt x="1548" y="556"/>
                    </a:lnTo>
                    <a:lnTo>
                      <a:pt x="1550" y="558"/>
                    </a:lnTo>
                    <a:lnTo>
                      <a:pt x="1550" y="568"/>
                    </a:lnTo>
                    <a:lnTo>
                      <a:pt x="1556" y="560"/>
                    </a:lnTo>
                    <a:lnTo>
                      <a:pt x="1556" y="560"/>
                    </a:lnTo>
                    <a:lnTo>
                      <a:pt x="1558" y="560"/>
                    </a:lnTo>
                    <a:lnTo>
                      <a:pt x="1558" y="560"/>
                    </a:lnTo>
                    <a:lnTo>
                      <a:pt x="1558" y="560"/>
                    </a:lnTo>
                    <a:lnTo>
                      <a:pt x="1558" y="560"/>
                    </a:lnTo>
                    <a:lnTo>
                      <a:pt x="1560" y="560"/>
                    </a:lnTo>
                    <a:lnTo>
                      <a:pt x="1568" y="572"/>
                    </a:lnTo>
                    <a:lnTo>
                      <a:pt x="1578" y="564"/>
                    </a:lnTo>
                    <a:lnTo>
                      <a:pt x="1578" y="564"/>
                    </a:lnTo>
                    <a:lnTo>
                      <a:pt x="1580" y="564"/>
                    </a:lnTo>
                    <a:lnTo>
                      <a:pt x="1580" y="564"/>
                    </a:lnTo>
                    <a:lnTo>
                      <a:pt x="1580" y="564"/>
                    </a:lnTo>
                    <a:lnTo>
                      <a:pt x="1600" y="566"/>
                    </a:lnTo>
                    <a:lnTo>
                      <a:pt x="1600" y="566"/>
                    </a:lnTo>
                    <a:lnTo>
                      <a:pt x="1600" y="568"/>
                    </a:lnTo>
                    <a:lnTo>
                      <a:pt x="1616" y="586"/>
                    </a:lnTo>
                    <a:lnTo>
                      <a:pt x="1616" y="586"/>
                    </a:lnTo>
                    <a:lnTo>
                      <a:pt x="1616" y="586"/>
                    </a:lnTo>
                    <a:lnTo>
                      <a:pt x="1612" y="606"/>
                    </a:lnTo>
                    <a:lnTo>
                      <a:pt x="1604" y="626"/>
                    </a:lnTo>
                    <a:lnTo>
                      <a:pt x="1604" y="654"/>
                    </a:lnTo>
                    <a:lnTo>
                      <a:pt x="1598" y="672"/>
                    </a:lnTo>
                    <a:lnTo>
                      <a:pt x="1544" y="738"/>
                    </a:lnTo>
                    <a:lnTo>
                      <a:pt x="1528" y="758"/>
                    </a:lnTo>
                    <a:lnTo>
                      <a:pt x="1514" y="768"/>
                    </a:lnTo>
                    <a:lnTo>
                      <a:pt x="1498" y="774"/>
                    </a:lnTo>
                    <a:lnTo>
                      <a:pt x="1498" y="774"/>
                    </a:lnTo>
                    <a:lnTo>
                      <a:pt x="1498" y="774"/>
                    </a:lnTo>
                    <a:lnTo>
                      <a:pt x="1498" y="774"/>
                    </a:lnTo>
                    <a:lnTo>
                      <a:pt x="1496" y="774"/>
                    </a:lnTo>
                    <a:lnTo>
                      <a:pt x="1484" y="768"/>
                    </a:lnTo>
                    <a:lnTo>
                      <a:pt x="1470" y="772"/>
                    </a:lnTo>
                    <a:lnTo>
                      <a:pt x="1470" y="772"/>
                    </a:lnTo>
                    <a:lnTo>
                      <a:pt x="1470" y="772"/>
                    </a:lnTo>
                    <a:lnTo>
                      <a:pt x="1470" y="772"/>
                    </a:lnTo>
                    <a:lnTo>
                      <a:pt x="1468" y="770"/>
                    </a:lnTo>
                    <a:lnTo>
                      <a:pt x="1468" y="770"/>
                    </a:lnTo>
                    <a:lnTo>
                      <a:pt x="1468" y="770"/>
                    </a:lnTo>
                    <a:lnTo>
                      <a:pt x="1468" y="736"/>
                    </a:lnTo>
                    <a:lnTo>
                      <a:pt x="1468" y="736"/>
                    </a:lnTo>
                    <a:lnTo>
                      <a:pt x="1468" y="736"/>
                    </a:lnTo>
                    <a:lnTo>
                      <a:pt x="1480" y="726"/>
                    </a:lnTo>
                    <a:lnTo>
                      <a:pt x="1480" y="726"/>
                    </a:lnTo>
                    <a:lnTo>
                      <a:pt x="1482" y="726"/>
                    </a:lnTo>
                    <a:lnTo>
                      <a:pt x="1482" y="726"/>
                    </a:lnTo>
                    <a:lnTo>
                      <a:pt x="1484" y="726"/>
                    </a:lnTo>
                    <a:lnTo>
                      <a:pt x="1488" y="732"/>
                    </a:lnTo>
                    <a:lnTo>
                      <a:pt x="1496" y="730"/>
                    </a:lnTo>
                    <a:lnTo>
                      <a:pt x="1506" y="710"/>
                    </a:lnTo>
                    <a:lnTo>
                      <a:pt x="1512" y="692"/>
                    </a:lnTo>
                    <a:lnTo>
                      <a:pt x="1512" y="692"/>
                    </a:lnTo>
                    <a:lnTo>
                      <a:pt x="1512" y="690"/>
                    </a:lnTo>
                    <a:lnTo>
                      <a:pt x="1518" y="688"/>
                    </a:lnTo>
                    <a:lnTo>
                      <a:pt x="1518" y="678"/>
                    </a:lnTo>
                    <a:lnTo>
                      <a:pt x="1506" y="680"/>
                    </a:lnTo>
                    <a:lnTo>
                      <a:pt x="1494" y="682"/>
                    </a:lnTo>
                    <a:lnTo>
                      <a:pt x="1488" y="688"/>
                    </a:lnTo>
                    <a:lnTo>
                      <a:pt x="1488" y="688"/>
                    </a:lnTo>
                    <a:lnTo>
                      <a:pt x="1486" y="688"/>
                    </a:lnTo>
                    <a:lnTo>
                      <a:pt x="1486" y="688"/>
                    </a:lnTo>
                    <a:lnTo>
                      <a:pt x="1468" y="686"/>
                    </a:lnTo>
                    <a:lnTo>
                      <a:pt x="1468" y="686"/>
                    </a:lnTo>
                    <a:lnTo>
                      <a:pt x="1466" y="686"/>
                    </a:lnTo>
                    <a:lnTo>
                      <a:pt x="1462" y="668"/>
                    </a:lnTo>
                    <a:lnTo>
                      <a:pt x="1436" y="654"/>
                    </a:lnTo>
                    <a:lnTo>
                      <a:pt x="1422" y="654"/>
                    </a:lnTo>
                    <a:lnTo>
                      <a:pt x="1422" y="654"/>
                    </a:lnTo>
                    <a:lnTo>
                      <a:pt x="1420" y="654"/>
                    </a:lnTo>
                    <a:lnTo>
                      <a:pt x="1402" y="606"/>
                    </a:lnTo>
                    <a:lnTo>
                      <a:pt x="1392" y="590"/>
                    </a:lnTo>
                    <a:lnTo>
                      <a:pt x="1366" y="580"/>
                    </a:lnTo>
                    <a:lnTo>
                      <a:pt x="1326" y="584"/>
                    </a:lnTo>
                    <a:lnTo>
                      <a:pt x="1316" y="588"/>
                    </a:lnTo>
                    <a:lnTo>
                      <a:pt x="1314" y="592"/>
                    </a:lnTo>
                    <a:lnTo>
                      <a:pt x="1324" y="594"/>
                    </a:lnTo>
                    <a:lnTo>
                      <a:pt x="1324" y="594"/>
                    </a:lnTo>
                    <a:lnTo>
                      <a:pt x="1326" y="596"/>
                    </a:lnTo>
                    <a:lnTo>
                      <a:pt x="1326" y="608"/>
                    </a:lnTo>
                    <a:lnTo>
                      <a:pt x="1326" y="608"/>
                    </a:lnTo>
                    <a:lnTo>
                      <a:pt x="1324" y="610"/>
                    </a:lnTo>
                    <a:lnTo>
                      <a:pt x="1316" y="614"/>
                    </a:lnTo>
                    <a:lnTo>
                      <a:pt x="1306" y="630"/>
                    </a:lnTo>
                    <a:lnTo>
                      <a:pt x="1304" y="644"/>
                    </a:lnTo>
                    <a:lnTo>
                      <a:pt x="1304" y="644"/>
                    </a:lnTo>
                    <a:lnTo>
                      <a:pt x="1302" y="646"/>
                    </a:lnTo>
                    <a:lnTo>
                      <a:pt x="1292" y="648"/>
                    </a:lnTo>
                    <a:lnTo>
                      <a:pt x="1284" y="656"/>
                    </a:lnTo>
                    <a:lnTo>
                      <a:pt x="1284" y="656"/>
                    </a:lnTo>
                    <a:lnTo>
                      <a:pt x="1282" y="656"/>
                    </a:lnTo>
                    <a:lnTo>
                      <a:pt x="1282" y="656"/>
                    </a:lnTo>
                    <a:lnTo>
                      <a:pt x="1282" y="656"/>
                    </a:lnTo>
                    <a:lnTo>
                      <a:pt x="1266" y="648"/>
                    </a:lnTo>
                    <a:lnTo>
                      <a:pt x="1244" y="646"/>
                    </a:lnTo>
                    <a:lnTo>
                      <a:pt x="1244" y="646"/>
                    </a:lnTo>
                    <a:lnTo>
                      <a:pt x="1244" y="646"/>
                    </a:lnTo>
                    <a:lnTo>
                      <a:pt x="1236" y="640"/>
                    </a:lnTo>
                    <a:lnTo>
                      <a:pt x="1230" y="642"/>
                    </a:lnTo>
                    <a:lnTo>
                      <a:pt x="1214" y="654"/>
                    </a:lnTo>
                    <a:lnTo>
                      <a:pt x="1214" y="654"/>
                    </a:lnTo>
                    <a:lnTo>
                      <a:pt x="1212" y="654"/>
                    </a:lnTo>
                    <a:lnTo>
                      <a:pt x="1186" y="660"/>
                    </a:lnTo>
                    <a:lnTo>
                      <a:pt x="1170" y="662"/>
                    </a:lnTo>
                    <a:lnTo>
                      <a:pt x="1150" y="660"/>
                    </a:lnTo>
                    <a:lnTo>
                      <a:pt x="1150" y="660"/>
                    </a:lnTo>
                    <a:lnTo>
                      <a:pt x="1148" y="660"/>
                    </a:lnTo>
                    <a:lnTo>
                      <a:pt x="1144" y="654"/>
                    </a:lnTo>
                    <a:lnTo>
                      <a:pt x="1138" y="648"/>
                    </a:lnTo>
                    <a:lnTo>
                      <a:pt x="1130" y="646"/>
                    </a:lnTo>
                    <a:lnTo>
                      <a:pt x="1130" y="646"/>
                    </a:lnTo>
                    <a:lnTo>
                      <a:pt x="1130" y="646"/>
                    </a:lnTo>
                    <a:lnTo>
                      <a:pt x="1124" y="640"/>
                    </a:lnTo>
                    <a:lnTo>
                      <a:pt x="1104" y="636"/>
                    </a:lnTo>
                    <a:lnTo>
                      <a:pt x="1092" y="644"/>
                    </a:lnTo>
                    <a:lnTo>
                      <a:pt x="1092" y="644"/>
                    </a:lnTo>
                    <a:lnTo>
                      <a:pt x="1092" y="644"/>
                    </a:lnTo>
                    <a:lnTo>
                      <a:pt x="1092" y="644"/>
                    </a:lnTo>
                    <a:lnTo>
                      <a:pt x="1068" y="640"/>
                    </a:lnTo>
                    <a:lnTo>
                      <a:pt x="1068" y="640"/>
                    </a:lnTo>
                    <a:lnTo>
                      <a:pt x="1066" y="640"/>
                    </a:lnTo>
                    <a:lnTo>
                      <a:pt x="1058" y="628"/>
                    </a:lnTo>
                    <a:lnTo>
                      <a:pt x="1058" y="628"/>
                    </a:lnTo>
                    <a:lnTo>
                      <a:pt x="1058" y="628"/>
                    </a:lnTo>
                    <a:lnTo>
                      <a:pt x="1056" y="620"/>
                    </a:lnTo>
                    <a:lnTo>
                      <a:pt x="1036" y="614"/>
                    </a:lnTo>
                    <a:lnTo>
                      <a:pt x="1012" y="608"/>
                    </a:lnTo>
                    <a:lnTo>
                      <a:pt x="998" y="622"/>
                    </a:lnTo>
                    <a:lnTo>
                      <a:pt x="1008" y="634"/>
                    </a:lnTo>
                    <a:lnTo>
                      <a:pt x="1008" y="634"/>
                    </a:lnTo>
                    <a:lnTo>
                      <a:pt x="1008" y="636"/>
                    </a:lnTo>
                    <a:lnTo>
                      <a:pt x="1006" y="642"/>
                    </a:lnTo>
                    <a:lnTo>
                      <a:pt x="1006" y="642"/>
                    </a:lnTo>
                    <a:lnTo>
                      <a:pt x="1006" y="644"/>
                    </a:lnTo>
                    <a:lnTo>
                      <a:pt x="994" y="652"/>
                    </a:lnTo>
                    <a:lnTo>
                      <a:pt x="994" y="652"/>
                    </a:lnTo>
                    <a:lnTo>
                      <a:pt x="994" y="652"/>
                    </a:lnTo>
                    <a:lnTo>
                      <a:pt x="994" y="652"/>
                    </a:lnTo>
                    <a:lnTo>
                      <a:pt x="992" y="652"/>
                    </a:lnTo>
                    <a:lnTo>
                      <a:pt x="986" y="648"/>
                    </a:lnTo>
                    <a:lnTo>
                      <a:pt x="958" y="648"/>
                    </a:lnTo>
                    <a:lnTo>
                      <a:pt x="958" y="648"/>
                    </a:lnTo>
                    <a:lnTo>
                      <a:pt x="956" y="646"/>
                    </a:lnTo>
                    <a:lnTo>
                      <a:pt x="948" y="636"/>
                    </a:lnTo>
                    <a:lnTo>
                      <a:pt x="930" y="634"/>
                    </a:lnTo>
                    <a:lnTo>
                      <a:pt x="916" y="632"/>
                    </a:lnTo>
                    <a:lnTo>
                      <a:pt x="886" y="648"/>
                    </a:lnTo>
                    <a:lnTo>
                      <a:pt x="878" y="654"/>
                    </a:lnTo>
                    <a:lnTo>
                      <a:pt x="878" y="654"/>
                    </a:lnTo>
                    <a:lnTo>
                      <a:pt x="878" y="654"/>
                    </a:lnTo>
                    <a:lnTo>
                      <a:pt x="866" y="656"/>
                    </a:lnTo>
                    <a:lnTo>
                      <a:pt x="860" y="664"/>
                    </a:lnTo>
                    <a:lnTo>
                      <a:pt x="860" y="664"/>
                    </a:lnTo>
                    <a:lnTo>
                      <a:pt x="858" y="664"/>
                    </a:lnTo>
                    <a:lnTo>
                      <a:pt x="844" y="664"/>
                    </a:lnTo>
                    <a:lnTo>
                      <a:pt x="844" y="664"/>
                    </a:lnTo>
                    <a:lnTo>
                      <a:pt x="842" y="662"/>
                    </a:lnTo>
                    <a:lnTo>
                      <a:pt x="838" y="652"/>
                    </a:lnTo>
                    <a:lnTo>
                      <a:pt x="820" y="650"/>
                    </a:lnTo>
                    <a:lnTo>
                      <a:pt x="820" y="650"/>
                    </a:lnTo>
                    <a:lnTo>
                      <a:pt x="820" y="648"/>
                    </a:lnTo>
                    <a:lnTo>
                      <a:pt x="806" y="640"/>
                    </a:lnTo>
                    <a:lnTo>
                      <a:pt x="798" y="628"/>
                    </a:lnTo>
                    <a:lnTo>
                      <a:pt x="798" y="628"/>
                    </a:lnTo>
                    <a:lnTo>
                      <a:pt x="774" y="632"/>
                    </a:lnTo>
                    <a:lnTo>
                      <a:pt x="774" y="632"/>
                    </a:lnTo>
                    <a:lnTo>
                      <a:pt x="774" y="632"/>
                    </a:lnTo>
                    <a:lnTo>
                      <a:pt x="756" y="622"/>
                    </a:lnTo>
                    <a:lnTo>
                      <a:pt x="752" y="626"/>
                    </a:lnTo>
                    <a:lnTo>
                      <a:pt x="752" y="626"/>
                    </a:lnTo>
                    <a:lnTo>
                      <a:pt x="750" y="628"/>
                    </a:lnTo>
                    <a:lnTo>
                      <a:pt x="744" y="628"/>
                    </a:lnTo>
                    <a:lnTo>
                      <a:pt x="744" y="628"/>
                    </a:lnTo>
                    <a:lnTo>
                      <a:pt x="742" y="626"/>
                    </a:lnTo>
                    <a:lnTo>
                      <a:pt x="730" y="606"/>
                    </a:lnTo>
                    <a:lnTo>
                      <a:pt x="716" y="584"/>
                    </a:lnTo>
                    <a:lnTo>
                      <a:pt x="700" y="574"/>
                    </a:lnTo>
                    <a:lnTo>
                      <a:pt x="700" y="574"/>
                    </a:lnTo>
                    <a:lnTo>
                      <a:pt x="698" y="572"/>
                    </a:lnTo>
                    <a:lnTo>
                      <a:pt x="698" y="566"/>
                    </a:lnTo>
                    <a:lnTo>
                      <a:pt x="680" y="570"/>
                    </a:lnTo>
                    <a:lnTo>
                      <a:pt x="664" y="580"/>
                    </a:lnTo>
                    <a:lnTo>
                      <a:pt x="664" y="580"/>
                    </a:lnTo>
                    <a:lnTo>
                      <a:pt x="664" y="580"/>
                    </a:lnTo>
                    <a:lnTo>
                      <a:pt x="664" y="580"/>
                    </a:lnTo>
                    <a:lnTo>
                      <a:pt x="662" y="580"/>
                    </a:lnTo>
                    <a:lnTo>
                      <a:pt x="644" y="570"/>
                    </a:lnTo>
                    <a:lnTo>
                      <a:pt x="628" y="566"/>
                    </a:lnTo>
                    <a:lnTo>
                      <a:pt x="618" y="560"/>
                    </a:lnTo>
                    <a:lnTo>
                      <a:pt x="618" y="560"/>
                    </a:lnTo>
                    <a:lnTo>
                      <a:pt x="618" y="558"/>
                    </a:lnTo>
                    <a:lnTo>
                      <a:pt x="614" y="548"/>
                    </a:lnTo>
                    <a:lnTo>
                      <a:pt x="598" y="546"/>
                    </a:lnTo>
                    <a:lnTo>
                      <a:pt x="578" y="550"/>
                    </a:lnTo>
                    <a:lnTo>
                      <a:pt x="500" y="570"/>
                    </a:lnTo>
                    <a:lnTo>
                      <a:pt x="482" y="572"/>
                    </a:lnTo>
                    <a:lnTo>
                      <a:pt x="486" y="578"/>
                    </a:lnTo>
                    <a:lnTo>
                      <a:pt x="488" y="586"/>
                    </a:lnTo>
                    <a:lnTo>
                      <a:pt x="488" y="586"/>
                    </a:lnTo>
                    <a:lnTo>
                      <a:pt x="488" y="588"/>
                    </a:lnTo>
                    <a:lnTo>
                      <a:pt x="488" y="588"/>
                    </a:lnTo>
                    <a:lnTo>
                      <a:pt x="488" y="588"/>
                    </a:lnTo>
                    <a:lnTo>
                      <a:pt x="478" y="592"/>
                    </a:lnTo>
                    <a:lnTo>
                      <a:pt x="476" y="600"/>
                    </a:lnTo>
                    <a:lnTo>
                      <a:pt x="476" y="600"/>
                    </a:lnTo>
                    <a:lnTo>
                      <a:pt x="476" y="600"/>
                    </a:lnTo>
                    <a:lnTo>
                      <a:pt x="470" y="606"/>
                    </a:lnTo>
                    <a:lnTo>
                      <a:pt x="468" y="610"/>
                    </a:lnTo>
                    <a:lnTo>
                      <a:pt x="476" y="614"/>
                    </a:lnTo>
                    <a:lnTo>
                      <a:pt x="476" y="614"/>
                    </a:lnTo>
                    <a:lnTo>
                      <a:pt x="478" y="614"/>
                    </a:lnTo>
                    <a:lnTo>
                      <a:pt x="484" y="620"/>
                    </a:lnTo>
                    <a:lnTo>
                      <a:pt x="484" y="620"/>
                    </a:lnTo>
                    <a:lnTo>
                      <a:pt x="484" y="624"/>
                    </a:lnTo>
                    <a:lnTo>
                      <a:pt x="476" y="632"/>
                    </a:lnTo>
                    <a:lnTo>
                      <a:pt x="476" y="632"/>
                    </a:lnTo>
                    <a:lnTo>
                      <a:pt x="474" y="634"/>
                    </a:lnTo>
                    <a:lnTo>
                      <a:pt x="474" y="634"/>
                    </a:lnTo>
                    <a:lnTo>
                      <a:pt x="452" y="636"/>
                    </a:lnTo>
                    <a:lnTo>
                      <a:pt x="452" y="636"/>
                    </a:lnTo>
                    <a:lnTo>
                      <a:pt x="450" y="634"/>
                    </a:lnTo>
                    <a:lnTo>
                      <a:pt x="442" y="626"/>
                    </a:lnTo>
                    <a:lnTo>
                      <a:pt x="426" y="626"/>
                    </a:lnTo>
                    <a:lnTo>
                      <a:pt x="408" y="634"/>
                    </a:lnTo>
                    <a:lnTo>
                      <a:pt x="408" y="634"/>
                    </a:lnTo>
                    <a:lnTo>
                      <a:pt x="406" y="636"/>
                    </a:lnTo>
                    <a:lnTo>
                      <a:pt x="406" y="636"/>
                    </a:lnTo>
                    <a:lnTo>
                      <a:pt x="392" y="634"/>
                    </a:lnTo>
                    <a:lnTo>
                      <a:pt x="392" y="634"/>
                    </a:lnTo>
                    <a:lnTo>
                      <a:pt x="392" y="632"/>
                    </a:lnTo>
                    <a:lnTo>
                      <a:pt x="372" y="620"/>
                    </a:lnTo>
                    <a:lnTo>
                      <a:pt x="342" y="616"/>
                    </a:lnTo>
                    <a:lnTo>
                      <a:pt x="328" y="620"/>
                    </a:lnTo>
                    <a:lnTo>
                      <a:pt x="308" y="636"/>
                    </a:lnTo>
                    <a:lnTo>
                      <a:pt x="306" y="646"/>
                    </a:lnTo>
                    <a:lnTo>
                      <a:pt x="306" y="646"/>
                    </a:lnTo>
                    <a:lnTo>
                      <a:pt x="304" y="648"/>
                    </a:lnTo>
                    <a:lnTo>
                      <a:pt x="298" y="650"/>
                    </a:lnTo>
                    <a:lnTo>
                      <a:pt x="298" y="650"/>
                    </a:lnTo>
                    <a:lnTo>
                      <a:pt x="296" y="652"/>
                    </a:lnTo>
                    <a:lnTo>
                      <a:pt x="296" y="652"/>
                    </a:lnTo>
                    <a:lnTo>
                      <a:pt x="296" y="652"/>
                    </a:lnTo>
                    <a:lnTo>
                      <a:pt x="296" y="652"/>
                    </a:lnTo>
                    <a:lnTo>
                      <a:pt x="294" y="650"/>
                    </a:lnTo>
                    <a:lnTo>
                      <a:pt x="288" y="638"/>
                    </a:lnTo>
                    <a:lnTo>
                      <a:pt x="280" y="648"/>
                    </a:lnTo>
                    <a:lnTo>
                      <a:pt x="276" y="668"/>
                    </a:lnTo>
                    <a:lnTo>
                      <a:pt x="284" y="680"/>
                    </a:lnTo>
                    <a:lnTo>
                      <a:pt x="296" y="684"/>
                    </a:lnTo>
                    <a:lnTo>
                      <a:pt x="296" y="684"/>
                    </a:lnTo>
                    <a:lnTo>
                      <a:pt x="296" y="684"/>
                    </a:lnTo>
                    <a:lnTo>
                      <a:pt x="306" y="698"/>
                    </a:lnTo>
                    <a:lnTo>
                      <a:pt x="310" y="712"/>
                    </a:lnTo>
                    <a:lnTo>
                      <a:pt x="310" y="712"/>
                    </a:lnTo>
                    <a:lnTo>
                      <a:pt x="310" y="714"/>
                    </a:lnTo>
                    <a:lnTo>
                      <a:pt x="296" y="724"/>
                    </a:lnTo>
                    <a:lnTo>
                      <a:pt x="288" y="730"/>
                    </a:lnTo>
                    <a:lnTo>
                      <a:pt x="284" y="736"/>
                    </a:lnTo>
                    <a:lnTo>
                      <a:pt x="278" y="744"/>
                    </a:lnTo>
                    <a:lnTo>
                      <a:pt x="284" y="748"/>
                    </a:lnTo>
                    <a:lnTo>
                      <a:pt x="290" y="758"/>
                    </a:lnTo>
                    <a:lnTo>
                      <a:pt x="290" y="758"/>
                    </a:lnTo>
                    <a:lnTo>
                      <a:pt x="290" y="758"/>
                    </a:lnTo>
                    <a:lnTo>
                      <a:pt x="292" y="774"/>
                    </a:lnTo>
                    <a:lnTo>
                      <a:pt x="304" y="788"/>
                    </a:lnTo>
                    <a:lnTo>
                      <a:pt x="304" y="788"/>
                    </a:lnTo>
                    <a:lnTo>
                      <a:pt x="304" y="790"/>
                    </a:lnTo>
                    <a:lnTo>
                      <a:pt x="294" y="800"/>
                    </a:lnTo>
                    <a:lnTo>
                      <a:pt x="290" y="802"/>
                    </a:lnTo>
                    <a:lnTo>
                      <a:pt x="290" y="802"/>
                    </a:lnTo>
                    <a:lnTo>
                      <a:pt x="290" y="802"/>
                    </a:lnTo>
                    <a:lnTo>
                      <a:pt x="290" y="8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9" name="Freeform 761"/>
              <p:cNvSpPr>
                <a:spLocks noEditPoints="1"/>
              </p:cNvSpPr>
              <p:nvPr/>
            </p:nvSpPr>
            <p:spPr bwMode="auto">
              <a:xfrm>
                <a:off x="3247" y="1103"/>
                <a:ext cx="2308" cy="806"/>
              </a:xfrm>
              <a:custGeom>
                <a:avLst/>
                <a:gdLst>
                  <a:gd name="T0" fmla="*/ 1380 w 2308"/>
                  <a:gd name="T1" fmla="*/ 120 h 806"/>
                  <a:gd name="T2" fmla="*/ 1882 w 2308"/>
                  <a:gd name="T3" fmla="*/ 226 h 806"/>
                  <a:gd name="T4" fmla="*/ 2304 w 2308"/>
                  <a:gd name="T5" fmla="*/ 312 h 806"/>
                  <a:gd name="T6" fmla="*/ 2012 w 2308"/>
                  <a:gd name="T7" fmla="*/ 438 h 806"/>
                  <a:gd name="T8" fmla="*/ 1852 w 2308"/>
                  <a:gd name="T9" fmla="*/ 490 h 806"/>
                  <a:gd name="T10" fmla="*/ 1692 w 2308"/>
                  <a:gd name="T11" fmla="*/ 462 h 806"/>
                  <a:gd name="T12" fmla="*/ 1522 w 2308"/>
                  <a:gd name="T13" fmla="*/ 690 h 806"/>
                  <a:gd name="T14" fmla="*/ 1172 w 2308"/>
                  <a:gd name="T15" fmla="*/ 662 h 806"/>
                  <a:gd name="T16" fmla="*/ 822 w 2308"/>
                  <a:gd name="T17" fmla="*/ 650 h 806"/>
                  <a:gd name="T18" fmla="*/ 486 w 2308"/>
                  <a:gd name="T19" fmla="*/ 624 h 806"/>
                  <a:gd name="T20" fmla="*/ 294 w 2308"/>
                  <a:gd name="T21" fmla="*/ 800 h 806"/>
                  <a:gd name="T22" fmla="*/ 120 w 2308"/>
                  <a:gd name="T23" fmla="*/ 638 h 806"/>
                  <a:gd name="T24" fmla="*/ 62 w 2308"/>
                  <a:gd name="T25" fmla="*/ 384 h 806"/>
                  <a:gd name="T26" fmla="*/ 72 w 2308"/>
                  <a:gd name="T27" fmla="*/ 288 h 806"/>
                  <a:gd name="T28" fmla="*/ 276 w 2308"/>
                  <a:gd name="T29" fmla="*/ 274 h 806"/>
                  <a:gd name="T30" fmla="*/ 584 w 2308"/>
                  <a:gd name="T31" fmla="*/ 260 h 806"/>
                  <a:gd name="T32" fmla="*/ 670 w 2308"/>
                  <a:gd name="T33" fmla="*/ 258 h 806"/>
                  <a:gd name="T34" fmla="*/ 710 w 2308"/>
                  <a:gd name="T35" fmla="*/ 154 h 806"/>
                  <a:gd name="T36" fmla="*/ 1044 w 2308"/>
                  <a:gd name="T37" fmla="*/ 22 h 806"/>
                  <a:gd name="T38" fmla="*/ 750 w 2308"/>
                  <a:gd name="T39" fmla="*/ 130 h 806"/>
                  <a:gd name="T40" fmla="*/ 690 w 2308"/>
                  <a:gd name="T41" fmla="*/ 166 h 806"/>
                  <a:gd name="T42" fmla="*/ 650 w 2308"/>
                  <a:gd name="T43" fmla="*/ 176 h 806"/>
                  <a:gd name="T44" fmla="*/ 628 w 2308"/>
                  <a:gd name="T45" fmla="*/ 296 h 806"/>
                  <a:gd name="T46" fmla="*/ 598 w 2308"/>
                  <a:gd name="T47" fmla="*/ 138 h 806"/>
                  <a:gd name="T48" fmla="*/ 458 w 2308"/>
                  <a:gd name="T49" fmla="*/ 202 h 806"/>
                  <a:gd name="T50" fmla="*/ 448 w 2308"/>
                  <a:gd name="T51" fmla="*/ 238 h 806"/>
                  <a:gd name="T52" fmla="*/ 350 w 2308"/>
                  <a:gd name="T53" fmla="*/ 252 h 806"/>
                  <a:gd name="T54" fmla="*/ 230 w 2308"/>
                  <a:gd name="T55" fmla="*/ 256 h 806"/>
                  <a:gd name="T56" fmla="*/ 144 w 2308"/>
                  <a:gd name="T57" fmla="*/ 328 h 806"/>
                  <a:gd name="T58" fmla="*/ 106 w 2308"/>
                  <a:gd name="T59" fmla="*/ 306 h 806"/>
                  <a:gd name="T60" fmla="*/ 60 w 2308"/>
                  <a:gd name="T61" fmla="*/ 220 h 806"/>
                  <a:gd name="T62" fmla="*/ 30 w 2308"/>
                  <a:gd name="T63" fmla="*/ 340 h 806"/>
                  <a:gd name="T64" fmla="*/ 0 w 2308"/>
                  <a:gd name="T65" fmla="*/ 496 h 806"/>
                  <a:gd name="T66" fmla="*/ 66 w 2308"/>
                  <a:gd name="T67" fmla="*/ 612 h 806"/>
                  <a:gd name="T68" fmla="*/ 166 w 2308"/>
                  <a:gd name="T69" fmla="*/ 684 h 806"/>
                  <a:gd name="T70" fmla="*/ 182 w 2308"/>
                  <a:gd name="T71" fmla="*/ 766 h 806"/>
                  <a:gd name="T72" fmla="*/ 292 w 2308"/>
                  <a:gd name="T73" fmla="*/ 806 h 806"/>
                  <a:gd name="T74" fmla="*/ 312 w 2308"/>
                  <a:gd name="T75" fmla="*/ 700 h 806"/>
                  <a:gd name="T76" fmla="*/ 408 w 2308"/>
                  <a:gd name="T77" fmla="*/ 640 h 806"/>
                  <a:gd name="T78" fmla="*/ 492 w 2308"/>
                  <a:gd name="T79" fmla="*/ 590 h 806"/>
                  <a:gd name="T80" fmla="*/ 716 w 2308"/>
                  <a:gd name="T81" fmla="*/ 588 h 806"/>
                  <a:gd name="T82" fmla="*/ 862 w 2308"/>
                  <a:gd name="T83" fmla="*/ 666 h 806"/>
                  <a:gd name="T84" fmla="*/ 1058 w 2308"/>
                  <a:gd name="T85" fmla="*/ 630 h 806"/>
                  <a:gd name="T86" fmla="*/ 1188 w 2308"/>
                  <a:gd name="T87" fmla="*/ 664 h 806"/>
                  <a:gd name="T88" fmla="*/ 1326 w 2308"/>
                  <a:gd name="T89" fmla="*/ 594 h 806"/>
                  <a:gd name="T90" fmla="*/ 1512 w 2308"/>
                  <a:gd name="T91" fmla="*/ 694 h 806"/>
                  <a:gd name="T92" fmla="*/ 1530 w 2308"/>
                  <a:gd name="T93" fmla="*/ 762 h 806"/>
                  <a:gd name="T94" fmla="*/ 1560 w 2308"/>
                  <a:gd name="T95" fmla="*/ 560 h 806"/>
                  <a:gd name="T96" fmla="*/ 1752 w 2308"/>
                  <a:gd name="T97" fmla="*/ 468 h 806"/>
                  <a:gd name="T98" fmla="*/ 1872 w 2308"/>
                  <a:gd name="T99" fmla="*/ 426 h 806"/>
                  <a:gd name="T100" fmla="*/ 1824 w 2308"/>
                  <a:gd name="T101" fmla="*/ 512 h 806"/>
                  <a:gd name="T102" fmla="*/ 1888 w 2308"/>
                  <a:gd name="T103" fmla="*/ 568 h 806"/>
                  <a:gd name="T104" fmla="*/ 1964 w 2308"/>
                  <a:gd name="T105" fmla="*/ 442 h 806"/>
                  <a:gd name="T106" fmla="*/ 2160 w 2308"/>
                  <a:gd name="T107" fmla="*/ 390 h 806"/>
                  <a:gd name="T108" fmla="*/ 2184 w 2308"/>
                  <a:gd name="T109" fmla="*/ 332 h 806"/>
                  <a:gd name="T110" fmla="*/ 2296 w 2308"/>
                  <a:gd name="T111" fmla="*/ 298 h 806"/>
                  <a:gd name="T112" fmla="*/ 2084 w 2308"/>
                  <a:gd name="T113" fmla="*/ 216 h 806"/>
                  <a:gd name="T114" fmla="*/ 1990 w 2308"/>
                  <a:gd name="T115" fmla="*/ 218 h 806"/>
                  <a:gd name="T116" fmla="*/ 1722 w 2308"/>
                  <a:gd name="T117" fmla="*/ 156 h 806"/>
                  <a:gd name="T118" fmla="*/ 1494 w 2308"/>
                  <a:gd name="T119" fmla="*/ 166 h 806"/>
                  <a:gd name="T120" fmla="*/ 1364 w 2308"/>
                  <a:gd name="T121" fmla="*/ 116 h 806"/>
                  <a:gd name="T122" fmla="*/ 1228 w 2308"/>
                  <a:gd name="T123" fmla="*/ 64 h 806"/>
                  <a:gd name="T124" fmla="*/ 1070 w 2308"/>
                  <a:gd name="T12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8" h="806">
                    <a:moveTo>
                      <a:pt x="1070" y="4"/>
                    </a:moveTo>
                    <a:lnTo>
                      <a:pt x="1100" y="6"/>
                    </a:lnTo>
                    <a:lnTo>
                      <a:pt x="1116" y="12"/>
                    </a:lnTo>
                    <a:lnTo>
                      <a:pt x="1096" y="22"/>
                    </a:lnTo>
                    <a:lnTo>
                      <a:pt x="1134" y="24"/>
                    </a:lnTo>
                    <a:lnTo>
                      <a:pt x="1128" y="38"/>
                    </a:lnTo>
                    <a:lnTo>
                      <a:pt x="1194" y="36"/>
                    </a:lnTo>
                    <a:lnTo>
                      <a:pt x="1220" y="52"/>
                    </a:lnTo>
                    <a:lnTo>
                      <a:pt x="1224" y="62"/>
                    </a:lnTo>
                    <a:lnTo>
                      <a:pt x="1216" y="80"/>
                    </a:lnTo>
                    <a:lnTo>
                      <a:pt x="1186" y="96"/>
                    </a:lnTo>
                    <a:lnTo>
                      <a:pt x="1154" y="114"/>
                    </a:lnTo>
                    <a:lnTo>
                      <a:pt x="1110" y="140"/>
                    </a:lnTo>
                    <a:lnTo>
                      <a:pt x="1112" y="142"/>
                    </a:lnTo>
                    <a:lnTo>
                      <a:pt x="1132" y="136"/>
                    </a:lnTo>
                    <a:lnTo>
                      <a:pt x="1170" y="124"/>
                    </a:lnTo>
                    <a:lnTo>
                      <a:pt x="1168" y="118"/>
                    </a:lnTo>
                    <a:lnTo>
                      <a:pt x="1178" y="108"/>
                    </a:lnTo>
                    <a:lnTo>
                      <a:pt x="1192" y="106"/>
                    </a:lnTo>
                    <a:lnTo>
                      <a:pt x="1194" y="114"/>
                    </a:lnTo>
                    <a:lnTo>
                      <a:pt x="1206" y="118"/>
                    </a:lnTo>
                    <a:lnTo>
                      <a:pt x="1222" y="128"/>
                    </a:lnTo>
                    <a:lnTo>
                      <a:pt x="1230" y="124"/>
                    </a:lnTo>
                    <a:lnTo>
                      <a:pt x="1296" y="124"/>
                    </a:lnTo>
                    <a:lnTo>
                      <a:pt x="1296" y="134"/>
                    </a:lnTo>
                    <a:lnTo>
                      <a:pt x="1360" y="140"/>
                    </a:lnTo>
                    <a:lnTo>
                      <a:pt x="1368" y="118"/>
                    </a:lnTo>
                    <a:lnTo>
                      <a:pt x="1380" y="120"/>
                    </a:lnTo>
                    <a:lnTo>
                      <a:pt x="1398" y="128"/>
                    </a:lnTo>
                    <a:lnTo>
                      <a:pt x="1426" y="126"/>
                    </a:lnTo>
                    <a:lnTo>
                      <a:pt x="1442" y="144"/>
                    </a:lnTo>
                    <a:lnTo>
                      <a:pt x="1446" y="160"/>
                    </a:lnTo>
                    <a:lnTo>
                      <a:pt x="1436" y="168"/>
                    </a:lnTo>
                    <a:lnTo>
                      <a:pt x="1456" y="192"/>
                    </a:lnTo>
                    <a:lnTo>
                      <a:pt x="1474" y="196"/>
                    </a:lnTo>
                    <a:lnTo>
                      <a:pt x="1492" y="170"/>
                    </a:lnTo>
                    <a:lnTo>
                      <a:pt x="1516" y="182"/>
                    </a:lnTo>
                    <a:lnTo>
                      <a:pt x="1538" y="174"/>
                    </a:lnTo>
                    <a:lnTo>
                      <a:pt x="1560" y="184"/>
                    </a:lnTo>
                    <a:lnTo>
                      <a:pt x="1580" y="176"/>
                    </a:lnTo>
                    <a:lnTo>
                      <a:pt x="1594" y="170"/>
                    </a:lnTo>
                    <a:lnTo>
                      <a:pt x="1592" y="154"/>
                    </a:lnTo>
                    <a:lnTo>
                      <a:pt x="1612" y="146"/>
                    </a:lnTo>
                    <a:lnTo>
                      <a:pt x="1672" y="150"/>
                    </a:lnTo>
                    <a:lnTo>
                      <a:pt x="1684" y="158"/>
                    </a:lnTo>
                    <a:lnTo>
                      <a:pt x="1688" y="162"/>
                    </a:lnTo>
                    <a:lnTo>
                      <a:pt x="1720" y="158"/>
                    </a:lnTo>
                    <a:lnTo>
                      <a:pt x="1734" y="166"/>
                    </a:lnTo>
                    <a:lnTo>
                      <a:pt x="1728" y="174"/>
                    </a:lnTo>
                    <a:lnTo>
                      <a:pt x="1740" y="180"/>
                    </a:lnTo>
                    <a:lnTo>
                      <a:pt x="1768" y="192"/>
                    </a:lnTo>
                    <a:lnTo>
                      <a:pt x="1814" y="192"/>
                    </a:lnTo>
                    <a:lnTo>
                      <a:pt x="1862" y="194"/>
                    </a:lnTo>
                    <a:lnTo>
                      <a:pt x="1882" y="206"/>
                    </a:lnTo>
                    <a:lnTo>
                      <a:pt x="1880" y="218"/>
                    </a:lnTo>
                    <a:lnTo>
                      <a:pt x="1882" y="226"/>
                    </a:lnTo>
                    <a:lnTo>
                      <a:pt x="1898" y="230"/>
                    </a:lnTo>
                    <a:lnTo>
                      <a:pt x="1912" y="226"/>
                    </a:lnTo>
                    <a:lnTo>
                      <a:pt x="1970" y="228"/>
                    </a:lnTo>
                    <a:lnTo>
                      <a:pt x="1978" y="228"/>
                    </a:lnTo>
                    <a:lnTo>
                      <a:pt x="1992" y="222"/>
                    </a:lnTo>
                    <a:lnTo>
                      <a:pt x="1996" y="224"/>
                    </a:lnTo>
                    <a:lnTo>
                      <a:pt x="1996" y="234"/>
                    </a:lnTo>
                    <a:lnTo>
                      <a:pt x="2014" y="246"/>
                    </a:lnTo>
                    <a:lnTo>
                      <a:pt x="2030" y="248"/>
                    </a:lnTo>
                    <a:lnTo>
                      <a:pt x="2036" y="242"/>
                    </a:lnTo>
                    <a:lnTo>
                      <a:pt x="2030" y="230"/>
                    </a:lnTo>
                    <a:lnTo>
                      <a:pt x="2030" y="214"/>
                    </a:lnTo>
                    <a:lnTo>
                      <a:pt x="2040" y="212"/>
                    </a:lnTo>
                    <a:lnTo>
                      <a:pt x="2056" y="220"/>
                    </a:lnTo>
                    <a:lnTo>
                      <a:pt x="2084" y="220"/>
                    </a:lnTo>
                    <a:lnTo>
                      <a:pt x="2118" y="226"/>
                    </a:lnTo>
                    <a:lnTo>
                      <a:pt x="2158" y="240"/>
                    </a:lnTo>
                    <a:lnTo>
                      <a:pt x="2180" y="252"/>
                    </a:lnTo>
                    <a:lnTo>
                      <a:pt x="2222" y="270"/>
                    </a:lnTo>
                    <a:lnTo>
                      <a:pt x="2228" y="280"/>
                    </a:lnTo>
                    <a:lnTo>
                      <a:pt x="2234" y="292"/>
                    </a:lnTo>
                    <a:lnTo>
                      <a:pt x="2242" y="306"/>
                    </a:lnTo>
                    <a:lnTo>
                      <a:pt x="2250" y="302"/>
                    </a:lnTo>
                    <a:lnTo>
                      <a:pt x="2244" y="286"/>
                    </a:lnTo>
                    <a:lnTo>
                      <a:pt x="2260" y="288"/>
                    </a:lnTo>
                    <a:lnTo>
                      <a:pt x="2276" y="292"/>
                    </a:lnTo>
                    <a:lnTo>
                      <a:pt x="2292" y="302"/>
                    </a:lnTo>
                    <a:lnTo>
                      <a:pt x="2304" y="312"/>
                    </a:lnTo>
                    <a:lnTo>
                      <a:pt x="2292" y="324"/>
                    </a:lnTo>
                    <a:lnTo>
                      <a:pt x="2270" y="328"/>
                    </a:lnTo>
                    <a:lnTo>
                      <a:pt x="2266" y="342"/>
                    </a:lnTo>
                    <a:lnTo>
                      <a:pt x="2260" y="358"/>
                    </a:lnTo>
                    <a:lnTo>
                      <a:pt x="2234" y="346"/>
                    </a:lnTo>
                    <a:lnTo>
                      <a:pt x="2220" y="340"/>
                    </a:lnTo>
                    <a:lnTo>
                      <a:pt x="2222" y="326"/>
                    </a:lnTo>
                    <a:lnTo>
                      <a:pt x="2184" y="328"/>
                    </a:lnTo>
                    <a:lnTo>
                      <a:pt x="2178" y="310"/>
                    </a:lnTo>
                    <a:lnTo>
                      <a:pt x="2166" y="312"/>
                    </a:lnTo>
                    <a:lnTo>
                      <a:pt x="2164" y="324"/>
                    </a:lnTo>
                    <a:lnTo>
                      <a:pt x="2170" y="328"/>
                    </a:lnTo>
                    <a:lnTo>
                      <a:pt x="2154" y="344"/>
                    </a:lnTo>
                    <a:lnTo>
                      <a:pt x="2136" y="346"/>
                    </a:lnTo>
                    <a:lnTo>
                      <a:pt x="2124" y="344"/>
                    </a:lnTo>
                    <a:lnTo>
                      <a:pt x="2116" y="338"/>
                    </a:lnTo>
                    <a:lnTo>
                      <a:pt x="2114" y="346"/>
                    </a:lnTo>
                    <a:lnTo>
                      <a:pt x="2128" y="350"/>
                    </a:lnTo>
                    <a:lnTo>
                      <a:pt x="2140" y="358"/>
                    </a:lnTo>
                    <a:lnTo>
                      <a:pt x="2144" y="374"/>
                    </a:lnTo>
                    <a:lnTo>
                      <a:pt x="2156" y="390"/>
                    </a:lnTo>
                    <a:lnTo>
                      <a:pt x="2144" y="396"/>
                    </a:lnTo>
                    <a:lnTo>
                      <a:pt x="2120" y="388"/>
                    </a:lnTo>
                    <a:lnTo>
                      <a:pt x="2110" y="396"/>
                    </a:lnTo>
                    <a:lnTo>
                      <a:pt x="2078" y="412"/>
                    </a:lnTo>
                    <a:lnTo>
                      <a:pt x="2060" y="420"/>
                    </a:lnTo>
                    <a:lnTo>
                      <a:pt x="2024" y="448"/>
                    </a:lnTo>
                    <a:lnTo>
                      <a:pt x="2012" y="438"/>
                    </a:lnTo>
                    <a:lnTo>
                      <a:pt x="1984" y="438"/>
                    </a:lnTo>
                    <a:lnTo>
                      <a:pt x="1970" y="452"/>
                    </a:lnTo>
                    <a:lnTo>
                      <a:pt x="1966" y="438"/>
                    </a:lnTo>
                    <a:lnTo>
                      <a:pt x="1958" y="438"/>
                    </a:lnTo>
                    <a:lnTo>
                      <a:pt x="1954" y="448"/>
                    </a:lnTo>
                    <a:lnTo>
                      <a:pt x="1930" y="448"/>
                    </a:lnTo>
                    <a:lnTo>
                      <a:pt x="1908" y="482"/>
                    </a:lnTo>
                    <a:lnTo>
                      <a:pt x="1908" y="494"/>
                    </a:lnTo>
                    <a:lnTo>
                      <a:pt x="1922" y="494"/>
                    </a:lnTo>
                    <a:lnTo>
                      <a:pt x="1918" y="510"/>
                    </a:lnTo>
                    <a:lnTo>
                      <a:pt x="1924" y="524"/>
                    </a:lnTo>
                    <a:lnTo>
                      <a:pt x="1908" y="530"/>
                    </a:lnTo>
                    <a:lnTo>
                      <a:pt x="1902" y="542"/>
                    </a:lnTo>
                    <a:lnTo>
                      <a:pt x="1908" y="558"/>
                    </a:lnTo>
                    <a:lnTo>
                      <a:pt x="1886" y="566"/>
                    </a:lnTo>
                    <a:lnTo>
                      <a:pt x="1880" y="572"/>
                    </a:lnTo>
                    <a:lnTo>
                      <a:pt x="1880" y="578"/>
                    </a:lnTo>
                    <a:lnTo>
                      <a:pt x="1882" y="582"/>
                    </a:lnTo>
                    <a:lnTo>
                      <a:pt x="1880" y="584"/>
                    </a:lnTo>
                    <a:lnTo>
                      <a:pt x="1858" y="592"/>
                    </a:lnTo>
                    <a:lnTo>
                      <a:pt x="1858" y="604"/>
                    </a:lnTo>
                    <a:lnTo>
                      <a:pt x="1832" y="632"/>
                    </a:lnTo>
                    <a:lnTo>
                      <a:pt x="1828" y="602"/>
                    </a:lnTo>
                    <a:lnTo>
                      <a:pt x="1816" y="558"/>
                    </a:lnTo>
                    <a:lnTo>
                      <a:pt x="1816" y="526"/>
                    </a:lnTo>
                    <a:lnTo>
                      <a:pt x="1828" y="514"/>
                    </a:lnTo>
                    <a:lnTo>
                      <a:pt x="1838" y="494"/>
                    </a:lnTo>
                    <a:lnTo>
                      <a:pt x="1852" y="490"/>
                    </a:lnTo>
                    <a:lnTo>
                      <a:pt x="1890" y="454"/>
                    </a:lnTo>
                    <a:lnTo>
                      <a:pt x="1918" y="434"/>
                    </a:lnTo>
                    <a:lnTo>
                      <a:pt x="1928" y="430"/>
                    </a:lnTo>
                    <a:lnTo>
                      <a:pt x="1942" y="398"/>
                    </a:lnTo>
                    <a:lnTo>
                      <a:pt x="1948" y="396"/>
                    </a:lnTo>
                    <a:lnTo>
                      <a:pt x="1934" y="390"/>
                    </a:lnTo>
                    <a:lnTo>
                      <a:pt x="1930" y="392"/>
                    </a:lnTo>
                    <a:lnTo>
                      <a:pt x="1924" y="396"/>
                    </a:lnTo>
                    <a:lnTo>
                      <a:pt x="1924" y="414"/>
                    </a:lnTo>
                    <a:lnTo>
                      <a:pt x="1912" y="414"/>
                    </a:lnTo>
                    <a:lnTo>
                      <a:pt x="1882" y="430"/>
                    </a:lnTo>
                    <a:lnTo>
                      <a:pt x="1876" y="424"/>
                    </a:lnTo>
                    <a:lnTo>
                      <a:pt x="1882" y="410"/>
                    </a:lnTo>
                    <a:lnTo>
                      <a:pt x="1874" y="414"/>
                    </a:lnTo>
                    <a:lnTo>
                      <a:pt x="1838" y="414"/>
                    </a:lnTo>
                    <a:lnTo>
                      <a:pt x="1804" y="440"/>
                    </a:lnTo>
                    <a:lnTo>
                      <a:pt x="1798" y="454"/>
                    </a:lnTo>
                    <a:lnTo>
                      <a:pt x="1800" y="458"/>
                    </a:lnTo>
                    <a:lnTo>
                      <a:pt x="1810" y="466"/>
                    </a:lnTo>
                    <a:lnTo>
                      <a:pt x="1796" y="466"/>
                    </a:lnTo>
                    <a:lnTo>
                      <a:pt x="1782" y="468"/>
                    </a:lnTo>
                    <a:lnTo>
                      <a:pt x="1754" y="470"/>
                    </a:lnTo>
                    <a:lnTo>
                      <a:pt x="1762" y="464"/>
                    </a:lnTo>
                    <a:lnTo>
                      <a:pt x="1756" y="456"/>
                    </a:lnTo>
                    <a:lnTo>
                      <a:pt x="1736" y="454"/>
                    </a:lnTo>
                    <a:lnTo>
                      <a:pt x="1724" y="456"/>
                    </a:lnTo>
                    <a:lnTo>
                      <a:pt x="1718" y="464"/>
                    </a:lnTo>
                    <a:lnTo>
                      <a:pt x="1692" y="462"/>
                    </a:lnTo>
                    <a:lnTo>
                      <a:pt x="1680" y="464"/>
                    </a:lnTo>
                    <a:lnTo>
                      <a:pt x="1634" y="464"/>
                    </a:lnTo>
                    <a:lnTo>
                      <a:pt x="1530" y="552"/>
                    </a:lnTo>
                    <a:lnTo>
                      <a:pt x="1532" y="562"/>
                    </a:lnTo>
                    <a:lnTo>
                      <a:pt x="1550" y="560"/>
                    </a:lnTo>
                    <a:lnTo>
                      <a:pt x="1552" y="574"/>
                    </a:lnTo>
                    <a:lnTo>
                      <a:pt x="1560" y="564"/>
                    </a:lnTo>
                    <a:lnTo>
                      <a:pt x="1570" y="578"/>
                    </a:lnTo>
                    <a:lnTo>
                      <a:pt x="1582" y="568"/>
                    </a:lnTo>
                    <a:lnTo>
                      <a:pt x="1602" y="570"/>
                    </a:lnTo>
                    <a:lnTo>
                      <a:pt x="1616" y="588"/>
                    </a:lnTo>
                    <a:lnTo>
                      <a:pt x="1612" y="608"/>
                    </a:lnTo>
                    <a:lnTo>
                      <a:pt x="1604" y="628"/>
                    </a:lnTo>
                    <a:lnTo>
                      <a:pt x="1604" y="656"/>
                    </a:lnTo>
                    <a:lnTo>
                      <a:pt x="1598" y="672"/>
                    </a:lnTo>
                    <a:lnTo>
                      <a:pt x="1544" y="738"/>
                    </a:lnTo>
                    <a:lnTo>
                      <a:pt x="1528" y="758"/>
                    </a:lnTo>
                    <a:lnTo>
                      <a:pt x="1516" y="768"/>
                    </a:lnTo>
                    <a:lnTo>
                      <a:pt x="1500" y="774"/>
                    </a:lnTo>
                    <a:lnTo>
                      <a:pt x="1488" y="768"/>
                    </a:lnTo>
                    <a:lnTo>
                      <a:pt x="1472" y="772"/>
                    </a:lnTo>
                    <a:lnTo>
                      <a:pt x="1472" y="738"/>
                    </a:lnTo>
                    <a:lnTo>
                      <a:pt x="1484" y="730"/>
                    </a:lnTo>
                    <a:lnTo>
                      <a:pt x="1488" y="736"/>
                    </a:lnTo>
                    <a:lnTo>
                      <a:pt x="1500" y="734"/>
                    </a:lnTo>
                    <a:lnTo>
                      <a:pt x="1510" y="714"/>
                    </a:lnTo>
                    <a:lnTo>
                      <a:pt x="1516" y="694"/>
                    </a:lnTo>
                    <a:lnTo>
                      <a:pt x="1522" y="690"/>
                    </a:lnTo>
                    <a:lnTo>
                      <a:pt x="1522" y="678"/>
                    </a:lnTo>
                    <a:lnTo>
                      <a:pt x="1506" y="680"/>
                    </a:lnTo>
                    <a:lnTo>
                      <a:pt x="1494" y="682"/>
                    </a:lnTo>
                    <a:lnTo>
                      <a:pt x="1488" y="688"/>
                    </a:lnTo>
                    <a:lnTo>
                      <a:pt x="1470" y="686"/>
                    </a:lnTo>
                    <a:lnTo>
                      <a:pt x="1466" y="670"/>
                    </a:lnTo>
                    <a:lnTo>
                      <a:pt x="1440" y="654"/>
                    </a:lnTo>
                    <a:lnTo>
                      <a:pt x="1424" y="654"/>
                    </a:lnTo>
                    <a:lnTo>
                      <a:pt x="1406" y="608"/>
                    </a:lnTo>
                    <a:lnTo>
                      <a:pt x="1394" y="590"/>
                    </a:lnTo>
                    <a:lnTo>
                      <a:pt x="1368" y="580"/>
                    </a:lnTo>
                    <a:lnTo>
                      <a:pt x="1328" y="584"/>
                    </a:lnTo>
                    <a:lnTo>
                      <a:pt x="1316" y="588"/>
                    </a:lnTo>
                    <a:lnTo>
                      <a:pt x="1314" y="596"/>
                    </a:lnTo>
                    <a:lnTo>
                      <a:pt x="1326" y="598"/>
                    </a:lnTo>
                    <a:lnTo>
                      <a:pt x="1326" y="610"/>
                    </a:lnTo>
                    <a:lnTo>
                      <a:pt x="1316" y="616"/>
                    </a:lnTo>
                    <a:lnTo>
                      <a:pt x="1308" y="632"/>
                    </a:lnTo>
                    <a:lnTo>
                      <a:pt x="1304" y="646"/>
                    </a:lnTo>
                    <a:lnTo>
                      <a:pt x="1292" y="648"/>
                    </a:lnTo>
                    <a:lnTo>
                      <a:pt x="1284" y="656"/>
                    </a:lnTo>
                    <a:lnTo>
                      <a:pt x="1268" y="648"/>
                    </a:lnTo>
                    <a:lnTo>
                      <a:pt x="1246" y="646"/>
                    </a:lnTo>
                    <a:lnTo>
                      <a:pt x="1240" y="640"/>
                    </a:lnTo>
                    <a:lnTo>
                      <a:pt x="1230" y="642"/>
                    </a:lnTo>
                    <a:lnTo>
                      <a:pt x="1214" y="654"/>
                    </a:lnTo>
                    <a:lnTo>
                      <a:pt x="1188" y="660"/>
                    </a:lnTo>
                    <a:lnTo>
                      <a:pt x="1172" y="662"/>
                    </a:lnTo>
                    <a:lnTo>
                      <a:pt x="1152" y="660"/>
                    </a:lnTo>
                    <a:lnTo>
                      <a:pt x="1146" y="654"/>
                    </a:lnTo>
                    <a:lnTo>
                      <a:pt x="1142" y="648"/>
                    </a:lnTo>
                    <a:lnTo>
                      <a:pt x="1132" y="646"/>
                    </a:lnTo>
                    <a:lnTo>
                      <a:pt x="1128" y="640"/>
                    </a:lnTo>
                    <a:lnTo>
                      <a:pt x="1106" y="636"/>
                    </a:lnTo>
                    <a:lnTo>
                      <a:pt x="1094" y="644"/>
                    </a:lnTo>
                    <a:lnTo>
                      <a:pt x="1070" y="640"/>
                    </a:lnTo>
                    <a:lnTo>
                      <a:pt x="1062" y="630"/>
                    </a:lnTo>
                    <a:lnTo>
                      <a:pt x="1060" y="620"/>
                    </a:lnTo>
                    <a:lnTo>
                      <a:pt x="1038" y="614"/>
                    </a:lnTo>
                    <a:lnTo>
                      <a:pt x="1014" y="608"/>
                    </a:lnTo>
                    <a:lnTo>
                      <a:pt x="998" y="624"/>
                    </a:lnTo>
                    <a:lnTo>
                      <a:pt x="1008" y="636"/>
                    </a:lnTo>
                    <a:lnTo>
                      <a:pt x="1006" y="644"/>
                    </a:lnTo>
                    <a:lnTo>
                      <a:pt x="996" y="652"/>
                    </a:lnTo>
                    <a:lnTo>
                      <a:pt x="988" y="648"/>
                    </a:lnTo>
                    <a:lnTo>
                      <a:pt x="960" y="648"/>
                    </a:lnTo>
                    <a:lnTo>
                      <a:pt x="950" y="636"/>
                    </a:lnTo>
                    <a:lnTo>
                      <a:pt x="932" y="634"/>
                    </a:lnTo>
                    <a:lnTo>
                      <a:pt x="916" y="632"/>
                    </a:lnTo>
                    <a:lnTo>
                      <a:pt x="886" y="648"/>
                    </a:lnTo>
                    <a:lnTo>
                      <a:pt x="880" y="654"/>
                    </a:lnTo>
                    <a:lnTo>
                      <a:pt x="866" y="656"/>
                    </a:lnTo>
                    <a:lnTo>
                      <a:pt x="860" y="664"/>
                    </a:lnTo>
                    <a:lnTo>
                      <a:pt x="846" y="664"/>
                    </a:lnTo>
                    <a:lnTo>
                      <a:pt x="842" y="652"/>
                    </a:lnTo>
                    <a:lnTo>
                      <a:pt x="822" y="650"/>
                    </a:lnTo>
                    <a:lnTo>
                      <a:pt x="810" y="640"/>
                    </a:lnTo>
                    <a:lnTo>
                      <a:pt x="800" y="628"/>
                    </a:lnTo>
                    <a:lnTo>
                      <a:pt x="776" y="632"/>
                    </a:lnTo>
                    <a:lnTo>
                      <a:pt x="756" y="620"/>
                    </a:lnTo>
                    <a:lnTo>
                      <a:pt x="752" y="628"/>
                    </a:lnTo>
                    <a:lnTo>
                      <a:pt x="746" y="628"/>
                    </a:lnTo>
                    <a:lnTo>
                      <a:pt x="734" y="606"/>
                    </a:lnTo>
                    <a:lnTo>
                      <a:pt x="718" y="584"/>
                    </a:lnTo>
                    <a:lnTo>
                      <a:pt x="702" y="574"/>
                    </a:lnTo>
                    <a:lnTo>
                      <a:pt x="702" y="566"/>
                    </a:lnTo>
                    <a:lnTo>
                      <a:pt x="682" y="570"/>
                    </a:lnTo>
                    <a:lnTo>
                      <a:pt x="666" y="580"/>
                    </a:lnTo>
                    <a:lnTo>
                      <a:pt x="648" y="570"/>
                    </a:lnTo>
                    <a:lnTo>
                      <a:pt x="630" y="566"/>
                    </a:lnTo>
                    <a:lnTo>
                      <a:pt x="620" y="560"/>
                    </a:lnTo>
                    <a:lnTo>
                      <a:pt x="618" y="548"/>
                    </a:lnTo>
                    <a:lnTo>
                      <a:pt x="600" y="546"/>
                    </a:lnTo>
                    <a:lnTo>
                      <a:pt x="580" y="550"/>
                    </a:lnTo>
                    <a:lnTo>
                      <a:pt x="502" y="570"/>
                    </a:lnTo>
                    <a:lnTo>
                      <a:pt x="482" y="572"/>
                    </a:lnTo>
                    <a:lnTo>
                      <a:pt x="486" y="582"/>
                    </a:lnTo>
                    <a:lnTo>
                      <a:pt x="490" y="588"/>
                    </a:lnTo>
                    <a:lnTo>
                      <a:pt x="478" y="592"/>
                    </a:lnTo>
                    <a:lnTo>
                      <a:pt x="476" y="602"/>
                    </a:lnTo>
                    <a:lnTo>
                      <a:pt x="472" y="606"/>
                    </a:lnTo>
                    <a:lnTo>
                      <a:pt x="466" y="614"/>
                    </a:lnTo>
                    <a:lnTo>
                      <a:pt x="478" y="618"/>
                    </a:lnTo>
                    <a:lnTo>
                      <a:pt x="486" y="624"/>
                    </a:lnTo>
                    <a:lnTo>
                      <a:pt x="476" y="634"/>
                    </a:lnTo>
                    <a:lnTo>
                      <a:pt x="454" y="636"/>
                    </a:lnTo>
                    <a:lnTo>
                      <a:pt x="444" y="626"/>
                    </a:lnTo>
                    <a:lnTo>
                      <a:pt x="428" y="626"/>
                    </a:lnTo>
                    <a:lnTo>
                      <a:pt x="408" y="636"/>
                    </a:lnTo>
                    <a:lnTo>
                      <a:pt x="394" y="634"/>
                    </a:lnTo>
                    <a:lnTo>
                      <a:pt x="374" y="620"/>
                    </a:lnTo>
                    <a:lnTo>
                      <a:pt x="342" y="616"/>
                    </a:lnTo>
                    <a:lnTo>
                      <a:pt x="328" y="620"/>
                    </a:lnTo>
                    <a:lnTo>
                      <a:pt x="308" y="636"/>
                    </a:lnTo>
                    <a:lnTo>
                      <a:pt x="306" y="648"/>
                    </a:lnTo>
                    <a:lnTo>
                      <a:pt x="298" y="652"/>
                    </a:lnTo>
                    <a:lnTo>
                      <a:pt x="292" y="636"/>
                    </a:lnTo>
                    <a:lnTo>
                      <a:pt x="280" y="650"/>
                    </a:lnTo>
                    <a:lnTo>
                      <a:pt x="276" y="670"/>
                    </a:lnTo>
                    <a:lnTo>
                      <a:pt x="284" y="684"/>
                    </a:lnTo>
                    <a:lnTo>
                      <a:pt x="296" y="686"/>
                    </a:lnTo>
                    <a:lnTo>
                      <a:pt x="308" y="702"/>
                    </a:lnTo>
                    <a:lnTo>
                      <a:pt x="310" y="714"/>
                    </a:lnTo>
                    <a:lnTo>
                      <a:pt x="296" y="724"/>
                    </a:lnTo>
                    <a:lnTo>
                      <a:pt x="288" y="730"/>
                    </a:lnTo>
                    <a:lnTo>
                      <a:pt x="284" y="738"/>
                    </a:lnTo>
                    <a:lnTo>
                      <a:pt x="276" y="746"/>
                    </a:lnTo>
                    <a:lnTo>
                      <a:pt x="284" y="752"/>
                    </a:lnTo>
                    <a:lnTo>
                      <a:pt x="290" y="760"/>
                    </a:lnTo>
                    <a:lnTo>
                      <a:pt x="292" y="776"/>
                    </a:lnTo>
                    <a:lnTo>
                      <a:pt x="304" y="790"/>
                    </a:lnTo>
                    <a:lnTo>
                      <a:pt x="294" y="800"/>
                    </a:lnTo>
                    <a:lnTo>
                      <a:pt x="292" y="802"/>
                    </a:lnTo>
                    <a:lnTo>
                      <a:pt x="276" y="790"/>
                    </a:lnTo>
                    <a:lnTo>
                      <a:pt x="272" y="788"/>
                    </a:lnTo>
                    <a:lnTo>
                      <a:pt x="262" y="780"/>
                    </a:lnTo>
                    <a:lnTo>
                      <a:pt x="254" y="774"/>
                    </a:lnTo>
                    <a:lnTo>
                      <a:pt x="244" y="776"/>
                    </a:lnTo>
                    <a:lnTo>
                      <a:pt x="240" y="776"/>
                    </a:lnTo>
                    <a:lnTo>
                      <a:pt x="230" y="772"/>
                    </a:lnTo>
                    <a:lnTo>
                      <a:pt x="218" y="766"/>
                    </a:lnTo>
                    <a:lnTo>
                      <a:pt x="210" y="766"/>
                    </a:lnTo>
                    <a:lnTo>
                      <a:pt x="202" y="768"/>
                    </a:lnTo>
                    <a:lnTo>
                      <a:pt x="192" y="760"/>
                    </a:lnTo>
                    <a:lnTo>
                      <a:pt x="180" y="762"/>
                    </a:lnTo>
                    <a:lnTo>
                      <a:pt x="158" y="746"/>
                    </a:lnTo>
                    <a:lnTo>
                      <a:pt x="146" y="740"/>
                    </a:lnTo>
                    <a:lnTo>
                      <a:pt x="148" y="728"/>
                    </a:lnTo>
                    <a:lnTo>
                      <a:pt x="160" y="718"/>
                    </a:lnTo>
                    <a:lnTo>
                      <a:pt x="158" y="708"/>
                    </a:lnTo>
                    <a:lnTo>
                      <a:pt x="172" y="700"/>
                    </a:lnTo>
                    <a:lnTo>
                      <a:pt x="156" y="698"/>
                    </a:lnTo>
                    <a:lnTo>
                      <a:pt x="158" y="690"/>
                    </a:lnTo>
                    <a:lnTo>
                      <a:pt x="166" y="686"/>
                    </a:lnTo>
                    <a:lnTo>
                      <a:pt x="180" y="684"/>
                    </a:lnTo>
                    <a:lnTo>
                      <a:pt x="182" y="654"/>
                    </a:lnTo>
                    <a:lnTo>
                      <a:pt x="168" y="646"/>
                    </a:lnTo>
                    <a:lnTo>
                      <a:pt x="150" y="646"/>
                    </a:lnTo>
                    <a:lnTo>
                      <a:pt x="148" y="640"/>
                    </a:lnTo>
                    <a:lnTo>
                      <a:pt x="120" y="638"/>
                    </a:lnTo>
                    <a:lnTo>
                      <a:pt x="116" y="626"/>
                    </a:lnTo>
                    <a:lnTo>
                      <a:pt x="100" y="622"/>
                    </a:lnTo>
                    <a:lnTo>
                      <a:pt x="102" y="612"/>
                    </a:lnTo>
                    <a:lnTo>
                      <a:pt x="98" y="602"/>
                    </a:lnTo>
                    <a:lnTo>
                      <a:pt x="78" y="602"/>
                    </a:lnTo>
                    <a:lnTo>
                      <a:pt x="74" y="606"/>
                    </a:lnTo>
                    <a:lnTo>
                      <a:pt x="68" y="608"/>
                    </a:lnTo>
                    <a:lnTo>
                      <a:pt x="62" y="604"/>
                    </a:lnTo>
                    <a:lnTo>
                      <a:pt x="62" y="586"/>
                    </a:lnTo>
                    <a:lnTo>
                      <a:pt x="78" y="586"/>
                    </a:lnTo>
                    <a:lnTo>
                      <a:pt x="80" y="584"/>
                    </a:lnTo>
                    <a:lnTo>
                      <a:pt x="54" y="558"/>
                    </a:lnTo>
                    <a:lnTo>
                      <a:pt x="50" y="538"/>
                    </a:lnTo>
                    <a:lnTo>
                      <a:pt x="32" y="536"/>
                    </a:lnTo>
                    <a:lnTo>
                      <a:pt x="32" y="532"/>
                    </a:lnTo>
                    <a:lnTo>
                      <a:pt x="16" y="528"/>
                    </a:lnTo>
                    <a:lnTo>
                      <a:pt x="14" y="522"/>
                    </a:lnTo>
                    <a:lnTo>
                      <a:pt x="10" y="508"/>
                    </a:lnTo>
                    <a:lnTo>
                      <a:pt x="4" y="498"/>
                    </a:lnTo>
                    <a:lnTo>
                      <a:pt x="6" y="486"/>
                    </a:lnTo>
                    <a:lnTo>
                      <a:pt x="6" y="472"/>
                    </a:lnTo>
                    <a:lnTo>
                      <a:pt x="12" y="462"/>
                    </a:lnTo>
                    <a:lnTo>
                      <a:pt x="28" y="448"/>
                    </a:lnTo>
                    <a:lnTo>
                      <a:pt x="40" y="448"/>
                    </a:lnTo>
                    <a:lnTo>
                      <a:pt x="24" y="440"/>
                    </a:lnTo>
                    <a:lnTo>
                      <a:pt x="14" y="430"/>
                    </a:lnTo>
                    <a:lnTo>
                      <a:pt x="54" y="396"/>
                    </a:lnTo>
                    <a:lnTo>
                      <a:pt x="62" y="384"/>
                    </a:lnTo>
                    <a:lnTo>
                      <a:pt x="40" y="368"/>
                    </a:lnTo>
                    <a:lnTo>
                      <a:pt x="48" y="360"/>
                    </a:lnTo>
                    <a:lnTo>
                      <a:pt x="42" y="346"/>
                    </a:lnTo>
                    <a:lnTo>
                      <a:pt x="32" y="338"/>
                    </a:lnTo>
                    <a:lnTo>
                      <a:pt x="40" y="320"/>
                    </a:lnTo>
                    <a:lnTo>
                      <a:pt x="34" y="306"/>
                    </a:lnTo>
                    <a:lnTo>
                      <a:pt x="26" y="290"/>
                    </a:lnTo>
                    <a:lnTo>
                      <a:pt x="40" y="276"/>
                    </a:lnTo>
                    <a:lnTo>
                      <a:pt x="18" y="262"/>
                    </a:lnTo>
                    <a:lnTo>
                      <a:pt x="22" y="242"/>
                    </a:lnTo>
                    <a:lnTo>
                      <a:pt x="30" y="234"/>
                    </a:lnTo>
                    <a:lnTo>
                      <a:pt x="40" y="232"/>
                    </a:lnTo>
                    <a:lnTo>
                      <a:pt x="40" y="226"/>
                    </a:lnTo>
                    <a:lnTo>
                      <a:pt x="60" y="224"/>
                    </a:lnTo>
                    <a:lnTo>
                      <a:pt x="76" y="224"/>
                    </a:lnTo>
                    <a:lnTo>
                      <a:pt x="80" y="232"/>
                    </a:lnTo>
                    <a:lnTo>
                      <a:pt x="90" y="236"/>
                    </a:lnTo>
                    <a:lnTo>
                      <a:pt x="124" y="238"/>
                    </a:lnTo>
                    <a:lnTo>
                      <a:pt x="148" y="250"/>
                    </a:lnTo>
                    <a:lnTo>
                      <a:pt x="172" y="264"/>
                    </a:lnTo>
                    <a:lnTo>
                      <a:pt x="198" y="278"/>
                    </a:lnTo>
                    <a:lnTo>
                      <a:pt x="200" y="294"/>
                    </a:lnTo>
                    <a:lnTo>
                      <a:pt x="184" y="310"/>
                    </a:lnTo>
                    <a:lnTo>
                      <a:pt x="158" y="316"/>
                    </a:lnTo>
                    <a:lnTo>
                      <a:pt x="134" y="308"/>
                    </a:lnTo>
                    <a:lnTo>
                      <a:pt x="108" y="302"/>
                    </a:lnTo>
                    <a:lnTo>
                      <a:pt x="88" y="294"/>
                    </a:lnTo>
                    <a:lnTo>
                      <a:pt x="72" y="288"/>
                    </a:lnTo>
                    <a:lnTo>
                      <a:pt x="84" y="304"/>
                    </a:lnTo>
                    <a:lnTo>
                      <a:pt x="98" y="312"/>
                    </a:lnTo>
                    <a:lnTo>
                      <a:pt x="106" y="316"/>
                    </a:lnTo>
                    <a:lnTo>
                      <a:pt x="108" y="328"/>
                    </a:lnTo>
                    <a:lnTo>
                      <a:pt x="112" y="350"/>
                    </a:lnTo>
                    <a:lnTo>
                      <a:pt x="122" y="352"/>
                    </a:lnTo>
                    <a:lnTo>
                      <a:pt x="136" y="364"/>
                    </a:lnTo>
                    <a:lnTo>
                      <a:pt x="154" y="364"/>
                    </a:lnTo>
                    <a:lnTo>
                      <a:pt x="156" y="356"/>
                    </a:lnTo>
                    <a:lnTo>
                      <a:pt x="146" y="352"/>
                    </a:lnTo>
                    <a:lnTo>
                      <a:pt x="136" y="342"/>
                    </a:lnTo>
                    <a:lnTo>
                      <a:pt x="144" y="332"/>
                    </a:lnTo>
                    <a:lnTo>
                      <a:pt x="154" y="342"/>
                    </a:lnTo>
                    <a:lnTo>
                      <a:pt x="164" y="346"/>
                    </a:lnTo>
                    <a:lnTo>
                      <a:pt x="188" y="350"/>
                    </a:lnTo>
                    <a:lnTo>
                      <a:pt x="188" y="342"/>
                    </a:lnTo>
                    <a:lnTo>
                      <a:pt x="178" y="330"/>
                    </a:lnTo>
                    <a:lnTo>
                      <a:pt x="190" y="320"/>
                    </a:lnTo>
                    <a:lnTo>
                      <a:pt x="206" y="312"/>
                    </a:lnTo>
                    <a:lnTo>
                      <a:pt x="214" y="304"/>
                    </a:lnTo>
                    <a:lnTo>
                      <a:pt x="240" y="312"/>
                    </a:lnTo>
                    <a:lnTo>
                      <a:pt x="244" y="290"/>
                    </a:lnTo>
                    <a:lnTo>
                      <a:pt x="238" y="282"/>
                    </a:lnTo>
                    <a:lnTo>
                      <a:pt x="242" y="262"/>
                    </a:lnTo>
                    <a:lnTo>
                      <a:pt x="234" y="256"/>
                    </a:lnTo>
                    <a:lnTo>
                      <a:pt x="264" y="254"/>
                    </a:lnTo>
                    <a:lnTo>
                      <a:pt x="276" y="266"/>
                    </a:lnTo>
                    <a:lnTo>
                      <a:pt x="276" y="274"/>
                    </a:lnTo>
                    <a:lnTo>
                      <a:pt x="260" y="274"/>
                    </a:lnTo>
                    <a:lnTo>
                      <a:pt x="252" y="282"/>
                    </a:lnTo>
                    <a:lnTo>
                      <a:pt x="266" y="294"/>
                    </a:lnTo>
                    <a:lnTo>
                      <a:pt x="288" y="296"/>
                    </a:lnTo>
                    <a:lnTo>
                      <a:pt x="296" y="276"/>
                    </a:lnTo>
                    <a:lnTo>
                      <a:pt x="348" y="256"/>
                    </a:lnTo>
                    <a:lnTo>
                      <a:pt x="358" y="258"/>
                    </a:lnTo>
                    <a:lnTo>
                      <a:pt x="368" y="246"/>
                    </a:lnTo>
                    <a:lnTo>
                      <a:pt x="378" y="242"/>
                    </a:lnTo>
                    <a:lnTo>
                      <a:pt x="374" y="260"/>
                    </a:lnTo>
                    <a:lnTo>
                      <a:pt x="392" y="260"/>
                    </a:lnTo>
                    <a:lnTo>
                      <a:pt x="396" y="252"/>
                    </a:lnTo>
                    <a:lnTo>
                      <a:pt x="428" y="254"/>
                    </a:lnTo>
                    <a:lnTo>
                      <a:pt x="450" y="242"/>
                    </a:lnTo>
                    <a:lnTo>
                      <a:pt x="454" y="250"/>
                    </a:lnTo>
                    <a:lnTo>
                      <a:pt x="452" y="258"/>
                    </a:lnTo>
                    <a:lnTo>
                      <a:pt x="460" y="258"/>
                    </a:lnTo>
                    <a:lnTo>
                      <a:pt x="464" y="250"/>
                    </a:lnTo>
                    <a:lnTo>
                      <a:pt x="478" y="242"/>
                    </a:lnTo>
                    <a:lnTo>
                      <a:pt x="468" y="226"/>
                    </a:lnTo>
                    <a:lnTo>
                      <a:pt x="448" y="220"/>
                    </a:lnTo>
                    <a:lnTo>
                      <a:pt x="448" y="208"/>
                    </a:lnTo>
                    <a:lnTo>
                      <a:pt x="456" y="206"/>
                    </a:lnTo>
                    <a:lnTo>
                      <a:pt x="472" y="222"/>
                    </a:lnTo>
                    <a:lnTo>
                      <a:pt x="502" y="224"/>
                    </a:lnTo>
                    <a:lnTo>
                      <a:pt x="532" y="234"/>
                    </a:lnTo>
                    <a:lnTo>
                      <a:pt x="556" y="244"/>
                    </a:lnTo>
                    <a:lnTo>
                      <a:pt x="584" y="260"/>
                    </a:lnTo>
                    <a:lnTo>
                      <a:pt x="590" y="246"/>
                    </a:lnTo>
                    <a:lnTo>
                      <a:pt x="578" y="234"/>
                    </a:lnTo>
                    <a:lnTo>
                      <a:pt x="562" y="226"/>
                    </a:lnTo>
                    <a:lnTo>
                      <a:pt x="562" y="216"/>
                    </a:lnTo>
                    <a:lnTo>
                      <a:pt x="570" y="198"/>
                    </a:lnTo>
                    <a:lnTo>
                      <a:pt x="560" y="192"/>
                    </a:lnTo>
                    <a:lnTo>
                      <a:pt x="562" y="188"/>
                    </a:lnTo>
                    <a:lnTo>
                      <a:pt x="584" y="172"/>
                    </a:lnTo>
                    <a:lnTo>
                      <a:pt x="598" y="142"/>
                    </a:lnTo>
                    <a:lnTo>
                      <a:pt x="642" y="146"/>
                    </a:lnTo>
                    <a:lnTo>
                      <a:pt x="646" y="152"/>
                    </a:lnTo>
                    <a:lnTo>
                      <a:pt x="642" y="168"/>
                    </a:lnTo>
                    <a:lnTo>
                      <a:pt x="634" y="182"/>
                    </a:lnTo>
                    <a:lnTo>
                      <a:pt x="642" y="190"/>
                    </a:lnTo>
                    <a:lnTo>
                      <a:pt x="646" y="206"/>
                    </a:lnTo>
                    <a:lnTo>
                      <a:pt x="642" y="244"/>
                    </a:lnTo>
                    <a:lnTo>
                      <a:pt x="656" y="256"/>
                    </a:lnTo>
                    <a:lnTo>
                      <a:pt x="650" y="272"/>
                    </a:lnTo>
                    <a:lnTo>
                      <a:pt x="624" y="294"/>
                    </a:lnTo>
                    <a:lnTo>
                      <a:pt x="612" y="298"/>
                    </a:lnTo>
                    <a:lnTo>
                      <a:pt x="598" y="294"/>
                    </a:lnTo>
                    <a:lnTo>
                      <a:pt x="590" y="298"/>
                    </a:lnTo>
                    <a:lnTo>
                      <a:pt x="602" y="306"/>
                    </a:lnTo>
                    <a:lnTo>
                      <a:pt x="618" y="310"/>
                    </a:lnTo>
                    <a:lnTo>
                      <a:pt x="634" y="312"/>
                    </a:lnTo>
                    <a:lnTo>
                      <a:pt x="652" y="296"/>
                    </a:lnTo>
                    <a:lnTo>
                      <a:pt x="676" y="272"/>
                    </a:lnTo>
                    <a:lnTo>
                      <a:pt x="670" y="258"/>
                    </a:lnTo>
                    <a:lnTo>
                      <a:pt x="678" y="242"/>
                    </a:lnTo>
                    <a:lnTo>
                      <a:pt x="698" y="246"/>
                    </a:lnTo>
                    <a:lnTo>
                      <a:pt x="706" y="256"/>
                    </a:lnTo>
                    <a:lnTo>
                      <a:pt x="710" y="270"/>
                    </a:lnTo>
                    <a:lnTo>
                      <a:pt x="722" y="260"/>
                    </a:lnTo>
                    <a:lnTo>
                      <a:pt x="716" y="244"/>
                    </a:lnTo>
                    <a:lnTo>
                      <a:pt x="698" y="240"/>
                    </a:lnTo>
                    <a:lnTo>
                      <a:pt x="660" y="238"/>
                    </a:lnTo>
                    <a:lnTo>
                      <a:pt x="660" y="220"/>
                    </a:lnTo>
                    <a:lnTo>
                      <a:pt x="668" y="202"/>
                    </a:lnTo>
                    <a:lnTo>
                      <a:pt x="658" y="188"/>
                    </a:lnTo>
                    <a:lnTo>
                      <a:pt x="654" y="176"/>
                    </a:lnTo>
                    <a:lnTo>
                      <a:pt x="664" y="166"/>
                    </a:lnTo>
                    <a:lnTo>
                      <a:pt x="676" y="160"/>
                    </a:lnTo>
                    <a:lnTo>
                      <a:pt x="678" y="146"/>
                    </a:lnTo>
                    <a:lnTo>
                      <a:pt x="686" y="146"/>
                    </a:lnTo>
                    <a:lnTo>
                      <a:pt x="686" y="162"/>
                    </a:lnTo>
                    <a:lnTo>
                      <a:pt x="682" y="174"/>
                    </a:lnTo>
                    <a:lnTo>
                      <a:pt x="686" y="184"/>
                    </a:lnTo>
                    <a:lnTo>
                      <a:pt x="700" y="188"/>
                    </a:lnTo>
                    <a:lnTo>
                      <a:pt x="720" y="192"/>
                    </a:lnTo>
                    <a:lnTo>
                      <a:pt x="732" y="192"/>
                    </a:lnTo>
                    <a:lnTo>
                      <a:pt x="718" y="184"/>
                    </a:lnTo>
                    <a:lnTo>
                      <a:pt x="702" y="178"/>
                    </a:lnTo>
                    <a:lnTo>
                      <a:pt x="694" y="168"/>
                    </a:lnTo>
                    <a:lnTo>
                      <a:pt x="704" y="164"/>
                    </a:lnTo>
                    <a:lnTo>
                      <a:pt x="722" y="168"/>
                    </a:lnTo>
                    <a:lnTo>
                      <a:pt x="710" y="154"/>
                    </a:lnTo>
                    <a:lnTo>
                      <a:pt x="716" y="150"/>
                    </a:lnTo>
                    <a:lnTo>
                      <a:pt x="746" y="158"/>
                    </a:lnTo>
                    <a:lnTo>
                      <a:pt x="764" y="174"/>
                    </a:lnTo>
                    <a:lnTo>
                      <a:pt x="788" y="174"/>
                    </a:lnTo>
                    <a:lnTo>
                      <a:pt x="776" y="160"/>
                    </a:lnTo>
                    <a:lnTo>
                      <a:pt x="760" y="148"/>
                    </a:lnTo>
                    <a:lnTo>
                      <a:pt x="754" y="128"/>
                    </a:lnTo>
                    <a:lnTo>
                      <a:pt x="766" y="122"/>
                    </a:lnTo>
                    <a:lnTo>
                      <a:pt x="806" y="120"/>
                    </a:lnTo>
                    <a:lnTo>
                      <a:pt x="848" y="112"/>
                    </a:lnTo>
                    <a:lnTo>
                      <a:pt x="836" y="92"/>
                    </a:lnTo>
                    <a:lnTo>
                      <a:pt x="870" y="76"/>
                    </a:lnTo>
                    <a:lnTo>
                      <a:pt x="946" y="52"/>
                    </a:lnTo>
                    <a:lnTo>
                      <a:pt x="978" y="48"/>
                    </a:lnTo>
                    <a:lnTo>
                      <a:pt x="1008" y="52"/>
                    </a:lnTo>
                    <a:lnTo>
                      <a:pt x="1052" y="38"/>
                    </a:lnTo>
                    <a:lnTo>
                      <a:pt x="1048" y="22"/>
                    </a:lnTo>
                    <a:lnTo>
                      <a:pt x="1070" y="4"/>
                    </a:lnTo>
                    <a:close/>
                    <a:moveTo>
                      <a:pt x="378" y="242"/>
                    </a:moveTo>
                    <a:lnTo>
                      <a:pt x="378" y="242"/>
                    </a:lnTo>
                    <a:close/>
                    <a:moveTo>
                      <a:pt x="1922" y="494"/>
                    </a:moveTo>
                    <a:lnTo>
                      <a:pt x="1922" y="494"/>
                    </a:lnTo>
                    <a:close/>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close/>
                    <a:moveTo>
                      <a:pt x="1130" y="132"/>
                    </a:moveTo>
                    <a:lnTo>
                      <a:pt x="1156" y="118"/>
                    </a:lnTo>
                    <a:lnTo>
                      <a:pt x="1172" y="110"/>
                    </a:lnTo>
                    <a:lnTo>
                      <a:pt x="1166" y="114"/>
                    </a:lnTo>
                    <a:lnTo>
                      <a:pt x="1166" y="114"/>
                    </a:lnTo>
                    <a:lnTo>
                      <a:pt x="1164" y="118"/>
                    </a:lnTo>
                    <a:lnTo>
                      <a:pt x="1166" y="122"/>
                    </a:lnTo>
                    <a:lnTo>
                      <a:pt x="1132" y="132"/>
                    </a:lnTo>
                    <a:lnTo>
                      <a:pt x="1130" y="132"/>
                    </a:lnTo>
                    <a:lnTo>
                      <a:pt x="1130" y="132"/>
                    </a:lnTo>
                    <a:close/>
                    <a:moveTo>
                      <a:pt x="712" y="262"/>
                    </a:moveTo>
                    <a:lnTo>
                      <a:pt x="710" y="254"/>
                    </a:lnTo>
                    <a:lnTo>
                      <a:pt x="710" y="254"/>
                    </a:lnTo>
                    <a:lnTo>
                      <a:pt x="710" y="252"/>
                    </a:lnTo>
                    <a:lnTo>
                      <a:pt x="702" y="244"/>
                    </a:lnTo>
                    <a:lnTo>
                      <a:pt x="712" y="248"/>
                    </a:lnTo>
                    <a:lnTo>
                      <a:pt x="718" y="258"/>
                    </a:lnTo>
                    <a:lnTo>
                      <a:pt x="712" y="262"/>
                    </a:lnTo>
                    <a:lnTo>
                      <a:pt x="712" y="2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0" name="Freeform 762"/>
              <p:cNvSpPr>
                <a:spLocks/>
              </p:cNvSpPr>
              <p:nvPr/>
            </p:nvSpPr>
            <p:spPr bwMode="auto">
              <a:xfrm>
                <a:off x="3251" y="1107"/>
                <a:ext cx="2300" cy="798"/>
              </a:xfrm>
              <a:custGeom>
                <a:avLst/>
                <a:gdLst>
                  <a:gd name="T0" fmla="*/ 1220 w 2300"/>
                  <a:gd name="T1" fmla="*/ 58 h 798"/>
                  <a:gd name="T2" fmla="*/ 1174 w 2300"/>
                  <a:gd name="T3" fmla="*/ 104 h 798"/>
                  <a:gd name="T4" fmla="*/ 1364 w 2300"/>
                  <a:gd name="T5" fmla="*/ 114 h 798"/>
                  <a:gd name="T6" fmla="*/ 1488 w 2300"/>
                  <a:gd name="T7" fmla="*/ 166 h 798"/>
                  <a:gd name="T8" fmla="*/ 1680 w 2300"/>
                  <a:gd name="T9" fmla="*/ 154 h 798"/>
                  <a:gd name="T10" fmla="*/ 1878 w 2300"/>
                  <a:gd name="T11" fmla="*/ 202 h 798"/>
                  <a:gd name="T12" fmla="*/ 1992 w 2300"/>
                  <a:gd name="T13" fmla="*/ 230 h 798"/>
                  <a:gd name="T14" fmla="*/ 2114 w 2300"/>
                  <a:gd name="T15" fmla="*/ 222 h 798"/>
                  <a:gd name="T16" fmla="*/ 2256 w 2300"/>
                  <a:gd name="T17" fmla="*/ 284 h 798"/>
                  <a:gd name="T18" fmla="*/ 2216 w 2300"/>
                  <a:gd name="T19" fmla="*/ 336 h 798"/>
                  <a:gd name="T20" fmla="*/ 2120 w 2300"/>
                  <a:gd name="T21" fmla="*/ 340 h 798"/>
                  <a:gd name="T22" fmla="*/ 2106 w 2300"/>
                  <a:gd name="T23" fmla="*/ 392 h 798"/>
                  <a:gd name="T24" fmla="*/ 1950 w 2300"/>
                  <a:gd name="T25" fmla="*/ 444 h 798"/>
                  <a:gd name="T26" fmla="*/ 1904 w 2300"/>
                  <a:gd name="T27" fmla="*/ 554 h 798"/>
                  <a:gd name="T28" fmla="*/ 1824 w 2300"/>
                  <a:gd name="T29" fmla="*/ 598 h 798"/>
                  <a:gd name="T30" fmla="*/ 1938 w 2300"/>
                  <a:gd name="T31" fmla="*/ 394 h 798"/>
                  <a:gd name="T32" fmla="*/ 1878 w 2300"/>
                  <a:gd name="T33" fmla="*/ 406 h 798"/>
                  <a:gd name="T34" fmla="*/ 1750 w 2300"/>
                  <a:gd name="T35" fmla="*/ 466 h 798"/>
                  <a:gd name="T36" fmla="*/ 1526 w 2300"/>
                  <a:gd name="T37" fmla="*/ 548 h 798"/>
                  <a:gd name="T38" fmla="*/ 1608 w 2300"/>
                  <a:gd name="T39" fmla="*/ 604 h 798"/>
                  <a:gd name="T40" fmla="*/ 1468 w 2300"/>
                  <a:gd name="T41" fmla="*/ 768 h 798"/>
                  <a:gd name="T42" fmla="*/ 1502 w 2300"/>
                  <a:gd name="T43" fmla="*/ 676 h 798"/>
                  <a:gd name="T44" fmla="*/ 1364 w 2300"/>
                  <a:gd name="T45" fmla="*/ 576 h 798"/>
                  <a:gd name="T46" fmla="*/ 1288 w 2300"/>
                  <a:gd name="T47" fmla="*/ 644 h 798"/>
                  <a:gd name="T48" fmla="*/ 1148 w 2300"/>
                  <a:gd name="T49" fmla="*/ 656 h 798"/>
                  <a:gd name="T50" fmla="*/ 1056 w 2300"/>
                  <a:gd name="T51" fmla="*/ 616 h 798"/>
                  <a:gd name="T52" fmla="*/ 946 w 2300"/>
                  <a:gd name="T53" fmla="*/ 632 h 798"/>
                  <a:gd name="T54" fmla="*/ 818 w 2300"/>
                  <a:gd name="T55" fmla="*/ 646 h 798"/>
                  <a:gd name="T56" fmla="*/ 698 w 2300"/>
                  <a:gd name="T57" fmla="*/ 570 h 798"/>
                  <a:gd name="T58" fmla="*/ 576 w 2300"/>
                  <a:gd name="T59" fmla="*/ 546 h 798"/>
                  <a:gd name="T60" fmla="*/ 474 w 2300"/>
                  <a:gd name="T61" fmla="*/ 614 h 798"/>
                  <a:gd name="T62" fmla="*/ 338 w 2300"/>
                  <a:gd name="T63" fmla="*/ 612 h 798"/>
                  <a:gd name="T64" fmla="*/ 292 w 2300"/>
                  <a:gd name="T65" fmla="*/ 682 h 798"/>
                  <a:gd name="T66" fmla="*/ 288 w 2300"/>
                  <a:gd name="T67" fmla="*/ 772 h 798"/>
                  <a:gd name="T68" fmla="*/ 236 w 2300"/>
                  <a:gd name="T69" fmla="*/ 772 h 798"/>
                  <a:gd name="T70" fmla="*/ 144 w 2300"/>
                  <a:gd name="T71" fmla="*/ 724 h 798"/>
                  <a:gd name="T72" fmla="*/ 164 w 2300"/>
                  <a:gd name="T73" fmla="*/ 642 h 798"/>
                  <a:gd name="T74" fmla="*/ 70 w 2300"/>
                  <a:gd name="T75" fmla="*/ 602 h 798"/>
                  <a:gd name="T76" fmla="*/ 28 w 2300"/>
                  <a:gd name="T77" fmla="*/ 528 h 798"/>
                  <a:gd name="T78" fmla="*/ 36 w 2300"/>
                  <a:gd name="T79" fmla="*/ 444 h 798"/>
                  <a:gd name="T80" fmla="*/ 36 w 2300"/>
                  <a:gd name="T81" fmla="*/ 316 h 798"/>
                  <a:gd name="T82" fmla="*/ 56 w 2300"/>
                  <a:gd name="T83" fmla="*/ 220 h 798"/>
                  <a:gd name="T84" fmla="*/ 180 w 2300"/>
                  <a:gd name="T85" fmla="*/ 306 h 798"/>
                  <a:gd name="T86" fmla="*/ 104 w 2300"/>
                  <a:gd name="T87" fmla="*/ 324 h 798"/>
                  <a:gd name="T88" fmla="*/ 150 w 2300"/>
                  <a:gd name="T89" fmla="*/ 338 h 798"/>
                  <a:gd name="T90" fmla="*/ 240 w 2300"/>
                  <a:gd name="T91" fmla="*/ 286 h 798"/>
                  <a:gd name="T92" fmla="*/ 262 w 2300"/>
                  <a:gd name="T93" fmla="*/ 290 h 798"/>
                  <a:gd name="T94" fmla="*/ 392 w 2300"/>
                  <a:gd name="T95" fmla="*/ 248 h 798"/>
                  <a:gd name="T96" fmla="*/ 444 w 2300"/>
                  <a:gd name="T97" fmla="*/ 216 h 798"/>
                  <a:gd name="T98" fmla="*/ 574 w 2300"/>
                  <a:gd name="T99" fmla="*/ 230 h 798"/>
                  <a:gd name="T100" fmla="*/ 642 w 2300"/>
                  <a:gd name="T101" fmla="*/ 148 h 798"/>
                  <a:gd name="T102" fmla="*/ 608 w 2300"/>
                  <a:gd name="T103" fmla="*/ 294 h 798"/>
                  <a:gd name="T104" fmla="*/ 674 w 2300"/>
                  <a:gd name="T105" fmla="*/ 238 h 798"/>
                  <a:gd name="T106" fmla="*/ 664 w 2300"/>
                  <a:gd name="T107" fmla="*/ 198 h 798"/>
                  <a:gd name="T108" fmla="*/ 682 w 2300"/>
                  <a:gd name="T109" fmla="*/ 180 h 798"/>
                  <a:gd name="T110" fmla="*/ 706 w 2300"/>
                  <a:gd name="T111" fmla="*/ 150 h 798"/>
                  <a:gd name="T112" fmla="*/ 802 w 2300"/>
                  <a:gd name="T113" fmla="*/ 116 h 798"/>
                  <a:gd name="T114" fmla="*/ 1066 w 2300"/>
                  <a:gd name="T11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0" h="798">
                    <a:moveTo>
                      <a:pt x="1066" y="0"/>
                    </a:moveTo>
                    <a:lnTo>
                      <a:pt x="1096" y="2"/>
                    </a:lnTo>
                    <a:lnTo>
                      <a:pt x="1112" y="8"/>
                    </a:lnTo>
                    <a:lnTo>
                      <a:pt x="1092" y="18"/>
                    </a:lnTo>
                    <a:lnTo>
                      <a:pt x="1130" y="20"/>
                    </a:lnTo>
                    <a:lnTo>
                      <a:pt x="1124" y="34"/>
                    </a:lnTo>
                    <a:lnTo>
                      <a:pt x="1190" y="32"/>
                    </a:lnTo>
                    <a:lnTo>
                      <a:pt x="1216" y="48"/>
                    </a:lnTo>
                    <a:lnTo>
                      <a:pt x="1220" y="58"/>
                    </a:lnTo>
                    <a:lnTo>
                      <a:pt x="1212" y="76"/>
                    </a:lnTo>
                    <a:lnTo>
                      <a:pt x="1182" y="92"/>
                    </a:lnTo>
                    <a:lnTo>
                      <a:pt x="1150" y="110"/>
                    </a:lnTo>
                    <a:lnTo>
                      <a:pt x="1106" y="136"/>
                    </a:lnTo>
                    <a:lnTo>
                      <a:pt x="1108" y="138"/>
                    </a:lnTo>
                    <a:lnTo>
                      <a:pt x="1128" y="132"/>
                    </a:lnTo>
                    <a:lnTo>
                      <a:pt x="1166" y="120"/>
                    </a:lnTo>
                    <a:lnTo>
                      <a:pt x="1164" y="114"/>
                    </a:lnTo>
                    <a:lnTo>
                      <a:pt x="1174" y="104"/>
                    </a:lnTo>
                    <a:lnTo>
                      <a:pt x="1188" y="102"/>
                    </a:lnTo>
                    <a:lnTo>
                      <a:pt x="1190" y="110"/>
                    </a:lnTo>
                    <a:lnTo>
                      <a:pt x="1202" y="114"/>
                    </a:lnTo>
                    <a:lnTo>
                      <a:pt x="1218" y="124"/>
                    </a:lnTo>
                    <a:lnTo>
                      <a:pt x="1226" y="120"/>
                    </a:lnTo>
                    <a:lnTo>
                      <a:pt x="1292" y="120"/>
                    </a:lnTo>
                    <a:lnTo>
                      <a:pt x="1292" y="130"/>
                    </a:lnTo>
                    <a:lnTo>
                      <a:pt x="1356" y="136"/>
                    </a:lnTo>
                    <a:lnTo>
                      <a:pt x="1364" y="114"/>
                    </a:lnTo>
                    <a:lnTo>
                      <a:pt x="1376" y="116"/>
                    </a:lnTo>
                    <a:lnTo>
                      <a:pt x="1394" y="124"/>
                    </a:lnTo>
                    <a:lnTo>
                      <a:pt x="1422" y="122"/>
                    </a:lnTo>
                    <a:lnTo>
                      <a:pt x="1438" y="140"/>
                    </a:lnTo>
                    <a:lnTo>
                      <a:pt x="1442" y="156"/>
                    </a:lnTo>
                    <a:lnTo>
                      <a:pt x="1432" y="164"/>
                    </a:lnTo>
                    <a:lnTo>
                      <a:pt x="1452" y="188"/>
                    </a:lnTo>
                    <a:lnTo>
                      <a:pt x="1470" y="192"/>
                    </a:lnTo>
                    <a:lnTo>
                      <a:pt x="1488" y="166"/>
                    </a:lnTo>
                    <a:lnTo>
                      <a:pt x="1512" y="178"/>
                    </a:lnTo>
                    <a:lnTo>
                      <a:pt x="1534" y="170"/>
                    </a:lnTo>
                    <a:lnTo>
                      <a:pt x="1556" y="180"/>
                    </a:lnTo>
                    <a:lnTo>
                      <a:pt x="1576" y="172"/>
                    </a:lnTo>
                    <a:lnTo>
                      <a:pt x="1590" y="166"/>
                    </a:lnTo>
                    <a:lnTo>
                      <a:pt x="1588" y="150"/>
                    </a:lnTo>
                    <a:lnTo>
                      <a:pt x="1608" y="142"/>
                    </a:lnTo>
                    <a:lnTo>
                      <a:pt x="1668" y="146"/>
                    </a:lnTo>
                    <a:lnTo>
                      <a:pt x="1680" y="154"/>
                    </a:lnTo>
                    <a:lnTo>
                      <a:pt x="1684" y="158"/>
                    </a:lnTo>
                    <a:lnTo>
                      <a:pt x="1716" y="154"/>
                    </a:lnTo>
                    <a:lnTo>
                      <a:pt x="1730" y="162"/>
                    </a:lnTo>
                    <a:lnTo>
                      <a:pt x="1724" y="170"/>
                    </a:lnTo>
                    <a:lnTo>
                      <a:pt x="1736" y="176"/>
                    </a:lnTo>
                    <a:lnTo>
                      <a:pt x="1764" y="188"/>
                    </a:lnTo>
                    <a:lnTo>
                      <a:pt x="1810" y="188"/>
                    </a:lnTo>
                    <a:lnTo>
                      <a:pt x="1858" y="190"/>
                    </a:lnTo>
                    <a:lnTo>
                      <a:pt x="1878" y="202"/>
                    </a:lnTo>
                    <a:lnTo>
                      <a:pt x="1876" y="214"/>
                    </a:lnTo>
                    <a:lnTo>
                      <a:pt x="1878" y="222"/>
                    </a:lnTo>
                    <a:lnTo>
                      <a:pt x="1894" y="226"/>
                    </a:lnTo>
                    <a:lnTo>
                      <a:pt x="1908" y="222"/>
                    </a:lnTo>
                    <a:lnTo>
                      <a:pt x="1966" y="224"/>
                    </a:lnTo>
                    <a:lnTo>
                      <a:pt x="1974" y="224"/>
                    </a:lnTo>
                    <a:lnTo>
                      <a:pt x="1988" y="218"/>
                    </a:lnTo>
                    <a:lnTo>
                      <a:pt x="1992" y="220"/>
                    </a:lnTo>
                    <a:lnTo>
                      <a:pt x="1992" y="230"/>
                    </a:lnTo>
                    <a:lnTo>
                      <a:pt x="2010" y="242"/>
                    </a:lnTo>
                    <a:lnTo>
                      <a:pt x="2026" y="244"/>
                    </a:lnTo>
                    <a:lnTo>
                      <a:pt x="2032" y="238"/>
                    </a:lnTo>
                    <a:lnTo>
                      <a:pt x="2026" y="226"/>
                    </a:lnTo>
                    <a:lnTo>
                      <a:pt x="2026" y="210"/>
                    </a:lnTo>
                    <a:lnTo>
                      <a:pt x="2036" y="208"/>
                    </a:lnTo>
                    <a:lnTo>
                      <a:pt x="2052" y="216"/>
                    </a:lnTo>
                    <a:lnTo>
                      <a:pt x="2080" y="216"/>
                    </a:lnTo>
                    <a:lnTo>
                      <a:pt x="2114" y="222"/>
                    </a:lnTo>
                    <a:lnTo>
                      <a:pt x="2154" y="236"/>
                    </a:lnTo>
                    <a:lnTo>
                      <a:pt x="2176" y="248"/>
                    </a:lnTo>
                    <a:lnTo>
                      <a:pt x="2218" y="266"/>
                    </a:lnTo>
                    <a:lnTo>
                      <a:pt x="2224" y="276"/>
                    </a:lnTo>
                    <a:lnTo>
                      <a:pt x="2230" y="288"/>
                    </a:lnTo>
                    <a:lnTo>
                      <a:pt x="2238" y="302"/>
                    </a:lnTo>
                    <a:lnTo>
                      <a:pt x="2246" y="298"/>
                    </a:lnTo>
                    <a:lnTo>
                      <a:pt x="2240" y="282"/>
                    </a:lnTo>
                    <a:lnTo>
                      <a:pt x="2256" y="284"/>
                    </a:lnTo>
                    <a:lnTo>
                      <a:pt x="2272" y="288"/>
                    </a:lnTo>
                    <a:lnTo>
                      <a:pt x="2288" y="298"/>
                    </a:lnTo>
                    <a:lnTo>
                      <a:pt x="2300" y="308"/>
                    </a:lnTo>
                    <a:lnTo>
                      <a:pt x="2288" y="320"/>
                    </a:lnTo>
                    <a:lnTo>
                      <a:pt x="2266" y="324"/>
                    </a:lnTo>
                    <a:lnTo>
                      <a:pt x="2262" y="338"/>
                    </a:lnTo>
                    <a:lnTo>
                      <a:pt x="2256" y="354"/>
                    </a:lnTo>
                    <a:lnTo>
                      <a:pt x="2230" y="342"/>
                    </a:lnTo>
                    <a:lnTo>
                      <a:pt x="2216" y="336"/>
                    </a:lnTo>
                    <a:lnTo>
                      <a:pt x="2218" y="322"/>
                    </a:lnTo>
                    <a:lnTo>
                      <a:pt x="2180" y="324"/>
                    </a:lnTo>
                    <a:lnTo>
                      <a:pt x="2174" y="306"/>
                    </a:lnTo>
                    <a:lnTo>
                      <a:pt x="2162" y="308"/>
                    </a:lnTo>
                    <a:lnTo>
                      <a:pt x="2160" y="320"/>
                    </a:lnTo>
                    <a:lnTo>
                      <a:pt x="2166" y="324"/>
                    </a:lnTo>
                    <a:lnTo>
                      <a:pt x="2150" y="340"/>
                    </a:lnTo>
                    <a:lnTo>
                      <a:pt x="2132" y="342"/>
                    </a:lnTo>
                    <a:lnTo>
                      <a:pt x="2120" y="340"/>
                    </a:lnTo>
                    <a:lnTo>
                      <a:pt x="2112" y="334"/>
                    </a:lnTo>
                    <a:lnTo>
                      <a:pt x="2110" y="342"/>
                    </a:lnTo>
                    <a:lnTo>
                      <a:pt x="2124" y="346"/>
                    </a:lnTo>
                    <a:lnTo>
                      <a:pt x="2136" y="354"/>
                    </a:lnTo>
                    <a:lnTo>
                      <a:pt x="2140" y="370"/>
                    </a:lnTo>
                    <a:lnTo>
                      <a:pt x="2152" y="386"/>
                    </a:lnTo>
                    <a:lnTo>
                      <a:pt x="2140" y="392"/>
                    </a:lnTo>
                    <a:lnTo>
                      <a:pt x="2116" y="384"/>
                    </a:lnTo>
                    <a:lnTo>
                      <a:pt x="2106" y="392"/>
                    </a:lnTo>
                    <a:lnTo>
                      <a:pt x="2074" y="408"/>
                    </a:lnTo>
                    <a:lnTo>
                      <a:pt x="2056" y="416"/>
                    </a:lnTo>
                    <a:lnTo>
                      <a:pt x="2020" y="444"/>
                    </a:lnTo>
                    <a:lnTo>
                      <a:pt x="2008" y="434"/>
                    </a:lnTo>
                    <a:lnTo>
                      <a:pt x="1980" y="434"/>
                    </a:lnTo>
                    <a:lnTo>
                      <a:pt x="1966" y="448"/>
                    </a:lnTo>
                    <a:lnTo>
                      <a:pt x="1962" y="434"/>
                    </a:lnTo>
                    <a:lnTo>
                      <a:pt x="1954" y="434"/>
                    </a:lnTo>
                    <a:lnTo>
                      <a:pt x="1950" y="444"/>
                    </a:lnTo>
                    <a:lnTo>
                      <a:pt x="1926" y="444"/>
                    </a:lnTo>
                    <a:lnTo>
                      <a:pt x="1904" y="478"/>
                    </a:lnTo>
                    <a:lnTo>
                      <a:pt x="1904" y="490"/>
                    </a:lnTo>
                    <a:lnTo>
                      <a:pt x="1918" y="490"/>
                    </a:lnTo>
                    <a:lnTo>
                      <a:pt x="1914" y="506"/>
                    </a:lnTo>
                    <a:lnTo>
                      <a:pt x="1920" y="520"/>
                    </a:lnTo>
                    <a:lnTo>
                      <a:pt x="1904" y="526"/>
                    </a:lnTo>
                    <a:lnTo>
                      <a:pt x="1898" y="538"/>
                    </a:lnTo>
                    <a:lnTo>
                      <a:pt x="1904" y="554"/>
                    </a:lnTo>
                    <a:lnTo>
                      <a:pt x="1882" y="562"/>
                    </a:lnTo>
                    <a:lnTo>
                      <a:pt x="1876" y="568"/>
                    </a:lnTo>
                    <a:lnTo>
                      <a:pt x="1876" y="574"/>
                    </a:lnTo>
                    <a:lnTo>
                      <a:pt x="1878" y="578"/>
                    </a:lnTo>
                    <a:lnTo>
                      <a:pt x="1876" y="580"/>
                    </a:lnTo>
                    <a:lnTo>
                      <a:pt x="1854" y="588"/>
                    </a:lnTo>
                    <a:lnTo>
                      <a:pt x="1854" y="600"/>
                    </a:lnTo>
                    <a:lnTo>
                      <a:pt x="1828" y="628"/>
                    </a:lnTo>
                    <a:lnTo>
                      <a:pt x="1824" y="598"/>
                    </a:lnTo>
                    <a:lnTo>
                      <a:pt x="1812" y="554"/>
                    </a:lnTo>
                    <a:lnTo>
                      <a:pt x="1812" y="522"/>
                    </a:lnTo>
                    <a:lnTo>
                      <a:pt x="1824" y="510"/>
                    </a:lnTo>
                    <a:lnTo>
                      <a:pt x="1834" y="490"/>
                    </a:lnTo>
                    <a:lnTo>
                      <a:pt x="1848" y="486"/>
                    </a:lnTo>
                    <a:lnTo>
                      <a:pt x="1886" y="450"/>
                    </a:lnTo>
                    <a:lnTo>
                      <a:pt x="1914" y="430"/>
                    </a:lnTo>
                    <a:lnTo>
                      <a:pt x="1924" y="426"/>
                    </a:lnTo>
                    <a:lnTo>
                      <a:pt x="1938" y="394"/>
                    </a:lnTo>
                    <a:lnTo>
                      <a:pt x="1944" y="392"/>
                    </a:lnTo>
                    <a:lnTo>
                      <a:pt x="1930" y="386"/>
                    </a:lnTo>
                    <a:lnTo>
                      <a:pt x="1926" y="388"/>
                    </a:lnTo>
                    <a:lnTo>
                      <a:pt x="1920" y="392"/>
                    </a:lnTo>
                    <a:lnTo>
                      <a:pt x="1920" y="410"/>
                    </a:lnTo>
                    <a:lnTo>
                      <a:pt x="1908" y="410"/>
                    </a:lnTo>
                    <a:lnTo>
                      <a:pt x="1878" y="426"/>
                    </a:lnTo>
                    <a:lnTo>
                      <a:pt x="1872" y="420"/>
                    </a:lnTo>
                    <a:lnTo>
                      <a:pt x="1878" y="406"/>
                    </a:lnTo>
                    <a:lnTo>
                      <a:pt x="1870" y="410"/>
                    </a:lnTo>
                    <a:lnTo>
                      <a:pt x="1834" y="410"/>
                    </a:lnTo>
                    <a:lnTo>
                      <a:pt x="1800" y="436"/>
                    </a:lnTo>
                    <a:lnTo>
                      <a:pt x="1794" y="450"/>
                    </a:lnTo>
                    <a:lnTo>
                      <a:pt x="1796" y="454"/>
                    </a:lnTo>
                    <a:lnTo>
                      <a:pt x="1806" y="462"/>
                    </a:lnTo>
                    <a:lnTo>
                      <a:pt x="1792" y="462"/>
                    </a:lnTo>
                    <a:lnTo>
                      <a:pt x="1778" y="464"/>
                    </a:lnTo>
                    <a:lnTo>
                      <a:pt x="1750" y="466"/>
                    </a:lnTo>
                    <a:lnTo>
                      <a:pt x="1758" y="460"/>
                    </a:lnTo>
                    <a:lnTo>
                      <a:pt x="1752" y="452"/>
                    </a:lnTo>
                    <a:lnTo>
                      <a:pt x="1732" y="450"/>
                    </a:lnTo>
                    <a:lnTo>
                      <a:pt x="1720" y="452"/>
                    </a:lnTo>
                    <a:lnTo>
                      <a:pt x="1714" y="460"/>
                    </a:lnTo>
                    <a:lnTo>
                      <a:pt x="1688" y="458"/>
                    </a:lnTo>
                    <a:lnTo>
                      <a:pt x="1676" y="460"/>
                    </a:lnTo>
                    <a:lnTo>
                      <a:pt x="1630" y="460"/>
                    </a:lnTo>
                    <a:lnTo>
                      <a:pt x="1526" y="548"/>
                    </a:lnTo>
                    <a:lnTo>
                      <a:pt x="1528" y="558"/>
                    </a:lnTo>
                    <a:lnTo>
                      <a:pt x="1546" y="556"/>
                    </a:lnTo>
                    <a:lnTo>
                      <a:pt x="1548" y="570"/>
                    </a:lnTo>
                    <a:lnTo>
                      <a:pt x="1556" y="560"/>
                    </a:lnTo>
                    <a:lnTo>
                      <a:pt x="1566" y="574"/>
                    </a:lnTo>
                    <a:lnTo>
                      <a:pt x="1578" y="564"/>
                    </a:lnTo>
                    <a:lnTo>
                      <a:pt x="1598" y="566"/>
                    </a:lnTo>
                    <a:lnTo>
                      <a:pt x="1612" y="584"/>
                    </a:lnTo>
                    <a:lnTo>
                      <a:pt x="1608" y="604"/>
                    </a:lnTo>
                    <a:lnTo>
                      <a:pt x="1600" y="624"/>
                    </a:lnTo>
                    <a:lnTo>
                      <a:pt x="1600" y="652"/>
                    </a:lnTo>
                    <a:lnTo>
                      <a:pt x="1594" y="668"/>
                    </a:lnTo>
                    <a:lnTo>
                      <a:pt x="1540" y="734"/>
                    </a:lnTo>
                    <a:lnTo>
                      <a:pt x="1524" y="754"/>
                    </a:lnTo>
                    <a:lnTo>
                      <a:pt x="1512" y="764"/>
                    </a:lnTo>
                    <a:lnTo>
                      <a:pt x="1496" y="770"/>
                    </a:lnTo>
                    <a:lnTo>
                      <a:pt x="1484" y="764"/>
                    </a:lnTo>
                    <a:lnTo>
                      <a:pt x="1468" y="768"/>
                    </a:lnTo>
                    <a:lnTo>
                      <a:pt x="1468" y="734"/>
                    </a:lnTo>
                    <a:lnTo>
                      <a:pt x="1480" y="726"/>
                    </a:lnTo>
                    <a:lnTo>
                      <a:pt x="1484" y="732"/>
                    </a:lnTo>
                    <a:lnTo>
                      <a:pt x="1496" y="730"/>
                    </a:lnTo>
                    <a:lnTo>
                      <a:pt x="1506" y="710"/>
                    </a:lnTo>
                    <a:lnTo>
                      <a:pt x="1512" y="690"/>
                    </a:lnTo>
                    <a:lnTo>
                      <a:pt x="1518" y="686"/>
                    </a:lnTo>
                    <a:lnTo>
                      <a:pt x="1518" y="674"/>
                    </a:lnTo>
                    <a:lnTo>
                      <a:pt x="1502" y="676"/>
                    </a:lnTo>
                    <a:lnTo>
                      <a:pt x="1490" y="678"/>
                    </a:lnTo>
                    <a:lnTo>
                      <a:pt x="1484" y="684"/>
                    </a:lnTo>
                    <a:lnTo>
                      <a:pt x="1466" y="682"/>
                    </a:lnTo>
                    <a:lnTo>
                      <a:pt x="1462" y="666"/>
                    </a:lnTo>
                    <a:lnTo>
                      <a:pt x="1436" y="650"/>
                    </a:lnTo>
                    <a:lnTo>
                      <a:pt x="1420" y="650"/>
                    </a:lnTo>
                    <a:lnTo>
                      <a:pt x="1402" y="604"/>
                    </a:lnTo>
                    <a:lnTo>
                      <a:pt x="1390" y="586"/>
                    </a:lnTo>
                    <a:lnTo>
                      <a:pt x="1364" y="576"/>
                    </a:lnTo>
                    <a:lnTo>
                      <a:pt x="1324" y="580"/>
                    </a:lnTo>
                    <a:lnTo>
                      <a:pt x="1312" y="584"/>
                    </a:lnTo>
                    <a:lnTo>
                      <a:pt x="1310" y="592"/>
                    </a:lnTo>
                    <a:lnTo>
                      <a:pt x="1322" y="594"/>
                    </a:lnTo>
                    <a:lnTo>
                      <a:pt x="1322" y="606"/>
                    </a:lnTo>
                    <a:lnTo>
                      <a:pt x="1312" y="612"/>
                    </a:lnTo>
                    <a:lnTo>
                      <a:pt x="1304" y="628"/>
                    </a:lnTo>
                    <a:lnTo>
                      <a:pt x="1300" y="642"/>
                    </a:lnTo>
                    <a:lnTo>
                      <a:pt x="1288" y="644"/>
                    </a:lnTo>
                    <a:lnTo>
                      <a:pt x="1280" y="652"/>
                    </a:lnTo>
                    <a:lnTo>
                      <a:pt x="1264" y="644"/>
                    </a:lnTo>
                    <a:lnTo>
                      <a:pt x="1242" y="642"/>
                    </a:lnTo>
                    <a:lnTo>
                      <a:pt x="1236" y="636"/>
                    </a:lnTo>
                    <a:lnTo>
                      <a:pt x="1226" y="638"/>
                    </a:lnTo>
                    <a:lnTo>
                      <a:pt x="1210" y="650"/>
                    </a:lnTo>
                    <a:lnTo>
                      <a:pt x="1184" y="656"/>
                    </a:lnTo>
                    <a:lnTo>
                      <a:pt x="1168" y="658"/>
                    </a:lnTo>
                    <a:lnTo>
                      <a:pt x="1148" y="656"/>
                    </a:lnTo>
                    <a:lnTo>
                      <a:pt x="1142" y="650"/>
                    </a:lnTo>
                    <a:lnTo>
                      <a:pt x="1138" y="644"/>
                    </a:lnTo>
                    <a:lnTo>
                      <a:pt x="1128" y="642"/>
                    </a:lnTo>
                    <a:lnTo>
                      <a:pt x="1124" y="636"/>
                    </a:lnTo>
                    <a:lnTo>
                      <a:pt x="1102" y="632"/>
                    </a:lnTo>
                    <a:lnTo>
                      <a:pt x="1090" y="640"/>
                    </a:lnTo>
                    <a:lnTo>
                      <a:pt x="1066" y="636"/>
                    </a:lnTo>
                    <a:lnTo>
                      <a:pt x="1058" y="626"/>
                    </a:lnTo>
                    <a:lnTo>
                      <a:pt x="1056" y="616"/>
                    </a:lnTo>
                    <a:lnTo>
                      <a:pt x="1034" y="610"/>
                    </a:lnTo>
                    <a:lnTo>
                      <a:pt x="1010" y="604"/>
                    </a:lnTo>
                    <a:lnTo>
                      <a:pt x="994" y="620"/>
                    </a:lnTo>
                    <a:lnTo>
                      <a:pt x="1004" y="632"/>
                    </a:lnTo>
                    <a:lnTo>
                      <a:pt x="1002" y="640"/>
                    </a:lnTo>
                    <a:lnTo>
                      <a:pt x="992" y="648"/>
                    </a:lnTo>
                    <a:lnTo>
                      <a:pt x="984" y="644"/>
                    </a:lnTo>
                    <a:lnTo>
                      <a:pt x="956" y="644"/>
                    </a:lnTo>
                    <a:lnTo>
                      <a:pt x="946" y="632"/>
                    </a:lnTo>
                    <a:lnTo>
                      <a:pt x="928" y="630"/>
                    </a:lnTo>
                    <a:lnTo>
                      <a:pt x="912" y="628"/>
                    </a:lnTo>
                    <a:lnTo>
                      <a:pt x="882" y="644"/>
                    </a:lnTo>
                    <a:lnTo>
                      <a:pt x="876" y="650"/>
                    </a:lnTo>
                    <a:lnTo>
                      <a:pt x="862" y="652"/>
                    </a:lnTo>
                    <a:lnTo>
                      <a:pt x="856" y="660"/>
                    </a:lnTo>
                    <a:lnTo>
                      <a:pt x="842" y="660"/>
                    </a:lnTo>
                    <a:lnTo>
                      <a:pt x="838" y="648"/>
                    </a:lnTo>
                    <a:lnTo>
                      <a:pt x="818" y="646"/>
                    </a:lnTo>
                    <a:lnTo>
                      <a:pt x="806" y="636"/>
                    </a:lnTo>
                    <a:lnTo>
                      <a:pt x="796" y="624"/>
                    </a:lnTo>
                    <a:lnTo>
                      <a:pt x="772" y="628"/>
                    </a:lnTo>
                    <a:lnTo>
                      <a:pt x="752" y="616"/>
                    </a:lnTo>
                    <a:lnTo>
                      <a:pt x="748" y="624"/>
                    </a:lnTo>
                    <a:lnTo>
                      <a:pt x="742" y="624"/>
                    </a:lnTo>
                    <a:lnTo>
                      <a:pt x="730" y="602"/>
                    </a:lnTo>
                    <a:lnTo>
                      <a:pt x="714" y="580"/>
                    </a:lnTo>
                    <a:lnTo>
                      <a:pt x="698" y="570"/>
                    </a:lnTo>
                    <a:lnTo>
                      <a:pt x="698" y="562"/>
                    </a:lnTo>
                    <a:lnTo>
                      <a:pt x="678" y="566"/>
                    </a:lnTo>
                    <a:lnTo>
                      <a:pt x="662" y="576"/>
                    </a:lnTo>
                    <a:lnTo>
                      <a:pt x="644" y="566"/>
                    </a:lnTo>
                    <a:lnTo>
                      <a:pt x="626" y="562"/>
                    </a:lnTo>
                    <a:lnTo>
                      <a:pt x="616" y="556"/>
                    </a:lnTo>
                    <a:lnTo>
                      <a:pt x="614" y="544"/>
                    </a:lnTo>
                    <a:lnTo>
                      <a:pt x="596" y="542"/>
                    </a:lnTo>
                    <a:lnTo>
                      <a:pt x="576" y="546"/>
                    </a:lnTo>
                    <a:lnTo>
                      <a:pt x="498" y="566"/>
                    </a:lnTo>
                    <a:lnTo>
                      <a:pt x="478" y="568"/>
                    </a:lnTo>
                    <a:lnTo>
                      <a:pt x="482" y="578"/>
                    </a:lnTo>
                    <a:lnTo>
                      <a:pt x="486" y="584"/>
                    </a:lnTo>
                    <a:lnTo>
                      <a:pt x="474" y="588"/>
                    </a:lnTo>
                    <a:lnTo>
                      <a:pt x="472" y="598"/>
                    </a:lnTo>
                    <a:lnTo>
                      <a:pt x="468" y="602"/>
                    </a:lnTo>
                    <a:lnTo>
                      <a:pt x="462" y="610"/>
                    </a:lnTo>
                    <a:lnTo>
                      <a:pt x="474" y="614"/>
                    </a:lnTo>
                    <a:lnTo>
                      <a:pt x="482" y="620"/>
                    </a:lnTo>
                    <a:lnTo>
                      <a:pt x="472" y="630"/>
                    </a:lnTo>
                    <a:lnTo>
                      <a:pt x="450" y="632"/>
                    </a:lnTo>
                    <a:lnTo>
                      <a:pt x="440" y="622"/>
                    </a:lnTo>
                    <a:lnTo>
                      <a:pt x="424" y="622"/>
                    </a:lnTo>
                    <a:lnTo>
                      <a:pt x="404" y="632"/>
                    </a:lnTo>
                    <a:lnTo>
                      <a:pt x="390" y="630"/>
                    </a:lnTo>
                    <a:lnTo>
                      <a:pt x="370" y="616"/>
                    </a:lnTo>
                    <a:lnTo>
                      <a:pt x="338" y="612"/>
                    </a:lnTo>
                    <a:lnTo>
                      <a:pt x="324" y="616"/>
                    </a:lnTo>
                    <a:lnTo>
                      <a:pt x="304" y="632"/>
                    </a:lnTo>
                    <a:lnTo>
                      <a:pt x="302" y="644"/>
                    </a:lnTo>
                    <a:lnTo>
                      <a:pt x="294" y="648"/>
                    </a:lnTo>
                    <a:lnTo>
                      <a:pt x="288" y="632"/>
                    </a:lnTo>
                    <a:lnTo>
                      <a:pt x="276" y="646"/>
                    </a:lnTo>
                    <a:lnTo>
                      <a:pt x="272" y="666"/>
                    </a:lnTo>
                    <a:lnTo>
                      <a:pt x="280" y="680"/>
                    </a:lnTo>
                    <a:lnTo>
                      <a:pt x="292" y="682"/>
                    </a:lnTo>
                    <a:lnTo>
                      <a:pt x="304" y="698"/>
                    </a:lnTo>
                    <a:lnTo>
                      <a:pt x="306" y="710"/>
                    </a:lnTo>
                    <a:lnTo>
                      <a:pt x="292" y="720"/>
                    </a:lnTo>
                    <a:lnTo>
                      <a:pt x="284" y="726"/>
                    </a:lnTo>
                    <a:lnTo>
                      <a:pt x="280" y="734"/>
                    </a:lnTo>
                    <a:lnTo>
                      <a:pt x="272" y="742"/>
                    </a:lnTo>
                    <a:lnTo>
                      <a:pt x="280" y="748"/>
                    </a:lnTo>
                    <a:lnTo>
                      <a:pt x="286" y="756"/>
                    </a:lnTo>
                    <a:lnTo>
                      <a:pt x="288" y="772"/>
                    </a:lnTo>
                    <a:lnTo>
                      <a:pt x="300" y="786"/>
                    </a:lnTo>
                    <a:lnTo>
                      <a:pt x="290" y="796"/>
                    </a:lnTo>
                    <a:lnTo>
                      <a:pt x="288" y="798"/>
                    </a:lnTo>
                    <a:lnTo>
                      <a:pt x="272" y="786"/>
                    </a:lnTo>
                    <a:lnTo>
                      <a:pt x="268" y="784"/>
                    </a:lnTo>
                    <a:lnTo>
                      <a:pt x="258" y="776"/>
                    </a:lnTo>
                    <a:lnTo>
                      <a:pt x="250" y="770"/>
                    </a:lnTo>
                    <a:lnTo>
                      <a:pt x="240" y="772"/>
                    </a:lnTo>
                    <a:lnTo>
                      <a:pt x="236" y="772"/>
                    </a:lnTo>
                    <a:lnTo>
                      <a:pt x="226" y="768"/>
                    </a:lnTo>
                    <a:lnTo>
                      <a:pt x="214" y="762"/>
                    </a:lnTo>
                    <a:lnTo>
                      <a:pt x="206" y="762"/>
                    </a:lnTo>
                    <a:lnTo>
                      <a:pt x="198" y="764"/>
                    </a:lnTo>
                    <a:lnTo>
                      <a:pt x="188" y="756"/>
                    </a:lnTo>
                    <a:lnTo>
                      <a:pt x="176" y="758"/>
                    </a:lnTo>
                    <a:lnTo>
                      <a:pt x="154" y="742"/>
                    </a:lnTo>
                    <a:lnTo>
                      <a:pt x="142" y="736"/>
                    </a:lnTo>
                    <a:lnTo>
                      <a:pt x="144" y="724"/>
                    </a:lnTo>
                    <a:lnTo>
                      <a:pt x="156" y="714"/>
                    </a:lnTo>
                    <a:lnTo>
                      <a:pt x="154" y="704"/>
                    </a:lnTo>
                    <a:lnTo>
                      <a:pt x="168" y="696"/>
                    </a:lnTo>
                    <a:lnTo>
                      <a:pt x="152" y="694"/>
                    </a:lnTo>
                    <a:lnTo>
                      <a:pt x="154" y="686"/>
                    </a:lnTo>
                    <a:lnTo>
                      <a:pt x="162" y="682"/>
                    </a:lnTo>
                    <a:lnTo>
                      <a:pt x="176" y="680"/>
                    </a:lnTo>
                    <a:lnTo>
                      <a:pt x="178" y="650"/>
                    </a:lnTo>
                    <a:lnTo>
                      <a:pt x="164" y="642"/>
                    </a:lnTo>
                    <a:lnTo>
                      <a:pt x="146" y="642"/>
                    </a:lnTo>
                    <a:lnTo>
                      <a:pt x="144" y="636"/>
                    </a:lnTo>
                    <a:lnTo>
                      <a:pt x="116" y="634"/>
                    </a:lnTo>
                    <a:lnTo>
                      <a:pt x="112" y="622"/>
                    </a:lnTo>
                    <a:lnTo>
                      <a:pt x="96" y="618"/>
                    </a:lnTo>
                    <a:lnTo>
                      <a:pt x="98" y="608"/>
                    </a:lnTo>
                    <a:lnTo>
                      <a:pt x="94" y="598"/>
                    </a:lnTo>
                    <a:lnTo>
                      <a:pt x="74" y="598"/>
                    </a:lnTo>
                    <a:lnTo>
                      <a:pt x="70" y="602"/>
                    </a:lnTo>
                    <a:lnTo>
                      <a:pt x="64" y="604"/>
                    </a:lnTo>
                    <a:lnTo>
                      <a:pt x="58" y="600"/>
                    </a:lnTo>
                    <a:lnTo>
                      <a:pt x="58" y="582"/>
                    </a:lnTo>
                    <a:lnTo>
                      <a:pt x="74" y="582"/>
                    </a:lnTo>
                    <a:lnTo>
                      <a:pt x="76" y="580"/>
                    </a:lnTo>
                    <a:lnTo>
                      <a:pt x="50" y="554"/>
                    </a:lnTo>
                    <a:lnTo>
                      <a:pt x="46" y="534"/>
                    </a:lnTo>
                    <a:lnTo>
                      <a:pt x="28" y="532"/>
                    </a:lnTo>
                    <a:lnTo>
                      <a:pt x="28" y="528"/>
                    </a:lnTo>
                    <a:lnTo>
                      <a:pt x="12" y="524"/>
                    </a:lnTo>
                    <a:lnTo>
                      <a:pt x="10" y="518"/>
                    </a:lnTo>
                    <a:lnTo>
                      <a:pt x="6" y="504"/>
                    </a:lnTo>
                    <a:lnTo>
                      <a:pt x="0" y="494"/>
                    </a:lnTo>
                    <a:lnTo>
                      <a:pt x="2" y="482"/>
                    </a:lnTo>
                    <a:lnTo>
                      <a:pt x="2" y="468"/>
                    </a:lnTo>
                    <a:lnTo>
                      <a:pt x="8" y="458"/>
                    </a:lnTo>
                    <a:lnTo>
                      <a:pt x="24" y="444"/>
                    </a:lnTo>
                    <a:lnTo>
                      <a:pt x="36" y="444"/>
                    </a:lnTo>
                    <a:lnTo>
                      <a:pt x="20" y="436"/>
                    </a:lnTo>
                    <a:lnTo>
                      <a:pt x="10" y="426"/>
                    </a:lnTo>
                    <a:lnTo>
                      <a:pt x="50" y="392"/>
                    </a:lnTo>
                    <a:lnTo>
                      <a:pt x="58" y="380"/>
                    </a:lnTo>
                    <a:lnTo>
                      <a:pt x="36" y="364"/>
                    </a:lnTo>
                    <a:lnTo>
                      <a:pt x="44" y="356"/>
                    </a:lnTo>
                    <a:lnTo>
                      <a:pt x="38" y="342"/>
                    </a:lnTo>
                    <a:lnTo>
                      <a:pt x="28" y="334"/>
                    </a:lnTo>
                    <a:lnTo>
                      <a:pt x="36" y="316"/>
                    </a:lnTo>
                    <a:lnTo>
                      <a:pt x="30" y="302"/>
                    </a:lnTo>
                    <a:lnTo>
                      <a:pt x="22" y="286"/>
                    </a:lnTo>
                    <a:lnTo>
                      <a:pt x="36" y="272"/>
                    </a:lnTo>
                    <a:lnTo>
                      <a:pt x="14" y="258"/>
                    </a:lnTo>
                    <a:lnTo>
                      <a:pt x="18" y="238"/>
                    </a:lnTo>
                    <a:lnTo>
                      <a:pt x="26" y="230"/>
                    </a:lnTo>
                    <a:lnTo>
                      <a:pt x="36" y="228"/>
                    </a:lnTo>
                    <a:lnTo>
                      <a:pt x="36" y="222"/>
                    </a:lnTo>
                    <a:lnTo>
                      <a:pt x="56" y="220"/>
                    </a:lnTo>
                    <a:lnTo>
                      <a:pt x="72" y="220"/>
                    </a:lnTo>
                    <a:lnTo>
                      <a:pt x="76" y="228"/>
                    </a:lnTo>
                    <a:lnTo>
                      <a:pt x="86" y="232"/>
                    </a:lnTo>
                    <a:lnTo>
                      <a:pt x="120" y="234"/>
                    </a:lnTo>
                    <a:lnTo>
                      <a:pt x="144" y="246"/>
                    </a:lnTo>
                    <a:lnTo>
                      <a:pt x="168" y="260"/>
                    </a:lnTo>
                    <a:lnTo>
                      <a:pt x="194" y="274"/>
                    </a:lnTo>
                    <a:lnTo>
                      <a:pt x="196" y="290"/>
                    </a:lnTo>
                    <a:lnTo>
                      <a:pt x="180" y="306"/>
                    </a:lnTo>
                    <a:lnTo>
                      <a:pt x="154" y="312"/>
                    </a:lnTo>
                    <a:lnTo>
                      <a:pt x="130" y="304"/>
                    </a:lnTo>
                    <a:lnTo>
                      <a:pt x="104" y="298"/>
                    </a:lnTo>
                    <a:lnTo>
                      <a:pt x="84" y="290"/>
                    </a:lnTo>
                    <a:lnTo>
                      <a:pt x="68" y="284"/>
                    </a:lnTo>
                    <a:lnTo>
                      <a:pt x="80" y="300"/>
                    </a:lnTo>
                    <a:lnTo>
                      <a:pt x="94" y="308"/>
                    </a:lnTo>
                    <a:lnTo>
                      <a:pt x="102" y="312"/>
                    </a:lnTo>
                    <a:lnTo>
                      <a:pt x="104" y="324"/>
                    </a:lnTo>
                    <a:lnTo>
                      <a:pt x="108" y="346"/>
                    </a:lnTo>
                    <a:lnTo>
                      <a:pt x="118" y="348"/>
                    </a:lnTo>
                    <a:lnTo>
                      <a:pt x="132" y="360"/>
                    </a:lnTo>
                    <a:lnTo>
                      <a:pt x="150" y="360"/>
                    </a:lnTo>
                    <a:lnTo>
                      <a:pt x="152" y="352"/>
                    </a:lnTo>
                    <a:lnTo>
                      <a:pt x="142" y="348"/>
                    </a:lnTo>
                    <a:lnTo>
                      <a:pt x="132" y="338"/>
                    </a:lnTo>
                    <a:lnTo>
                      <a:pt x="140" y="328"/>
                    </a:lnTo>
                    <a:lnTo>
                      <a:pt x="150" y="338"/>
                    </a:lnTo>
                    <a:lnTo>
                      <a:pt x="160" y="342"/>
                    </a:lnTo>
                    <a:lnTo>
                      <a:pt x="184" y="346"/>
                    </a:lnTo>
                    <a:lnTo>
                      <a:pt x="184" y="338"/>
                    </a:lnTo>
                    <a:lnTo>
                      <a:pt x="174" y="326"/>
                    </a:lnTo>
                    <a:lnTo>
                      <a:pt x="186" y="316"/>
                    </a:lnTo>
                    <a:lnTo>
                      <a:pt x="202" y="308"/>
                    </a:lnTo>
                    <a:lnTo>
                      <a:pt x="210" y="300"/>
                    </a:lnTo>
                    <a:lnTo>
                      <a:pt x="236" y="308"/>
                    </a:lnTo>
                    <a:lnTo>
                      <a:pt x="240" y="286"/>
                    </a:lnTo>
                    <a:lnTo>
                      <a:pt x="234" y="278"/>
                    </a:lnTo>
                    <a:lnTo>
                      <a:pt x="238" y="258"/>
                    </a:lnTo>
                    <a:lnTo>
                      <a:pt x="230" y="252"/>
                    </a:lnTo>
                    <a:lnTo>
                      <a:pt x="260" y="250"/>
                    </a:lnTo>
                    <a:lnTo>
                      <a:pt x="272" y="262"/>
                    </a:lnTo>
                    <a:lnTo>
                      <a:pt x="272" y="270"/>
                    </a:lnTo>
                    <a:lnTo>
                      <a:pt x="256" y="270"/>
                    </a:lnTo>
                    <a:lnTo>
                      <a:pt x="248" y="278"/>
                    </a:lnTo>
                    <a:lnTo>
                      <a:pt x="262" y="290"/>
                    </a:lnTo>
                    <a:lnTo>
                      <a:pt x="284" y="292"/>
                    </a:lnTo>
                    <a:lnTo>
                      <a:pt x="292" y="272"/>
                    </a:lnTo>
                    <a:lnTo>
                      <a:pt x="344" y="252"/>
                    </a:lnTo>
                    <a:lnTo>
                      <a:pt x="354" y="254"/>
                    </a:lnTo>
                    <a:lnTo>
                      <a:pt x="364" y="242"/>
                    </a:lnTo>
                    <a:lnTo>
                      <a:pt x="374" y="238"/>
                    </a:lnTo>
                    <a:lnTo>
                      <a:pt x="370" y="256"/>
                    </a:lnTo>
                    <a:lnTo>
                      <a:pt x="388" y="256"/>
                    </a:lnTo>
                    <a:lnTo>
                      <a:pt x="392" y="248"/>
                    </a:lnTo>
                    <a:lnTo>
                      <a:pt x="424" y="250"/>
                    </a:lnTo>
                    <a:lnTo>
                      <a:pt x="446" y="238"/>
                    </a:lnTo>
                    <a:lnTo>
                      <a:pt x="450" y="246"/>
                    </a:lnTo>
                    <a:lnTo>
                      <a:pt x="448" y="254"/>
                    </a:lnTo>
                    <a:lnTo>
                      <a:pt x="456" y="254"/>
                    </a:lnTo>
                    <a:lnTo>
                      <a:pt x="460" y="246"/>
                    </a:lnTo>
                    <a:lnTo>
                      <a:pt x="474" y="238"/>
                    </a:lnTo>
                    <a:lnTo>
                      <a:pt x="464" y="222"/>
                    </a:lnTo>
                    <a:lnTo>
                      <a:pt x="444" y="216"/>
                    </a:lnTo>
                    <a:lnTo>
                      <a:pt x="444" y="204"/>
                    </a:lnTo>
                    <a:lnTo>
                      <a:pt x="452" y="202"/>
                    </a:lnTo>
                    <a:lnTo>
                      <a:pt x="468" y="218"/>
                    </a:lnTo>
                    <a:lnTo>
                      <a:pt x="498" y="220"/>
                    </a:lnTo>
                    <a:lnTo>
                      <a:pt x="528" y="230"/>
                    </a:lnTo>
                    <a:lnTo>
                      <a:pt x="552" y="240"/>
                    </a:lnTo>
                    <a:lnTo>
                      <a:pt x="580" y="256"/>
                    </a:lnTo>
                    <a:lnTo>
                      <a:pt x="586" y="242"/>
                    </a:lnTo>
                    <a:lnTo>
                      <a:pt x="574" y="230"/>
                    </a:lnTo>
                    <a:lnTo>
                      <a:pt x="558" y="222"/>
                    </a:lnTo>
                    <a:lnTo>
                      <a:pt x="558" y="212"/>
                    </a:lnTo>
                    <a:lnTo>
                      <a:pt x="566" y="194"/>
                    </a:lnTo>
                    <a:lnTo>
                      <a:pt x="556" y="188"/>
                    </a:lnTo>
                    <a:lnTo>
                      <a:pt x="558" y="184"/>
                    </a:lnTo>
                    <a:lnTo>
                      <a:pt x="580" y="168"/>
                    </a:lnTo>
                    <a:lnTo>
                      <a:pt x="594" y="138"/>
                    </a:lnTo>
                    <a:lnTo>
                      <a:pt x="638" y="142"/>
                    </a:lnTo>
                    <a:lnTo>
                      <a:pt x="642" y="148"/>
                    </a:lnTo>
                    <a:lnTo>
                      <a:pt x="638" y="164"/>
                    </a:lnTo>
                    <a:lnTo>
                      <a:pt x="630" y="178"/>
                    </a:lnTo>
                    <a:lnTo>
                      <a:pt x="638" y="186"/>
                    </a:lnTo>
                    <a:lnTo>
                      <a:pt x="642" y="202"/>
                    </a:lnTo>
                    <a:lnTo>
                      <a:pt x="638" y="240"/>
                    </a:lnTo>
                    <a:lnTo>
                      <a:pt x="652" y="252"/>
                    </a:lnTo>
                    <a:lnTo>
                      <a:pt x="646" y="268"/>
                    </a:lnTo>
                    <a:lnTo>
                      <a:pt x="620" y="290"/>
                    </a:lnTo>
                    <a:lnTo>
                      <a:pt x="608" y="294"/>
                    </a:lnTo>
                    <a:lnTo>
                      <a:pt x="594" y="290"/>
                    </a:lnTo>
                    <a:lnTo>
                      <a:pt x="586" y="294"/>
                    </a:lnTo>
                    <a:lnTo>
                      <a:pt x="598" y="302"/>
                    </a:lnTo>
                    <a:lnTo>
                      <a:pt x="614" y="306"/>
                    </a:lnTo>
                    <a:lnTo>
                      <a:pt x="630" y="308"/>
                    </a:lnTo>
                    <a:lnTo>
                      <a:pt x="648" y="292"/>
                    </a:lnTo>
                    <a:lnTo>
                      <a:pt x="672" y="268"/>
                    </a:lnTo>
                    <a:lnTo>
                      <a:pt x="666" y="254"/>
                    </a:lnTo>
                    <a:lnTo>
                      <a:pt x="674" y="238"/>
                    </a:lnTo>
                    <a:lnTo>
                      <a:pt x="694" y="242"/>
                    </a:lnTo>
                    <a:lnTo>
                      <a:pt x="702" y="252"/>
                    </a:lnTo>
                    <a:lnTo>
                      <a:pt x="706" y="266"/>
                    </a:lnTo>
                    <a:lnTo>
                      <a:pt x="718" y="256"/>
                    </a:lnTo>
                    <a:lnTo>
                      <a:pt x="712" y="240"/>
                    </a:lnTo>
                    <a:lnTo>
                      <a:pt x="694" y="236"/>
                    </a:lnTo>
                    <a:lnTo>
                      <a:pt x="656" y="234"/>
                    </a:lnTo>
                    <a:lnTo>
                      <a:pt x="656" y="216"/>
                    </a:lnTo>
                    <a:lnTo>
                      <a:pt x="664" y="198"/>
                    </a:lnTo>
                    <a:lnTo>
                      <a:pt x="654" y="184"/>
                    </a:lnTo>
                    <a:lnTo>
                      <a:pt x="650" y="172"/>
                    </a:lnTo>
                    <a:lnTo>
                      <a:pt x="660" y="162"/>
                    </a:lnTo>
                    <a:lnTo>
                      <a:pt x="672" y="156"/>
                    </a:lnTo>
                    <a:lnTo>
                      <a:pt x="674" y="142"/>
                    </a:lnTo>
                    <a:lnTo>
                      <a:pt x="682" y="142"/>
                    </a:lnTo>
                    <a:lnTo>
                      <a:pt x="682" y="158"/>
                    </a:lnTo>
                    <a:lnTo>
                      <a:pt x="678" y="170"/>
                    </a:lnTo>
                    <a:lnTo>
                      <a:pt x="682" y="180"/>
                    </a:lnTo>
                    <a:lnTo>
                      <a:pt x="696" y="184"/>
                    </a:lnTo>
                    <a:lnTo>
                      <a:pt x="716" y="188"/>
                    </a:lnTo>
                    <a:lnTo>
                      <a:pt x="728" y="188"/>
                    </a:lnTo>
                    <a:lnTo>
                      <a:pt x="714" y="180"/>
                    </a:lnTo>
                    <a:lnTo>
                      <a:pt x="698" y="174"/>
                    </a:lnTo>
                    <a:lnTo>
                      <a:pt x="690" y="164"/>
                    </a:lnTo>
                    <a:lnTo>
                      <a:pt x="700" y="160"/>
                    </a:lnTo>
                    <a:lnTo>
                      <a:pt x="718" y="164"/>
                    </a:lnTo>
                    <a:lnTo>
                      <a:pt x="706" y="150"/>
                    </a:lnTo>
                    <a:lnTo>
                      <a:pt x="712" y="146"/>
                    </a:lnTo>
                    <a:lnTo>
                      <a:pt x="742" y="154"/>
                    </a:lnTo>
                    <a:lnTo>
                      <a:pt x="760" y="170"/>
                    </a:lnTo>
                    <a:lnTo>
                      <a:pt x="784" y="170"/>
                    </a:lnTo>
                    <a:lnTo>
                      <a:pt x="772" y="156"/>
                    </a:lnTo>
                    <a:lnTo>
                      <a:pt x="756" y="144"/>
                    </a:lnTo>
                    <a:lnTo>
                      <a:pt x="750" y="124"/>
                    </a:lnTo>
                    <a:lnTo>
                      <a:pt x="762" y="118"/>
                    </a:lnTo>
                    <a:lnTo>
                      <a:pt x="802" y="116"/>
                    </a:lnTo>
                    <a:lnTo>
                      <a:pt x="844" y="108"/>
                    </a:lnTo>
                    <a:lnTo>
                      <a:pt x="832" y="88"/>
                    </a:lnTo>
                    <a:lnTo>
                      <a:pt x="866" y="72"/>
                    </a:lnTo>
                    <a:lnTo>
                      <a:pt x="942" y="48"/>
                    </a:lnTo>
                    <a:lnTo>
                      <a:pt x="974" y="44"/>
                    </a:lnTo>
                    <a:lnTo>
                      <a:pt x="1004" y="48"/>
                    </a:lnTo>
                    <a:lnTo>
                      <a:pt x="1048" y="34"/>
                    </a:lnTo>
                    <a:lnTo>
                      <a:pt x="1044" y="18"/>
                    </a:lnTo>
                    <a:lnTo>
                      <a:pt x="10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1" name="Line 763"/>
              <p:cNvSpPr>
                <a:spLocks noChangeShapeType="1"/>
              </p:cNvSpPr>
              <p:nvPr/>
            </p:nvSpPr>
            <p:spPr bwMode="auto">
              <a:xfrm>
                <a:off x="3625" y="134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2" name="Line 764"/>
              <p:cNvSpPr>
                <a:spLocks noChangeShapeType="1"/>
              </p:cNvSpPr>
              <p:nvPr/>
            </p:nvSpPr>
            <p:spPr bwMode="auto">
              <a:xfrm>
                <a:off x="5169" y="159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3" name="Freeform 765"/>
              <p:cNvSpPr>
                <a:spLocks/>
              </p:cNvSpPr>
              <p:nvPr/>
            </p:nvSpPr>
            <p:spPr bwMode="auto">
              <a:xfrm>
                <a:off x="3247" y="1103"/>
                <a:ext cx="2308" cy="806"/>
              </a:xfrm>
              <a:custGeom>
                <a:avLst/>
                <a:gdLst>
                  <a:gd name="T0" fmla="*/ 868 w 2308"/>
                  <a:gd name="T1" fmla="*/ 72 h 806"/>
                  <a:gd name="T2" fmla="*/ 764 w 2308"/>
                  <a:gd name="T3" fmla="*/ 170 h 806"/>
                  <a:gd name="T4" fmla="*/ 692 w 2308"/>
                  <a:gd name="T5" fmla="*/ 164 h 806"/>
                  <a:gd name="T6" fmla="*/ 678 w 2308"/>
                  <a:gd name="T7" fmla="*/ 142 h 806"/>
                  <a:gd name="T8" fmla="*/ 660 w 2308"/>
                  <a:gd name="T9" fmla="*/ 242 h 806"/>
                  <a:gd name="T10" fmla="*/ 652 w 2308"/>
                  <a:gd name="T11" fmla="*/ 274 h 806"/>
                  <a:gd name="T12" fmla="*/ 646 w 2308"/>
                  <a:gd name="T13" fmla="*/ 144 h 806"/>
                  <a:gd name="T14" fmla="*/ 558 w 2308"/>
                  <a:gd name="T15" fmla="*/ 216 h 806"/>
                  <a:gd name="T16" fmla="*/ 444 w 2308"/>
                  <a:gd name="T17" fmla="*/ 204 h 806"/>
                  <a:gd name="T18" fmla="*/ 450 w 2308"/>
                  <a:gd name="T19" fmla="*/ 238 h 806"/>
                  <a:gd name="T20" fmla="*/ 378 w 2308"/>
                  <a:gd name="T21" fmla="*/ 238 h 806"/>
                  <a:gd name="T22" fmla="*/ 262 w 2308"/>
                  <a:gd name="T23" fmla="*/ 278 h 806"/>
                  <a:gd name="T24" fmla="*/ 236 w 2308"/>
                  <a:gd name="T25" fmla="*/ 264 h 806"/>
                  <a:gd name="T26" fmla="*/ 184 w 2308"/>
                  <a:gd name="T27" fmla="*/ 346 h 806"/>
                  <a:gd name="T28" fmla="*/ 124 w 2308"/>
                  <a:gd name="T29" fmla="*/ 350 h 806"/>
                  <a:gd name="T30" fmla="*/ 158 w 2308"/>
                  <a:gd name="T31" fmla="*/ 320 h 806"/>
                  <a:gd name="T32" fmla="*/ 78 w 2308"/>
                  <a:gd name="T33" fmla="*/ 222 h 806"/>
                  <a:gd name="T34" fmla="*/ 34 w 2308"/>
                  <a:gd name="T35" fmla="*/ 276 h 806"/>
                  <a:gd name="T36" fmla="*/ 12 w 2308"/>
                  <a:gd name="T37" fmla="*/ 426 h 806"/>
                  <a:gd name="T38" fmla="*/ 0 w 2308"/>
                  <a:gd name="T39" fmla="*/ 498 h 806"/>
                  <a:gd name="T40" fmla="*/ 58 w 2308"/>
                  <a:gd name="T41" fmla="*/ 584 h 806"/>
                  <a:gd name="T42" fmla="*/ 114 w 2308"/>
                  <a:gd name="T43" fmla="*/ 630 h 806"/>
                  <a:gd name="T44" fmla="*/ 152 w 2308"/>
                  <a:gd name="T45" fmla="*/ 696 h 806"/>
                  <a:gd name="T46" fmla="*/ 180 w 2308"/>
                  <a:gd name="T47" fmla="*/ 766 h 806"/>
                  <a:gd name="T48" fmla="*/ 254 w 2308"/>
                  <a:gd name="T49" fmla="*/ 778 h 806"/>
                  <a:gd name="T50" fmla="*/ 294 w 2308"/>
                  <a:gd name="T51" fmla="*/ 760 h 806"/>
                  <a:gd name="T52" fmla="*/ 300 w 2308"/>
                  <a:gd name="T53" fmla="*/ 684 h 806"/>
                  <a:gd name="T54" fmla="*/ 374 w 2308"/>
                  <a:gd name="T55" fmla="*/ 624 h 806"/>
                  <a:gd name="T56" fmla="*/ 488 w 2308"/>
                  <a:gd name="T57" fmla="*/ 628 h 806"/>
                  <a:gd name="T58" fmla="*/ 502 w 2308"/>
                  <a:gd name="T59" fmla="*/ 574 h 806"/>
                  <a:gd name="T60" fmla="*/ 698 w 2308"/>
                  <a:gd name="T61" fmla="*/ 574 h 806"/>
                  <a:gd name="T62" fmla="*/ 820 w 2308"/>
                  <a:gd name="T63" fmla="*/ 652 h 806"/>
                  <a:gd name="T64" fmla="*/ 956 w 2308"/>
                  <a:gd name="T65" fmla="*/ 650 h 806"/>
                  <a:gd name="T66" fmla="*/ 1058 w 2308"/>
                  <a:gd name="T67" fmla="*/ 632 h 806"/>
                  <a:gd name="T68" fmla="*/ 1152 w 2308"/>
                  <a:gd name="T69" fmla="*/ 664 h 806"/>
                  <a:gd name="T70" fmla="*/ 1286 w 2308"/>
                  <a:gd name="T71" fmla="*/ 660 h 806"/>
                  <a:gd name="T72" fmla="*/ 1402 w 2308"/>
                  <a:gd name="T73" fmla="*/ 610 h 806"/>
                  <a:gd name="T74" fmla="*/ 1514 w 2308"/>
                  <a:gd name="T75" fmla="*/ 690 h 806"/>
                  <a:gd name="T76" fmla="*/ 1472 w 2308"/>
                  <a:gd name="T77" fmla="*/ 774 h 806"/>
                  <a:gd name="T78" fmla="*/ 1608 w 2308"/>
                  <a:gd name="T79" fmla="*/ 628 h 806"/>
                  <a:gd name="T80" fmla="*/ 1560 w 2308"/>
                  <a:gd name="T81" fmla="*/ 560 h 806"/>
                  <a:gd name="T82" fmla="*/ 1718 w 2308"/>
                  <a:gd name="T83" fmla="*/ 468 h 806"/>
                  <a:gd name="T84" fmla="*/ 1814 w 2308"/>
                  <a:gd name="T85" fmla="*/ 468 h 806"/>
                  <a:gd name="T86" fmla="*/ 1912 w 2308"/>
                  <a:gd name="T87" fmla="*/ 418 h 806"/>
                  <a:gd name="T88" fmla="*/ 1838 w 2308"/>
                  <a:gd name="T89" fmla="*/ 490 h 806"/>
                  <a:gd name="T90" fmla="*/ 1862 w 2308"/>
                  <a:gd name="T91" fmla="*/ 604 h 806"/>
                  <a:gd name="T92" fmla="*/ 1928 w 2308"/>
                  <a:gd name="T93" fmla="*/ 526 h 806"/>
                  <a:gd name="T94" fmla="*/ 1966 w 2308"/>
                  <a:gd name="T95" fmla="*/ 454 h 806"/>
                  <a:gd name="T96" fmla="*/ 2142 w 2308"/>
                  <a:gd name="T97" fmla="*/ 400 h 806"/>
                  <a:gd name="T98" fmla="*/ 2154 w 2308"/>
                  <a:gd name="T99" fmla="*/ 348 h 806"/>
                  <a:gd name="T100" fmla="*/ 2218 w 2308"/>
                  <a:gd name="T101" fmla="*/ 344 h 806"/>
                  <a:gd name="T102" fmla="*/ 2296 w 2308"/>
                  <a:gd name="T103" fmla="*/ 300 h 806"/>
                  <a:gd name="T104" fmla="*/ 2224 w 2308"/>
                  <a:gd name="T105" fmla="*/ 268 h 806"/>
                  <a:gd name="T106" fmla="*/ 2028 w 2308"/>
                  <a:gd name="T107" fmla="*/ 210 h 806"/>
                  <a:gd name="T108" fmla="*/ 1970 w 2308"/>
                  <a:gd name="T109" fmla="*/ 224 h 806"/>
                  <a:gd name="T110" fmla="*/ 1738 w 2308"/>
                  <a:gd name="T111" fmla="*/ 168 h 806"/>
                  <a:gd name="T112" fmla="*/ 1592 w 2308"/>
                  <a:gd name="T113" fmla="*/ 150 h 806"/>
                  <a:gd name="T114" fmla="*/ 1442 w 2308"/>
                  <a:gd name="T115" fmla="*/ 168 h 806"/>
                  <a:gd name="T116" fmla="*/ 1368 w 2308"/>
                  <a:gd name="T117" fmla="*/ 114 h 806"/>
                  <a:gd name="T118" fmla="*/ 1196 w 2308"/>
                  <a:gd name="T119" fmla="*/ 104 h 806"/>
                  <a:gd name="T120" fmla="*/ 1194 w 2308"/>
                  <a:gd name="T121" fmla="*/ 32 h 806"/>
                  <a:gd name="T122" fmla="*/ 1070 w 2308"/>
                  <a:gd name="T123"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8" h="806">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4" name="Freeform 766"/>
              <p:cNvSpPr>
                <a:spLocks/>
              </p:cNvSpPr>
              <p:nvPr/>
            </p:nvSpPr>
            <p:spPr bwMode="auto">
              <a:xfrm>
                <a:off x="4377" y="1213"/>
                <a:ext cx="42" cy="22"/>
              </a:xfrm>
              <a:custGeom>
                <a:avLst/>
                <a:gdLst>
                  <a:gd name="T0" fmla="*/ 0 w 42"/>
                  <a:gd name="T1" fmla="*/ 22 h 22"/>
                  <a:gd name="T2" fmla="*/ 26 w 42"/>
                  <a:gd name="T3" fmla="*/ 8 h 22"/>
                  <a:gd name="T4" fmla="*/ 42 w 42"/>
                  <a:gd name="T5" fmla="*/ 0 h 22"/>
                  <a:gd name="T6" fmla="*/ 36 w 42"/>
                  <a:gd name="T7" fmla="*/ 4 h 22"/>
                  <a:gd name="T8" fmla="*/ 36 w 42"/>
                  <a:gd name="T9" fmla="*/ 4 h 22"/>
                  <a:gd name="T10" fmla="*/ 34 w 42"/>
                  <a:gd name="T11" fmla="*/ 8 h 22"/>
                  <a:gd name="T12" fmla="*/ 36 w 42"/>
                  <a:gd name="T13" fmla="*/ 12 h 22"/>
                  <a:gd name="T14" fmla="*/ 2 w 42"/>
                  <a:gd name="T15" fmla="*/ 22 h 22"/>
                  <a:gd name="T16" fmla="*/ 0 w 42"/>
                  <a:gd name="T17" fmla="*/ 22 h 22"/>
                  <a:gd name="T18" fmla="*/ 0 w 4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2">
                    <a:moveTo>
                      <a:pt x="0" y="22"/>
                    </a:moveTo>
                    <a:lnTo>
                      <a:pt x="26" y="8"/>
                    </a:lnTo>
                    <a:lnTo>
                      <a:pt x="42" y="0"/>
                    </a:lnTo>
                    <a:lnTo>
                      <a:pt x="36" y="4"/>
                    </a:lnTo>
                    <a:lnTo>
                      <a:pt x="36" y="4"/>
                    </a:lnTo>
                    <a:lnTo>
                      <a:pt x="34" y="8"/>
                    </a:lnTo>
                    <a:lnTo>
                      <a:pt x="36" y="12"/>
                    </a:lnTo>
                    <a:lnTo>
                      <a:pt x="2" y="22"/>
                    </a:lnTo>
                    <a:lnTo>
                      <a:pt x="0" y="22"/>
                    </a:lnTo>
                    <a:lnTo>
                      <a:pt x="0" y="2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5" name="Freeform 767"/>
              <p:cNvSpPr>
                <a:spLocks/>
              </p:cNvSpPr>
              <p:nvPr/>
            </p:nvSpPr>
            <p:spPr bwMode="auto">
              <a:xfrm>
                <a:off x="3949" y="1347"/>
                <a:ext cx="16" cy="18"/>
              </a:xfrm>
              <a:custGeom>
                <a:avLst/>
                <a:gdLst>
                  <a:gd name="T0" fmla="*/ 10 w 16"/>
                  <a:gd name="T1" fmla="*/ 18 h 18"/>
                  <a:gd name="T2" fmla="*/ 8 w 16"/>
                  <a:gd name="T3" fmla="*/ 10 h 18"/>
                  <a:gd name="T4" fmla="*/ 8 w 16"/>
                  <a:gd name="T5" fmla="*/ 10 h 18"/>
                  <a:gd name="T6" fmla="*/ 8 w 16"/>
                  <a:gd name="T7" fmla="*/ 8 h 18"/>
                  <a:gd name="T8" fmla="*/ 0 w 16"/>
                  <a:gd name="T9" fmla="*/ 0 h 18"/>
                  <a:gd name="T10" fmla="*/ 10 w 16"/>
                  <a:gd name="T11" fmla="*/ 4 h 18"/>
                  <a:gd name="T12" fmla="*/ 16 w 16"/>
                  <a:gd name="T13" fmla="*/ 14 h 18"/>
                  <a:gd name="T14" fmla="*/ 10 w 16"/>
                  <a:gd name="T15" fmla="*/ 18 h 18"/>
                  <a:gd name="T16" fmla="*/ 10 w 1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10" y="18"/>
                    </a:moveTo>
                    <a:lnTo>
                      <a:pt x="8" y="10"/>
                    </a:lnTo>
                    <a:lnTo>
                      <a:pt x="8" y="10"/>
                    </a:lnTo>
                    <a:lnTo>
                      <a:pt x="8" y="8"/>
                    </a:lnTo>
                    <a:lnTo>
                      <a:pt x="0" y="0"/>
                    </a:lnTo>
                    <a:lnTo>
                      <a:pt x="10" y="4"/>
                    </a:lnTo>
                    <a:lnTo>
                      <a:pt x="16" y="14"/>
                    </a:lnTo>
                    <a:lnTo>
                      <a:pt x="10" y="18"/>
                    </a:lnTo>
                    <a:lnTo>
                      <a:pt x="10" y="18"/>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6" name="Freeform 768"/>
              <p:cNvSpPr>
                <a:spLocks/>
              </p:cNvSpPr>
              <p:nvPr/>
            </p:nvSpPr>
            <p:spPr bwMode="auto">
              <a:xfrm>
                <a:off x="3591" y="1129"/>
                <a:ext cx="250" cy="178"/>
              </a:xfrm>
              <a:custGeom>
                <a:avLst/>
                <a:gdLst>
                  <a:gd name="T0" fmla="*/ 34 w 250"/>
                  <a:gd name="T1" fmla="*/ 176 h 178"/>
                  <a:gd name="T2" fmla="*/ 32 w 250"/>
                  <a:gd name="T3" fmla="*/ 164 h 178"/>
                  <a:gd name="T4" fmla="*/ 20 w 250"/>
                  <a:gd name="T5" fmla="*/ 164 h 178"/>
                  <a:gd name="T6" fmla="*/ 20 w 250"/>
                  <a:gd name="T7" fmla="*/ 164 h 178"/>
                  <a:gd name="T8" fmla="*/ 18 w 250"/>
                  <a:gd name="T9" fmla="*/ 164 h 178"/>
                  <a:gd name="T10" fmla="*/ 0 w 250"/>
                  <a:gd name="T11" fmla="*/ 150 h 178"/>
                  <a:gd name="T12" fmla="*/ 0 w 250"/>
                  <a:gd name="T13" fmla="*/ 148 h 178"/>
                  <a:gd name="T14" fmla="*/ 0 w 250"/>
                  <a:gd name="T15" fmla="*/ 138 h 178"/>
                  <a:gd name="T16" fmla="*/ 12 w 250"/>
                  <a:gd name="T17" fmla="*/ 132 h 178"/>
                  <a:gd name="T18" fmla="*/ 18 w 250"/>
                  <a:gd name="T19" fmla="*/ 118 h 178"/>
                  <a:gd name="T20" fmla="*/ 18 w 250"/>
                  <a:gd name="T21" fmla="*/ 118 h 178"/>
                  <a:gd name="T22" fmla="*/ 30 w 250"/>
                  <a:gd name="T23" fmla="*/ 104 h 178"/>
                  <a:gd name="T24" fmla="*/ 40 w 250"/>
                  <a:gd name="T25" fmla="*/ 102 h 178"/>
                  <a:gd name="T26" fmla="*/ 34 w 250"/>
                  <a:gd name="T27" fmla="*/ 98 h 178"/>
                  <a:gd name="T28" fmla="*/ 34 w 250"/>
                  <a:gd name="T29" fmla="*/ 96 h 178"/>
                  <a:gd name="T30" fmla="*/ 34 w 250"/>
                  <a:gd name="T31" fmla="*/ 94 h 178"/>
                  <a:gd name="T32" fmla="*/ 68 w 250"/>
                  <a:gd name="T33" fmla="*/ 58 h 178"/>
                  <a:gd name="T34" fmla="*/ 98 w 250"/>
                  <a:gd name="T35" fmla="*/ 36 h 178"/>
                  <a:gd name="T36" fmla="*/ 118 w 250"/>
                  <a:gd name="T37" fmla="*/ 32 h 178"/>
                  <a:gd name="T38" fmla="*/ 124 w 250"/>
                  <a:gd name="T39" fmla="*/ 24 h 178"/>
                  <a:gd name="T40" fmla="*/ 158 w 250"/>
                  <a:gd name="T41" fmla="*/ 20 h 178"/>
                  <a:gd name="T42" fmla="*/ 206 w 250"/>
                  <a:gd name="T43" fmla="*/ 6 h 178"/>
                  <a:gd name="T44" fmla="*/ 238 w 250"/>
                  <a:gd name="T45" fmla="*/ 0 h 178"/>
                  <a:gd name="T46" fmla="*/ 240 w 250"/>
                  <a:gd name="T47" fmla="*/ 0 h 178"/>
                  <a:gd name="T48" fmla="*/ 248 w 250"/>
                  <a:gd name="T49" fmla="*/ 4 h 178"/>
                  <a:gd name="T50" fmla="*/ 246 w 250"/>
                  <a:gd name="T51" fmla="*/ 18 h 178"/>
                  <a:gd name="T52" fmla="*/ 246 w 250"/>
                  <a:gd name="T53" fmla="*/ 18 h 178"/>
                  <a:gd name="T54" fmla="*/ 200 w 250"/>
                  <a:gd name="T55" fmla="*/ 38 h 178"/>
                  <a:gd name="T56" fmla="*/ 124 w 250"/>
                  <a:gd name="T57" fmla="*/ 68 h 178"/>
                  <a:gd name="T58" fmla="*/ 102 w 250"/>
                  <a:gd name="T59" fmla="*/ 76 h 178"/>
                  <a:gd name="T60" fmla="*/ 102 w 250"/>
                  <a:gd name="T61" fmla="*/ 84 h 178"/>
                  <a:gd name="T62" fmla="*/ 88 w 250"/>
                  <a:gd name="T63" fmla="*/ 94 h 178"/>
                  <a:gd name="T64" fmla="*/ 60 w 250"/>
                  <a:gd name="T65" fmla="*/ 126 h 178"/>
                  <a:gd name="T66" fmla="*/ 66 w 250"/>
                  <a:gd name="T67" fmla="*/ 154 h 178"/>
                  <a:gd name="T68" fmla="*/ 68 w 250"/>
                  <a:gd name="T69" fmla="*/ 156 h 178"/>
                  <a:gd name="T70" fmla="*/ 82 w 250"/>
                  <a:gd name="T71" fmla="*/ 174 h 178"/>
                  <a:gd name="T72" fmla="*/ 82 w 250"/>
                  <a:gd name="T73" fmla="*/ 176 h 178"/>
                  <a:gd name="T74" fmla="*/ 80 w 250"/>
                  <a:gd name="T75" fmla="*/ 178 h 178"/>
                  <a:gd name="T76" fmla="*/ 34 w 250"/>
                  <a:gd name="T77" fmla="*/ 1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0" h="178">
                    <a:moveTo>
                      <a:pt x="34" y="176"/>
                    </a:moveTo>
                    <a:lnTo>
                      <a:pt x="34" y="176"/>
                    </a:lnTo>
                    <a:lnTo>
                      <a:pt x="32" y="174"/>
                    </a:lnTo>
                    <a:lnTo>
                      <a:pt x="32" y="164"/>
                    </a:lnTo>
                    <a:lnTo>
                      <a:pt x="28" y="160"/>
                    </a:lnTo>
                    <a:lnTo>
                      <a:pt x="20" y="164"/>
                    </a:lnTo>
                    <a:lnTo>
                      <a:pt x="20" y="164"/>
                    </a:lnTo>
                    <a:lnTo>
                      <a:pt x="20" y="164"/>
                    </a:lnTo>
                    <a:lnTo>
                      <a:pt x="20" y="164"/>
                    </a:lnTo>
                    <a:lnTo>
                      <a:pt x="18" y="164"/>
                    </a:lnTo>
                    <a:lnTo>
                      <a:pt x="10" y="160"/>
                    </a:lnTo>
                    <a:lnTo>
                      <a:pt x="0" y="150"/>
                    </a:lnTo>
                    <a:lnTo>
                      <a:pt x="0" y="150"/>
                    </a:lnTo>
                    <a:lnTo>
                      <a:pt x="0" y="148"/>
                    </a:lnTo>
                    <a:lnTo>
                      <a:pt x="0" y="138"/>
                    </a:lnTo>
                    <a:lnTo>
                      <a:pt x="0" y="138"/>
                    </a:lnTo>
                    <a:lnTo>
                      <a:pt x="0" y="136"/>
                    </a:lnTo>
                    <a:lnTo>
                      <a:pt x="12" y="132"/>
                    </a:lnTo>
                    <a:lnTo>
                      <a:pt x="18" y="126"/>
                    </a:lnTo>
                    <a:lnTo>
                      <a:pt x="18" y="118"/>
                    </a:lnTo>
                    <a:lnTo>
                      <a:pt x="18" y="118"/>
                    </a:lnTo>
                    <a:lnTo>
                      <a:pt x="18" y="118"/>
                    </a:lnTo>
                    <a:lnTo>
                      <a:pt x="30" y="104"/>
                    </a:lnTo>
                    <a:lnTo>
                      <a:pt x="30" y="104"/>
                    </a:lnTo>
                    <a:lnTo>
                      <a:pt x="32" y="104"/>
                    </a:lnTo>
                    <a:lnTo>
                      <a:pt x="40" y="102"/>
                    </a:lnTo>
                    <a:lnTo>
                      <a:pt x="42" y="98"/>
                    </a:lnTo>
                    <a:lnTo>
                      <a:pt x="34" y="98"/>
                    </a:lnTo>
                    <a:lnTo>
                      <a:pt x="34" y="98"/>
                    </a:lnTo>
                    <a:lnTo>
                      <a:pt x="34" y="96"/>
                    </a:lnTo>
                    <a:lnTo>
                      <a:pt x="34" y="96"/>
                    </a:lnTo>
                    <a:lnTo>
                      <a:pt x="34" y="94"/>
                    </a:lnTo>
                    <a:lnTo>
                      <a:pt x="58" y="74"/>
                    </a:lnTo>
                    <a:lnTo>
                      <a:pt x="68" y="58"/>
                    </a:lnTo>
                    <a:lnTo>
                      <a:pt x="98" y="36"/>
                    </a:lnTo>
                    <a:lnTo>
                      <a:pt x="98" y="36"/>
                    </a:lnTo>
                    <a:lnTo>
                      <a:pt x="100" y="34"/>
                    </a:lnTo>
                    <a:lnTo>
                      <a:pt x="118" y="32"/>
                    </a:lnTo>
                    <a:lnTo>
                      <a:pt x="124" y="24"/>
                    </a:lnTo>
                    <a:lnTo>
                      <a:pt x="124" y="24"/>
                    </a:lnTo>
                    <a:lnTo>
                      <a:pt x="126" y="24"/>
                    </a:lnTo>
                    <a:lnTo>
                      <a:pt x="158" y="20"/>
                    </a:lnTo>
                    <a:lnTo>
                      <a:pt x="188" y="18"/>
                    </a:lnTo>
                    <a:lnTo>
                      <a:pt x="206" y="6"/>
                    </a:lnTo>
                    <a:lnTo>
                      <a:pt x="224" y="0"/>
                    </a:lnTo>
                    <a:lnTo>
                      <a:pt x="238" y="0"/>
                    </a:lnTo>
                    <a:lnTo>
                      <a:pt x="238" y="0"/>
                    </a:lnTo>
                    <a:lnTo>
                      <a:pt x="240" y="0"/>
                    </a:lnTo>
                    <a:lnTo>
                      <a:pt x="248" y="4"/>
                    </a:lnTo>
                    <a:lnTo>
                      <a:pt x="248" y="4"/>
                    </a:lnTo>
                    <a:lnTo>
                      <a:pt x="250" y="8"/>
                    </a:lnTo>
                    <a:lnTo>
                      <a:pt x="246" y="18"/>
                    </a:lnTo>
                    <a:lnTo>
                      <a:pt x="246" y="18"/>
                    </a:lnTo>
                    <a:lnTo>
                      <a:pt x="246" y="18"/>
                    </a:lnTo>
                    <a:lnTo>
                      <a:pt x="230" y="30"/>
                    </a:lnTo>
                    <a:lnTo>
                      <a:pt x="200" y="38"/>
                    </a:lnTo>
                    <a:lnTo>
                      <a:pt x="150" y="48"/>
                    </a:lnTo>
                    <a:lnTo>
                      <a:pt x="124" y="68"/>
                    </a:lnTo>
                    <a:lnTo>
                      <a:pt x="112" y="74"/>
                    </a:lnTo>
                    <a:lnTo>
                      <a:pt x="102" y="76"/>
                    </a:lnTo>
                    <a:lnTo>
                      <a:pt x="102" y="84"/>
                    </a:lnTo>
                    <a:lnTo>
                      <a:pt x="102" y="84"/>
                    </a:lnTo>
                    <a:lnTo>
                      <a:pt x="100" y="86"/>
                    </a:lnTo>
                    <a:lnTo>
                      <a:pt x="88" y="94"/>
                    </a:lnTo>
                    <a:lnTo>
                      <a:pt x="80" y="106"/>
                    </a:lnTo>
                    <a:lnTo>
                      <a:pt x="60" y="126"/>
                    </a:lnTo>
                    <a:lnTo>
                      <a:pt x="58" y="148"/>
                    </a:lnTo>
                    <a:lnTo>
                      <a:pt x="66" y="154"/>
                    </a:lnTo>
                    <a:lnTo>
                      <a:pt x="66" y="154"/>
                    </a:lnTo>
                    <a:lnTo>
                      <a:pt x="68" y="156"/>
                    </a:lnTo>
                    <a:lnTo>
                      <a:pt x="70" y="164"/>
                    </a:lnTo>
                    <a:lnTo>
                      <a:pt x="82" y="174"/>
                    </a:lnTo>
                    <a:lnTo>
                      <a:pt x="82" y="174"/>
                    </a:lnTo>
                    <a:lnTo>
                      <a:pt x="82" y="176"/>
                    </a:lnTo>
                    <a:lnTo>
                      <a:pt x="82" y="176"/>
                    </a:lnTo>
                    <a:lnTo>
                      <a:pt x="80" y="178"/>
                    </a:lnTo>
                    <a:lnTo>
                      <a:pt x="80" y="178"/>
                    </a:lnTo>
                    <a:lnTo>
                      <a:pt x="34" y="176"/>
                    </a:lnTo>
                    <a:lnTo>
                      <a:pt x="34" y="1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7" name="Freeform 769"/>
              <p:cNvSpPr>
                <a:spLocks noEditPoints="1"/>
              </p:cNvSpPr>
              <p:nvPr/>
            </p:nvSpPr>
            <p:spPr bwMode="auto">
              <a:xfrm>
                <a:off x="3589" y="1127"/>
                <a:ext cx="254" cy="182"/>
              </a:xfrm>
              <a:custGeom>
                <a:avLst/>
                <a:gdLst>
                  <a:gd name="T0" fmla="*/ 246 w 254"/>
                  <a:gd name="T1" fmla="*/ 20 h 182"/>
                  <a:gd name="T2" fmla="*/ 152 w 254"/>
                  <a:gd name="T3" fmla="*/ 48 h 182"/>
                  <a:gd name="T4" fmla="*/ 102 w 254"/>
                  <a:gd name="T5" fmla="*/ 76 h 182"/>
                  <a:gd name="T6" fmla="*/ 80 w 254"/>
                  <a:gd name="T7" fmla="*/ 106 h 182"/>
                  <a:gd name="T8" fmla="*/ 68 w 254"/>
                  <a:gd name="T9" fmla="*/ 158 h 182"/>
                  <a:gd name="T10" fmla="*/ 36 w 254"/>
                  <a:gd name="T11" fmla="*/ 176 h 182"/>
                  <a:gd name="T12" fmla="*/ 22 w 254"/>
                  <a:gd name="T13" fmla="*/ 164 h 182"/>
                  <a:gd name="T14" fmla="*/ 4 w 254"/>
                  <a:gd name="T15" fmla="*/ 140 h 182"/>
                  <a:gd name="T16" fmla="*/ 22 w 254"/>
                  <a:gd name="T17" fmla="*/ 120 h 182"/>
                  <a:gd name="T18" fmla="*/ 46 w 254"/>
                  <a:gd name="T19" fmla="*/ 100 h 182"/>
                  <a:gd name="T20" fmla="*/ 72 w 254"/>
                  <a:gd name="T21" fmla="*/ 62 h 182"/>
                  <a:gd name="T22" fmla="*/ 128 w 254"/>
                  <a:gd name="T23" fmla="*/ 28 h 182"/>
                  <a:gd name="T24" fmla="*/ 208 w 254"/>
                  <a:gd name="T25" fmla="*/ 10 h 182"/>
                  <a:gd name="T26" fmla="*/ 240 w 254"/>
                  <a:gd name="T27" fmla="*/ 0 h 182"/>
                  <a:gd name="T28" fmla="*/ 224 w 254"/>
                  <a:gd name="T29" fmla="*/ 0 h 182"/>
                  <a:gd name="T30" fmla="*/ 206 w 254"/>
                  <a:gd name="T31" fmla="*/ 6 h 182"/>
                  <a:gd name="T32" fmla="*/ 128 w 254"/>
                  <a:gd name="T33" fmla="*/ 24 h 182"/>
                  <a:gd name="T34" fmla="*/ 120 w 254"/>
                  <a:gd name="T35" fmla="*/ 32 h 182"/>
                  <a:gd name="T36" fmla="*/ 100 w 254"/>
                  <a:gd name="T37" fmla="*/ 36 h 182"/>
                  <a:gd name="T38" fmla="*/ 68 w 254"/>
                  <a:gd name="T39" fmla="*/ 60 h 182"/>
                  <a:gd name="T40" fmla="*/ 34 w 254"/>
                  <a:gd name="T41" fmla="*/ 94 h 182"/>
                  <a:gd name="T42" fmla="*/ 34 w 254"/>
                  <a:gd name="T43" fmla="*/ 98 h 182"/>
                  <a:gd name="T44" fmla="*/ 40 w 254"/>
                  <a:gd name="T45" fmla="*/ 102 h 182"/>
                  <a:gd name="T46" fmla="*/ 34 w 254"/>
                  <a:gd name="T47" fmla="*/ 104 h 182"/>
                  <a:gd name="T48" fmla="*/ 18 w 254"/>
                  <a:gd name="T49" fmla="*/ 118 h 182"/>
                  <a:gd name="T50" fmla="*/ 12 w 254"/>
                  <a:gd name="T51" fmla="*/ 132 h 182"/>
                  <a:gd name="T52" fmla="*/ 0 w 254"/>
                  <a:gd name="T53" fmla="*/ 138 h 182"/>
                  <a:gd name="T54" fmla="*/ 0 w 254"/>
                  <a:gd name="T55" fmla="*/ 150 h 182"/>
                  <a:gd name="T56" fmla="*/ 10 w 254"/>
                  <a:gd name="T57" fmla="*/ 162 h 182"/>
                  <a:gd name="T58" fmla="*/ 20 w 254"/>
                  <a:gd name="T59" fmla="*/ 168 h 182"/>
                  <a:gd name="T60" fmla="*/ 24 w 254"/>
                  <a:gd name="T61" fmla="*/ 168 h 182"/>
                  <a:gd name="T62" fmla="*/ 32 w 254"/>
                  <a:gd name="T63" fmla="*/ 176 h 182"/>
                  <a:gd name="T64" fmla="*/ 36 w 254"/>
                  <a:gd name="T65" fmla="*/ 180 h 182"/>
                  <a:gd name="T66" fmla="*/ 82 w 254"/>
                  <a:gd name="T67" fmla="*/ 182 h 182"/>
                  <a:gd name="T68" fmla="*/ 86 w 254"/>
                  <a:gd name="T69" fmla="*/ 178 h 182"/>
                  <a:gd name="T70" fmla="*/ 84 w 254"/>
                  <a:gd name="T71" fmla="*/ 174 h 182"/>
                  <a:gd name="T72" fmla="*/ 72 w 254"/>
                  <a:gd name="T73" fmla="*/ 156 h 182"/>
                  <a:gd name="T74" fmla="*/ 64 w 254"/>
                  <a:gd name="T75" fmla="*/ 130 h 182"/>
                  <a:gd name="T76" fmla="*/ 84 w 254"/>
                  <a:gd name="T77" fmla="*/ 108 h 182"/>
                  <a:gd name="T78" fmla="*/ 104 w 254"/>
                  <a:gd name="T79" fmla="*/ 90 h 182"/>
                  <a:gd name="T80" fmla="*/ 112 w 254"/>
                  <a:gd name="T81" fmla="*/ 78 h 182"/>
                  <a:gd name="T82" fmla="*/ 126 w 254"/>
                  <a:gd name="T83" fmla="*/ 72 h 182"/>
                  <a:gd name="T84" fmla="*/ 154 w 254"/>
                  <a:gd name="T85" fmla="*/ 52 h 182"/>
                  <a:gd name="T86" fmla="*/ 202 w 254"/>
                  <a:gd name="T87" fmla="*/ 42 h 182"/>
                  <a:gd name="T88" fmla="*/ 232 w 254"/>
                  <a:gd name="T89" fmla="*/ 34 h 182"/>
                  <a:gd name="T90" fmla="*/ 250 w 254"/>
                  <a:gd name="T91" fmla="*/ 20 h 182"/>
                  <a:gd name="T92" fmla="*/ 254 w 254"/>
                  <a:gd name="T93" fmla="*/ 8 h 182"/>
                  <a:gd name="T94" fmla="*/ 242 w 254"/>
                  <a:gd name="T9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4" h="182">
                    <a:moveTo>
                      <a:pt x="240" y="4"/>
                    </a:moveTo>
                    <a:lnTo>
                      <a:pt x="250" y="8"/>
                    </a:lnTo>
                    <a:lnTo>
                      <a:pt x="246" y="20"/>
                    </a:lnTo>
                    <a:lnTo>
                      <a:pt x="230" y="30"/>
                    </a:lnTo>
                    <a:lnTo>
                      <a:pt x="202" y="38"/>
                    </a:lnTo>
                    <a:lnTo>
                      <a:pt x="152" y="48"/>
                    </a:lnTo>
                    <a:lnTo>
                      <a:pt x="124" y="68"/>
                    </a:lnTo>
                    <a:lnTo>
                      <a:pt x="112" y="74"/>
                    </a:lnTo>
                    <a:lnTo>
                      <a:pt x="102" y="76"/>
                    </a:lnTo>
                    <a:lnTo>
                      <a:pt x="102" y="86"/>
                    </a:lnTo>
                    <a:lnTo>
                      <a:pt x="90" y="94"/>
                    </a:lnTo>
                    <a:lnTo>
                      <a:pt x="80" y="106"/>
                    </a:lnTo>
                    <a:lnTo>
                      <a:pt x="60" y="128"/>
                    </a:lnTo>
                    <a:lnTo>
                      <a:pt x="58" y="150"/>
                    </a:lnTo>
                    <a:lnTo>
                      <a:pt x="68" y="158"/>
                    </a:lnTo>
                    <a:lnTo>
                      <a:pt x="70" y="166"/>
                    </a:lnTo>
                    <a:lnTo>
                      <a:pt x="82" y="178"/>
                    </a:lnTo>
                    <a:lnTo>
                      <a:pt x="36" y="176"/>
                    </a:lnTo>
                    <a:lnTo>
                      <a:pt x="36" y="164"/>
                    </a:lnTo>
                    <a:lnTo>
                      <a:pt x="30" y="160"/>
                    </a:lnTo>
                    <a:lnTo>
                      <a:pt x="22" y="164"/>
                    </a:lnTo>
                    <a:lnTo>
                      <a:pt x="12" y="160"/>
                    </a:lnTo>
                    <a:lnTo>
                      <a:pt x="4" y="150"/>
                    </a:lnTo>
                    <a:lnTo>
                      <a:pt x="4" y="140"/>
                    </a:lnTo>
                    <a:lnTo>
                      <a:pt x="14" y="136"/>
                    </a:lnTo>
                    <a:lnTo>
                      <a:pt x="22" y="130"/>
                    </a:lnTo>
                    <a:lnTo>
                      <a:pt x="22" y="120"/>
                    </a:lnTo>
                    <a:lnTo>
                      <a:pt x="34" y="108"/>
                    </a:lnTo>
                    <a:lnTo>
                      <a:pt x="42" y="106"/>
                    </a:lnTo>
                    <a:lnTo>
                      <a:pt x="46" y="100"/>
                    </a:lnTo>
                    <a:lnTo>
                      <a:pt x="38" y="98"/>
                    </a:lnTo>
                    <a:lnTo>
                      <a:pt x="60" y="78"/>
                    </a:lnTo>
                    <a:lnTo>
                      <a:pt x="72" y="62"/>
                    </a:lnTo>
                    <a:lnTo>
                      <a:pt x="102" y="38"/>
                    </a:lnTo>
                    <a:lnTo>
                      <a:pt x="122" y="36"/>
                    </a:lnTo>
                    <a:lnTo>
                      <a:pt x="128" y="28"/>
                    </a:lnTo>
                    <a:lnTo>
                      <a:pt x="160" y="24"/>
                    </a:lnTo>
                    <a:lnTo>
                      <a:pt x="190" y="22"/>
                    </a:lnTo>
                    <a:lnTo>
                      <a:pt x="208" y="10"/>
                    </a:lnTo>
                    <a:lnTo>
                      <a:pt x="226" y="4"/>
                    </a:lnTo>
                    <a:lnTo>
                      <a:pt x="240" y="4"/>
                    </a:lnTo>
                    <a:close/>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8" name="Freeform 770"/>
              <p:cNvSpPr>
                <a:spLocks/>
              </p:cNvSpPr>
              <p:nvPr/>
            </p:nvSpPr>
            <p:spPr bwMode="auto">
              <a:xfrm>
                <a:off x="3593" y="1131"/>
                <a:ext cx="246" cy="174"/>
              </a:xfrm>
              <a:custGeom>
                <a:avLst/>
                <a:gdLst>
                  <a:gd name="T0" fmla="*/ 236 w 246"/>
                  <a:gd name="T1" fmla="*/ 0 h 174"/>
                  <a:gd name="T2" fmla="*/ 246 w 246"/>
                  <a:gd name="T3" fmla="*/ 4 h 174"/>
                  <a:gd name="T4" fmla="*/ 242 w 246"/>
                  <a:gd name="T5" fmla="*/ 16 h 174"/>
                  <a:gd name="T6" fmla="*/ 226 w 246"/>
                  <a:gd name="T7" fmla="*/ 26 h 174"/>
                  <a:gd name="T8" fmla="*/ 198 w 246"/>
                  <a:gd name="T9" fmla="*/ 34 h 174"/>
                  <a:gd name="T10" fmla="*/ 148 w 246"/>
                  <a:gd name="T11" fmla="*/ 44 h 174"/>
                  <a:gd name="T12" fmla="*/ 120 w 246"/>
                  <a:gd name="T13" fmla="*/ 64 h 174"/>
                  <a:gd name="T14" fmla="*/ 108 w 246"/>
                  <a:gd name="T15" fmla="*/ 70 h 174"/>
                  <a:gd name="T16" fmla="*/ 98 w 246"/>
                  <a:gd name="T17" fmla="*/ 72 h 174"/>
                  <a:gd name="T18" fmla="*/ 98 w 246"/>
                  <a:gd name="T19" fmla="*/ 82 h 174"/>
                  <a:gd name="T20" fmla="*/ 86 w 246"/>
                  <a:gd name="T21" fmla="*/ 90 h 174"/>
                  <a:gd name="T22" fmla="*/ 76 w 246"/>
                  <a:gd name="T23" fmla="*/ 102 h 174"/>
                  <a:gd name="T24" fmla="*/ 56 w 246"/>
                  <a:gd name="T25" fmla="*/ 124 h 174"/>
                  <a:gd name="T26" fmla="*/ 54 w 246"/>
                  <a:gd name="T27" fmla="*/ 146 h 174"/>
                  <a:gd name="T28" fmla="*/ 64 w 246"/>
                  <a:gd name="T29" fmla="*/ 154 h 174"/>
                  <a:gd name="T30" fmla="*/ 66 w 246"/>
                  <a:gd name="T31" fmla="*/ 162 h 174"/>
                  <a:gd name="T32" fmla="*/ 78 w 246"/>
                  <a:gd name="T33" fmla="*/ 174 h 174"/>
                  <a:gd name="T34" fmla="*/ 32 w 246"/>
                  <a:gd name="T35" fmla="*/ 172 h 174"/>
                  <a:gd name="T36" fmla="*/ 32 w 246"/>
                  <a:gd name="T37" fmla="*/ 160 h 174"/>
                  <a:gd name="T38" fmla="*/ 26 w 246"/>
                  <a:gd name="T39" fmla="*/ 156 h 174"/>
                  <a:gd name="T40" fmla="*/ 18 w 246"/>
                  <a:gd name="T41" fmla="*/ 160 h 174"/>
                  <a:gd name="T42" fmla="*/ 8 w 246"/>
                  <a:gd name="T43" fmla="*/ 156 h 174"/>
                  <a:gd name="T44" fmla="*/ 0 w 246"/>
                  <a:gd name="T45" fmla="*/ 146 h 174"/>
                  <a:gd name="T46" fmla="*/ 0 w 246"/>
                  <a:gd name="T47" fmla="*/ 136 h 174"/>
                  <a:gd name="T48" fmla="*/ 10 w 246"/>
                  <a:gd name="T49" fmla="*/ 132 h 174"/>
                  <a:gd name="T50" fmla="*/ 18 w 246"/>
                  <a:gd name="T51" fmla="*/ 126 h 174"/>
                  <a:gd name="T52" fmla="*/ 18 w 246"/>
                  <a:gd name="T53" fmla="*/ 116 h 174"/>
                  <a:gd name="T54" fmla="*/ 30 w 246"/>
                  <a:gd name="T55" fmla="*/ 104 h 174"/>
                  <a:gd name="T56" fmla="*/ 38 w 246"/>
                  <a:gd name="T57" fmla="*/ 102 h 174"/>
                  <a:gd name="T58" fmla="*/ 42 w 246"/>
                  <a:gd name="T59" fmla="*/ 96 h 174"/>
                  <a:gd name="T60" fmla="*/ 34 w 246"/>
                  <a:gd name="T61" fmla="*/ 94 h 174"/>
                  <a:gd name="T62" fmla="*/ 56 w 246"/>
                  <a:gd name="T63" fmla="*/ 74 h 174"/>
                  <a:gd name="T64" fmla="*/ 68 w 246"/>
                  <a:gd name="T65" fmla="*/ 58 h 174"/>
                  <a:gd name="T66" fmla="*/ 98 w 246"/>
                  <a:gd name="T67" fmla="*/ 34 h 174"/>
                  <a:gd name="T68" fmla="*/ 118 w 246"/>
                  <a:gd name="T69" fmla="*/ 32 h 174"/>
                  <a:gd name="T70" fmla="*/ 124 w 246"/>
                  <a:gd name="T71" fmla="*/ 24 h 174"/>
                  <a:gd name="T72" fmla="*/ 156 w 246"/>
                  <a:gd name="T73" fmla="*/ 20 h 174"/>
                  <a:gd name="T74" fmla="*/ 186 w 246"/>
                  <a:gd name="T75" fmla="*/ 18 h 174"/>
                  <a:gd name="T76" fmla="*/ 204 w 246"/>
                  <a:gd name="T77" fmla="*/ 6 h 174"/>
                  <a:gd name="T78" fmla="*/ 222 w 246"/>
                  <a:gd name="T79" fmla="*/ 0 h 174"/>
                  <a:gd name="T80" fmla="*/ 236 w 246"/>
                  <a:gd name="T8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174">
                    <a:moveTo>
                      <a:pt x="236" y="0"/>
                    </a:moveTo>
                    <a:lnTo>
                      <a:pt x="246" y="4"/>
                    </a:lnTo>
                    <a:lnTo>
                      <a:pt x="242" y="16"/>
                    </a:lnTo>
                    <a:lnTo>
                      <a:pt x="226" y="26"/>
                    </a:lnTo>
                    <a:lnTo>
                      <a:pt x="198" y="34"/>
                    </a:lnTo>
                    <a:lnTo>
                      <a:pt x="148" y="44"/>
                    </a:lnTo>
                    <a:lnTo>
                      <a:pt x="120" y="64"/>
                    </a:lnTo>
                    <a:lnTo>
                      <a:pt x="108" y="70"/>
                    </a:lnTo>
                    <a:lnTo>
                      <a:pt x="98" y="72"/>
                    </a:lnTo>
                    <a:lnTo>
                      <a:pt x="98" y="82"/>
                    </a:lnTo>
                    <a:lnTo>
                      <a:pt x="86" y="90"/>
                    </a:lnTo>
                    <a:lnTo>
                      <a:pt x="76" y="102"/>
                    </a:lnTo>
                    <a:lnTo>
                      <a:pt x="56" y="124"/>
                    </a:lnTo>
                    <a:lnTo>
                      <a:pt x="54" y="146"/>
                    </a:lnTo>
                    <a:lnTo>
                      <a:pt x="64" y="154"/>
                    </a:lnTo>
                    <a:lnTo>
                      <a:pt x="66" y="162"/>
                    </a:lnTo>
                    <a:lnTo>
                      <a:pt x="78" y="174"/>
                    </a:lnTo>
                    <a:lnTo>
                      <a:pt x="32" y="172"/>
                    </a:lnTo>
                    <a:lnTo>
                      <a:pt x="32" y="160"/>
                    </a:lnTo>
                    <a:lnTo>
                      <a:pt x="26" y="156"/>
                    </a:lnTo>
                    <a:lnTo>
                      <a:pt x="18" y="160"/>
                    </a:lnTo>
                    <a:lnTo>
                      <a:pt x="8" y="156"/>
                    </a:lnTo>
                    <a:lnTo>
                      <a:pt x="0" y="146"/>
                    </a:lnTo>
                    <a:lnTo>
                      <a:pt x="0" y="136"/>
                    </a:lnTo>
                    <a:lnTo>
                      <a:pt x="10" y="132"/>
                    </a:lnTo>
                    <a:lnTo>
                      <a:pt x="18" y="126"/>
                    </a:lnTo>
                    <a:lnTo>
                      <a:pt x="18" y="116"/>
                    </a:lnTo>
                    <a:lnTo>
                      <a:pt x="30" y="104"/>
                    </a:lnTo>
                    <a:lnTo>
                      <a:pt x="38" y="102"/>
                    </a:lnTo>
                    <a:lnTo>
                      <a:pt x="42" y="96"/>
                    </a:lnTo>
                    <a:lnTo>
                      <a:pt x="34" y="94"/>
                    </a:lnTo>
                    <a:lnTo>
                      <a:pt x="56" y="74"/>
                    </a:lnTo>
                    <a:lnTo>
                      <a:pt x="68" y="58"/>
                    </a:lnTo>
                    <a:lnTo>
                      <a:pt x="98" y="34"/>
                    </a:lnTo>
                    <a:lnTo>
                      <a:pt x="118" y="32"/>
                    </a:lnTo>
                    <a:lnTo>
                      <a:pt x="124" y="24"/>
                    </a:lnTo>
                    <a:lnTo>
                      <a:pt x="156" y="20"/>
                    </a:lnTo>
                    <a:lnTo>
                      <a:pt x="186" y="18"/>
                    </a:lnTo>
                    <a:lnTo>
                      <a:pt x="204" y="6"/>
                    </a:lnTo>
                    <a:lnTo>
                      <a:pt x="222" y="0"/>
                    </a:lnTo>
                    <a:lnTo>
                      <a:pt x="2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9" name="Freeform 771"/>
              <p:cNvSpPr>
                <a:spLocks/>
              </p:cNvSpPr>
              <p:nvPr/>
            </p:nvSpPr>
            <p:spPr bwMode="auto">
              <a:xfrm>
                <a:off x="3589" y="1127"/>
                <a:ext cx="254" cy="182"/>
              </a:xfrm>
              <a:custGeom>
                <a:avLst/>
                <a:gdLst>
                  <a:gd name="T0" fmla="*/ 226 w 254"/>
                  <a:gd name="T1" fmla="*/ 0 h 182"/>
                  <a:gd name="T2" fmla="*/ 224 w 254"/>
                  <a:gd name="T3" fmla="*/ 0 h 182"/>
                  <a:gd name="T4" fmla="*/ 208 w 254"/>
                  <a:gd name="T5" fmla="*/ 6 h 182"/>
                  <a:gd name="T6" fmla="*/ 190 w 254"/>
                  <a:gd name="T7" fmla="*/ 18 h 182"/>
                  <a:gd name="T8" fmla="*/ 128 w 254"/>
                  <a:gd name="T9" fmla="*/ 24 h 182"/>
                  <a:gd name="T10" fmla="*/ 126 w 254"/>
                  <a:gd name="T11" fmla="*/ 26 h 182"/>
                  <a:gd name="T12" fmla="*/ 100 w 254"/>
                  <a:gd name="T13" fmla="*/ 34 h 182"/>
                  <a:gd name="T14" fmla="*/ 100 w 254"/>
                  <a:gd name="T15" fmla="*/ 36 h 182"/>
                  <a:gd name="T16" fmla="*/ 68 w 254"/>
                  <a:gd name="T17" fmla="*/ 58 h 182"/>
                  <a:gd name="T18" fmla="*/ 58 w 254"/>
                  <a:gd name="T19" fmla="*/ 76 h 182"/>
                  <a:gd name="T20" fmla="*/ 34 w 254"/>
                  <a:gd name="T21" fmla="*/ 94 h 182"/>
                  <a:gd name="T22" fmla="*/ 34 w 254"/>
                  <a:gd name="T23" fmla="*/ 98 h 182"/>
                  <a:gd name="T24" fmla="*/ 34 w 254"/>
                  <a:gd name="T25" fmla="*/ 100 h 182"/>
                  <a:gd name="T26" fmla="*/ 40 w 254"/>
                  <a:gd name="T27" fmla="*/ 102 h 182"/>
                  <a:gd name="T28" fmla="*/ 34 w 254"/>
                  <a:gd name="T29" fmla="*/ 104 h 182"/>
                  <a:gd name="T30" fmla="*/ 30 w 254"/>
                  <a:gd name="T31" fmla="*/ 106 h 182"/>
                  <a:gd name="T32" fmla="*/ 18 w 254"/>
                  <a:gd name="T33" fmla="*/ 118 h 182"/>
                  <a:gd name="T34" fmla="*/ 18 w 254"/>
                  <a:gd name="T35" fmla="*/ 128 h 182"/>
                  <a:gd name="T36" fmla="*/ 2 w 254"/>
                  <a:gd name="T37" fmla="*/ 136 h 182"/>
                  <a:gd name="T38" fmla="*/ 0 w 254"/>
                  <a:gd name="T39" fmla="*/ 138 h 182"/>
                  <a:gd name="T40" fmla="*/ 0 w 254"/>
                  <a:gd name="T41" fmla="*/ 150 h 182"/>
                  <a:gd name="T42" fmla="*/ 0 w 254"/>
                  <a:gd name="T43" fmla="*/ 154 h 182"/>
                  <a:gd name="T44" fmla="*/ 10 w 254"/>
                  <a:gd name="T45" fmla="*/ 162 h 182"/>
                  <a:gd name="T46" fmla="*/ 20 w 254"/>
                  <a:gd name="T47" fmla="*/ 168 h 182"/>
                  <a:gd name="T48" fmla="*/ 22 w 254"/>
                  <a:gd name="T49" fmla="*/ 168 h 182"/>
                  <a:gd name="T50" fmla="*/ 24 w 254"/>
                  <a:gd name="T51" fmla="*/ 168 h 182"/>
                  <a:gd name="T52" fmla="*/ 32 w 254"/>
                  <a:gd name="T53" fmla="*/ 166 h 182"/>
                  <a:gd name="T54" fmla="*/ 32 w 254"/>
                  <a:gd name="T55" fmla="*/ 176 h 182"/>
                  <a:gd name="T56" fmla="*/ 36 w 254"/>
                  <a:gd name="T57" fmla="*/ 180 h 182"/>
                  <a:gd name="T58" fmla="*/ 82 w 254"/>
                  <a:gd name="T59" fmla="*/ 182 h 182"/>
                  <a:gd name="T60" fmla="*/ 82 w 254"/>
                  <a:gd name="T61" fmla="*/ 182 h 182"/>
                  <a:gd name="T62" fmla="*/ 86 w 254"/>
                  <a:gd name="T63" fmla="*/ 178 h 182"/>
                  <a:gd name="T64" fmla="*/ 86 w 254"/>
                  <a:gd name="T65" fmla="*/ 176 h 182"/>
                  <a:gd name="T66" fmla="*/ 74 w 254"/>
                  <a:gd name="T67" fmla="*/ 164 h 182"/>
                  <a:gd name="T68" fmla="*/ 72 w 254"/>
                  <a:gd name="T69" fmla="*/ 156 h 182"/>
                  <a:gd name="T70" fmla="*/ 62 w 254"/>
                  <a:gd name="T71" fmla="*/ 148 h 182"/>
                  <a:gd name="T72" fmla="*/ 84 w 254"/>
                  <a:gd name="T73" fmla="*/ 108 h 182"/>
                  <a:gd name="T74" fmla="*/ 84 w 254"/>
                  <a:gd name="T75" fmla="*/ 108 h 182"/>
                  <a:gd name="T76" fmla="*/ 104 w 254"/>
                  <a:gd name="T77" fmla="*/ 90 h 182"/>
                  <a:gd name="T78" fmla="*/ 106 w 254"/>
                  <a:gd name="T79" fmla="*/ 86 h 182"/>
                  <a:gd name="T80" fmla="*/ 112 w 254"/>
                  <a:gd name="T81" fmla="*/ 78 h 182"/>
                  <a:gd name="T82" fmla="*/ 114 w 254"/>
                  <a:gd name="T83" fmla="*/ 78 h 182"/>
                  <a:gd name="T84" fmla="*/ 126 w 254"/>
                  <a:gd name="T85" fmla="*/ 72 h 182"/>
                  <a:gd name="T86" fmla="*/ 154 w 254"/>
                  <a:gd name="T87" fmla="*/ 52 h 182"/>
                  <a:gd name="T88" fmla="*/ 202 w 254"/>
                  <a:gd name="T89" fmla="*/ 42 h 182"/>
                  <a:gd name="T90" fmla="*/ 232 w 254"/>
                  <a:gd name="T91" fmla="*/ 34 h 182"/>
                  <a:gd name="T92" fmla="*/ 232 w 254"/>
                  <a:gd name="T93" fmla="*/ 34 h 182"/>
                  <a:gd name="T94" fmla="*/ 248 w 254"/>
                  <a:gd name="T95" fmla="*/ 22 h 182"/>
                  <a:gd name="T96" fmla="*/ 254 w 254"/>
                  <a:gd name="T97" fmla="*/ 10 h 182"/>
                  <a:gd name="T98" fmla="*/ 254 w 254"/>
                  <a:gd name="T99" fmla="*/ 8 h 182"/>
                  <a:gd name="T100" fmla="*/ 242 w 254"/>
                  <a:gd name="T101" fmla="*/ 0 h 182"/>
                  <a:gd name="T102" fmla="*/ 240 w 254"/>
                  <a:gd name="T10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4" h="182">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0" name="Freeform 772"/>
              <p:cNvSpPr>
                <a:spLocks/>
              </p:cNvSpPr>
              <p:nvPr/>
            </p:nvSpPr>
            <p:spPr bwMode="auto">
              <a:xfrm>
                <a:off x="4267" y="1055"/>
                <a:ext cx="88" cy="50"/>
              </a:xfrm>
              <a:custGeom>
                <a:avLst/>
                <a:gdLst>
                  <a:gd name="T0" fmla="*/ 10 w 88"/>
                  <a:gd name="T1" fmla="*/ 50 h 50"/>
                  <a:gd name="T2" fmla="*/ 10 w 88"/>
                  <a:gd name="T3" fmla="*/ 50 h 50"/>
                  <a:gd name="T4" fmla="*/ 8 w 88"/>
                  <a:gd name="T5" fmla="*/ 50 h 50"/>
                  <a:gd name="T6" fmla="*/ 2 w 88"/>
                  <a:gd name="T7" fmla="*/ 46 h 50"/>
                  <a:gd name="T8" fmla="*/ 2 w 88"/>
                  <a:gd name="T9" fmla="*/ 46 h 50"/>
                  <a:gd name="T10" fmla="*/ 0 w 88"/>
                  <a:gd name="T11" fmla="*/ 44 h 50"/>
                  <a:gd name="T12" fmla="*/ 0 w 88"/>
                  <a:gd name="T13" fmla="*/ 44 h 50"/>
                  <a:gd name="T14" fmla="*/ 0 w 88"/>
                  <a:gd name="T15" fmla="*/ 42 h 50"/>
                  <a:gd name="T16" fmla="*/ 14 w 88"/>
                  <a:gd name="T17" fmla="*/ 26 h 50"/>
                  <a:gd name="T18" fmla="*/ 26 w 88"/>
                  <a:gd name="T19" fmla="*/ 14 h 50"/>
                  <a:gd name="T20" fmla="*/ 36 w 88"/>
                  <a:gd name="T21" fmla="*/ 2 h 50"/>
                  <a:gd name="T22" fmla="*/ 36 w 88"/>
                  <a:gd name="T23" fmla="*/ 2 h 50"/>
                  <a:gd name="T24" fmla="*/ 38 w 88"/>
                  <a:gd name="T25" fmla="*/ 2 h 50"/>
                  <a:gd name="T26" fmla="*/ 38 w 88"/>
                  <a:gd name="T27" fmla="*/ 2 h 50"/>
                  <a:gd name="T28" fmla="*/ 54 w 88"/>
                  <a:gd name="T29" fmla="*/ 0 h 50"/>
                  <a:gd name="T30" fmla="*/ 54 w 88"/>
                  <a:gd name="T31" fmla="*/ 0 h 50"/>
                  <a:gd name="T32" fmla="*/ 54 w 88"/>
                  <a:gd name="T33" fmla="*/ 2 h 50"/>
                  <a:gd name="T34" fmla="*/ 54 w 88"/>
                  <a:gd name="T35" fmla="*/ 2 h 50"/>
                  <a:gd name="T36" fmla="*/ 56 w 88"/>
                  <a:gd name="T37" fmla="*/ 2 h 50"/>
                  <a:gd name="T38" fmla="*/ 52 w 88"/>
                  <a:gd name="T39" fmla="*/ 10 h 50"/>
                  <a:gd name="T40" fmla="*/ 62 w 88"/>
                  <a:gd name="T41" fmla="*/ 6 h 50"/>
                  <a:gd name="T42" fmla="*/ 62 w 88"/>
                  <a:gd name="T43" fmla="*/ 6 h 50"/>
                  <a:gd name="T44" fmla="*/ 64 w 88"/>
                  <a:gd name="T45" fmla="*/ 6 h 50"/>
                  <a:gd name="T46" fmla="*/ 64 w 88"/>
                  <a:gd name="T47" fmla="*/ 6 h 50"/>
                  <a:gd name="T48" fmla="*/ 64 w 88"/>
                  <a:gd name="T49" fmla="*/ 6 h 50"/>
                  <a:gd name="T50" fmla="*/ 76 w 88"/>
                  <a:gd name="T51" fmla="*/ 14 h 50"/>
                  <a:gd name="T52" fmla="*/ 88 w 88"/>
                  <a:gd name="T53" fmla="*/ 20 h 50"/>
                  <a:gd name="T54" fmla="*/ 88 w 88"/>
                  <a:gd name="T55" fmla="*/ 20 h 50"/>
                  <a:gd name="T56" fmla="*/ 88 w 88"/>
                  <a:gd name="T57" fmla="*/ 22 h 50"/>
                  <a:gd name="T58" fmla="*/ 86 w 88"/>
                  <a:gd name="T59" fmla="*/ 30 h 50"/>
                  <a:gd name="T60" fmla="*/ 86 w 88"/>
                  <a:gd name="T61" fmla="*/ 30 h 50"/>
                  <a:gd name="T62" fmla="*/ 86 w 88"/>
                  <a:gd name="T63" fmla="*/ 32 h 50"/>
                  <a:gd name="T64" fmla="*/ 80 w 88"/>
                  <a:gd name="T65" fmla="*/ 38 h 50"/>
                  <a:gd name="T66" fmla="*/ 80 w 88"/>
                  <a:gd name="T67" fmla="*/ 38 h 50"/>
                  <a:gd name="T68" fmla="*/ 78 w 88"/>
                  <a:gd name="T69" fmla="*/ 38 h 50"/>
                  <a:gd name="T70" fmla="*/ 54 w 88"/>
                  <a:gd name="T71" fmla="*/ 38 h 50"/>
                  <a:gd name="T72" fmla="*/ 26 w 88"/>
                  <a:gd name="T73" fmla="*/ 40 h 50"/>
                  <a:gd name="T74" fmla="*/ 22 w 88"/>
                  <a:gd name="T75" fmla="*/ 46 h 50"/>
                  <a:gd name="T76" fmla="*/ 22 w 88"/>
                  <a:gd name="T77" fmla="*/ 46 h 50"/>
                  <a:gd name="T78" fmla="*/ 20 w 88"/>
                  <a:gd name="T79" fmla="*/ 46 h 50"/>
                  <a:gd name="T80" fmla="*/ 10 w 88"/>
                  <a:gd name="T81" fmla="*/ 50 h 50"/>
                  <a:gd name="T82" fmla="*/ 10 w 88"/>
                  <a:gd name="T83" fmla="*/ 50 h 50"/>
                  <a:gd name="T84" fmla="*/ 10 w 88"/>
                  <a:gd name="T85" fmla="*/ 50 h 50"/>
                  <a:gd name="T86" fmla="*/ 10 w 88"/>
                  <a:gd name="T8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 h="50">
                    <a:moveTo>
                      <a:pt x="10" y="50"/>
                    </a:moveTo>
                    <a:lnTo>
                      <a:pt x="10" y="50"/>
                    </a:lnTo>
                    <a:lnTo>
                      <a:pt x="8" y="50"/>
                    </a:lnTo>
                    <a:lnTo>
                      <a:pt x="2" y="46"/>
                    </a:lnTo>
                    <a:lnTo>
                      <a:pt x="2" y="46"/>
                    </a:lnTo>
                    <a:lnTo>
                      <a:pt x="0" y="44"/>
                    </a:lnTo>
                    <a:lnTo>
                      <a:pt x="0" y="44"/>
                    </a:lnTo>
                    <a:lnTo>
                      <a:pt x="0" y="42"/>
                    </a:lnTo>
                    <a:lnTo>
                      <a:pt x="14" y="26"/>
                    </a:lnTo>
                    <a:lnTo>
                      <a:pt x="26" y="14"/>
                    </a:lnTo>
                    <a:lnTo>
                      <a:pt x="36" y="2"/>
                    </a:lnTo>
                    <a:lnTo>
                      <a:pt x="36" y="2"/>
                    </a:lnTo>
                    <a:lnTo>
                      <a:pt x="38" y="2"/>
                    </a:lnTo>
                    <a:lnTo>
                      <a:pt x="38" y="2"/>
                    </a:lnTo>
                    <a:lnTo>
                      <a:pt x="54" y="0"/>
                    </a:lnTo>
                    <a:lnTo>
                      <a:pt x="54" y="0"/>
                    </a:lnTo>
                    <a:lnTo>
                      <a:pt x="54" y="2"/>
                    </a:lnTo>
                    <a:lnTo>
                      <a:pt x="54" y="2"/>
                    </a:lnTo>
                    <a:lnTo>
                      <a:pt x="56" y="2"/>
                    </a:lnTo>
                    <a:lnTo>
                      <a:pt x="52" y="10"/>
                    </a:lnTo>
                    <a:lnTo>
                      <a:pt x="62" y="6"/>
                    </a:lnTo>
                    <a:lnTo>
                      <a:pt x="62" y="6"/>
                    </a:lnTo>
                    <a:lnTo>
                      <a:pt x="64" y="6"/>
                    </a:lnTo>
                    <a:lnTo>
                      <a:pt x="64" y="6"/>
                    </a:lnTo>
                    <a:lnTo>
                      <a:pt x="64" y="6"/>
                    </a:lnTo>
                    <a:lnTo>
                      <a:pt x="76" y="14"/>
                    </a:lnTo>
                    <a:lnTo>
                      <a:pt x="88" y="20"/>
                    </a:lnTo>
                    <a:lnTo>
                      <a:pt x="88" y="20"/>
                    </a:lnTo>
                    <a:lnTo>
                      <a:pt x="88" y="22"/>
                    </a:lnTo>
                    <a:lnTo>
                      <a:pt x="86" y="30"/>
                    </a:lnTo>
                    <a:lnTo>
                      <a:pt x="86" y="30"/>
                    </a:lnTo>
                    <a:lnTo>
                      <a:pt x="86" y="32"/>
                    </a:lnTo>
                    <a:lnTo>
                      <a:pt x="80" y="38"/>
                    </a:lnTo>
                    <a:lnTo>
                      <a:pt x="80" y="38"/>
                    </a:lnTo>
                    <a:lnTo>
                      <a:pt x="78" y="38"/>
                    </a:lnTo>
                    <a:lnTo>
                      <a:pt x="54" y="38"/>
                    </a:lnTo>
                    <a:lnTo>
                      <a:pt x="26" y="40"/>
                    </a:lnTo>
                    <a:lnTo>
                      <a:pt x="22" y="46"/>
                    </a:lnTo>
                    <a:lnTo>
                      <a:pt x="22" y="46"/>
                    </a:lnTo>
                    <a:lnTo>
                      <a:pt x="20" y="46"/>
                    </a:lnTo>
                    <a:lnTo>
                      <a:pt x="10" y="50"/>
                    </a:lnTo>
                    <a:lnTo>
                      <a:pt x="10" y="50"/>
                    </a:lnTo>
                    <a:lnTo>
                      <a:pt x="10" y="50"/>
                    </a:lnTo>
                    <a:lnTo>
                      <a:pt x="1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1" name="Freeform 773"/>
              <p:cNvSpPr>
                <a:spLocks noEditPoints="1"/>
              </p:cNvSpPr>
              <p:nvPr/>
            </p:nvSpPr>
            <p:spPr bwMode="auto">
              <a:xfrm>
                <a:off x="4265" y="1053"/>
                <a:ext cx="92" cy="54"/>
              </a:xfrm>
              <a:custGeom>
                <a:avLst/>
                <a:gdLst>
                  <a:gd name="T0" fmla="*/ 52 w 92"/>
                  <a:gd name="T1" fmla="*/ 16 h 54"/>
                  <a:gd name="T2" fmla="*/ 76 w 92"/>
                  <a:gd name="T3" fmla="*/ 18 h 54"/>
                  <a:gd name="T4" fmla="*/ 86 w 92"/>
                  <a:gd name="T5" fmla="*/ 32 h 54"/>
                  <a:gd name="T6" fmla="*/ 56 w 92"/>
                  <a:gd name="T7" fmla="*/ 38 h 54"/>
                  <a:gd name="T8" fmla="*/ 22 w 92"/>
                  <a:gd name="T9" fmla="*/ 46 h 54"/>
                  <a:gd name="T10" fmla="*/ 4 w 92"/>
                  <a:gd name="T11" fmla="*/ 46 h 54"/>
                  <a:gd name="T12" fmla="*/ 28 w 92"/>
                  <a:gd name="T13" fmla="*/ 16 h 54"/>
                  <a:gd name="T14" fmla="*/ 56 w 92"/>
                  <a:gd name="T15" fmla="*/ 4 h 54"/>
                  <a:gd name="T16" fmla="*/ 56 w 92"/>
                  <a:gd name="T17" fmla="*/ 0 h 54"/>
                  <a:gd name="T18" fmla="*/ 38 w 92"/>
                  <a:gd name="T19" fmla="*/ 2 h 54"/>
                  <a:gd name="T20" fmla="*/ 36 w 92"/>
                  <a:gd name="T21" fmla="*/ 4 h 54"/>
                  <a:gd name="T22" fmla="*/ 26 w 92"/>
                  <a:gd name="T23" fmla="*/ 14 h 54"/>
                  <a:gd name="T24" fmla="*/ 16 w 92"/>
                  <a:gd name="T25" fmla="*/ 28 h 54"/>
                  <a:gd name="T26" fmla="*/ 2 w 92"/>
                  <a:gd name="T27" fmla="*/ 44 h 54"/>
                  <a:gd name="T28" fmla="*/ 0 w 92"/>
                  <a:gd name="T29" fmla="*/ 46 h 54"/>
                  <a:gd name="T30" fmla="*/ 10 w 92"/>
                  <a:gd name="T31" fmla="*/ 52 h 54"/>
                  <a:gd name="T32" fmla="*/ 12 w 92"/>
                  <a:gd name="T33" fmla="*/ 54 h 54"/>
                  <a:gd name="T34" fmla="*/ 12 w 92"/>
                  <a:gd name="T35" fmla="*/ 54 h 54"/>
                  <a:gd name="T36" fmla="*/ 24 w 92"/>
                  <a:gd name="T37" fmla="*/ 50 h 54"/>
                  <a:gd name="T38" fmla="*/ 28 w 92"/>
                  <a:gd name="T39" fmla="*/ 44 h 54"/>
                  <a:gd name="T40" fmla="*/ 80 w 92"/>
                  <a:gd name="T41" fmla="*/ 42 h 54"/>
                  <a:gd name="T42" fmla="*/ 82 w 92"/>
                  <a:gd name="T43" fmla="*/ 42 h 54"/>
                  <a:gd name="T44" fmla="*/ 90 w 92"/>
                  <a:gd name="T45" fmla="*/ 34 h 54"/>
                  <a:gd name="T46" fmla="*/ 92 w 92"/>
                  <a:gd name="T47" fmla="*/ 24 h 54"/>
                  <a:gd name="T48" fmla="*/ 92 w 92"/>
                  <a:gd name="T49" fmla="*/ 22 h 54"/>
                  <a:gd name="T50" fmla="*/ 78 w 92"/>
                  <a:gd name="T51" fmla="*/ 14 h 54"/>
                  <a:gd name="T52" fmla="*/ 68 w 92"/>
                  <a:gd name="T53" fmla="*/ 6 h 54"/>
                  <a:gd name="T54" fmla="*/ 66 w 92"/>
                  <a:gd name="T55" fmla="*/ 6 h 54"/>
                  <a:gd name="T56" fmla="*/ 58 w 92"/>
                  <a:gd name="T57" fmla="*/ 8 h 54"/>
                  <a:gd name="T58" fmla="*/ 58 w 92"/>
                  <a:gd name="T59" fmla="*/ 6 h 54"/>
                  <a:gd name="T60" fmla="*/ 58 w 92"/>
                  <a:gd name="T61" fmla="*/ 2 h 54"/>
                  <a:gd name="T62" fmla="*/ 56 w 92"/>
                  <a:gd name="T6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54">
                    <a:moveTo>
                      <a:pt x="56" y="4"/>
                    </a:moveTo>
                    <a:lnTo>
                      <a:pt x="52" y="16"/>
                    </a:lnTo>
                    <a:lnTo>
                      <a:pt x="66" y="10"/>
                    </a:lnTo>
                    <a:lnTo>
                      <a:pt x="76" y="18"/>
                    </a:lnTo>
                    <a:lnTo>
                      <a:pt x="88" y="24"/>
                    </a:lnTo>
                    <a:lnTo>
                      <a:pt x="86" y="32"/>
                    </a:lnTo>
                    <a:lnTo>
                      <a:pt x="80" y="38"/>
                    </a:lnTo>
                    <a:lnTo>
                      <a:pt x="56" y="38"/>
                    </a:lnTo>
                    <a:lnTo>
                      <a:pt x="28" y="40"/>
                    </a:lnTo>
                    <a:lnTo>
                      <a:pt x="22" y="46"/>
                    </a:lnTo>
                    <a:lnTo>
                      <a:pt x="12" y="50"/>
                    </a:lnTo>
                    <a:lnTo>
                      <a:pt x="4" y="46"/>
                    </a:lnTo>
                    <a:lnTo>
                      <a:pt x="18" y="30"/>
                    </a:lnTo>
                    <a:lnTo>
                      <a:pt x="28" y="16"/>
                    </a:lnTo>
                    <a:lnTo>
                      <a:pt x="40" y="6"/>
                    </a:lnTo>
                    <a:lnTo>
                      <a:pt x="56" y="4"/>
                    </a:lnTo>
                    <a:close/>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2" name="Freeform 774"/>
              <p:cNvSpPr>
                <a:spLocks/>
              </p:cNvSpPr>
              <p:nvPr/>
            </p:nvSpPr>
            <p:spPr bwMode="auto">
              <a:xfrm>
                <a:off x="4269" y="1057"/>
                <a:ext cx="84" cy="46"/>
              </a:xfrm>
              <a:custGeom>
                <a:avLst/>
                <a:gdLst>
                  <a:gd name="T0" fmla="*/ 52 w 84"/>
                  <a:gd name="T1" fmla="*/ 0 h 46"/>
                  <a:gd name="T2" fmla="*/ 48 w 84"/>
                  <a:gd name="T3" fmla="*/ 12 h 46"/>
                  <a:gd name="T4" fmla="*/ 62 w 84"/>
                  <a:gd name="T5" fmla="*/ 6 h 46"/>
                  <a:gd name="T6" fmla="*/ 72 w 84"/>
                  <a:gd name="T7" fmla="*/ 14 h 46"/>
                  <a:gd name="T8" fmla="*/ 84 w 84"/>
                  <a:gd name="T9" fmla="*/ 20 h 46"/>
                  <a:gd name="T10" fmla="*/ 82 w 84"/>
                  <a:gd name="T11" fmla="*/ 28 h 46"/>
                  <a:gd name="T12" fmla="*/ 76 w 84"/>
                  <a:gd name="T13" fmla="*/ 34 h 46"/>
                  <a:gd name="T14" fmla="*/ 52 w 84"/>
                  <a:gd name="T15" fmla="*/ 34 h 46"/>
                  <a:gd name="T16" fmla="*/ 24 w 84"/>
                  <a:gd name="T17" fmla="*/ 36 h 46"/>
                  <a:gd name="T18" fmla="*/ 18 w 84"/>
                  <a:gd name="T19" fmla="*/ 42 h 46"/>
                  <a:gd name="T20" fmla="*/ 8 w 84"/>
                  <a:gd name="T21" fmla="*/ 46 h 46"/>
                  <a:gd name="T22" fmla="*/ 0 w 84"/>
                  <a:gd name="T23" fmla="*/ 42 h 46"/>
                  <a:gd name="T24" fmla="*/ 14 w 84"/>
                  <a:gd name="T25" fmla="*/ 26 h 46"/>
                  <a:gd name="T26" fmla="*/ 24 w 84"/>
                  <a:gd name="T27" fmla="*/ 12 h 46"/>
                  <a:gd name="T28" fmla="*/ 36 w 84"/>
                  <a:gd name="T29" fmla="*/ 2 h 46"/>
                  <a:gd name="T30" fmla="*/ 52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52" y="0"/>
                    </a:moveTo>
                    <a:lnTo>
                      <a:pt x="48" y="12"/>
                    </a:lnTo>
                    <a:lnTo>
                      <a:pt x="62" y="6"/>
                    </a:lnTo>
                    <a:lnTo>
                      <a:pt x="72" y="14"/>
                    </a:lnTo>
                    <a:lnTo>
                      <a:pt x="84" y="20"/>
                    </a:lnTo>
                    <a:lnTo>
                      <a:pt x="82" y="28"/>
                    </a:lnTo>
                    <a:lnTo>
                      <a:pt x="76" y="34"/>
                    </a:lnTo>
                    <a:lnTo>
                      <a:pt x="52" y="34"/>
                    </a:lnTo>
                    <a:lnTo>
                      <a:pt x="24" y="36"/>
                    </a:lnTo>
                    <a:lnTo>
                      <a:pt x="18" y="42"/>
                    </a:lnTo>
                    <a:lnTo>
                      <a:pt x="8" y="46"/>
                    </a:lnTo>
                    <a:lnTo>
                      <a:pt x="0" y="42"/>
                    </a:lnTo>
                    <a:lnTo>
                      <a:pt x="14" y="26"/>
                    </a:lnTo>
                    <a:lnTo>
                      <a:pt x="24" y="12"/>
                    </a:lnTo>
                    <a:lnTo>
                      <a:pt x="36" y="2"/>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3" name="Freeform 775"/>
              <p:cNvSpPr>
                <a:spLocks/>
              </p:cNvSpPr>
              <p:nvPr/>
            </p:nvSpPr>
            <p:spPr bwMode="auto">
              <a:xfrm>
                <a:off x="4265" y="1053"/>
                <a:ext cx="92" cy="54"/>
              </a:xfrm>
              <a:custGeom>
                <a:avLst/>
                <a:gdLst>
                  <a:gd name="T0" fmla="*/ 56 w 92"/>
                  <a:gd name="T1" fmla="*/ 0 h 54"/>
                  <a:gd name="T2" fmla="*/ 56 w 92"/>
                  <a:gd name="T3" fmla="*/ 0 h 54"/>
                  <a:gd name="T4" fmla="*/ 54 w 92"/>
                  <a:gd name="T5" fmla="*/ 0 h 54"/>
                  <a:gd name="T6" fmla="*/ 38 w 92"/>
                  <a:gd name="T7" fmla="*/ 2 h 54"/>
                  <a:gd name="T8" fmla="*/ 38 w 92"/>
                  <a:gd name="T9" fmla="*/ 2 h 54"/>
                  <a:gd name="T10" fmla="*/ 36 w 92"/>
                  <a:gd name="T11" fmla="*/ 4 h 54"/>
                  <a:gd name="T12" fmla="*/ 26 w 92"/>
                  <a:gd name="T13" fmla="*/ 14 h 54"/>
                  <a:gd name="T14" fmla="*/ 26 w 92"/>
                  <a:gd name="T15" fmla="*/ 14 h 54"/>
                  <a:gd name="T16" fmla="*/ 26 w 92"/>
                  <a:gd name="T17" fmla="*/ 14 h 54"/>
                  <a:gd name="T18" fmla="*/ 16 w 92"/>
                  <a:gd name="T19" fmla="*/ 28 h 54"/>
                  <a:gd name="T20" fmla="*/ 2 w 92"/>
                  <a:gd name="T21" fmla="*/ 44 h 54"/>
                  <a:gd name="T22" fmla="*/ 2 w 92"/>
                  <a:gd name="T23" fmla="*/ 44 h 54"/>
                  <a:gd name="T24" fmla="*/ 0 w 92"/>
                  <a:gd name="T25" fmla="*/ 46 h 54"/>
                  <a:gd name="T26" fmla="*/ 0 w 92"/>
                  <a:gd name="T27" fmla="*/ 46 h 54"/>
                  <a:gd name="T28" fmla="*/ 2 w 92"/>
                  <a:gd name="T29" fmla="*/ 50 h 54"/>
                  <a:gd name="T30" fmla="*/ 10 w 92"/>
                  <a:gd name="T31" fmla="*/ 52 h 54"/>
                  <a:gd name="T32" fmla="*/ 10 w 92"/>
                  <a:gd name="T33" fmla="*/ 52 h 54"/>
                  <a:gd name="T34" fmla="*/ 12 w 92"/>
                  <a:gd name="T35" fmla="*/ 54 h 54"/>
                  <a:gd name="T36" fmla="*/ 12 w 92"/>
                  <a:gd name="T37" fmla="*/ 54 h 54"/>
                  <a:gd name="T38" fmla="*/ 12 w 92"/>
                  <a:gd name="T39" fmla="*/ 54 h 54"/>
                  <a:gd name="T40" fmla="*/ 24 w 92"/>
                  <a:gd name="T41" fmla="*/ 50 h 54"/>
                  <a:gd name="T42" fmla="*/ 24 w 92"/>
                  <a:gd name="T43" fmla="*/ 50 h 54"/>
                  <a:gd name="T44" fmla="*/ 24 w 92"/>
                  <a:gd name="T45" fmla="*/ 48 h 54"/>
                  <a:gd name="T46" fmla="*/ 28 w 92"/>
                  <a:gd name="T47" fmla="*/ 44 h 54"/>
                  <a:gd name="T48" fmla="*/ 56 w 92"/>
                  <a:gd name="T49" fmla="*/ 42 h 54"/>
                  <a:gd name="T50" fmla="*/ 80 w 92"/>
                  <a:gd name="T51" fmla="*/ 42 h 54"/>
                  <a:gd name="T52" fmla="*/ 80 w 92"/>
                  <a:gd name="T53" fmla="*/ 42 h 54"/>
                  <a:gd name="T54" fmla="*/ 82 w 92"/>
                  <a:gd name="T55" fmla="*/ 42 h 54"/>
                  <a:gd name="T56" fmla="*/ 90 w 92"/>
                  <a:gd name="T57" fmla="*/ 34 h 54"/>
                  <a:gd name="T58" fmla="*/ 90 w 92"/>
                  <a:gd name="T59" fmla="*/ 34 h 54"/>
                  <a:gd name="T60" fmla="*/ 90 w 92"/>
                  <a:gd name="T61" fmla="*/ 32 h 54"/>
                  <a:gd name="T62" fmla="*/ 92 w 92"/>
                  <a:gd name="T63" fmla="*/ 24 h 54"/>
                  <a:gd name="T64" fmla="*/ 92 w 92"/>
                  <a:gd name="T65" fmla="*/ 24 h 54"/>
                  <a:gd name="T66" fmla="*/ 92 w 92"/>
                  <a:gd name="T67" fmla="*/ 22 h 54"/>
                  <a:gd name="T68" fmla="*/ 90 w 92"/>
                  <a:gd name="T69" fmla="*/ 20 h 54"/>
                  <a:gd name="T70" fmla="*/ 78 w 92"/>
                  <a:gd name="T71" fmla="*/ 14 h 54"/>
                  <a:gd name="T72" fmla="*/ 68 w 92"/>
                  <a:gd name="T73" fmla="*/ 6 h 54"/>
                  <a:gd name="T74" fmla="*/ 68 w 92"/>
                  <a:gd name="T75" fmla="*/ 6 h 54"/>
                  <a:gd name="T76" fmla="*/ 66 w 92"/>
                  <a:gd name="T77" fmla="*/ 6 h 54"/>
                  <a:gd name="T78" fmla="*/ 66 w 92"/>
                  <a:gd name="T79" fmla="*/ 6 h 54"/>
                  <a:gd name="T80" fmla="*/ 64 w 92"/>
                  <a:gd name="T81" fmla="*/ 6 h 54"/>
                  <a:gd name="T82" fmla="*/ 58 w 92"/>
                  <a:gd name="T83" fmla="*/ 8 h 54"/>
                  <a:gd name="T84" fmla="*/ 58 w 92"/>
                  <a:gd name="T85" fmla="*/ 6 h 54"/>
                  <a:gd name="T86" fmla="*/ 58 w 92"/>
                  <a:gd name="T87" fmla="*/ 6 h 54"/>
                  <a:gd name="T88" fmla="*/ 58 w 92"/>
                  <a:gd name="T89" fmla="*/ 2 h 54"/>
                  <a:gd name="T90" fmla="*/ 58 w 92"/>
                  <a:gd name="T91" fmla="*/ 2 h 54"/>
                  <a:gd name="T92" fmla="*/ 56 w 92"/>
                  <a:gd name="T93" fmla="*/ 0 h 54"/>
                  <a:gd name="T94" fmla="*/ 56 w 92"/>
                  <a:gd name="T9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54">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4" name="Freeform 776"/>
              <p:cNvSpPr>
                <a:spLocks/>
              </p:cNvSpPr>
              <p:nvPr/>
            </p:nvSpPr>
            <p:spPr bwMode="auto">
              <a:xfrm>
                <a:off x="4189" y="1027"/>
                <a:ext cx="88" cy="50"/>
              </a:xfrm>
              <a:custGeom>
                <a:avLst/>
                <a:gdLst>
                  <a:gd name="T0" fmla="*/ 50 w 88"/>
                  <a:gd name="T1" fmla="*/ 50 h 50"/>
                  <a:gd name="T2" fmla="*/ 50 w 88"/>
                  <a:gd name="T3" fmla="*/ 50 h 50"/>
                  <a:gd name="T4" fmla="*/ 48 w 88"/>
                  <a:gd name="T5" fmla="*/ 50 h 50"/>
                  <a:gd name="T6" fmla="*/ 36 w 88"/>
                  <a:gd name="T7" fmla="*/ 44 h 50"/>
                  <a:gd name="T8" fmla="*/ 16 w 88"/>
                  <a:gd name="T9" fmla="*/ 44 h 50"/>
                  <a:gd name="T10" fmla="*/ 16 w 88"/>
                  <a:gd name="T11" fmla="*/ 44 h 50"/>
                  <a:gd name="T12" fmla="*/ 14 w 88"/>
                  <a:gd name="T13" fmla="*/ 42 h 50"/>
                  <a:gd name="T14" fmla="*/ 8 w 88"/>
                  <a:gd name="T15" fmla="*/ 30 h 50"/>
                  <a:gd name="T16" fmla="*/ 0 w 88"/>
                  <a:gd name="T17" fmla="*/ 26 h 50"/>
                  <a:gd name="T18" fmla="*/ 0 w 88"/>
                  <a:gd name="T19" fmla="*/ 26 h 50"/>
                  <a:gd name="T20" fmla="*/ 0 w 88"/>
                  <a:gd name="T21" fmla="*/ 24 h 50"/>
                  <a:gd name="T22" fmla="*/ 0 w 88"/>
                  <a:gd name="T23" fmla="*/ 24 h 50"/>
                  <a:gd name="T24" fmla="*/ 0 w 88"/>
                  <a:gd name="T25" fmla="*/ 22 h 50"/>
                  <a:gd name="T26" fmla="*/ 14 w 88"/>
                  <a:gd name="T27" fmla="*/ 6 h 50"/>
                  <a:gd name="T28" fmla="*/ 14 w 88"/>
                  <a:gd name="T29" fmla="*/ 6 h 50"/>
                  <a:gd name="T30" fmla="*/ 16 w 88"/>
                  <a:gd name="T31" fmla="*/ 6 h 50"/>
                  <a:gd name="T32" fmla="*/ 42 w 88"/>
                  <a:gd name="T33" fmla="*/ 0 h 50"/>
                  <a:gd name="T34" fmla="*/ 58 w 88"/>
                  <a:gd name="T35" fmla="*/ 2 h 50"/>
                  <a:gd name="T36" fmla="*/ 58 w 88"/>
                  <a:gd name="T37" fmla="*/ 2 h 50"/>
                  <a:gd name="T38" fmla="*/ 60 w 88"/>
                  <a:gd name="T39" fmla="*/ 4 h 50"/>
                  <a:gd name="T40" fmla="*/ 60 w 88"/>
                  <a:gd name="T41" fmla="*/ 10 h 50"/>
                  <a:gd name="T42" fmla="*/ 78 w 88"/>
                  <a:gd name="T43" fmla="*/ 6 h 50"/>
                  <a:gd name="T44" fmla="*/ 78 w 88"/>
                  <a:gd name="T45" fmla="*/ 6 h 50"/>
                  <a:gd name="T46" fmla="*/ 80 w 88"/>
                  <a:gd name="T47" fmla="*/ 6 h 50"/>
                  <a:gd name="T48" fmla="*/ 80 w 88"/>
                  <a:gd name="T49" fmla="*/ 6 h 50"/>
                  <a:gd name="T50" fmla="*/ 80 w 88"/>
                  <a:gd name="T51" fmla="*/ 6 h 50"/>
                  <a:gd name="T52" fmla="*/ 88 w 88"/>
                  <a:gd name="T53" fmla="*/ 14 h 50"/>
                  <a:gd name="T54" fmla="*/ 88 w 88"/>
                  <a:gd name="T55" fmla="*/ 14 h 50"/>
                  <a:gd name="T56" fmla="*/ 88 w 88"/>
                  <a:gd name="T57" fmla="*/ 16 h 50"/>
                  <a:gd name="T58" fmla="*/ 88 w 88"/>
                  <a:gd name="T59" fmla="*/ 28 h 50"/>
                  <a:gd name="T60" fmla="*/ 88 w 88"/>
                  <a:gd name="T61" fmla="*/ 28 h 50"/>
                  <a:gd name="T62" fmla="*/ 88 w 88"/>
                  <a:gd name="T63" fmla="*/ 30 h 50"/>
                  <a:gd name="T64" fmla="*/ 78 w 88"/>
                  <a:gd name="T65" fmla="*/ 38 h 50"/>
                  <a:gd name="T66" fmla="*/ 84 w 88"/>
                  <a:gd name="T67" fmla="*/ 46 h 50"/>
                  <a:gd name="T68" fmla="*/ 84 w 88"/>
                  <a:gd name="T69" fmla="*/ 46 h 50"/>
                  <a:gd name="T70" fmla="*/ 84 w 88"/>
                  <a:gd name="T71" fmla="*/ 48 h 50"/>
                  <a:gd name="T72" fmla="*/ 84 w 88"/>
                  <a:gd name="T73" fmla="*/ 48 h 50"/>
                  <a:gd name="T74" fmla="*/ 82 w 88"/>
                  <a:gd name="T75" fmla="*/ 50 h 50"/>
                  <a:gd name="T76" fmla="*/ 50 w 88"/>
                  <a:gd name="T7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50">
                    <a:moveTo>
                      <a:pt x="50" y="50"/>
                    </a:moveTo>
                    <a:lnTo>
                      <a:pt x="50" y="50"/>
                    </a:lnTo>
                    <a:lnTo>
                      <a:pt x="48" y="50"/>
                    </a:lnTo>
                    <a:lnTo>
                      <a:pt x="36" y="44"/>
                    </a:lnTo>
                    <a:lnTo>
                      <a:pt x="16" y="44"/>
                    </a:lnTo>
                    <a:lnTo>
                      <a:pt x="16" y="44"/>
                    </a:lnTo>
                    <a:lnTo>
                      <a:pt x="14" y="42"/>
                    </a:lnTo>
                    <a:lnTo>
                      <a:pt x="8" y="30"/>
                    </a:lnTo>
                    <a:lnTo>
                      <a:pt x="0" y="26"/>
                    </a:lnTo>
                    <a:lnTo>
                      <a:pt x="0" y="26"/>
                    </a:lnTo>
                    <a:lnTo>
                      <a:pt x="0" y="24"/>
                    </a:lnTo>
                    <a:lnTo>
                      <a:pt x="0" y="24"/>
                    </a:lnTo>
                    <a:lnTo>
                      <a:pt x="0" y="22"/>
                    </a:lnTo>
                    <a:lnTo>
                      <a:pt x="14" y="6"/>
                    </a:lnTo>
                    <a:lnTo>
                      <a:pt x="14" y="6"/>
                    </a:lnTo>
                    <a:lnTo>
                      <a:pt x="16" y="6"/>
                    </a:lnTo>
                    <a:lnTo>
                      <a:pt x="42" y="0"/>
                    </a:lnTo>
                    <a:lnTo>
                      <a:pt x="58" y="2"/>
                    </a:lnTo>
                    <a:lnTo>
                      <a:pt x="58" y="2"/>
                    </a:lnTo>
                    <a:lnTo>
                      <a:pt x="60" y="4"/>
                    </a:lnTo>
                    <a:lnTo>
                      <a:pt x="60" y="10"/>
                    </a:lnTo>
                    <a:lnTo>
                      <a:pt x="78" y="6"/>
                    </a:lnTo>
                    <a:lnTo>
                      <a:pt x="78" y="6"/>
                    </a:lnTo>
                    <a:lnTo>
                      <a:pt x="80" y="6"/>
                    </a:lnTo>
                    <a:lnTo>
                      <a:pt x="80" y="6"/>
                    </a:lnTo>
                    <a:lnTo>
                      <a:pt x="80" y="6"/>
                    </a:lnTo>
                    <a:lnTo>
                      <a:pt x="88" y="14"/>
                    </a:lnTo>
                    <a:lnTo>
                      <a:pt x="88" y="14"/>
                    </a:lnTo>
                    <a:lnTo>
                      <a:pt x="88" y="16"/>
                    </a:lnTo>
                    <a:lnTo>
                      <a:pt x="88" y="28"/>
                    </a:lnTo>
                    <a:lnTo>
                      <a:pt x="88" y="28"/>
                    </a:lnTo>
                    <a:lnTo>
                      <a:pt x="88" y="30"/>
                    </a:lnTo>
                    <a:lnTo>
                      <a:pt x="78" y="38"/>
                    </a:lnTo>
                    <a:lnTo>
                      <a:pt x="84" y="46"/>
                    </a:lnTo>
                    <a:lnTo>
                      <a:pt x="84" y="46"/>
                    </a:lnTo>
                    <a:lnTo>
                      <a:pt x="84" y="48"/>
                    </a:lnTo>
                    <a:lnTo>
                      <a:pt x="84" y="48"/>
                    </a:lnTo>
                    <a:lnTo>
                      <a:pt x="82" y="50"/>
                    </a:lnTo>
                    <a:lnTo>
                      <a:pt x="5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5" name="Freeform 777"/>
              <p:cNvSpPr>
                <a:spLocks noEditPoints="1"/>
              </p:cNvSpPr>
              <p:nvPr/>
            </p:nvSpPr>
            <p:spPr bwMode="auto">
              <a:xfrm>
                <a:off x="4187" y="1025"/>
                <a:ext cx="92" cy="54"/>
              </a:xfrm>
              <a:custGeom>
                <a:avLst/>
                <a:gdLst>
                  <a:gd name="T0" fmla="*/ 44 w 92"/>
                  <a:gd name="T1" fmla="*/ 4 h 54"/>
                  <a:gd name="T2" fmla="*/ 60 w 92"/>
                  <a:gd name="T3" fmla="*/ 6 h 54"/>
                  <a:gd name="T4" fmla="*/ 60 w 92"/>
                  <a:gd name="T5" fmla="*/ 14 h 54"/>
                  <a:gd name="T6" fmla="*/ 70 w 92"/>
                  <a:gd name="T7" fmla="*/ 12 h 54"/>
                  <a:gd name="T8" fmla="*/ 82 w 92"/>
                  <a:gd name="T9" fmla="*/ 10 h 54"/>
                  <a:gd name="T10" fmla="*/ 88 w 92"/>
                  <a:gd name="T11" fmla="*/ 18 h 54"/>
                  <a:gd name="T12" fmla="*/ 88 w 92"/>
                  <a:gd name="T13" fmla="*/ 30 h 54"/>
                  <a:gd name="T14" fmla="*/ 78 w 92"/>
                  <a:gd name="T15" fmla="*/ 40 h 54"/>
                  <a:gd name="T16" fmla="*/ 84 w 92"/>
                  <a:gd name="T17" fmla="*/ 50 h 54"/>
                  <a:gd name="T18" fmla="*/ 52 w 92"/>
                  <a:gd name="T19" fmla="*/ 50 h 54"/>
                  <a:gd name="T20" fmla="*/ 40 w 92"/>
                  <a:gd name="T21" fmla="*/ 44 h 54"/>
                  <a:gd name="T22" fmla="*/ 18 w 92"/>
                  <a:gd name="T23" fmla="*/ 44 h 54"/>
                  <a:gd name="T24" fmla="*/ 12 w 92"/>
                  <a:gd name="T25" fmla="*/ 32 h 54"/>
                  <a:gd name="T26" fmla="*/ 4 w 92"/>
                  <a:gd name="T27" fmla="*/ 26 h 54"/>
                  <a:gd name="T28" fmla="*/ 18 w 92"/>
                  <a:gd name="T29" fmla="*/ 10 h 54"/>
                  <a:gd name="T30" fmla="*/ 44 w 92"/>
                  <a:gd name="T31" fmla="*/ 4 h 54"/>
                  <a:gd name="T32" fmla="*/ 44 w 92"/>
                  <a:gd name="T33" fmla="*/ 0 h 54"/>
                  <a:gd name="T34" fmla="*/ 44 w 92"/>
                  <a:gd name="T35" fmla="*/ 0 h 54"/>
                  <a:gd name="T36" fmla="*/ 44 w 92"/>
                  <a:gd name="T37" fmla="*/ 0 h 54"/>
                  <a:gd name="T38" fmla="*/ 18 w 92"/>
                  <a:gd name="T39" fmla="*/ 6 h 54"/>
                  <a:gd name="T40" fmla="*/ 18 w 92"/>
                  <a:gd name="T41" fmla="*/ 6 h 54"/>
                  <a:gd name="T42" fmla="*/ 16 w 92"/>
                  <a:gd name="T43" fmla="*/ 8 h 54"/>
                  <a:gd name="T44" fmla="*/ 2 w 92"/>
                  <a:gd name="T45" fmla="*/ 24 h 54"/>
                  <a:gd name="T46" fmla="*/ 2 w 92"/>
                  <a:gd name="T47" fmla="*/ 24 h 54"/>
                  <a:gd name="T48" fmla="*/ 0 w 92"/>
                  <a:gd name="T49" fmla="*/ 26 h 54"/>
                  <a:gd name="T50" fmla="*/ 0 w 92"/>
                  <a:gd name="T51" fmla="*/ 26 h 54"/>
                  <a:gd name="T52" fmla="*/ 2 w 92"/>
                  <a:gd name="T53" fmla="*/ 28 h 54"/>
                  <a:gd name="T54" fmla="*/ 8 w 92"/>
                  <a:gd name="T55" fmla="*/ 34 h 54"/>
                  <a:gd name="T56" fmla="*/ 14 w 92"/>
                  <a:gd name="T57" fmla="*/ 46 h 54"/>
                  <a:gd name="T58" fmla="*/ 14 w 92"/>
                  <a:gd name="T59" fmla="*/ 46 h 54"/>
                  <a:gd name="T60" fmla="*/ 18 w 92"/>
                  <a:gd name="T61" fmla="*/ 48 h 54"/>
                  <a:gd name="T62" fmla="*/ 38 w 92"/>
                  <a:gd name="T63" fmla="*/ 48 h 54"/>
                  <a:gd name="T64" fmla="*/ 50 w 92"/>
                  <a:gd name="T65" fmla="*/ 52 h 54"/>
                  <a:gd name="T66" fmla="*/ 50 w 92"/>
                  <a:gd name="T67" fmla="*/ 52 h 54"/>
                  <a:gd name="T68" fmla="*/ 52 w 92"/>
                  <a:gd name="T69" fmla="*/ 54 h 54"/>
                  <a:gd name="T70" fmla="*/ 84 w 92"/>
                  <a:gd name="T71" fmla="*/ 54 h 54"/>
                  <a:gd name="T72" fmla="*/ 84 w 92"/>
                  <a:gd name="T73" fmla="*/ 54 h 54"/>
                  <a:gd name="T74" fmla="*/ 88 w 92"/>
                  <a:gd name="T75" fmla="*/ 52 h 54"/>
                  <a:gd name="T76" fmla="*/ 88 w 92"/>
                  <a:gd name="T77" fmla="*/ 52 h 54"/>
                  <a:gd name="T78" fmla="*/ 88 w 92"/>
                  <a:gd name="T79" fmla="*/ 46 h 54"/>
                  <a:gd name="T80" fmla="*/ 82 w 92"/>
                  <a:gd name="T81" fmla="*/ 40 h 54"/>
                  <a:gd name="T82" fmla="*/ 90 w 92"/>
                  <a:gd name="T83" fmla="*/ 32 h 54"/>
                  <a:gd name="T84" fmla="*/ 90 w 92"/>
                  <a:gd name="T85" fmla="*/ 32 h 54"/>
                  <a:gd name="T86" fmla="*/ 92 w 92"/>
                  <a:gd name="T87" fmla="*/ 30 h 54"/>
                  <a:gd name="T88" fmla="*/ 92 w 92"/>
                  <a:gd name="T89" fmla="*/ 18 h 54"/>
                  <a:gd name="T90" fmla="*/ 92 w 92"/>
                  <a:gd name="T91" fmla="*/ 18 h 54"/>
                  <a:gd name="T92" fmla="*/ 90 w 92"/>
                  <a:gd name="T93" fmla="*/ 16 h 54"/>
                  <a:gd name="T94" fmla="*/ 84 w 92"/>
                  <a:gd name="T95" fmla="*/ 8 h 54"/>
                  <a:gd name="T96" fmla="*/ 84 w 92"/>
                  <a:gd name="T97" fmla="*/ 8 h 54"/>
                  <a:gd name="T98" fmla="*/ 82 w 92"/>
                  <a:gd name="T99" fmla="*/ 6 h 54"/>
                  <a:gd name="T100" fmla="*/ 82 w 92"/>
                  <a:gd name="T101" fmla="*/ 6 h 54"/>
                  <a:gd name="T102" fmla="*/ 80 w 92"/>
                  <a:gd name="T103" fmla="*/ 6 h 54"/>
                  <a:gd name="T104" fmla="*/ 70 w 92"/>
                  <a:gd name="T105" fmla="*/ 8 h 54"/>
                  <a:gd name="T106" fmla="*/ 64 w 92"/>
                  <a:gd name="T107" fmla="*/ 10 h 54"/>
                  <a:gd name="T108" fmla="*/ 64 w 92"/>
                  <a:gd name="T109" fmla="*/ 6 h 54"/>
                  <a:gd name="T110" fmla="*/ 64 w 92"/>
                  <a:gd name="T111" fmla="*/ 6 h 54"/>
                  <a:gd name="T112" fmla="*/ 64 w 92"/>
                  <a:gd name="T113" fmla="*/ 4 h 54"/>
                  <a:gd name="T114" fmla="*/ 60 w 92"/>
                  <a:gd name="T115" fmla="*/ 2 h 54"/>
                  <a:gd name="T116" fmla="*/ 44 w 92"/>
                  <a:gd name="T117" fmla="*/ 0 h 54"/>
                  <a:gd name="T118" fmla="*/ 44 w 92"/>
                  <a:gd name="T119" fmla="*/ 0 h 54"/>
                  <a:gd name="T120" fmla="*/ 44 w 92"/>
                  <a:gd name="T121" fmla="*/ 0 h 54"/>
                  <a:gd name="T122" fmla="*/ 44 w 92"/>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54">
                    <a:moveTo>
                      <a:pt x="44" y="4"/>
                    </a:moveTo>
                    <a:lnTo>
                      <a:pt x="60" y="6"/>
                    </a:lnTo>
                    <a:lnTo>
                      <a:pt x="60" y="14"/>
                    </a:lnTo>
                    <a:lnTo>
                      <a:pt x="70" y="12"/>
                    </a:lnTo>
                    <a:lnTo>
                      <a:pt x="82" y="10"/>
                    </a:lnTo>
                    <a:lnTo>
                      <a:pt x="88" y="18"/>
                    </a:lnTo>
                    <a:lnTo>
                      <a:pt x="88" y="30"/>
                    </a:lnTo>
                    <a:lnTo>
                      <a:pt x="78" y="40"/>
                    </a:lnTo>
                    <a:lnTo>
                      <a:pt x="84" y="50"/>
                    </a:lnTo>
                    <a:lnTo>
                      <a:pt x="52" y="50"/>
                    </a:lnTo>
                    <a:lnTo>
                      <a:pt x="40" y="44"/>
                    </a:lnTo>
                    <a:lnTo>
                      <a:pt x="18" y="44"/>
                    </a:lnTo>
                    <a:lnTo>
                      <a:pt x="12" y="32"/>
                    </a:lnTo>
                    <a:lnTo>
                      <a:pt x="4" y="26"/>
                    </a:lnTo>
                    <a:lnTo>
                      <a:pt x="18" y="10"/>
                    </a:lnTo>
                    <a:lnTo>
                      <a:pt x="44" y="4"/>
                    </a:lnTo>
                    <a:close/>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6" name="Freeform 778"/>
              <p:cNvSpPr>
                <a:spLocks/>
              </p:cNvSpPr>
              <p:nvPr/>
            </p:nvSpPr>
            <p:spPr bwMode="auto">
              <a:xfrm>
                <a:off x="4191" y="1029"/>
                <a:ext cx="84" cy="46"/>
              </a:xfrm>
              <a:custGeom>
                <a:avLst/>
                <a:gdLst>
                  <a:gd name="T0" fmla="*/ 40 w 84"/>
                  <a:gd name="T1" fmla="*/ 0 h 46"/>
                  <a:gd name="T2" fmla="*/ 56 w 84"/>
                  <a:gd name="T3" fmla="*/ 2 h 46"/>
                  <a:gd name="T4" fmla="*/ 56 w 84"/>
                  <a:gd name="T5" fmla="*/ 10 h 46"/>
                  <a:gd name="T6" fmla="*/ 66 w 84"/>
                  <a:gd name="T7" fmla="*/ 8 h 46"/>
                  <a:gd name="T8" fmla="*/ 78 w 84"/>
                  <a:gd name="T9" fmla="*/ 6 h 46"/>
                  <a:gd name="T10" fmla="*/ 84 w 84"/>
                  <a:gd name="T11" fmla="*/ 14 h 46"/>
                  <a:gd name="T12" fmla="*/ 84 w 84"/>
                  <a:gd name="T13" fmla="*/ 26 h 46"/>
                  <a:gd name="T14" fmla="*/ 74 w 84"/>
                  <a:gd name="T15" fmla="*/ 36 h 46"/>
                  <a:gd name="T16" fmla="*/ 80 w 84"/>
                  <a:gd name="T17" fmla="*/ 46 h 46"/>
                  <a:gd name="T18" fmla="*/ 48 w 84"/>
                  <a:gd name="T19" fmla="*/ 46 h 46"/>
                  <a:gd name="T20" fmla="*/ 36 w 84"/>
                  <a:gd name="T21" fmla="*/ 40 h 46"/>
                  <a:gd name="T22" fmla="*/ 14 w 84"/>
                  <a:gd name="T23" fmla="*/ 40 h 46"/>
                  <a:gd name="T24" fmla="*/ 8 w 84"/>
                  <a:gd name="T25" fmla="*/ 28 h 46"/>
                  <a:gd name="T26" fmla="*/ 0 w 84"/>
                  <a:gd name="T27" fmla="*/ 22 h 46"/>
                  <a:gd name="T28" fmla="*/ 14 w 84"/>
                  <a:gd name="T29" fmla="*/ 6 h 46"/>
                  <a:gd name="T30" fmla="*/ 40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40" y="0"/>
                    </a:moveTo>
                    <a:lnTo>
                      <a:pt x="56" y="2"/>
                    </a:lnTo>
                    <a:lnTo>
                      <a:pt x="56" y="10"/>
                    </a:lnTo>
                    <a:lnTo>
                      <a:pt x="66" y="8"/>
                    </a:lnTo>
                    <a:lnTo>
                      <a:pt x="78" y="6"/>
                    </a:lnTo>
                    <a:lnTo>
                      <a:pt x="84" y="14"/>
                    </a:lnTo>
                    <a:lnTo>
                      <a:pt x="84" y="26"/>
                    </a:lnTo>
                    <a:lnTo>
                      <a:pt x="74" y="36"/>
                    </a:lnTo>
                    <a:lnTo>
                      <a:pt x="80" y="46"/>
                    </a:lnTo>
                    <a:lnTo>
                      <a:pt x="48" y="46"/>
                    </a:lnTo>
                    <a:lnTo>
                      <a:pt x="36" y="40"/>
                    </a:lnTo>
                    <a:lnTo>
                      <a:pt x="14" y="40"/>
                    </a:lnTo>
                    <a:lnTo>
                      <a:pt x="8" y="28"/>
                    </a:lnTo>
                    <a:lnTo>
                      <a:pt x="0" y="22"/>
                    </a:lnTo>
                    <a:lnTo>
                      <a:pt x="14" y="6"/>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7" name="Freeform 779"/>
              <p:cNvSpPr>
                <a:spLocks/>
              </p:cNvSpPr>
              <p:nvPr/>
            </p:nvSpPr>
            <p:spPr bwMode="auto">
              <a:xfrm>
                <a:off x="4187" y="1025"/>
                <a:ext cx="92" cy="54"/>
              </a:xfrm>
              <a:custGeom>
                <a:avLst/>
                <a:gdLst>
                  <a:gd name="T0" fmla="*/ 44 w 92"/>
                  <a:gd name="T1" fmla="*/ 0 h 54"/>
                  <a:gd name="T2" fmla="*/ 44 w 92"/>
                  <a:gd name="T3" fmla="*/ 0 h 54"/>
                  <a:gd name="T4" fmla="*/ 44 w 92"/>
                  <a:gd name="T5" fmla="*/ 0 h 54"/>
                  <a:gd name="T6" fmla="*/ 18 w 92"/>
                  <a:gd name="T7" fmla="*/ 6 h 54"/>
                  <a:gd name="T8" fmla="*/ 18 w 92"/>
                  <a:gd name="T9" fmla="*/ 6 h 54"/>
                  <a:gd name="T10" fmla="*/ 16 w 92"/>
                  <a:gd name="T11" fmla="*/ 8 h 54"/>
                  <a:gd name="T12" fmla="*/ 2 w 92"/>
                  <a:gd name="T13" fmla="*/ 24 h 54"/>
                  <a:gd name="T14" fmla="*/ 2 w 92"/>
                  <a:gd name="T15" fmla="*/ 24 h 54"/>
                  <a:gd name="T16" fmla="*/ 0 w 92"/>
                  <a:gd name="T17" fmla="*/ 26 h 54"/>
                  <a:gd name="T18" fmla="*/ 0 w 92"/>
                  <a:gd name="T19" fmla="*/ 26 h 54"/>
                  <a:gd name="T20" fmla="*/ 2 w 92"/>
                  <a:gd name="T21" fmla="*/ 28 h 54"/>
                  <a:gd name="T22" fmla="*/ 8 w 92"/>
                  <a:gd name="T23" fmla="*/ 34 h 54"/>
                  <a:gd name="T24" fmla="*/ 14 w 92"/>
                  <a:gd name="T25" fmla="*/ 46 h 54"/>
                  <a:gd name="T26" fmla="*/ 14 w 92"/>
                  <a:gd name="T27" fmla="*/ 46 h 54"/>
                  <a:gd name="T28" fmla="*/ 18 w 92"/>
                  <a:gd name="T29" fmla="*/ 48 h 54"/>
                  <a:gd name="T30" fmla="*/ 38 w 92"/>
                  <a:gd name="T31" fmla="*/ 48 h 54"/>
                  <a:gd name="T32" fmla="*/ 50 w 92"/>
                  <a:gd name="T33" fmla="*/ 52 h 54"/>
                  <a:gd name="T34" fmla="*/ 50 w 92"/>
                  <a:gd name="T35" fmla="*/ 52 h 54"/>
                  <a:gd name="T36" fmla="*/ 52 w 92"/>
                  <a:gd name="T37" fmla="*/ 54 h 54"/>
                  <a:gd name="T38" fmla="*/ 84 w 92"/>
                  <a:gd name="T39" fmla="*/ 54 h 54"/>
                  <a:gd name="T40" fmla="*/ 84 w 92"/>
                  <a:gd name="T41" fmla="*/ 54 h 54"/>
                  <a:gd name="T42" fmla="*/ 88 w 92"/>
                  <a:gd name="T43" fmla="*/ 52 h 54"/>
                  <a:gd name="T44" fmla="*/ 88 w 92"/>
                  <a:gd name="T45" fmla="*/ 52 h 54"/>
                  <a:gd name="T46" fmla="*/ 88 w 92"/>
                  <a:gd name="T47" fmla="*/ 46 h 54"/>
                  <a:gd name="T48" fmla="*/ 82 w 92"/>
                  <a:gd name="T49" fmla="*/ 40 h 54"/>
                  <a:gd name="T50" fmla="*/ 90 w 92"/>
                  <a:gd name="T51" fmla="*/ 32 h 54"/>
                  <a:gd name="T52" fmla="*/ 90 w 92"/>
                  <a:gd name="T53" fmla="*/ 32 h 54"/>
                  <a:gd name="T54" fmla="*/ 92 w 92"/>
                  <a:gd name="T55" fmla="*/ 30 h 54"/>
                  <a:gd name="T56" fmla="*/ 92 w 92"/>
                  <a:gd name="T57" fmla="*/ 18 h 54"/>
                  <a:gd name="T58" fmla="*/ 92 w 92"/>
                  <a:gd name="T59" fmla="*/ 18 h 54"/>
                  <a:gd name="T60" fmla="*/ 90 w 92"/>
                  <a:gd name="T61" fmla="*/ 16 h 54"/>
                  <a:gd name="T62" fmla="*/ 84 w 92"/>
                  <a:gd name="T63" fmla="*/ 8 h 54"/>
                  <a:gd name="T64" fmla="*/ 84 w 92"/>
                  <a:gd name="T65" fmla="*/ 8 h 54"/>
                  <a:gd name="T66" fmla="*/ 82 w 92"/>
                  <a:gd name="T67" fmla="*/ 6 h 54"/>
                  <a:gd name="T68" fmla="*/ 82 w 92"/>
                  <a:gd name="T69" fmla="*/ 6 h 54"/>
                  <a:gd name="T70" fmla="*/ 80 w 92"/>
                  <a:gd name="T71" fmla="*/ 6 h 54"/>
                  <a:gd name="T72" fmla="*/ 70 w 92"/>
                  <a:gd name="T73" fmla="*/ 8 h 54"/>
                  <a:gd name="T74" fmla="*/ 64 w 92"/>
                  <a:gd name="T75" fmla="*/ 10 h 54"/>
                  <a:gd name="T76" fmla="*/ 64 w 92"/>
                  <a:gd name="T77" fmla="*/ 6 h 54"/>
                  <a:gd name="T78" fmla="*/ 64 w 92"/>
                  <a:gd name="T79" fmla="*/ 6 h 54"/>
                  <a:gd name="T80" fmla="*/ 64 w 92"/>
                  <a:gd name="T81" fmla="*/ 4 h 54"/>
                  <a:gd name="T82" fmla="*/ 60 w 92"/>
                  <a:gd name="T83" fmla="*/ 2 h 54"/>
                  <a:gd name="T84" fmla="*/ 44 w 92"/>
                  <a:gd name="T85" fmla="*/ 0 h 54"/>
                  <a:gd name="T86" fmla="*/ 44 w 92"/>
                  <a:gd name="T87" fmla="*/ 0 h 54"/>
                  <a:gd name="T88" fmla="*/ 44 w 92"/>
                  <a:gd name="T89" fmla="*/ 0 h 54"/>
                  <a:gd name="T90" fmla="*/ 44 w 92"/>
                  <a:gd name="T9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 h="54">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8" name="Freeform 780"/>
              <p:cNvSpPr>
                <a:spLocks/>
              </p:cNvSpPr>
              <p:nvPr/>
            </p:nvSpPr>
            <p:spPr bwMode="auto">
              <a:xfrm>
                <a:off x="4167" y="993"/>
                <a:ext cx="76" cy="44"/>
              </a:xfrm>
              <a:custGeom>
                <a:avLst/>
                <a:gdLst>
                  <a:gd name="T0" fmla="*/ 20 w 76"/>
                  <a:gd name="T1" fmla="*/ 44 h 44"/>
                  <a:gd name="T2" fmla="*/ 20 w 76"/>
                  <a:gd name="T3" fmla="*/ 44 h 44"/>
                  <a:gd name="T4" fmla="*/ 20 w 76"/>
                  <a:gd name="T5" fmla="*/ 44 h 44"/>
                  <a:gd name="T6" fmla="*/ 0 w 76"/>
                  <a:gd name="T7" fmla="*/ 34 h 44"/>
                  <a:gd name="T8" fmla="*/ 0 w 76"/>
                  <a:gd name="T9" fmla="*/ 34 h 44"/>
                  <a:gd name="T10" fmla="*/ 0 w 76"/>
                  <a:gd name="T11" fmla="*/ 34 h 44"/>
                  <a:gd name="T12" fmla="*/ 0 w 76"/>
                  <a:gd name="T13" fmla="*/ 34 h 44"/>
                  <a:gd name="T14" fmla="*/ 0 w 76"/>
                  <a:gd name="T15" fmla="*/ 32 h 44"/>
                  <a:gd name="T16" fmla="*/ 8 w 76"/>
                  <a:gd name="T17" fmla="*/ 26 h 44"/>
                  <a:gd name="T18" fmla="*/ 10 w 76"/>
                  <a:gd name="T19" fmla="*/ 18 h 44"/>
                  <a:gd name="T20" fmla="*/ 14 w 76"/>
                  <a:gd name="T21" fmla="*/ 12 h 44"/>
                  <a:gd name="T22" fmla="*/ 14 w 76"/>
                  <a:gd name="T23" fmla="*/ 12 h 44"/>
                  <a:gd name="T24" fmla="*/ 16 w 76"/>
                  <a:gd name="T25" fmla="*/ 12 h 44"/>
                  <a:gd name="T26" fmla="*/ 34 w 76"/>
                  <a:gd name="T27" fmla="*/ 10 h 44"/>
                  <a:gd name="T28" fmla="*/ 38 w 76"/>
                  <a:gd name="T29" fmla="*/ 2 h 44"/>
                  <a:gd name="T30" fmla="*/ 38 w 76"/>
                  <a:gd name="T31" fmla="*/ 2 h 44"/>
                  <a:gd name="T32" fmla="*/ 40 w 76"/>
                  <a:gd name="T33" fmla="*/ 0 h 44"/>
                  <a:gd name="T34" fmla="*/ 40 w 76"/>
                  <a:gd name="T35" fmla="*/ 0 h 44"/>
                  <a:gd name="T36" fmla="*/ 54 w 76"/>
                  <a:gd name="T37" fmla="*/ 2 h 44"/>
                  <a:gd name="T38" fmla="*/ 54 w 76"/>
                  <a:gd name="T39" fmla="*/ 2 h 44"/>
                  <a:gd name="T40" fmla="*/ 56 w 76"/>
                  <a:gd name="T41" fmla="*/ 4 h 44"/>
                  <a:gd name="T42" fmla="*/ 66 w 76"/>
                  <a:gd name="T43" fmla="*/ 14 h 44"/>
                  <a:gd name="T44" fmla="*/ 76 w 76"/>
                  <a:gd name="T45" fmla="*/ 20 h 44"/>
                  <a:gd name="T46" fmla="*/ 76 w 76"/>
                  <a:gd name="T47" fmla="*/ 20 h 44"/>
                  <a:gd name="T48" fmla="*/ 76 w 76"/>
                  <a:gd name="T49" fmla="*/ 22 h 44"/>
                  <a:gd name="T50" fmla="*/ 76 w 76"/>
                  <a:gd name="T51" fmla="*/ 22 h 44"/>
                  <a:gd name="T52" fmla="*/ 76 w 76"/>
                  <a:gd name="T53" fmla="*/ 24 h 44"/>
                  <a:gd name="T54" fmla="*/ 70 w 76"/>
                  <a:gd name="T55" fmla="*/ 28 h 44"/>
                  <a:gd name="T56" fmla="*/ 68 w 76"/>
                  <a:gd name="T57" fmla="*/ 36 h 44"/>
                  <a:gd name="T58" fmla="*/ 68 w 76"/>
                  <a:gd name="T59" fmla="*/ 36 h 44"/>
                  <a:gd name="T60" fmla="*/ 66 w 76"/>
                  <a:gd name="T61" fmla="*/ 36 h 44"/>
                  <a:gd name="T62" fmla="*/ 50 w 76"/>
                  <a:gd name="T63" fmla="*/ 38 h 44"/>
                  <a:gd name="T64" fmla="*/ 34 w 76"/>
                  <a:gd name="T65" fmla="*/ 42 h 44"/>
                  <a:gd name="T66" fmla="*/ 34 w 76"/>
                  <a:gd name="T67" fmla="*/ 42 h 44"/>
                  <a:gd name="T68" fmla="*/ 20 w 76"/>
                  <a:gd name="T69" fmla="*/ 44 h 44"/>
                  <a:gd name="T70" fmla="*/ 20 w 76"/>
                  <a:gd name="T7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44">
                    <a:moveTo>
                      <a:pt x="20" y="44"/>
                    </a:moveTo>
                    <a:lnTo>
                      <a:pt x="20" y="44"/>
                    </a:lnTo>
                    <a:lnTo>
                      <a:pt x="20" y="44"/>
                    </a:lnTo>
                    <a:lnTo>
                      <a:pt x="0" y="34"/>
                    </a:lnTo>
                    <a:lnTo>
                      <a:pt x="0" y="34"/>
                    </a:lnTo>
                    <a:lnTo>
                      <a:pt x="0" y="34"/>
                    </a:lnTo>
                    <a:lnTo>
                      <a:pt x="0" y="34"/>
                    </a:lnTo>
                    <a:lnTo>
                      <a:pt x="0" y="32"/>
                    </a:lnTo>
                    <a:lnTo>
                      <a:pt x="8" y="26"/>
                    </a:lnTo>
                    <a:lnTo>
                      <a:pt x="10" y="18"/>
                    </a:lnTo>
                    <a:lnTo>
                      <a:pt x="14" y="12"/>
                    </a:lnTo>
                    <a:lnTo>
                      <a:pt x="14" y="12"/>
                    </a:lnTo>
                    <a:lnTo>
                      <a:pt x="16" y="12"/>
                    </a:lnTo>
                    <a:lnTo>
                      <a:pt x="34" y="10"/>
                    </a:lnTo>
                    <a:lnTo>
                      <a:pt x="38" y="2"/>
                    </a:lnTo>
                    <a:lnTo>
                      <a:pt x="38" y="2"/>
                    </a:lnTo>
                    <a:lnTo>
                      <a:pt x="40" y="0"/>
                    </a:lnTo>
                    <a:lnTo>
                      <a:pt x="40" y="0"/>
                    </a:lnTo>
                    <a:lnTo>
                      <a:pt x="54" y="2"/>
                    </a:lnTo>
                    <a:lnTo>
                      <a:pt x="54" y="2"/>
                    </a:lnTo>
                    <a:lnTo>
                      <a:pt x="56" y="4"/>
                    </a:lnTo>
                    <a:lnTo>
                      <a:pt x="66" y="14"/>
                    </a:lnTo>
                    <a:lnTo>
                      <a:pt x="76" y="20"/>
                    </a:lnTo>
                    <a:lnTo>
                      <a:pt x="76" y="20"/>
                    </a:lnTo>
                    <a:lnTo>
                      <a:pt x="76" y="22"/>
                    </a:lnTo>
                    <a:lnTo>
                      <a:pt x="76" y="22"/>
                    </a:lnTo>
                    <a:lnTo>
                      <a:pt x="76" y="24"/>
                    </a:lnTo>
                    <a:lnTo>
                      <a:pt x="70" y="28"/>
                    </a:lnTo>
                    <a:lnTo>
                      <a:pt x="68" y="36"/>
                    </a:lnTo>
                    <a:lnTo>
                      <a:pt x="68" y="36"/>
                    </a:lnTo>
                    <a:lnTo>
                      <a:pt x="66" y="36"/>
                    </a:lnTo>
                    <a:lnTo>
                      <a:pt x="50" y="38"/>
                    </a:lnTo>
                    <a:lnTo>
                      <a:pt x="34" y="42"/>
                    </a:lnTo>
                    <a:lnTo>
                      <a:pt x="34" y="42"/>
                    </a:lnTo>
                    <a:lnTo>
                      <a:pt x="20" y="44"/>
                    </a:lnTo>
                    <a:lnTo>
                      <a:pt x="2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9" name="Freeform 781"/>
              <p:cNvSpPr>
                <a:spLocks noEditPoints="1"/>
              </p:cNvSpPr>
              <p:nvPr/>
            </p:nvSpPr>
            <p:spPr bwMode="auto">
              <a:xfrm>
                <a:off x="4165" y="991"/>
                <a:ext cx="80" cy="48"/>
              </a:xfrm>
              <a:custGeom>
                <a:avLst/>
                <a:gdLst>
                  <a:gd name="T0" fmla="*/ 42 w 80"/>
                  <a:gd name="T1" fmla="*/ 4 h 48"/>
                  <a:gd name="T2" fmla="*/ 56 w 80"/>
                  <a:gd name="T3" fmla="*/ 6 h 48"/>
                  <a:gd name="T4" fmla="*/ 66 w 80"/>
                  <a:gd name="T5" fmla="*/ 18 h 48"/>
                  <a:gd name="T6" fmla="*/ 76 w 80"/>
                  <a:gd name="T7" fmla="*/ 24 h 48"/>
                  <a:gd name="T8" fmla="*/ 70 w 80"/>
                  <a:gd name="T9" fmla="*/ 30 h 48"/>
                  <a:gd name="T10" fmla="*/ 68 w 80"/>
                  <a:gd name="T11" fmla="*/ 36 h 48"/>
                  <a:gd name="T12" fmla="*/ 52 w 80"/>
                  <a:gd name="T13" fmla="*/ 38 h 48"/>
                  <a:gd name="T14" fmla="*/ 34 w 80"/>
                  <a:gd name="T15" fmla="*/ 42 h 48"/>
                  <a:gd name="T16" fmla="*/ 22 w 80"/>
                  <a:gd name="T17" fmla="*/ 44 h 48"/>
                  <a:gd name="T18" fmla="*/ 4 w 80"/>
                  <a:gd name="T19" fmla="*/ 36 h 48"/>
                  <a:gd name="T20" fmla="*/ 12 w 80"/>
                  <a:gd name="T21" fmla="*/ 30 h 48"/>
                  <a:gd name="T22" fmla="*/ 14 w 80"/>
                  <a:gd name="T23" fmla="*/ 20 h 48"/>
                  <a:gd name="T24" fmla="*/ 18 w 80"/>
                  <a:gd name="T25" fmla="*/ 16 h 48"/>
                  <a:gd name="T26" fmla="*/ 38 w 80"/>
                  <a:gd name="T27" fmla="*/ 14 h 48"/>
                  <a:gd name="T28" fmla="*/ 42 w 80"/>
                  <a:gd name="T29" fmla="*/ 4 h 48"/>
                  <a:gd name="T30" fmla="*/ 42 w 80"/>
                  <a:gd name="T31" fmla="*/ 0 h 48"/>
                  <a:gd name="T32" fmla="*/ 42 w 80"/>
                  <a:gd name="T33" fmla="*/ 0 h 48"/>
                  <a:gd name="T34" fmla="*/ 40 w 80"/>
                  <a:gd name="T35" fmla="*/ 2 h 48"/>
                  <a:gd name="T36" fmla="*/ 38 w 80"/>
                  <a:gd name="T37" fmla="*/ 4 h 48"/>
                  <a:gd name="T38" fmla="*/ 36 w 80"/>
                  <a:gd name="T39" fmla="*/ 10 h 48"/>
                  <a:gd name="T40" fmla="*/ 18 w 80"/>
                  <a:gd name="T41" fmla="*/ 12 h 48"/>
                  <a:gd name="T42" fmla="*/ 18 w 80"/>
                  <a:gd name="T43" fmla="*/ 12 h 48"/>
                  <a:gd name="T44" fmla="*/ 14 w 80"/>
                  <a:gd name="T45" fmla="*/ 14 h 48"/>
                  <a:gd name="T46" fmla="*/ 10 w 80"/>
                  <a:gd name="T47" fmla="*/ 18 h 48"/>
                  <a:gd name="T48" fmla="*/ 10 w 80"/>
                  <a:gd name="T49" fmla="*/ 18 h 48"/>
                  <a:gd name="T50" fmla="*/ 10 w 80"/>
                  <a:gd name="T51" fmla="*/ 20 h 48"/>
                  <a:gd name="T52" fmla="*/ 8 w 80"/>
                  <a:gd name="T53" fmla="*/ 28 h 48"/>
                  <a:gd name="T54" fmla="*/ 2 w 80"/>
                  <a:gd name="T55" fmla="*/ 32 h 48"/>
                  <a:gd name="T56" fmla="*/ 2 w 80"/>
                  <a:gd name="T57" fmla="*/ 32 h 48"/>
                  <a:gd name="T58" fmla="*/ 0 w 80"/>
                  <a:gd name="T59" fmla="*/ 36 h 48"/>
                  <a:gd name="T60" fmla="*/ 0 w 80"/>
                  <a:gd name="T61" fmla="*/ 36 h 48"/>
                  <a:gd name="T62" fmla="*/ 2 w 80"/>
                  <a:gd name="T63" fmla="*/ 38 h 48"/>
                  <a:gd name="T64" fmla="*/ 22 w 80"/>
                  <a:gd name="T65" fmla="*/ 48 h 48"/>
                  <a:gd name="T66" fmla="*/ 22 w 80"/>
                  <a:gd name="T67" fmla="*/ 48 h 48"/>
                  <a:gd name="T68" fmla="*/ 22 w 80"/>
                  <a:gd name="T69" fmla="*/ 48 h 48"/>
                  <a:gd name="T70" fmla="*/ 22 w 80"/>
                  <a:gd name="T71" fmla="*/ 48 h 48"/>
                  <a:gd name="T72" fmla="*/ 24 w 80"/>
                  <a:gd name="T73" fmla="*/ 48 h 48"/>
                  <a:gd name="T74" fmla="*/ 36 w 80"/>
                  <a:gd name="T75" fmla="*/ 46 h 48"/>
                  <a:gd name="T76" fmla="*/ 54 w 80"/>
                  <a:gd name="T77" fmla="*/ 42 h 48"/>
                  <a:gd name="T78" fmla="*/ 68 w 80"/>
                  <a:gd name="T79" fmla="*/ 40 h 48"/>
                  <a:gd name="T80" fmla="*/ 68 w 80"/>
                  <a:gd name="T81" fmla="*/ 40 h 48"/>
                  <a:gd name="T82" fmla="*/ 70 w 80"/>
                  <a:gd name="T83" fmla="*/ 40 h 48"/>
                  <a:gd name="T84" fmla="*/ 72 w 80"/>
                  <a:gd name="T85" fmla="*/ 38 h 48"/>
                  <a:gd name="T86" fmla="*/ 74 w 80"/>
                  <a:gd name="T87" fmla="*/ 32 h 48"/>
                  <a:gd name="T88" fmla="*/ 78 w 80"/>
                  <a:gd name="T89" fmla="*/ 28 h 48"/>
                  <a:gd name="T90" fmla="*/ 78 w 80"/>
                  <a:gd name="T91" fmla="*/ 28 h 48"/>
                  <a:gd name="T92" fmla="*/ 80 w 80"/>
                  <a:gd name="T93" fmla="*/ 24 h 48"/>
                  <a:gd name="T94" fmla="*/ 80 w 80"/>
                  <a:gd name="T95" fmla="*/ 24 h 48"/>
                  <a:gd name="T96" fmla="*/ 78 w 80"/>
                  <a:gd name="T97" fmla="*/ 22 h 48"/>
                  <a:gd name="T98" fmla="*/ 68 w 80"/>
                  <a:gd name="T99" fmla="*/ 14 h 48"/>
                  <a:gd name="T100" fmla="*/ 58 w 80"/>
                  <a:gd name="T101" fmla="*/ 4 h 48"/>
                  <a:gd name="T102" fmla="*/ 58 w 80"/>
                  <a:gd name="T103" fmla="*/ 4 h 48"/>
                  <a:gd name="T104" fmla="*/ 56 w 80"/>
                  <a:gd name="T105" fmla="*/ 2 h 48"/>
                  <a:gd name="T106" fmla="*/ 42 w 80"/>
                  <a:gd name="T107" fmla="*/ 0 h 48"/>
                  <a:gd name="T108" fmla="*/ 42 w 80"/>
                  <a:gd name="T109" fmla="*/ 0 h 48"/>
                  <a:gd name="T110" fmla="*/ 42 w 80"/>
                  <a:gd name="T111" fmla="*/ 0 h 48"/>
                  <a:gd name="T112" fmla="*/ 42 w 80"/>
                  <a:gd name="T11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 h="48">
                    <a:moveTo>
                      <a:pt x="42" y="4"/>
                    </a:moveTo>
                    <a:lnTo>
                      <a:pt x="56" y="6"/>
                    </a:lnTo>
                    <a:lnTo>
                      <a:pt x="66" y="18"/>
                    </a:lnTo>
                    <a:lnTo>
                      <a:pt x="76" y="24"/>
                    </a:lnTo>
                    <a:lnTo>
                      <a:pt x="70" y="30"/>
                    </a:lnTo>
                    <a:lnTo>
                      <a:pt x="68" y="36"/>
                    </a:lnTo>
                    <a:lnTo>
                      <a:pt x="52" y="38"/>
                    </a:lnTo>
                    <a:lnTo>
                      <a:pt x="34" y="42"/>
                    </a:lnTo>
                    <a:lnTo>
                      <a:pt x="22" y="44"/>
                    </a:lnTo>
                    <a:lnTo>
                      <a:pt x="4" y="36"/>
                    </a:lnTo>
                    <a:lnTo>
                      <a:pt x="12" y="30"/>
                    </a:lnTo>
                    <a:lnTo>
                      <a:pt x="14" y="20"/>
                    </a:lnTo>
                    <a:lnTo>
                      <a:pt x="18" y="16"/>
                    </a:lnTo>
                    <a:lnTo>
                      <a:pt x="38" y="14"/>
                    </a:lnTo>
                    <a:lnTo>
                      <a:pt x="42" y="4"/>
                    </a:lnTo>
                    <a:close/>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0" name="Freeform 782"/>
              <p:cNvSpPr>
                <a:spLocks/>
              </p:cNvSpPr>
              <p:nvPr/>
            </p:nvSpPr>
            <p:spPr bwMode="auto">
              <a:xfrm>
                <a:off x="4169" y="995"/>
                <a:ext cx="72" cy="40"/>
              </a:xfrm>
              <a:custGeom>
                <a:avLst/>
                <a:gdLst>
                  <a:gd name="T0" fmla="*/ 38 w 72"/>
                  <a:gd name="T1" fmla="*/ 0 h 40"/>
                  <a:gd name="T2" fmla="*/ 52 w 72"/>
                  <a:gd name="T3" fmla="*/ 2 h 40"/>
                  <a:gd name="T4" fmla="*/ 62 w 72"/>
                  <a:gd name="T5" fmla="*/ 14 h 40"/>
                  <a:gd name="T6" fmla="*/ 72 w 72"/>
                  <a:gd name="T7" fmla="*/ 20 h 40"/>
                  <a:gd name="T8" fmla="*/ 66 w 72"/>
                  <a:gd name="T9" fmla="*/ 26 h 40"/>
                  <a:gd name="T10" fmla="*/ 64 w 72"/>
                  <a:gd name="T11" fmla="*/ 32 h 40"/>
                  <a:gd name="T12" fmla="*/ 48 w 72"/>
                  <a:gd name="T13" fmla="*/ 34 h 40"/>
                  <a:gd name="T14" fmla="*/ 30 w 72"/>
                  <a:gd name="T15" fmla="*/ 38 h 40"/>
                  <a:gd name="T16" fmla="*/ 18 w 72"/>
                  <a:gd name="T17" fmla="*/ 40 h 40"/>
                  <a:gd name="T18" fmla="*/ 0 w 72"/>
                  <a:gd name="T19" fmla="*/ 32 h 40"/>
                  <a:gd name="T20" fmla="*/ 8 w 72"/>
                  <a:gd name="T21" fmla="*/ 26 h 40"/>
                  <a:gd name="T22" fmla="*/ 10 w 72"/>
                  <a:gd name="T23" fmla="*/ 16 h 40"/>
                  <a:gd name="T24" fmla="*/ 14 w 72"/>
                  <a:gd name="T25" fmla="*/ 12 h 40"/>
                  <a:gd name="T26" fmla="*/ 34 w 72"/>
                  <a:gd name="T27" fmla="*/ 10 h 40"/>
                  <a:gd name="T28" fmla="*/ 38 w 72"/>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40">
                    <a:moveTo>
                      <a:pt x="38" y="0"/>
                    </a:moveTo>
                    <a:lnTo>
                      <a:pt x="52" y="2"/>
                    </a:lnTo>
                    <a:lnTo>
                      <a:pt x="62" y="14"/>
                    </a:lnTo>
                    <a:lnTo>
                      <a:pt x="72" y="20"/>
                    </a:lnTo>
                    <a:lnTo>
                      <a:pt x="66" y="26"/>
                    </a:lnTo>
                    <a:lnTo>
                      <a:pt x="64" y="32"/>
                    </a:lnTo>
                    <a:lnTo>
                      <a:pt x="48" y="34"/>
                    </a:lnTo>
                    <a:lnTo>
                      <a:pt x="30" y="38"/>
                    </a:lnTo>
                    <a:lnTo>
                      <a:pt x="18" y="40"/>
                    </a:lnTo>
                    <a:lnTo>
                      <a:pt x="0" y="32"/>
                    </a:lnTo>
                    <a:lnTo>
                      <a:pt x="8" y="26"/>
                    </a:lnTo>
                    <a:lnTo>
                      <a:pt x="10" y="16"/>
                    </a:lnTo>
                    <a:lnTo>
                      <a:pt x="14" y="12"/>
                    </a:lnTo>
                    <a:lnTo>
                      <a:pt x="34" y="1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1" name="Freeform 783"/>
              <p:cNvSpPr>
                <a:spLocks/>
              </p:cNvSpPr>
              <p:nvPr/>
            </p:nvSpPr>
            <p:spPr bwMode="auto">
              <a:xfrm>
                <a:off x="4165" y="991"/>
                <a:ext cx="80" cy="48"/>
              </a:xfrm>
              <a:custGeom>
                <a:avLst/>
                <a:gdLst>
                  <a:gd name="T0" fmla="*/ 42 w 80"/>
                  <a:gd name="T1" fmla="*/ 0 h 48"/>
                  <a:gd name="T2" fmla="*/ 42 w 80"/>
                  <a:gd name="T3" fmla="*/ 0 h 48"/>
                  <a:gd name="T4" fmla="*/ 40 w 80"/>
                  <a:gd name="T5" fmla="*/ 2 h 48"/>
                  <a:gd name="T6" fmla="*/ 38 w 80"/>
                  <a:gd name="T7" fmla="*/ 4 h 48"/>
                  <a:gd name="T8" fmla="*/ 36 w 80"/>
                  <a:gd name="T9" fmla="*/ 10 h 48"/>
                  <a:gd name="T10" fmla="*/ 18 w 80"/>
                  <a:gd name="T11" fmla="*/ 12 h 48"/>
                  <a:gd name="T12" fmla="*/ 18 w 80"/>
                  <a:gd name="T13" fmla="*/ 12 h 48"/>
                  <a:gd name="T14" fmla="*/ 14 w 80"/>
                  <a:gd name="T15" fmla="*/ 14 h 48"/>
                  <a:gd name="T16" fmla="*/ 10 w 80"/>
                  <a:gd name="T17" fmla="*/ 18 h 48"/>
                  <a:gd name="T18" fmla="*/ 10 w 80"/>
                  <a:gd name="T19" fmla="*/ 18 h 48"/>
                  <a:gd name="T20" fmla="*/ 10 w 80"/>
                  <a:gd name="T21" fmla="*/ 20 h 48"/>
                  <a:gd name="T22" fmla="*/ 8 w 80"/>
                  <a:gd name="T23" fmla="*/ 28 h 48"/>
                  <a:gd name="T24" fmla="*/ 2 w 80"/>
                  <a:gd name="T25" fmla="*/ 32 h 48"/>
                  <a:gd name="T26" fmla="*/ 2 w 80"/>
                  <a:gd name="T27" fmla="*/ 32 h 48"/>
                  <a:gd name="T28" fmla="*/ 0 w 80"/>
                  <a:gd name="T29" fmla="*/ 36 h 48"/>
                  <a:gd name="T30" fmla="*/ 0 w 80"/>
                  <a:gd name="T31" fmla="*/ 36 h 48"/>
                  <a:gd name="T32" fmla="*/ 2 w 80"/>
                  <a:gd name="T33" fmla="*/ 38 h 48"/>
                  <a:gd name="T34" fmla="*/ 22 w 80"/>
                  <a:gd name="T35" fmla="*/ 48 h 48"/>
                  <a:gd name="T36" fmla="*/ 22 w 80"/>
                  <a:gd name="T37" fmla="*/ 48 h 48"/>
                  <a:gd name="T38" fmla="*/ 22 w 80"/>
                  <a:gd name="T39" fmla="*/ 48 h 48"/>
                  <a:gd name="T40" fmla="*/ 22 w 80"/>
                  <a:gd name="T41" fmla="*/ 48 h 48"/>
                  <a:gd name="T42" fmla="*/ 24 w 80"/>
                  <a:gd name="T43" fmla="*/ 48 h 48"/>
                  <a:gd name="T44" fmla="*/ 36 w 80"/>
                  <a:gd name="T45" fmla="*/ 46 h 48"/>
                  <a:gd name="T46" fmla="*/ 54 w 80"/>
                  <a:gd name="T47" fmla="*/ 42 h 48"/>
                  <a:gd name="T48" fmla="*/ 68 w 80"/>
                  <a:gd name="T49" fmla="*/ 40 h 48"/>
                  <a:gd name="T50" fmla="*/ 68 w 80"/>
                  <a:gd name="T51" fmla="*/ 40 h 48"/>
                  <a:gd name="T52" fmla="*/ 70 w 80"/>
                  <a:gd name="T53" fmla="*/ 40 h 48"/>
                  <a:gd name="T54" fmla="*/ 72 w 80"/>
                  <a:gd name="T55" fmla="*/ 38 h 48"/>
                  <a:gd name="T56" fmla="*/ 74 w 80"/>
                  <a:gd name="T57" fmla="*/ 32 h 48"/>
                  <a:gd name="T58" fmla="*/ 78 w 80"/>
                  <a:gd name="T59" fmla="*/ 28 h 48"/>
                  <a:gd name="T60" fmla="*/ 78 w 80"/>
                  <a:gd name="T61" fmla="*/ 28 h 48"/>
                  <a:gd name="T62" fmla="*/ 80 w 80"/>
                  <a:gd name="T63" fmla="*/ 24 h 48"/>
                  <a:gd name="T64" fmla="*/ 80 w 80"/>
                  <a:gd name="T65" fmla="*/ 24 h 48"/>
                  <a:gd name="T66" fmla="*/ 78 w 80"/>
                  <a:gd name="T67" fmla="*/ 22 h 48"/>
                  <a:gd name="T68" fmla="*/ 68 w 80"/>
                  <a:gd name="T69" fmla="*/ 14 h 48"/>
                  <a:gd name="T70" fmla="*/ 58 w 80"/>
                  <a:gd name="T71" fmla="*/ 4 h 48"/>
                  <a:gd name="T72" fmla="*/ 58 w 80"/>
                  <a:gd name="T73" fmla="*/ 4 h 48"/>
                  <a:gd name="T74" fmla="*/ 56 w 80"/>
                  <a:gd name="T75" fmla="*/ 2 h 48"/>
                  <a:gd name="T76" fmla="*/ 42 w 80"/>
                  <a:gd name="T77" fmla="*/ 0 h 48"/>
                  <a:gd name="T78" fmla="*/ 42 w 80"/>
                  <a:gd name="T79" fmla="*/ 0 h 48"/>
                  <a:gd name="T80" fmla="*/ 42 w 80"/>
                  <a:gd name="T81" fmla="*/ 0 h 48"/>
                  <a:gd name="T82" fmla="*/ 42 w 8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48">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2" name="Freeform 784"/>
              <p:cNvSpPr>
                <a:spLocks/>
              </p:cNvSpPr>
              <p:nvPr/>
            </p:nvSpPr>
            <p:spPr bwMode="auto">
              <a:xfrm>
                <a:off x="4799" y="1151"/>
                <a:ext cx="122" cy="48"/>
              </a:xfrm>
              <a:custGeom>
                <a:avLst/>
                <a:gdLst>
                  <a:gd name="T0" fmla="*/ 26 w 122"/>
                  <a:gd name="T1" fmla="*/ 48 h 48"/>
                  <a:gd name="T2" fmla="*/ 2 w 122"/>
                  <a:gd name="T3" fmla="*/ 36 h 48"/>
                  <a:gd name="T4" fmla="*/ 2 w 122"/>
                  <a:gd name="T5" fmla="*/ 34 h 48"/>
                  <a:gd name="T6" fmla="*/ 0 w 122"/>
                  <a:gd name="T7" fmla="*/ 22 h 48"/>
                  <a:gd name="T8" fmla="*/ 6 w 122"/>
                  <a:gd name="T9" fmla="*/ 8 h 48"/>
                  <a:gd name="T10" fmla="*/ 6 w 122"/>
                  <a:gd name="T11" fmla="*/ 6 h 48"/>
                  <a:gd name="T12" fmla="*/ 18 w 122"/>
                  <a:gd name="T13" fmla="*/ 0 h 48"/>
                  <a:gd name="T14" fmla="*/ 30 w 122"/>
                  <a:gd name="T15" fmla="*/ 0 h 48"/>
                  <a:gd name="T16" fmla="*/ 30 w 122"/>
                  <a:gd name="T17" fmla="*/ 0 h 48"/>
                  <a:gd name="T18" fmla="*/ 54 w 122"/>
                  <a:gd name="T19" fmla="*/ 14 h 48"/>
                  <a:gd name="T20" fmla="*/ 58 w 122"/>
                  <a:gd name="T21" fmla="*/ 6 h 48"/>
                  <a:gd name="T22" fmla="*/ 72 w 122"/>
                  <a:gd name="T23" fmla="*/ 4 h 48"/>
                  <a:gd name="T24" fmla="*/ 72 w 122"/>
                  <a:gd name="T25" fmla="*/ 4 h 48"/>
                  <a:gd name="T26" fmla="*/ 82 w 122"/>
                  <a:gd name="T27" fmla="*/ 10 h 48"/>
                  <a:gd name="T28" fmla="*/ 94 w 122"/>
                  <a:gd name="T29" fmla="*/ 8 h 48"/>
                  <a:gd name="T30" fmla="*/ 112 w 122"/>
                  <a:gd name="T31" fmla="*/ 14 h 48"/>
                  <a:gd name="T32" fmla="*/ 120 w 122"/>
                  <a:gd name="T33" fmla="*/ 20 h 48"/>
                  <a:gd name="T34" fmla="*/ 114 w 122"/>
                  <a:gd name="T35" fmla="*/ 36 h 48"/>
                  <a:gd name="T36" fmla="*/ 112 w 122"/>
                  <a:gd name="T37" fmla="*/ 36 h 48"/>
                  <a:gd name="T38" fmla="*/ 98 w 122"/>
                  <a:gd name="T39" fmla="*/ 40 h 48"/>
                  <a:gd name="T40" fmla="*/ 98 w 122"/>
                  <a:gd name="T41" fmla="*/ 40 h 48"/>
                  <a:gd name="T42" fmla="*/ 86 w 122"/>
                  <a:gd name="T43" fmla="*/ 36 h 48"/>
                  <a:gd name="T44" fmla="*/ 84 w 122"/>
                  <a:gd name="T45" fmla="*/ 36 h 48"/>
                  <a:gd name="T46" fmla="*/ 80 w 122"/>
                  <a:gd name="T47" fmla="*/ 28 h 48"/>
                  <a:gd name="T48" fmla="*/ 82 w 122"/>
                  <a:gd name="T49" fmla="*/ 18 h 48"/>
                  <a:gd name="T50" fmla="*/ 78 w 122"/>
                  <a:gd name="T51" fmla="*/ 26 h 48"/>
                  <a:gd name="T52" fmla="*/ 84 w 122"/>
                  <a:gd name="T53" fmla="*/ 40 h 48"/>
                  <a:gd name="T54" fmla="*/ 84 w 122"/>
                  <a:gd name="T55" fmla="*/ 42 h 48"/>
                  <a:gd name="T56" fmla="*/ 82 w 122"/>
                  <a:gd name="T57" fmla="*/ 42 h 48"/>
                  <a:gd name="T58" fmla="*/ 58 w 122"/>
                  <a:gd name="T59" fmla="*/ 40 h 48"/>
                  <a:gd name="T60" fmla="*/ 38 w 122"/>
                  <a:gd name="T61" fmla="*/ 38 h 48"/>
                  <a:gd name="T62" fmla="*/ 38 w 122"/>
                  <a:gd name="T63" fmla="*/ 44 h 48"/>
                  <a:gd name="T64" fmla="*/ 26 w 122"/>
                  <a:gd name="T65" fmla="*/ 48 h 48"/>
                  <a:gd name="T66" fmla="*/ 26 w 122"/>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48">
                    <a:moveTo>
                      <a:pt x="26" y="48"/>
                    </a:moveTo>
                    <a:lnTo>
                      <a:pt x="26" y="48"/>
                    </a:lnTo>
                    <a:lnTo>
                      <a:pt x="24" y="48"/>
                    </a:lnTo>
                    <a:lnTo>
                      <a:pt x="2" y="36"/>
                    </a:lnTo>
                    <a:lnTo>
                      <a:pt x="2" y="36"/>
                    </a:lnTo>
                    <a:lnTo>
                      <a:pt x="2" y="34"/>
                    </a:lnTo>
                    <a:lnTo>
                      <a:pt x="0" y="22"/>
                    </a:lnTo>
                    <a:lnTo>
                      <a:pt x="0" y="22"/>
                    </a:lnTo>
                    <a:lnTo>
                      <a:pt x="0" y="22"/>
                    </a:lnTo>
                    <a:lnTo>
                      <a:pt x="6" y="8"/>
                    </a:lnTo>
                    <a:lnTo>
                      <a:pt x="6" y="8"/>
                    </a:lnTo>
                    <a:lnTo>
                      <a:pt x="6" y="6"/>
                    </a:lnTo>
                    <a:lnTo>
                      <a:pt x="18" y="0"/>
                    </a:lnTo>
                    <a:lnTo>
                      <a:pt x="18" y="0"/>
                    </a:lnTo>
                    <a:lnTo>
                      <a:pt x="18" y="0"/>
                    </a:lnTo>
                    <a:lnTo>
                      <a:pt x="30" y="0"/>
                    </a:lnTo>
                    <a:lnTo>
                      <a:pt x="30" y="0"/>
                    </a:lnTo>
                    <a:lnTo>
                      <a:pt x="30" y="0"/>
                    </a:lnTo>
                    <a:lnTo>
                      <a:pt x="46" y="8"/>
                    </a:lnTo>
                    <a:lnTo>
                      <a:pt x="54" y="14"/>
                    </a:lnTo>
                    <a:lnTo>
                      <a:pt x="58" y="6"/>
                    </a:lnTo>
                    <a:lnTo>
                      <a:pt x="58" y="6"/>
                    </a:lnTo>
                    <a:lnTo>
                      <a:pt x="60" y="4"/>
                    </a:lnTo>
                    <a:lnTo>
                      <a:pt x="72" y="4"/>
                    </a:lnTo>
                    <a:lnTo>
                      <a:pt x="72" y="4"/>
                    </a:lnTo>
                    <a:lnTo>
                      <a:pt x="72" y="4"/>
                    </a:lnTo>
                    <a:lnTo>
                      <a:pt x="82" y="10"/>
                    </a:lnTo>
                    <a:lnTo>
                      <a:pt x="82" y="10"/>
                    </a:lnTo>
                    <a:lnTo>
                      <a:pt x="94" y="8"/>
                    </a:lnTo>
                    <a:lnTo>
                      <a:pt x="94" y="8"/>
                    </a:lnTo>
                    <a:lnTo>
                      <a:pt x="94" y="8"/>
                    </a:lnTo>
                    <a:lnTo>
                      <a:pt x="112" y="14"/>
                    </a:lnTo>
                    <a:lnTo>
                      <a:pt x="120" y="20"/>
                    </a:lnTo>
                    <a:lnTo>
                      <a:pt x="120" y="20"/>
                    </a:lnTo>
                    <a:lnTo>
                      <a:pt x="122" y="24"/>
                    </a:lnTo>
                    <a:lnTo>
                      <a:pt x="114" y="36"/>
                    </a:lnTo>
                    <a:lnTo>
                      <a:pt x="114" y="36"/>
                    </a:lnTo>
                    <a:lnTo>
                      <a:pt x="112" y="36"/>
                    </a:lnTo>
                    <a:lnTo>
                      <a:pt x="98" y="40"/>
                    </a:lnTo>
                    <a:lnTo>
                      <a:pt x="98" y="40"/>
                    </a:lnTo>
                    <a:lnTo>
                      <a:pt x="98" y="40"/>
                    </a:lnTo>
                    <a:lnTo>
                      <a:pt x="98" y="40"/>
                    </a:lnTo>
                    <a:lnTo>
                      <a:pt x="96" y="40"/>
                    </a:lnTo>
                    <a:lnTo>
                      <a:pt x="86" y="36"/>
                    </a:lnTo>
                    <a:lnTo>
                      <a:pt x="86" y="36"/>
                    </a:lnTo>
                    <a:lnTo>
                      <a:pt x="84" y="36"/>
                    </a:lnTo>
                    <a:lnTo>
                      <a:pt x="80" y="28"/>
                    </a:lnTo>
                    <a:lnTo>
                      <a:pt x="80" y="28"/>
                    </a:lnTo>
                    <a:lnTo>
                      <a:pt x="78" y="26"/>
                    </a:lnTo>
                    <a:lnTo>
                      <a:pt x="82" y="18"/>
                    </a:lnTo>
                    <a:lnTo>
                      <a:pt x="76" y="20"/>
                    </a:lnTo>
                    <a:lnTo>
                      <a:pt x="78" y="26"/>
                    </a:lnTo>
                    <a:lnTo>
                      <a:pt x="80" y="32"/>
                    </a:lnTo>
                    <a:lnTo>
                      <a:pt x="84" y="40"/>
                    </a:lnTo>
                    <a:lnTo>
                      <a:pt x="84" y="40"/>
                    </a:lnTo>
                    <a:lnTo>
                      <a:pt x="84" y="42"/>
                    </a:lnTo>
                    <a:lnTo>
                      <a:pt x="84" y="42"/>
                    </a:lnTo>
                    <a:lnTo>
                      <a:pt x="82" y="42"/>
                    </a:lnTo>
                    <a:lnTo>
                      <a:pt x="74" y="42"/>
                    </a:lnTo>
                    <a:lnTo>
                      <a:pt x="58" y="40"/>
                    </a:lnTo>
                    <a:lnTo>
                      <a:pt x="46" y="40"/>
                    </a:lnTo>
                    <a:lnTo>
                      <a:pt x="38" y="38"/>
                    </a:lnTo>
                    <a:lnTo>
                      <a:pt x="38" y="44"/>
                    </a:lnTo>
                    <a:lnTo>
                      <a:pt x="38" y="44"/>
                    </a:lnTo>
                    <a:lnTo>
                      <a:pt x="38" y="46"/>
                    </a:lnTo>
                    <a:lnTo>
                      <a:pt x="26" y="48"/>
                    </a:lnTo>
                    <a:lnTo>
                      <a:pt x="26" y="48"/>
                    </a:lnTo>
                    <a:lnTo>
                      <a:pt x="26" y="48"/>
                    </a:lnTo>
                    <a:lnTo>
                      <a:pt x="26"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3" name="Freeform 785"/>
              <p:cNvSpPr>
                <a:spLocks noEditPoints="1"/>
              </p:cNvSpPr>
              <p:nvPr/>
            </p:nvSpPr>
            <p:spPr bwMode="auto">
              <a:xfrm>
                <a:off x="4797" y="1149"/>
                <a:ext cx="126" cy="52"/>
              </a:xfrm>
              <a:custGeom>
                <a:avLst/>
                <a:gdLst>
                  <a:gd name="T0" fmla="*/ 46 w 126"/>
                  <a:gd name="T1" fmla="*/ 12 h 52"/>
                  <a:gd name="T2" fmla="*/ 62 w 126"/>
                  <a:gd name="T3" fmla="*/ 8 h 52"/>
                  <a:gd name="T4" fmla="*/ 82 w 126"/>
                  <a:gd name="T5" fmla="*/ 14 h 52"/>
                  <a:gd name="T6" fmla="*/ 114 w 126"/>
                  <a:gd name="T7" fmla="*/ 18 h 52"/>
                  <a:gd name="T8" fmla="*/ 114 w 126"/>
                  <a:gd name="T9" fmla="*/ 36 h 52"/>
                  <a:gd name="T10" fmla="*/ 88 w 126"/>
                  <a:gd name="T11" fmla="*/ 36 h 52"/>
                  <a:gd name="T12" fmla="*/ 86 w 126"/>
                  <a:gd name="T13" fmla="*/ 18 h 52"/>
                  <a:gd name="T14" fmla="*/ 78 w 126"/>
                  <a:gd name="T15" fmla="*/ 28 h 52"/>
                  <a:gd name="T16" fmla="*/ 84 w 126"/>
                  <a:gd name="T17" fmla="*/ 42 h 52"/>
                  <a:gd name="T18" fmla="*/ 60 w 126"/>
                  <a:gd name="T19" fmla="*/ 40 h 52"/>
                  <a:gd name="T20" fmla="*/ 38 w 126"/>
                  <a:gd name="T21" fmla="*/ 38 h 52"/>
                  <a:gd name="T22" fmla="*/ 28 w 126"/>
                  <a:gd name="T23" fmla="*/ 48 h 52"/>
                  <a:gd name="T24" fmla="*/ 4 w 126"/>
                  <a:gd name="T25" fmla="*/ 24 h 52"/>
                  <a:gd name="T26" fmla="*/ 20 w 126"/>
                  <a:gd name="T27" fmla="*/ 4 h 52"/>
                  <a:gd name="T28" fmla="*/ 32 w 126"/>
                  <a:gd name="T29" fmla="*/ 0 h 52"/>
                  <a:gd name="T30" fmla="*/ 20 w 126"/>
                  <a:gd name="T31" fmla="*/ 0 h 52"/>
                  <a:gd name="T32" fmla="*/ 8 w 126"/>
                  <a:gd name="T33" fmla="*/ 6 h 52"/>
                  <a:gd name="T34" fmla="*/ 6 w 126"/>
                  <a:gd name="T35" fmla="*/ 8 h 52"/>
                  <a:gd name="T36" fmla="*/ 0 w 126"/>
                  <a:gd name="T37" fmla="*/ 22 h 52"/>
                  <a:gd name="T38" fmla="*/ 2 w 126"/>
                  <a:gd name="T39" fmla="*/ 36 h 52"/>
                  <a:gd name="T40" fmla="*/ 4 w 126"/>
                  <a:gd name="T41" fmla="*/ 40 h 52"/>
                  <a:gd name="T42" fmla="*/ 26 w 126"/>
                  <a:gd name="T43" fmla="*/ 52 h 52"/>
                  <a:gd name="T44" fmla="*/ 28 w 126"/>
                  <a:gd name="T45" fmla="*/ 52 h 52"/>
                  <a:gd name="T46" fmla="*/ 40 w 126"/>
                  <a:gd name="T47" fmla="*/ 50 h 52"/>
                  <a:gd name="T48" fmla="*/ 42 w 126"/>
                  <a:gd name="T49" fmla="*/ 50 h 52"/>
                  <a:gd name="T50" fmla="*/ 42 w 126"/>
                  <a:gd name="T51" fmla="*/ 44 h 52"/>
                  <a:gd name="T52" fmla="*/ 48 w 126"/>
                  <a:gd name="T53" fmla="*/ 44 h 52"/>
                  <a:gd name="T54" fmla="*/ 60 w 126"/>
                  <a:gd name="T55" fmla="*/ 44 h 52"/>
                  <a:gd name="T56" fmla="*/ 74 w 126"/>
                  <a:gd name="T57" fmla="*/ 46 h 52"/>
                  <a:gd name="T58" fmla="*/ 84 w 126"/>
                  <a:gd name="T59" fmla="*/ 46 h 52"/>
                  <a:gd name="T60" fmla="*/ 88 w 126"/>
                  <a:gd name="T61" fmla="*/ 44 h 52"/>
                  <a:gd name="T62" fmla="*/ 88 w 126"/>
                  <a:gd name="T63" fmla="*/ 40 h 52"/>
                  <a:gd name="T64" fmla="*/ 98 w 126"/>
                  <a:gd name="T65" fmla="*/ 44 h 52"/>
                  <a:gd name="T66" fmla="*/ 100 w 126"/>
                  <a:gd name="T67" fmla="*/ 44 h 52"/>
                  <a:gd name="T68" fmla="*/ 100 w 126"/>
                  <a:gd name="T69" fmla="*/ 44 h 52"/>
                  <a:gd name="T70" fmla="*/ 116 w 126"/>
                  <a:gd name="T71" fmla="*/ 40 h 52"/>
                  <a:gd name="T72" fmla="*/ 124 w 126"/>
                  <a:gd name="T73" fmla="*/ 26 h 52"/>
                  <a:gd name="T74" fmla="*/ 126 w 126"/>
                  <a:gd name="T75" fmla="*/ 24 h 52"/>
                  <a:gd name="T76" fmla="*/ 116 w 126"/>
                  <a:gd name="T77" fmla="*/ 14 h 52"/>
                  <a:gd name="T78" fmla="*/ 116 w 126"/>
                  <a:gd name="T79" fmla="*/ 14 h 52"/>
                  <a:gd name="T80" fmla="*/ 96 w 126"/>
                  <a:gd name="T81" fmla="*/ 8 h 52"/>
                  <a:gd name="T82" fmla="*/ 96 w 126"/>
                  <a:gd name="T83" fmla="*/ 8 h 52"/>
                  <a:gd name="T84" fmla="*/ 84 w 126"/>
                  <a:gd name="T85" fmla="*/ 10 h 52"/>
                  <a:gd name="T86" fmla="*/ 76 w 126"/>
                  <a:gd name="T87" fmla="*/ 4 h 52"/>
                  <a:gd name="T88" fmla="*/ 62 w 126"/>
                  <a:gd name="T89" fmla="*/ 4 h 52"/>
                  <a:gd name="T90" fmla="*/ 60 w 126"/>
                  <a:gd name="T91" fmla="*/ 4 h 52"/>
                  <a:gd name="T92" fmla="*/ 56 w 126"/>
                  <a:gd name="T93" fmla="*/ 14 h 52"/>
                  <a:gd name="T94" fmla="*/ 48 w 126"/>
                  <a:gd name="T95" fmla="*/ 8 h 52"/>
                  <a:gd name="T96" fmla="*/ 34 w 126"/>
                  <a:gd name="T97" fmla="*/ 0 h 52"/>
                  <a:gd name="T98" fmla="*/ 32 w 126"/>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52">
                    <a:moveTo>
                      <a:pt x="32" y="4"/>
                    </a:moveTo>
                    <a:lnTo>
                      <a:pt x="46" y="12"/>
                    </a:lnTo>
                    <a:lnTo>
                      <a:pt x="58" y="20"/>
                    </a:lnTo>
                    <a:lnTo>
                      <a:pt x="62" y="8"/>
                    </a:lnTo>
                    <a:lnTo>
                      <a:pt x="74" y="8"/>
                    </a:lnTo>
                    <a:lnTo>
                      <a:pt x="82" y="14"/>
                    </a:lnTo>
                    <a:lnTo>
                      <a:pt x="96" y="12"/>
                    </a:lnTo>
                    <a:lnTo>
                      <a:pt x="114" y="18"/>
                    </a:lnTo>
                    <a:lnTo>
                      <a:pt x="122" y="24"/>
                    </a:lnTo>
                    <a:lnTo>
                      <a:pt x="114" y="36"/>
                    </a:lnTo>
                    <a:lnTo>
                      <a:pt x="100" y="40"/>
                    </a:lnTo>
                    <a:lnTo>
                      <a:pt x="88" y="36"/>
                    </a:lnTo>
                    <a:lnTo>
                      <a:pt x="82" y="28"/>
                    </a:lnTo>
                    <a:lnTo>
                      <a:pt x="86" y="18"/>
                    </a:lnTo>
                    <a:lnTo>
                      <a:pt x="76" y="20"/>
                    </a:lnTo>
                    <a:lnTo>
                      <a:pt x="78" y="28"/>
                    </a:lnTo>
                    <a:lnTo>
                      <a:pt x="82" y="34"/>
                    </a:lnTo>
                    <a:lnTo>
                      <a:pt x="84" y="42"/>
                    </a:lnTo>
                    <a:lnTo>
                      <a:pt x="76" y="42"/>
                    </a:lnTo>
                    <a:lnTo>
                      <a:pt x="60" y="40"/>
                    </a:lnTo>
                    <a:lnTo>
                      <a:pt x="48" y="40"/>
                    </a:lnTo>
                    <a:lnTo>
                      <a:pt x="38" y="38"/>
                    </a:lnTo>
                    <a:lnTo>
                      <a:pt x="38" y="46"/>
                    </a:lnTo>
                    <a:lnTo>
                      <a:pt x="28" y="48"/>
                    </a:lnTo>
                    <a:lnTo>
                      <a:pt x="6" y="36"/>
                    </a:lnTo>
                    <a:lnTo>
                      <a:pt x="4" y="24"/>
                    </a:lnTo>
                    <a:lnTo>
                      <a:pt x="10" y="10"/>
                    </a:lnTo>
                    <a:lnTo>
                      <a:pt x="20" y="4"/>
                    </a:lnTo>
                    <a:lnTo>
                      <a:pt x="32" y="4"/>
                    </a:lnTo>
                    <a:close/>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4" name="Freeform 786"/>
              <p:cNvSpPr>
                <a:spLocks/>
              </p:cNvSpPr>
              <p:nvPr/>
            </p:nvSpPr>
            <p:spPr bwMode="auto">
              <a:xfrm>
                <a:off x="4801" y="1153"/>
                <a:ext cx="118" cy="44"/>
              </a:xfrm>
              <a:custGeom>
                <a:avLst/>
                <a:gdLst>
                  <a:gd name="T0" fmla="*/ 28 w 118"/>
                  <a:gd name="T1" fmla="*/ 0 h 44"/>
                  <a:gd name="T2" fmla="*/ 42 w 118"/>
                  <a:gd name="T3" fmla="*/ 8 h 44"/>
                  <a:gd name="T4" fmla="*/ 54 w 118"/>
                  <a:gd name="T5" fmla="*/ 16 h 44"/>
                  <a:gd name="T6" fmla="*/ 58 w 118"/>
                  <a:gd name="T7" fmla="*/ 4 h 44"/>
                  <a:gd name="T8" fmla="*/ 70 w 118"/>
                  <a:gd name="T9" fmla="*/ 4 h 44"/>
                  <a:gd name="T10" fmla="*/ 78 w 118"/>
                  <a:gd name="T11" fmla="*/ 10 h 44"/>
                  <a:gd name="T12" fmla="*/ 92 w 118"/>
                  <a:gd name="T13" fmla="*/ 8 h 44"/>
                  <a:gd name="T14" fmla="*/ 110 w 118"/>
                  <a:gd name="T15" fmla="*/ 14 h 44"/>
                  <a:gd name="T16" fmla="*/ 118 w 118"/>
                  <a:gd name="T17" fmla="*/ 20 h 44"/>
                  <a:gd name="T18" fmla="*/ 110 w 118"/>
                  <a:gd name="T19" fmla="*/ 32 h 44"/>
                  <a:gd name="T20" fmla="*/ 96 w 118"/>
                  <a:gd name="T21" fmla="*/ 36 h 44"/>
                  <a:gd name="T22" fmla="*/ 84 w 118"/>
                  <a:gd name="T23" fmla="*/ 32 h 44"/>
                  <a:gd name="T24" fmla="*/ 78 w 118"/>
                  <a:gd name="T25" fmla="*/ 24 h 44"/>
                  <a:gd name="T26" fmla="*/ 82 w 118"/>
                  <a:gd name="T27" fmla="*/ 14 h 44"/>
                  <a:gd name="T28" fmla="*/ 72 w 118"/>
                  <a:gd name="T29" fmla="*/ 16 h 44"/>
                  <a:gd name="T30" fmla="*/ 74 w 118"/>
                  <a:gd name="T31" fmla="*/ 24 h 44"/>
                  <a:gd name="T32" fmla="*/ 78 w 118"/>
                  <a:gd name="T33" fmla="*/ 30 h 44"/>
                  <a:gd name="T34" fmla="*/ 80 w 118"/>
                  <a:gd name="T35" fmla="*/ 38 h 44"/>
                  <a:gd name="T36" fmla="*/ 72 w 118"/>
                  <a:gd name="T37" fmla="*/ 38 h 44"/>
                  <a:gd name="T38" fmla="*/ 56 w 118"/>
                  <a:gd name="T39" fmla="*/ 36 h 44"/>
                  <a:gd name="T40" fmla="*/ 44 w 118"/>
                  <a:gd name="T41" fmla="*/ 36 h 44"/>
                  <a:gd name="T42" fmla="*/ 34 w 118"/>
                  <a:gd name="T43" fmla="*/ 34 h 44"/>
                  <a:gd name="T44" fmla="*/ 34 w 118"/>
                  <a:gd name="T45" fmla="*/ 42 h 44"/>
                  <a:gd name="T46" fmla="*/ 24 w 118"/>
                  <a:gd name="T47" fmla="*/ 44 h 44"/>
                  <a:gd name="T48" fmla="*/ 2 w 118"/>
                  <a:gd name="T49" fmla="*/ 32 h 44"/>
                  <a:gd name="T50" fmla="*/ 0 w 118"/>
                  <a:gd name="T51" fmla="*/ 20 h 44"/>
                  <a:gd name="T52" fmla="*/ 6 w 118"/>
                  <a:gd name="T53" fmla="*/ 6 h 44"/>
                  <a:gd name="T54" fmla="*/ 16 w 118"/>
                  <a:gd name="T55" fmla="*/ 0 h 44"/>
                  <a:gd name="T56" fmla="*/ 28 w 118"/>
                  <a:gd name="T5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4">
                    <a:moveTo>
                      <a:pt x="28" y="0"/>
                    </a:moveTo>
                    <a:lnTo>
                      <a:pt x="42" y="8"/>
                    </a:lnTo>
                    <a:lnTo>
                      <a:pt x="54" y="16"/>
                    </a:lnTo>
                    <a:lnTo>
                      <a:pt x="58" y="4"/>
                    </a:lnTo>
                    <a:lnTo>
                      <a:pt x="70" y="4"/>
                    </a:lnTo>
                    <a:lnTo>
                      <a:pt x="78" y="10"/>
                    </a:lnTo>
                    <a:lnTo>
                      <a:pt x="92" y="8"/>
                    </a:lnTo>
                    <a:lnTo>
                      <a:pt x="110" y="14"/>
                    </a:lnTo>
                    <a:lnTo>
                      <a:pt x="118" y="20"/>
                    </a:lnTo>
                    <a:lnTo>
                      <a:pt x="110" y="32"/>
                    </a:lnTo>
                    <a:lnTo>
                      <a:pt x="96" y="36"/>
                    </a:lnTo>
                    <a:lnTo>
                      <a:pt x="84" y="32"/>
                    </a:lnTo>
                    <a:lnTo>
                      <a:pt x="78" y="24"/>
                    </a:lnTo>
                    <a:lnTo>
                      <a:pt x="82" y="14"/>
                    </a:lnTo>
                    <a:lnTo>
                      <a:pt x="72" y="16"/>
                    </a:lnTo>
                    <a:lnTo>
                      <a:pt x="74" y="24"/>
                    </a:lnTo>
                    <a:lnTo>
                      <a:pt x="78" y="30"/>
                    </a:lnTo>
                    <a:lnTo>
                      <a:pt x="80" y="38"/>
                    </a:lnTo>
                    <a:lnTo>
                      <a:pt x="72" y="38"/>
                    </a:lnTo>
                    <a:lnTo>
                      <a:pt x="56" y="36"/>
                    </a:lnTo>
                    <a:lnTo>
                      <a:pt x="44" y="36"/>
                    </a:lnTo>
                    <a:lnTo>
                      <a:pt x="34" y="34"/>
                    </a:lnTo>
                    <a:lnTo>
                      <a:pt x="34" y="42"/>
                    </a:lnTo>
                    <a:lnTo>
                      <a:pt x="24" y="44"/>
                    </a:lnTo>
                    <a:lnTo>
                      <a:pt x="2" y="32"/>
                    </a:lnTo>
                    <a:lnTo>
                      <a:pt x="0" y="20"/>
                    </a:lnTo>
                    <a:lnTo>
                      <a:pt x="6" y="6"/>
                    </a:lnTo>
                    <a:lnTo>
                      <a:pt x="16"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5" name="Freeform 787"/>
              <p:cNvSpPr>
                <a:spLocks/>
              </p:cNvSpPr>
              <p:nvPr/>
            </p:nvSpPr>
            <p:spPr bwMode="auto">
              <a:xfrm>
                <a:off x="4797" y="1149"/>
                <a:ext cx="126" cy="52"/>
              </a:xfrm>
              <a:custGeom>
                <a:avLst/>
                <a:gdLst>
                  <a:gd name="T0" fmla="*/ 20 w 126"/>
                  <a:gd name="T1" fmla="*/ 0 h 52"/>
                  <a:gd name="T2" fmla="*/ 18 w 126"/>
                  <a:gd name="T3" fmla="*/ 0 h 52"/>
                  <a:gd name="T4" fmla="*/ 8 w 126"/>
                  <a:gd name="T5" fmla="*/ 6 h 52"/>
                  <a:gd name="T6" fmla="*/ 0 w 126"/>
                  <a:gd name="T7" fmla="*/ 22 h 52"/>
                  <a:gd name="T8" fmla="*/ 0 w 126"/>
                  <a:gd name="T9" fmla="*/ 24 h 52"/>
                  <a:gd name="T10" fmla="*/ 2 w 126"/>
                  <a:gd name="T11" fmla="*/ 36 h 52"/>
                  <a:gd name="T12" fmla="*/ 26 w 126"/>
                  <a:gd name="T13" fmla="*/ 52 h 52"/>
                  <a:gd name="T14" fmla="*/ 28 w 126"/>
                  <a:gd name="T15" fmla="*/ 52 h 52"/>
                  <a:gd name="T16" fmla="*/ 28 w 126"/>
                  <a:gd name="T17" fmla="*/ 52 h 52"/>
                  <a:gd name="T18" fmla="*/ 40 w 126"/>
                  <a:gd name="T19" fmla="*/ 50 h 52"/>
                  <a:gd name="T20" fmla="*/ 42 w 126"/>
                  <a:gd name="T21" fmla="*/ 46 h 52"/>
                  <a:gd name="T22" fmla="*/ 48 w 126"/>
                  <a:gd name="T23" fmla="*/ 44 h 52"/>
                  <a:gd name="T24" fmla="*/ 48 w 126"/>
                  <a:gd name="T25" fmla="*/ 44 h 52"/>
                  <a:gd name="T26" fmla="*/ 74 w 126"/>
                  <a:gd name="T27" fmla="*/ 46 h 52"/>
                  <a:gd name="T28" fmla="*/ 76 w 126"/>
                  <a:gd name="T29" fmla="*/ 46 h 52"/>
                  <a:gd name="T30" fmla="*/ 84 w 126"/>
                  <a:gd name="T31" fmla="*/ 46 h 52"/>
                  <a:gd name="T32" fmla="*/ 88 w 126"/>
                  <a:gd name="T33" fmla="*/ 44 h 52"/>
                  <a:gd name="T34" fmla="*/ 88 w 126"/>
                  <a:gd name="T35" fmla="*/ 40 h 52"/>
                  <a:gd name="T36" fmla="*/ 98 w 126"/>
                  <a:gd name="T37" fmla="*/ 44 h 52"/>
                  <a:gd name="T38" fmla="*/ 100 w 126"/>
                  <a:gd name="T39" fmla="*/ 44 h 52"/>
                  <a:gd name="T40" fmla="*/ 116 w 126"/>
                  <a:gd name="T41" fmla="*/ 40 h 52"/>
                  <a:gd name="T42" fmla="*/ 118 w 126"/>
                  <a:gd name="T43" fmla="*/ 38 h 52"/>
                  <a:gd name="T44" fmla="*/ 124 w 126"/>
                  <a:gd name="T45" fmla="*/ 26 h 52"/>
                  <a:gd name="T46" fmla="*/ 124 w 126"/>
                  <a:gd name="T47" fmla="*/ 22 h 52"/>
                  <a:gd name="T48" fmla="*/ 116 w 126"/>
                  <a:gd name="T49" fmla="*/ 14 h 52"/>
                  <a:gd name="T50" fmla="*/ 96 w 126"/>
                  <a:gd name="T51" fmla="*/ 8 h 52"/>
                  <a:gd name="T52" fmla="*/ 96 w 126"/>
                  <a:gd name="T53" fmla="*/ 8 h 52"/>
                  <a:gd name="T54" fmla="*/ 96 w 126"/>
                  <a:gd name="T55" fmla="*/ 8 h 52"/>
                  <a:gd name="T56" fmla="*/ 76 w 126"/>
                  <a:gd name="T57" fmla="*/ 4 h 52"/>
                  <a:gd name="T58" fmla="*/ 74 w 126"/>
                  <a:gd name="T59" fmla="*/ 4 h 52"/>
                  <a:gd name="T60" fmla="*/ 62 w 126"/>
                  <a:gd name="T61" fmla="*/ 4 h 52"/>
                  <a:gd name="T62" fmla="*/ 58 w 126"/>
                  <a:gd name="T63" fmla="*/ 6 h 52"/>
                  <a:gd name="T64" fmla="*/ 48 w 126"/>
                  <a:gd name="T65" fmla="*/ 8 h 52"/>
                  <a:gd name="T66" fmla="*/ 48 w 126"/>
                  <a:gd name="T67" fmla="*/ 8 h 52"/>
                  <a:gd name="T68" fmla="*/ 34 w 126"/>
                  <a:gd name="T69" fmla="*/ 0 h 52"/>
                  <a:gd name="T70" fmla="*/ 32 w 126"/>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52">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6" name="Freeform 788"/>
              <p:cNvSpPr>
                <a:spLocks/>
              </p:cNvSpPr>
              <p:nvPr/>
            </p:nvSpPr>
            <p:spPr bwMode="auto">
              <a:xfrm>
                <a:off x="4927" y="1173"/>
                <a:ext cx="72" cy="26"/>
              </a:xfrm>
              <a:custGeom>
                <a:avLst/>
                <a:gdLst>
                  <a:gd name="T0" fmla="*/ 36 w 72"/>
                  <a:gd name="T1" fmla="*/ 26 h 26"/>
                  <a:gd name="T2" fmla="*/ 20 w 72"/>
                  <a:gd name="T3" fmla="*/ 22 h 26"/>
                  <a:gd name="T4" fmla="*/ 6 w 72"/>
                  <a:gd name="T5" fmla="*/ 20 h 26"/>
                  <a:gd name="T6" fmla="*/ 6 w 72"/>
                  <a:gd name="T7" fmla="*/ 20 h 26"/>
                  <a:gd name="T8" fmla="*/ 4 w 72"/>
                  <a:gd name="T9" fmla="*/ 18 h 26"/>
                  <a:gd name="T10" fmla="*/ 0 w 72"/>
                  <a:gd name="T11" fmla="*/ 10 h 26"/>
                  <a:gd name="T12" fmla="*/ 0 w 72"/>
                  <a:gd name="T13" fmla="*/ 10 h 26"/>
                  <a:gd name="T14" fmla="*/ 0 w 72"/>
                  <a:gd name="T15" fmla="*/ 8 h 26"/>
                  <a:gd name="T16" fmla="*/ 6 w 72"/>
                  <a:gd name="T17" fmla="*/ 2 h 26"/>
                  <a:gd name="T18" fmla="*/ 6 w 72"/>
                  <a:gd name="T19" fmla="*/ 2 h 26"/>
                  <a:gd name="T20" fmla="*/ 8 w 72"/>
                  <a:gd name="T21" fmla="*/ 0 h 26"/>
                  <a:gd name="T22" fmla="*/ 8 w 72"/>
                  <a:gd name="T23" fmla="*/ 0 h 26"/>
                  <a:gd name="T24" fmla="*/ 8 w 72"/>
                  <a:gd name="T25" fmla="*/ 0 h 26"/>
                  <a:gd name="T26" fmla="*/ 18 w 72"/>
                  <a:gd name="T27" fmla="*/ 4 h 26"/>
                  <a:gd name="T28" fmla="*/ 36 w 72"/>
                  <a:gd name="T29" fmla="*/ 4 h 26"/>
                  <a:gd name="T30" fmla="*/ 48 w 72"/>
                  <a:gd name="T31" fmla="*/ 8 h 26"/>
                  <a:gd name="T32" fmla="*/ 64 w 72"/>
                  <a:gd name="T33" fmla="*/ 10 h 26"/>
                  <a:gd name="T34" fmla="*/ 64 w 72"/>
                  <a:gd name="T35" fmla="*/ 10 h 26"/>
                  <a:gd name="T36" fmla="*/ 66 w 72"/>
                  <a:gd name="T37" fmla="*/ 10 h 26"/>
                  <a:gd name="T38" fmla="*/ 70 w 72"/>
                  <a:gd name="T39" fmla="*/ 14 h 26"/>
                  <a:gd name="T40" fmla="*/ 70 w 72"/>
                  <a:gd name="T41" fmla="*/ 14 h 26"/>
                  <a:gd name="T42" fmla="*/ 72 w 72"/>
                  <a:gd name="T43" fmla="*/ 16 h 26"/>
                  <a:gd name="T44" fmla="*/ 72 w 72"/>
                  <a:gd name="T45" fmla="*/ 16 h 26"/>
                  <a:gd name="T46" fmla="*/ 70 w 72"/>
                  <a:gd name="T47" fmla="*/ 18 h 26"/>
                  <a:gd name="T48" fmla="*/ 58 w 72"/>
                  <a:gd name="T49" fmla="*/ 22 h 26"/>
                  <a:gd name="T50" fmla="*/ 46 w 72"/>
                  <a:gd name="T51" fmla="*/ 26 h 26"/>
                  <a:gd name="T52" fmla="*/ 46 w 72"/>
                  <a:gd name="T53" fmla="*/ 26 h 26"/>
                  <a:gd name="T54" fmla="*/ 46 w 72"/>
                  <a:gd name="T55" fmla="*/ 26 h 26"/>
                  <a:gd name="T56" fmla="*/ 36 w 72"/>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26">
                    <a:moveTo>
                      <a:pt x="36" y="26"/>
                    </a:moveTo>
                    <a:lnTo>
                      <a:pt x="20" y="22"/>
                    </a:lnTo>
                    <a:lnTo>
                      <a:pt x="6" y="20"/>
                    </a:lnTo>
                    <a:lnTo>
                      <a:pt x="6" y="20"/>
                    </a:lnTo>
                    <a:lnTo>
                      <a:pt x="4" y="18"/>
                    </a:lnTo>
                    <a:lnTo>
                      <a:pt x="0" y="10"/>
                    </a:lnTo>
                    <a:lnTo>
                      <a:pt x="0" y="10"/>
                    </a:lnTo>
                    <a:lnTo>
                      <a:pt x="0" y="8"/>
                    </a:lnTo>
                    <a:lnTo>
                      <a:pt x="6" y="2"/>
                    </a:lnTo>
                    <a:lnTo>
                      <a:pt x="6" y="2"/>
                    </a:lnTo>
                    <a:lnTo>
                      <a:pt x="8" y="0"/>
                    </a:lnTo>
                    <a:lnTo>
                      <a:pt x="8" y="0"/>
                    </a:lnTo>
                    <a:lnTo>
                      <a:pt x="8" y="0"/>
                    </a:lnTo>
                    <a:lnTo>
                      <a:pt x="18" y="4"/>
                    </a:lnTo>
                    <a:lnTo>
                      <a:pt x="36" y="4"/>
                    </a:lnTo>
                    <a:lnTo>
                      <a:pt x="48" y="8"/>
                    </a:lnTo>
                    <a:lnTo>
                      <a:pt x="64" y="10"/>
                    </a:lnTo>
                    <a:lnTo>
                      <a:pt x="64" y="10"/>
                    </a:lnTo>
                    <a:lnTo>
                      <a:pt x="66" y="10"/>
                    </a:lnTo>
                    <a:lnTo>
                      <a:pt x="70" y="14"/>
                    </a:lnTo>
                    <a:lnTo>
                      <a:pt x="70" y="14"/>
                    </a:lnTo>
                    <a:lnTo>
                      <a:pt x="72" y="16"/>
                    </a:lnTo>
                    <a:lnTo>
                      <a:pt x="72" y="16"/>
                    </a:lnTo>
                    <a:lnTo>
                      <a:pt x="70" y="18"/>
                    </a:lnTo>
                    <a:lnTo>
                      <a:pt x="58" y="22"/>
                    </a:lnTo>
                    <a:lnTo>
                      <a:pt x="46" y="26"/>
                    </a:lnTo>
                    <a:lnTo>
                      <a:pt x="46" y="26"/>
                    </a:lnTo>
                    <a:lnTo>
                      <a:pt x="46" y="26"/>
                    </a:lnTo>
                    <a:lnTo>
                      <a:pt x="3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7" name="Freeform 789"/>
              <p:cNvSpPr>
                <a:spLocks noEditPoints="1"/>
              </p:cNvSpPr>
              <p:nvPr/>
            </p:nvSpPr>
            <p:spPr bwMode="auto">
              <a:xfrm>
                <a:off x="4925" y="1171"/>
                <a:ext cx="76" cy="30"/>
              </a:xfrm>
              <a:custGeom>
                <a:avLst/>
                <a:gdLst>
                  <a:gd name="T0" fmla="*/ 10 w 76"/>
                  <a:gd name="T1" fmla="*/ 4 h 30"/>
                  <a:gd name="T2" fmla="*/ 20 w 76"/>
                  <a:gd name="T3" fmla="*/ 8 h 30"/>
                  <a:gd name="T4" fmla="*/ 38 w 76"/>
                  <a:gd name="T5" fmla="*/ 8 h 30"/>
                  <a:gd name="T6" fmla="*/ 50 w 76"/>
                  <a:gd name="T7" fmla="*/ 12 h 30"/>
                  <a:gd name="T8" fmla="*/ 66 w 76"/>
                  <a:gd name="T9" fmla="*/ 14 h 30"/>
                  <a:gd name="T10" fmla="*/ 72 w 76"/>
                  <a:gd name="T11" fmla="*/ 18 h 30"/>
                  <a:gd name="T12" fmla="*/ 60 w 76"/>
                  <a:gd name="T13" fmla="*/ 22 h 30"/>
                  <a:gd name="T14" fmla="*/ 48 w 76"/>
                  <a:gd name="T15" fmla="*/ 26 h 30"/>
                  <a:gd name="T16" fmla="*/ 38 w 76"/>
                  <a:gd name="T17" fmla="*/ 26 h 30"/>
                  <a:gd name="T18" fmla="*/ 22 w 76"/>
                  <a:gd name="T19" fmla="*/ 22 h 30"/>
                  <a:gd name="T20" fmla="*/ 8 w 76"/>
                  <a:gd name="T21" fmla="*/ 20 h 30"/>
                  <a:gd name="T22" fmla="*/ 4 w 76"/>
                  <a:gd name="T23" fmla="*/ 12 h 30"/>
                  <a:gd name="T24" fmla="*/ 10 w 76"/>
                  <a:gd name="T25" fmla="*/ 4 h 30"/>
                  <a:gd name="T26" fmla="*/ 10 w 76"/>
                  <a:gd name="T27" fmla="*/ 0 h 30"/>
                  <a:gd name="T28" fmla="*/ 10 w 76"/>
                  <a:gd name="T29" fmla="*/ 0 h 30"/>
                  <a:gd name="T30" fmla="*/ 6 w 76"/>
                  <a:gd name="T31" fmla="*/ 2 h 30"/>
                  <a:gd name="T32" fmla="*/ 2 w 76"/>
                  <a:gd name="T33" fmla="*/ 10 h 30"/>
                  <a:gd name="T34" fmla="*/ 2 w 76"/>
                  <a:gd name="T35" fmla="*/ 10 h 30"/>
                  <a:gd name="T36" fmla="*/ 0 w 76"/>
                  <a:gd name="T37" fmla="*/ 14 h 30"/>
                  <a:gd name="T38" fmla="*/ 4 w 76"/>
                  <a:gd name="T39" fmla="*/ 20 h 30"/>
                  <a:gd name="T40" fmla="*/ 4 w 76"/>
                  <a:gd name="T41" fmla="*/ 20 h 30"/>
                  <a:gd name="T42" fmla="*/ 8 w 76"/>
                  <a:gd name="T43" fmla="*/ 24 h 30"/>
                  <a:gd name="T44" fmla="*/ 22 w 76"/>
                  <a:gd name="T45" fmla="*/ 26 h 30"/>
                  <a:gd name="T46" fmla="*/ 36 w 76"/>
                  <a:gd name="T47" fmla="*/ 30 h 30"/>
                  <a:gd name="T48" fmla="*/ 36 w 76"/>
                  <a:gd name="T49" fmla="*/ 30 h 30"/>
                  <a:gd name="T50" fmla="*/ 38 w 76"/>
                  <a:gd name="T51" fmla="*/ 30 h 30"/>
                  <a:gd name="T52" fmla="*/ 48 w 76"/>
                  <a:gd name="T53" fmla="*/ 30 h 30"/>
                  <a:gd name="T54" fmla="*/ 48 w 76"/>
                  <a:gd name="T55" fmla="*/ 30 h 30"/>
                  <a:gd name="T56" fmla="*/ 50 w 76"/>
                  <a:gd name="T57" fmla="*/ 30 h 30"/>
                  <a:gd name="T58" fmla="*/ 60 w 76"/>
                  <a:gd name="T59" fmla="*/ 26 h 30"/>
                  <a:gd name="T60" fmla="*/ 74 w 76"/>
                  <a:gd name="T61" fmla="*/ 20 h 30"/>
                  <a:gd name="T62" fmla="*/ 74 w 76"/>
                  <a:gd name="T63" fmla="*/ 20 h 30"/>
                  <a:gd name="T64" fmla="*/ 76 w 76"/>
                  <a:gd name="T65" fmla="*/ 18 h 30"/>
                  <a:gd name="T66" fmla="*/ 76 w 76"/>
                  <a:gd name="T67" fmla="*/ 18 h 30"/>
                  <a:gd name="T68" fmla="*/ 74 w 76"/>
                  <a:gd name="T69" fmla="*/ 14 h 30"/>
                  <a:gd name="T70" fmla="*/ 68 w 76"/>
                  <a:gd name="T71" fmla="*/ 10 h 30"/>
                  <a:gd name="T72" fmla="*/ 68 w 76"/>
                  <a:gd name="T73" fmla="*/ 10 h 30"/>
                  <a:gd name="T74" fmla="*/ 66 w 76"/>
                  <a:gd name="T75" fmla="*/ 10 h 30"/>
                  <a:gd name="T76" fmla="*/ 50 w 76"/>
                  <a:gd name="T77" fmla="*/ 8 h 30"/>
                  <a:gd name="T78" fmla="*/ 38 w 76"/>
                  <a:gd name="T79" fmla="*/ 4 h 30"/>
                  <a:gd name="T80" fmla="*/ 38 w 76"/>
                  <a:gd name="T81" fmla="*/ 4 h 30"/>
                  <a:gd name="T82" fmla="*/ 38 w 76"/>
                  <a:gd name="T83" fmla="*/ 4 h 30"/>
                  <a:gd name="T84" fmla="*/ 20 w 76"/>
                  <a:gd name="T85" fmla="*/ 4 h 30"/>
                  <a:gd name="T86" fmla="*/ 12 w 76"/>
                  <a:gd name="T87" fmla="*/ 0 h 30"/>
                  <a:gd name="T88" fmla="*/ 12 w 76"/>
                  <a:gd name="T89" fmla="*/ 0 h 30"/>
                  <a:gd name="T90" fmla="*/ 10 w 76"/>
                  <a:gd name="T91" fmla="*/ 0 h 30"/>
                  <a:gd name="T92" fmla="*/ 10 w 76"/>
                  <a:gd name="T9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30">
                    <a:moveTo>
                      <a:pt x="10" y="4"/>
                    </a:moveTo>
                    <a:lnTo>
                      <a:pt x="20" y="8"/>
                    </a:lnTo>
                    <a:lnTo>
                      <a:pt x="38" y="8"/>
                    </a:lnTo>
                    <a:lnTo>
                      <a:pt x="50" y="12"/>
                    </a:lnTo>
                    <a:lnTo>
                      <a:pt x="66" y="14"/>
                    </a:lnTo>
                    <a:lnTo>
                      <a:pt x="72" y="18"/>
                    </a:lnTo>
                    <a:lnTo>
                      <a:pt x="60" y="22"/>
                    </a:lnTo>
                    <a:lnTo>
                      <a:pt x="48" y="26"/>
                    </a:lnTo>
                    <a:lnTo>
                      <a:pt x="38" y="26"/>
                    </a:lnTo>
                    <a:lnTo>
                      <a:pt x="22" y="22"/>
                    </a:lnTo>
                    <a:lnTo>
                      <a:pt x="8" y="20"/>
                    </a:lnTo>
                    <a:lnTo>
                      <a:pt x="4" y="12"/>
                    </a:lnTo>
                    <a:lnTo>
                      <a:pt x="10" y="4"/>
                    </a:lnTo>
                    <a:close/>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8" name="Freeform 790"/>
              <p:cNvSpPr>
                <a:spLocks/>
              </p:cNvSpPr>
              <p:nvPr/>
            </p:nvSpPr>
            <p:spPr bwMode="auto">
              <a:xfrm>
                <a:off x="4929" y="1175"/>
                <a:ext cx="68" cy="22"/>
              </a:xfrm>
              <a:custGeom>
                <a:avLst/>
                <a:gdLst>
                  <a:gd name="T0" fmla="*/ 6 w 68"/>
                  <a:gd name="T1" fmla="*/ 0 h 22"/>
                  <a:gd name="T2" fmla="*/ 16 w 68"/>
                  <a:gd name="T3" fmla="*/ 4 h 22"/>
                  <a:gd name="T4" fmla="*/ 34 w 68"/>
                  <a:gd name="T5" fmla="*/ 4 h 22"/>
                  <a:gd name="T6" fmla="*/ 46 w 68"/>
                  <a:gd name="T7" fmla="*/ 8 h 22"/>
                  <a:gd name="T8" fmla="*/ 62 w 68"/>
                  <a:gd name="T9" fmla="*/ 10 h 22"/>
                  <a:gd name="T10" fmla="*/ 68 w 68"/>
                  <a:gd name="T11" fmla="*/ 14 h 22"/>
                  <a:gd name="T12" fmla="*/ 56 w 68"/>
                  <a:gd name="T13" fmla="*/ 18 h 22"/>
                  <a:gd name="T14" fmla="*/ 44 w 68"/>
                  <a:gd name="T15" fmla="*/ 22 h 22"/>
                  <a:gd name="T16" fmla="*/ 34 w 68"/>
                  <a:gd name="T17" fmla="*/ 22 h 22"/>
                  <a:gd name="T18" fmla="*/ 18 w 68"/>
                  <a:gd name="T19" fmla="*/ 18 h 22"/>
                  <a:gd name="T20" fmla="*/ 4 w 68"/>
                  <a:gd name="T21" fmla="*/ 16 h 22"/>
                  <a:gd name="T22" fmla="*/ 0 w 68"/>
                  <a:gd name="T23" fmla="*/ 8 h 22"/>
                  <a:gd name="T24" fmla="*/ 6 w 6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2">
                    <a:moveTo>
                      <a:pt x="6" y="0"/>
                    </a:moveTo>
                    <a:lnTo>
                      <a:pt x="16" y="4"/>
                    </a:lnTo>
                    <a:lnTo>
                      <a:pt x="34" y="4"/>
                    </a:lnTo>
                    <a:lnTo>
                      <a:pt x="46" y="8"/>
                    </a:lnTo>
                    <a:lnTo>
                      <a:pt x="62" y="10"/>
                    </a:lnTo>
                    <a:lnTo>
                      <a:pt x="68" y="14"/>
                    </a:lnTo>
                    <a:lnTo>
                      <a:pt x="56" y="18"/>
                    </a:lnTo>
                    <a:lnTo>
                      <a:pt x="44" y="22"/>
                    </a:lnTo>
                    <a:lnTo>
                      <a:pt x="34" y="22"/>
                    </a:lnTo>
                    <a:lnTo>
                      <a:pt x="18" y="18"/>
                    </a:lnTo>
                    <a:lnTo>
                      <a:pt x="4" y="16"/>
                    </a:lnTo>
                    <a:lnTo>
                      <a:pt x="0" y="8"/>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9" name="Freeform 791"/>
              <p:cNvSpPr>
                <a:spLocks/>
              </p:cNvSpPr>
              <p:nvPr/>
            </p:nvSpPr>
            <p:spPr bwMode="auto">
              <a:xfrm>
                <a:off x="4925" y="1171"/>
                <a:ext cx="76" cy="30"/>
              </a:xfrm>
              <a:custGeom>
                <a:avLst/>
                <a:gdLst>
                  <a:gd name="T0" fmla="*/ 10 w 76"/>
                  <a:gd name="T1" fmla="*/ 0 h 30"/>
                  <a:gd name="T2" fmla="*/ 10 w 76"/>
                  <a:gd name="T3" fmla="*/ 0 h 30"/>
                  <a:gd name="T4" fmla="*/ 6 w 76"/>
                  <a:gd name="T5" fmla="*/ 2 h 30"/>
                  <a:gd name="T6" fmla="*/ 2 w 76"/>
                  <a:gd name="T7" fmla="*/ 10 h 30"/>
                  <a:gd name="T8" fmla="*/ 2 w 76"/>
                  <a:gd name="T9" fmla="*/ 10 h 30"/>
                  <a:gd name="T10" fmla="*/ 0 w 76"/>
                  <a:gd name="T11" fmla="*/ 14 h 30"/>
                  <a:gd name="T12" fmla="*/ 4 w 76"/>
                  <a:gd name="T13" fmla="*/ 20 h 30"/>
                  <a:gd name="T14" fmla="*/ 4 w 76"/>
                  <a:gd name="T15" fmla="*/ 20 h 30"/>
                  <a:gd name="T16" fmla="*/ 8 w 76"/>
                  <a:gd name="T17" fmla="*/ 24 h 30"/>
                  <a:gd name="T18" fmla="*/ 22 w 76"/>
                  <a:gd name="T19" fmla="*/ 26 h 30"/>
                  <a:gd name="T20" fmla="*/ 36 w 76"/>
                  <a:gd name="T21" fmla="*/ 30 h 30"/>
                  <a:gd name="T22" fmla="*/ 36 w 76"/>
                  <a:gd name="T23" fmla="*/ 30 h 30"/>
                  <a:gd name="T24" fmla="*/ 38 w 76"/>
                  <a:gd name="T25" fmla="*/ 30 h 30"/>
                  <a:gd name="T26" fmla="*/ 48 w 76"/>
                  <a:gd name="T27" fmla="*/ 30 h 30"/>
                  <a:gd name="T28" fmla="*/ 48 w 76"/>
                  <a:gd name="T29" fmla="*/ 30 h 30"/>
                  <a:gd name="T30" fmla="*/ 50 w 76"/>
                  <a:gd name="T31" fmla="*/ 30 h 30"/>
                  <a:gd name="T32" fmla="*/ 60 w 76"/>
                  <a:gd name="T33" fmla="*/ 26 h 30"/>
                  <a:gd name="T34" fmla="*/ 74 w 76"/>
                  <a:gd name="T35" fmla="*/ 20 h 30"/>
                  <a:gd name="T36" fmla="*/ 74 w 76"/>
                  <a:gd name="T37" fmla="*/ 20 h 30"/>
                  <a:gd name="T38" fmla="*/ 76 w 76"/>
                  <a:gd name="T39" fmla="*/ 18 h 30"/>
                  <a:gd name="T40" fmla="*/ 76 w 76"/>
                  <a:gd name="T41" fmla="*/ 18 h 30"/>
                  <a:gd name="T42" fmla="*/ 74 w 76"/>
                  <a:gd name="T43" fmla="*/ 14 h 30"/>
                  <a:gd name="T44" fmla="*/ 68 w 76"/>
                  <a:gd name="T45" fmla="*/ 10 h 30"/>
                  <a:gd name="T46" fmla="*/ 68 w 76"/>
                  <a:gd name="T47" fmla="*/ 10 h 30"/>
                  <a:gd name="T48" fmla="*/ 66 w 76"/>
                  <a:gd name="T49" fmla="*/ 10 h 30"/>
                  <a:gd name="T50" fmla="*/ 50 w 76"/>
                  <a:gd name="T51" fmla="*/ 8 h 30"/>
                  <a:gd name="T52" fmla="*/ 38 w 76"/>
                  <a:gd name="T53" fmla="*/ 4 h 30"/>
                  <a:gd name="T54" fmla="*/ 38 w 76"/>
                  <a:gd name="T55" fmla="*/ 4 h 30"/>
                  <a:gd name="T56" fmla="*/ 38 w 76"/>
                  <a:gd name="T57" fmla="*/ 4 h 30"/>
                  <a:gd name="T58" fmla="*/ 20 w 76"/>
                  <a:gd name="T59" fmla="*/ 4 h 30"/>
                  <a:gd name="T60" fmla="*/ 12 w 76"/>
                  <a:gd name="T61" fmla="*/ 0 h 30"/>
                  <a:gd name="T62" fmla="*/ 12 w 76"/>
                  <a:gd name="T63" fmla="*/ 0 h 30"/>
                  <a:gd name="T64" fmla="*/ 10 w 76"/>
                  <a:gd name="T65" fmla="*/ 0 h 30"/>
                  <a:gd name="T66" fmla="*/ 10 w 76"/>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30">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0" name="Freeform 792"/>
              <p:cNvSpPr>
                <a:spLocks/>
              </p:cNvSpPr>
              <p:nvPr/>
            </p:nvSpPr>
            <p:spPr bwMode="auto">
              <a:xfrm>
                <a:off x="5391" y="1275"/>
                <a:ext cx="56" cy="26"/>
              </a:xfrm>
              <a:custGeom>
                <a:avLst/>
                <a:gdLst>
                  <a:gd name="T0" fmla="*/ 4 w 56"/>
                  <a:gd name="T1" fmla="*/ 26 h 26"/>
                  <a:gd name="T2" fmla="*/ 4 w 56"/>
                  <a:gd name="T3" fmla="*/ 26 h 26"/>
                  <a:gd name="T4" fmla="*/ 2 w 56"/>
                  <a:gd name="T5" fmla="*/ 24 h 26"/>
                  <a:gd name="T6" fmla="*/ 0 w 56"/>
                  <a:gd name="T7" fmla="*/ 16 h 26"/>
                  <a:gd name="T8" fmla="*/ 0 w 56"/>
                  <a:gd name="T9" fmla="*/ 16 h 26"/>
                  <a:gd name="T10" fmla="*/ 2 w 56"/>
                  <a:gd name="T11" fmla="*/ 14 h 26"/>
                  <a:gd name="T12" fmla="*/ 14 w 56"/>
                  <a:gd name="T13" fmla="*/ 6 h 26"/>
                  <a:gd name="T14" fmla="*/ 20 w 56"/>
                  <a:gd name="T15" fmla="*/ 2 h 26"/>
                  <a:gd name="T16" fmla="*/ 20 w 56"/>
                  <a:gd name="T17" fmla="*/ 2 h 26"/>
                  <a:gd name="T18" fmla="*/ 22 w 56"/>
                  <a:gd name="T19" fmla="*/ 2 h 26"/>
                  <a:gd name="T20" fmla="*/ 22 w 56"/>
                  <a:gd name="T21" fmla="*/ 2 h 26"/>
                  <a:gd name="T22" fmla="*/ 34 w 56"/>
                  <a:gd name="T23" fmla="*/ 0 h 26"/>
                  <a:gd name="T24" fmla="*/ 34 w 56"/>
                  <a:gd name="T25" fmla="*/ 0 h 26"/>
                  <a:gd name="T26" fmla="*/ 34 w 56"/>
                  <a:gd name="T27" fmla="*/ 0 h 26"/>
                  <a:gd name="T28" fmla="*/ 46 w 56"/>
                  <a:gd name="T29" fmla="*/ 4 h 26"/>
                  <a:gd name="T30" fmla="*/ 54 w 56"/>
                  <a:gd name="T31" fmla="*/ 6 h 26"/>
                  <a:gd name="T32" fmla="*/ 54 w 56"/>
                  <a:gd name="T33" fmla="*/ 6 h 26"/>
                  <a:gd name="T34" fmla="*/ 56 w 56"/>
                  <a:gd name="T35" fmla="*/ 8 h 26"/>
                  <a:gd name="T36" fmla="*/ 56 w 56"/>
                  <a:gd name="T37" fmla="*/ 18 h 26"/>
                  <a:gd name="T38" fmla="*/ 56 w 56"/>
                  <a:gd name="T39" fmla="*/ 18 h 26"/>
                  <a:gd name="T40" fmla="*/ 54 w 56"/>
                  <a:gd name="T41" fmla="*/ 20 h 26"/>
                  <a:gd name="T42" fmla="*/ 44 w 56"/>
                  <a:gd name="T43" fmla="*/ 22 h 26"/>
                  <a:gd name="T44" fmla="*/ 24 w 56"/>
                  <a:gd name="T45" fmla="*/ 26 h 26"/>
                  <a:gd name="T46" fmla="*/ 24 w 56"/>
                  <a:gd name="T47" fmla="*/ 26 h 26"/>
                  <a:gd name="T48" fmla="*/ 24 w 56"/>
                  <a:gd name="T49" fmla="*/ 26 h 26"/>
                  <a:gd name="T50" fmla="*/ 4 w 56"/>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26">
                    <a:moveTo>
                      <a:pt x="4" y="26"/>
                    </a:moveTo>
                    <a:lnTo>
                      <a:pt x="4" y="26"/>
                    </a:lnTo>
                    <a:lnTo>
                      <a:pt x="2" y="24"/>
                    </a:lnTo>
                    <a:lnTo>
                      <a:pt x="0" y="16"/>
                    </a:lnTo>
                    <a:lnTo>
                      <a:pt x="0" y="16"/>
                    </a:lnTo>
                    <a:lnTo>
                      <a:pt x="2" y="14"/>
                    </a:lnTo>
                    <a:lnTo>
                      <a:pt x="14" y="6"/>
                    </a:lnTo>
                    <a:lnTo>
                      <a:pt x="20" y="2"/>
                    </a:lnTo>
                    <a:lnTo>
                      <a:pt x="20" y="2"/>
                    </a:lnTo>
                    <a:lnTo>
                      <a:pt x="22" y="2"/>
                    </a:lnTo>
                    <a:lnTo>
                      <a:pt x="22" y="2"/>
                    </a:lnTo>
                    <a:lnTo>
                      <a:pt x="34" y="0"/>
                    </a:lnTo>
                    <a:lnTo>
                      <a:pt x="34" y="0"/>
                    </a:lnTo>
                    <a:lnTo>
                      <a:pt x="34" y="0"/>
                    </a:lnTo>
                    <a:lnTo>
                      <a:pt x="46" y="4"/>
                    </a:lnTo>
                    <a:lnTo>
                      <a:pt x="54" y="6"/>
                    </a:lnTo>
                    <a:lnTo>
                      <a:pt x="54" y="6"/>
                    </a:lnTo>
                    <a:lnTo>
                      <a:pt x="56" y="8"/>
                    </a:lnTo>
                    <a:lnTo>
                      <a:pt x="56" y="18"/>
                    </a:lnTo>
                    <a:lnTo>
                      <a:pt x="56" y="18"/>
                    </a:lnTo>
                    <a:lnTo>
                      <a:pt x="54" y="20"/>
                    </a:lnTo>
                    <a:lnTo>
                      <a:pt x="44" y="22"/>
                    </a:lnTo>
                    <a:lnTo>
                      <a:pt x="24" y="26"/>
                    </a:lnTo>
                    <a:lnTo>
                      <a:pt x="24" y="26"/>
                    </a:lnTo>
                    <a:lnTo>
                      <a:pt x="2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1" name="Freeform 793"/>
              <p:cNvSpPr>
                <a:spLocks noEditPoints="1"/>
              </p:cNvSpPr>
              <p:nvPr/>
            </p:nvSpPr>
            <p:spPr bwMode="auto">
              <a:xfrm>
                <a:off x="5391" y="1273"/>
                <a:ext cx="58" cy="30"/>
              </a:xfrm>
              <a:custGeom>
                <a:avLst/>
                <a:gdLst>
                  <a:gd name="T0" fmla="*/ 34 w 58"/>
                  <a:gd name="T1" fmla="*/ 4 h 30"/>
                  <a:gd name="T2" fmla="*/ 44 w 58"/>
                  <a:gd name="T3" fmla="*/ 6 h 30"/>
                  <a:gd name="T4" fmla="*/ 54 w 58"/>
                  <a:gd name="T5" fmla="*/ 10 h 30"/>
                  <a:gd name="T6" fmla="*/ 54 w 58"/>
                  <a:gd name="T7" fmla="*/ 20 h 30"/>
                  <a:gd name="T8" fmla="*/ 42 w 58"/>
                  <a:gd name="T9" fmla="*/ 22 h 30"/>
                  <a:gd name="T10" fmla="*/ 24 w 58"/>
                  <a:gd name="T11" fmla="*/ 26 h 30"/>
                  <a:gd name="T12" fmla="*/ 12 w 58"/>
                  <a:gd name="T13" fmla="*/ 26 h 30"/>
                  <a:gd name="T14" fmla="*/ 4 w 58"/>
                  <a:gd name="T15" fmla="*/ 26 h 30"/>
                  <a:gd name="T16" fmla="*/ 2 w 58"/>
                  <a:gd name="T17" fmla="*/ 18 h 30"/>
                  <a:gd name="T18" fmla="*/ 16 w 58"/>
                  <a:gd name="T19" fmla="*/ 10 h 30"/>
                  <a:gd name="T20" fmla="*/ 22 w 58"/>
                  <a:gd name="T21" fmla="*/ 6 h 30"/>
                  <a:gd name="T22" fmla="*/ 34 w 58"/>
                  <a:gd name="T23" fmla="*/ 4 h 30"/>
                  <a:gd name="T24" fmla="*/ 34 w 58"/>
                  <a:gd name="T25" fmla="*/ 0 h 30"/>
                  <a:gd name="T26" fmla="*/ 34 w 58"/>
                  <a:gd name="T27" fmla="*/ 0 h 30"/>
                  <a:gd name="T28" fmla="*/ 34 w 58"/>
                  <a:gd name="T29" fmla="*/ 0 h 30"/>
                  <a:gd name="T30" fmla="*/ 22 w 58"/>
                  <a:gd name="T31" fmla="*/ 2 h 30"/>
                  <a:gd name="T32" fmla="*/ 22 w 58"/>
                  <a:gd name="T33" fmla="*/ 2 h 30"/>
                  <a:gd name="T34" fmla="*/ 20 w 58"/>
                  <a:gd name="T35" fmla="*/ 2 h 30"/>
                  <a:gd name="T36" fmla="*/ 12 w 58"/>
                  <a:gd name="T37" fmla="*/ 8 h 30"/>
                  <a:gd name="T38" fmla="*/ 0 w 58"/>
                  <a:gd name="T39" fmla="*/ 14 h 30"/>
                  <a:gd name="T40" fmla="*/ 0 w 58"/>
                  <a:gd name="T41" fmla="*/ 14 h 30"/>
                  <a:gd name="T42" fmla="*/ 0 w 58"/>
                  <a:gd name="T43" fmla="*/ 16 h 30"/>
                  <a:gd name="T44" fmla="*/ 0 w 58"/>
                  <a:gd name="T45" fmla="*/ 20 h 30"/>
                  <a:gd name="T46" fmla="*/ 0 w 58"/>
                  <a:gd name="T47" fmla="*/ 26 h 30"/>
                  <a:gd name="T48" fmla="*/ 0 w 58"/>
                  <a:gd name="T49" fmla="*/ 26 h 30"/>
                  <a:gd name="T50" fmla="*/ 2 w 58"/>
                  <a:gd name="T51" fmla="*/ 28 h 30"/>
                  <a:gd name="T52" fmla="*/ 4 w 58"/>
                  <a:gd name="T53" fmla="*/ 30 h 30"/>
                  <a:gd name="T54" fmla="*/ 12 w 58"/>
                  <a:gd name="T55" fmla="*/ 30 h 30"/>
                  <a:gd name="T56" fmla="*/ 24 w 58"/>
                  <a:gd name="T57" fmla="*/ 30 h 30"/>
                  <a:gd name="T58" fmla="*/ 24 w 58"/>
                  <a:gd name="T59" fmla="*/ 30 h 30"/>
                  <a:gd name="T60" fmla="*/ 24 w 58"/>
                  <a:gd name="T61" fmla="*/ 30 h 30"/>
                  <a:gd name="T62" fmla="*/ 44 w 58"/>
                  <a:gd name="T63" fmla="*/ 26 h 30"/>
                  <a:gd name="T64" fmla="*/ 54 w 58"/>
                  <a:gd name="T65" fmla="*/ 24 h 30"/>
                  <a:gd name="T66" fmla="*/ 54 w 58"/>
                  <a:gd name="T67" fmla="*/ 24 h 30"/>
                  <a:gd name="T68" fmla="*/ 56 w 58"/>
                  <a:gd name="T69" fmla="*/ 22 h 30"/>
                  <a:gd name="T70" fmla="*/ 58 w 58"/>
                  <a:gd name="T71" fmla="*/ 20 h 30"/>
                  <a:gd name="T72" fmla="*/ 58 w 58"/>
                  <a:gd name="T73" fmla="*/ 10 h 30"/>
                  <a:gd name="T74" fmla="*/ 58 w 58"/>
                  <a:gd name="T75" fmla="*/ 10 h 30"/>
                  <a:gd name="T76" fmla="*/ 56 w 58"/>
                  <a:gd name="T77" fmla="*/ 8 h 30"/>
                  <a:gd name="T78" fmla="*/ 54 w 58"/>
                  <a:gd name="T79" fmla="*/ 6 h 30"/>
                  <a:gd name="T80" fmla="*/ 46 w 58"/>
                  <a:gd name="T81" fmla="*/ 4 h 30"/>
                  <a:gd name="T82" fmla="*/ 36 w 58"/>
                  <a:gd name="T83" fmla="*/ 0 h 30"/>
                  <a:gd name="T84" fmla="*/ 36 w 58"/>
                  <a:gd name="T85" fmla="*/ 0 h 30"/>
                  <a:gd name="T86" fmla="*/ 34 w 58"/>
                  <a:gd name="T87" fmla="*/ 0 h 30"/>
                  <a:gd name="T88" fmla="*/ 34 w 58"/>
                  <a:gd name="T8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30">
                    <a:moveTo>
                      <a:pt x="34" y="4"/>
                    </a:moveTo>
                    <a:lnTo>
                      <a:pt x="44" y="6"/>
                    </a:lnTo>
                    <a:lnTo>
                      <a:pt x="54" y="10"/>
                    </a:lnTo>
                    <a:lnTo>
                      <a:pt x="54" y="20"/>
                    </a:lnTo>
                    <a:lnTo>
                      <a:pt x="42" y="22"/>
                    </a:lnTo>
                    <a:lnTo>
                      <a:pt x="24" y="26"/>
                    </a:lnTo>
                    <a:lnTo>
                      <a:pt x="12" y="26"/>
                    </a:lnTo>
                    <a:lnTo>
                      <a:pt x="4" y="26"/>
                    </a:lnTo>
                    <a:lnTo>
                      <a:pt x="2" y="18"/>
                    </a:lnTo>
                    <a:lnTo>
                      <a:pt x="16" y="10"/>
                    </a:lnTo>
                    <a:lnTo>
                      <a:pt x="22" y="6"/>
                    </a:lnTo>
                    <a:lnTo>
                      <a:pt x="34" y="4"/>
                    </a:lnTo>
                    <a:close/>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2" name="Freeform 794"/>
              <p:cNvSpPr>
                <a:spLocks/>
              </p:cNvSpPr>
              <p:nvPr/>
            </p:nvSpPr>
            <p:spPr bwMode="auto">
              <a:xfrm>
                <a:off x="5393" y="1277"/>
                <a:ext cx="52" cy="22"/>
              </a:xfrm>
              <a:custGeom>
                <a:avLst/>
                <a:gdLst>
                  <a:gd name="T0" fmla="*/ 32 w 52"/>
                  <a:gd name="T1" fmla="*/ 0 h 22"/>
                  <a:gd name="T2" fmla="*/ 42 w 52"/>
                  <a:gd name="T3" fmla="*/ 2 h 22"/>
                  <a:gd name="T4" fmla="*/ 52 w 52"/>
                  <a:gd name="T5" fmla="*/ 6 h 22"/>
                  <a:gd name="T6" fmla="*/ 52 w 52"/>
                  <a:gd name="T7" fmla="*/ 16 h 22"/>
                  <a:gd name="T8" fmla="*/ 40 w 52"/>
                  <a:gd name="T9" fmla="*/ 18 h 22"/>
                  <a:gd name="T10" fmla="*/ 22 w 52"/>
                  <a:gd name="T11" fmla="*/ 22 h 22"/>
                  <a:gd name="T12" fmla="*/ 10 w 52"/>
                  <a:gd name="T13" fmla="*/ 22 h 22"/>
                  <a:gd name="T14" fmla="*/ 2 w 52"/>
                  <a:gd name="T15" fmla="*/ 22 h 22"/>
                  <a:gd name="T16" fmla="*/ 0 w 52"/>
                  <a:gd name="T17" fmla="*/ 14 h 22"/>
                  <a:gd name="T18" fmla="*/ 14 w 52"/>
                  <a:gd name="T19" fmla="*/ 6 h 22"/>
                  <a:gd name="T20" fmla="*/ 20 w 52"/>
                  <a:gd name="T21" fmla="*/ 2 h 22"/>
                  <a:gd name="T22" fmla="*/ 32 w 5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2">
                    <a:moveTo>
                      <a:pt x="32" y="0"/>
                    </a:moveTo>
                    <a:lnTo>
                      <a:pt x="42" y="2"/>
                    </a:lnTo>
                    <a:lnTo>
                      <a:pt x="52" y="6"/>
                    </a:lnTo>
                    <a:lnTo>
                      <a:pt x="52" y="16"/>
                    </a:lnTo>
                    <a:lnTo>
                      <a:pt x="40" y="18"/>
                    </a:lnTo>
                    <a:lnTo>
                      <a:pt x="22" y="22"/>
                    </a:lnTo>
                    <a:lnTo>
                      <a:pt x="10" y="22"/>
                    </a:lnTo>
                    <a:lnTo>
                      <a:pt x="2" y="22"/>
                    </a:lnTo>
                    <a:lnTo>
                      <a:pt x="0" y="14"/>
                    </a:lnTo>
                    <a:lnTo>
                      <a:pt x="14" y="6"/>
                    </a:lnTo>
                    <a:lnTo>
                      <a:pt x="20" y="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3" name="Freeform 795"/>
              <p:cNvSpPr>
                <a:spLocks/>
              </p:cNvSpPr>
              <p:nvPr/>
            </p:nvSpPr>
            <p:spPr bwMode="auto">
              <a:xfrm>
                <a:off x="5391" y="1273"/>
                <a:ext cx="58" cy="30"/>
              </a:xfrm>
              <a:custGeom>
                <a:avLst/>
                <a:gdLst>
                  <a:gd name="T0" fmla="*/ 34 w 58"/>
                  <a:gd name="T1" fmla="*/ 0 h 30"/>
                  <a:gd name="T2" fmla="*/ 34 w 58"/>
                  <a:gd name="T3" fmla="*/ 0 h 30"/>
                  <a:gd name="T4" fmla="*/ 34 w 58"/>
                  <a:gd name="T5" fmla="*/ 0 h 30"/>
                  <a:gd name="T6" fmla="*/ 22 w 58"/>
                  <a:gd name="T7" fmla="*/ 2 h 30"/>
                  <a:gd name="T8" fmla="*/ 22 w 58"/>
                  <a:gd name="T9" fmla="*/ 2 h 30"/>
                  <a:gd name="T10" fmla="*/ 20 w 58"/>
                  <a:gd name="T11" fmla="*/ 2 h 30"/>
                  <a:gd name="T12" fmla="*/ 12 w 58"/>
                  <a:gd name="T13" fmla="*/ 8 h 30"/>
                  <a:gd name="T14" fmla="*/ 0 w 58"/>
                  <a:gd name="T15" fmla="*/ 14 h 30"/>
                  <a:gd name="T16" fmla="*/ 0 w 58"/>
                  <a:gd name="T17" fmla="*/ 14 h 30"/>
                  <a:gd name="T18" fmla="*/ 0 w 58"/>
                  <a:gd name="T19" fmla="*/ 16 h 30"/>
                  <a:gd name="T20" fmla="*/ 0 w 58"/>
                  <a:gd name="T21" fmla="*/ 20 h 30"/>
                  <a:gd name="T22" fmla="*/ 0 w 58"/>
                  <a:gd name="T23" fmla="*/ 26 h 30"/>
                  <a:gd name="T24" fmla="*/ 0 w 58"/>
                  <a:gd name="T25" fmla="*/ 26 h 30"/>
                  <a:gd name="T26" fmla="*/ 2 w 58"/>
                  <a:gd name="T27" fmla="*/ 28 h 30"/>
                  <a:gd name="T28" fmla="*/ 4 w 58"/>
                  <a:gd name="T29" fmla="*/ 30 h 30"/>
                  <a:gd name="T30" fmla="*/ 12 w 58"/>
                  <a:gd name="T31" fmla="*/ 30 h 30"/>
                  <a:gd name="T32" fmla="*/ 24 w 58"/>
                  <a:gd name="T33" fmla="*/ 30 h 30"/>
                  <a:gd name="T34" fmla="*/ 24 w 58"/>
                  <a:gd name="T35" fmla="*/ 30 h 30"/>
                  <a:gd name="T36" fmla="*/ 24 w 58"/>
                  <a:gd name="T37" fmla="*/ 30 h 30"/>
                  <a:gd name="T38" fmla="*/ 44 w 58"/>
                  <a:gd name="T39" fmla="*/ 26 h 30"/>
                  <a:gd name="T40" fmla="*/ 54 w 58"/>
                  <a:gd name="T41" fmla="*/ 24 h 30"/>
                  <a:gd name="T42" fmla="*/ 54 w 58"/>
                  <a:gd name="T43" fmla="*/ 24 h 30"/>
                  <a:gd name="T44" fmla="*/ 56 w 58"/>
                  <a:gd name="T45" fmla="*/ 22 h 30"/>
                  <a:gd name="T46" fmla="*/ 58 w 58"/>
                  <a:gd name="T47" fmla="*/ 20 h 30"/>
                  <a:gd name="T48" fmla="*/ 58 w 58"/>
                  <a:gd name="T49" fmla="*/ 10 h 30"/>
                  <a:gd name="T50" fmla="*/ 58 w 58"/>
                  <a:gd name="T51" fmla="*/ 10 h 30"/>
                  <a:gd name="T52" fmla="*/ 56 w 58"/>
                  <a:gd name="T53" fmla="*/ 8 h 30"/>
                  <a:gd name="T54" fmla="*/ 54 w 58"/>
                  <a:gd name="T55" fmla="*/ 6 h 30"/>
                  <a:gd name="T56" fmla="*/ 46 w 58"/>
                  <a:gd name="T57" fmla="*/ 4 h 30"/>
                  <a:gd name="T58" fmla="*/ 36 w 58"/>
                  <a:gd name="T59" fmla="*/ 0 h 30"/>
                  <a:gd name="T60" fmla="*/ 36 w 58"/>
                  <a:gd name="T61" fmla="*/ 0 h 30"/>
                  <a:gd name="T62" fmla="*/ 34 w 58"/>
                  <a:gd name="T63" fmla="*/ 0 h 30"/>
                  <a:gd name="T64" fmla="*/ 34 w 58"/>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30">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4" name="Freeform 796"/>
              <p:cNvSpPr>
                <a:spLocks/>
              </p:cNvSpPr>
              <p:nvPr/>
            </p:nvSpPr>
            <p:spPr bwMode="auto">
              <a:xfrm>
                <a:off x="4867" y="1667"/>
                <a:ext cx="42" cy="156"/>
              </a:xfrm>
              <a:custGeom>
                <a:avLst/>
                <a:gdLst>
                  <a:gd name="T0" fmla="*/ 6 w 42"/>
                  <a:gd name="T1" fmla="*/ 156 h 156"/>
                  <a:gd name="T2" fmla="*/ 0 w 42"/>
                  <a:gd name="T3" fmla="*/ 148 h 156"/>
                  <a:gd name="T4" fmla="*/ 0 w 42"/>
                  <a:gd name="T5" fmla="*/ 146 h 156"/>
                  <a:gd name="T6" fmla="*/ 4 w 42"/>
                  <a:gd name="T7" fmla="*/ 74 h 156"/>
                  <a:gd name="T8" fmla="*/ 2 w 42"/>
                  <a:gd name="T9" fmla="*/ 58 h 156"/>
                  <a:gd name="T10" fmla="*/ 0 w 42"/>
                  <a:gd name="T11" fmla="*/ 56 h 156"/>
                  <a:gd name="T12" fmla="*/ 0 w 42"/>
                  <a:gd name="T13" fmla="*/ 20 h 156"/>
                  <a:gd name="T14" fmla="*/ 10 w 42"/>
                  <a:gd name="T15" fmla="*/ 14 h 156"/>
                  <a:gd name="T16" fmla="*/ 10 w 42"/>
                  <a:gd name="T17" fmla="*/ 8 h 156"/>
                  <a:gd name="T18" fmla="*/ 14 w 42"/>
                  <a:gd name="T19" fmla="*/ 0 h 156"/>
                  <a:gd name="T20" fmla="*/ 16 w 42"/>
                  <a:gd name="T21" fmla="*/ 0 h 156"/>
                  <a:gd name="T22" fmla="*/ 16 w 42"/>
                  <a:gd name="T23" fmla="*/ 0 h 156"/>
                  <a:gd name="T24" fmla="*/ 18 w 42"/>
                  <a:gd name="T25" fmla="*/ 2 h 156"/>
                  <a:gd name="T26" fmla="*/ 24 w 42"/>
                  <a:gd name="T27" fmla="*/ 24 h 156"/>
                  <a:gd name="T28" fmla="*/ 30 w 42"/>
                  <a:gd name="T29" fmla="*/ 56 h 156"/>
                  <a:gd name="T30" fmla="*/ 42 w 42"/>
                  <a:gd name="T31" fmla="*/ 92 h 156"/>
                  <a:gd name="T32" fmla="*/ 42 w 42"/>
                  <a:gd name="T33" fmla="*/ 92 h 156"/>
                  <a:gd name="T34" fmla="*/ 42 w 42"/>
                  <a:gd name="T35" fmla="*/ 102 h 156"/>
                  <a:gd name="T36" fmla="*/ 42 w 42"/>
                  <a:gd name="T37" fmla="*/ 104 h 156"/>
                  <a:gd name="T38" fmla="*/ 40 w 42"/>
                  <a:gd name="T39" fmla="*/ 104 h 156"/>
                  <a:gd name="T40" fmla="*/ 28 w 42"/>
                  <a:gd name="T41" fmla="*/ 96 h 156"/>
                  <a:gd name="T42" fmla="*/ 20 w 42"/>
                  <a:gd name="T43" fmla="*/ 102 h 156"/>
                  <a:gd name="T44" fmla="*/ 12 w 42"/>
                  <a:gd name="T45" fmla="*/ 118 h 156"/>
                  <a:gd name="T46" fmla="*/ 24 w 42"/>
                  <a:gd name="T47" fmla="*/ 134 h 156"/>
                  <a:gd name="T48" fmla="*/ 28 w 42"/>
                  <a:gd name="T49" fmla="*/ 142 h 156"/>
                  <a:gd name="T50" fmla="*/ 26 w 42"/>
                  <a:gd name="T51" fmla="*/ 150 h 156"/>
                  <a:gd name="T52" fmla="*/ 24 w 42"/>
                  <a:gd name="T53" fmla="*/ 152 h 156"/>
                  <a:gd name="T54" fmla="*/ 24 w 42"/>
                  <a:gd name="T55" fmla="*/ 152 h 156"/>
                  <a:gd name="T56" fmla="*/ 22 w 42"/>
                  <a:gd name="T57" fmla="*/ 152 h 156"/>
                  <a:gd name="T58" fmla="*/ 12 w 42"/>
                  <a:gd name="T59" fmla="*/ 144 h 156"/>
                  <a:gd name="T60" fmla="*/ 8 w 42"/>
                  <a:gd name="T61" fmla="*/ 154 h 156"/>
                  <a:gd name="T62" fmla="*/ 8 w 42"/>
                  <a:gd name="T63" fmla="*/ 156 h 156"/>
                  <a:gd name="T64" fmla="*/ 6 w 42"/>
                  <a:gd name="T6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6">
                    <a:moveTo>
                      <a:pt x="6" y="156"/>
                    </a:moveTo>
                    <a:lnTo>
                      <a:pt x="6" y="156"/>
                    </a:lnTo>
                    <a:lnTo>
                      <a:pt x="6" y="154"/>
                    </a:lnTo>
                    <a:lnTo>
                      <a:pt x="0" y="148"/>
                    </a:lnTo>
                    <a:lnTo>
                      <a:pt x="0" y="148"/>
                    </a:lnTo>
                    <a:lnTo>
                      <a:pt x="0" y="146"/>
                    </a:lnTo>
                    <a:lnTo>
                      <a:pt x="4" y="138"/>
                    </a:lnTo>
                    <a:lnTo>
                      <a:pt x="4" y="74"/>
                    </a:lnTo>
                    <a:lnTo>
                      <a:pt x="6" y="64"/>
                    </a:lnTo>
                    <a:lnTo>
                      <a:pt x="2" y="58"/>
                    </a:lnTo>
                    <a:lnTo>
                      <a:pt x="2" y="58"/>
                    </a:lnTo>
                    <a:lnTo>
                      <a:pt x="0" y="56"/>
                    </a:lnTo>
                    <a:lnTo>
                      <a:pt x="0" y="20"/>
                    </a:lnTo>
                    <a:lnTo>
                      <a:pt x="0" y="20"/>
                    </a:lnTo>
                    <a:lnTo>
                      <a:pt x="2" y="18"/>
                    </a:lnTo>
                    <a:lnTo>
                      <a:pt x="10" y="14"/>
                    </a:lnTo>
                    <a:lnTo>
                      <a:pt x="10" y="8"/>
                    </a:lnTo>
                    <a:lnTo>
                      <a:pt x="10" y="8"/>
                    </a:lnTo>
                    <a:lnTo>
                      <a:pt x="10" y="6"/>
                    </a:lnTo>
                    <a:lnTo>
                      <a:pt x="14" y="0"/>
                    </a:lnTo>
                    <a:lnTo>
                      <a:pt x="14" y="0"/>
                    </a:lnTo>
                    <a:lnTo>
                      <a:pt x="16" y="0"/>
                    </a:lnTo>
                    <a:lnTo>
                      <a:pt x="16" y="0"/>
                    </a:lnTo>
                    <a:lnTo>
                      <a:pt x="16" y="0"/>
                    </a:lnTo>
                    <a:lnTo>
                      <a:pt x="16" y="0"/>
                    </a:lnTo>
                    <a:lnTo>
                      <a:pt x="18" y="2"/>
                    </a:lnTo>
                    <a:lnTo>
                      <a:pt x="22" y="12"/>
                    </a:lnTo>
                    <a:lnTo>
                      <a:pt x="24" y="24"/>
                    </a:lnTo>
                    <a:lnTo>
                      <a:pt x="26" y="38"/>
                    </a:lnTo>
                    <a:lnTo>
                      <a:pt x="30" y="56"/>
                    </a:lnTo>
                    <a:lnTo>
                      <a:pt x="32" y="78"/>
                    </a:lnTo>
                    <a:lnTo>
                      <a:pt x="42" y="92"/>
                    </a:lnTo>
                    <a:lnTo>
                      <a:pt x="42" y="92"/>
                    </a:lnTo>
                    <a:lnTo>
                      <a:pt x="42" y="92"/>
                    </a:lnTo>
                    <a:lnTo>
                      <a:pt x="42" y="102"/>
                    </a:lnTo>
                    <a:lnTo>
                      <a:pt x="42" y="102"/>
                    </a:lnTo>
                    <a:lnTo>
                      <a:pt x="42" y="104"/>
                    </a:lnTo>
                    <a:lnTo>
                      <a:pt x="42" y="104"/>
                    </a:lnTo>
                    <a:lnTo>
                      <a:pt x="40" y="104"/>
                    </a:lnTo>
                    <a:lnTo>
                      <a:pt x="40" y="104"/>
                    </a:lnTo>
                    <a:lnTo>
                      <a:pt x="38" y="104"/>
                    </a:lnTo>
                    <a:lnTo>
                      <a:pt x="28" y="96"/>
                    </a:lnTo>
                    <a:lnTo>
                      <a:pt x="22" y="98"/>
                    </a:lnTo>
                    <a:lnTo>
                      <a:pt x="20" y="102"/>
                    </a:lnTo>
                    <a:lnTo>
                      <a:pt x="16" y="112"/>
                    </a:lnTo>
                    <a:lnTo>
                      <a:pt x="12" y="118"/>
                    </a:lnTo>
                    <a:lnTo>
                      <a:pt x="16" y="126"/>
                    </a:lnTo>
                    <a:lnTo>
                      <a:pt x="24" y="134"/>
                    </a:lnTo>
                    <a:lnTo>
                      <a:pt x="28" y="142"/>
                    </a:lnTo>
                    <a:lnTo>
                      <a:pt x="28" y="142"/>
                    </a:lnTo>
                    <a:lnTo>
                      <a:pt x="28" y="144"/>
                    </a:lnTo>
                    <a:lnTo>
                      <a:pt x="26" y="150"/>
                    </a:lnTo>
                    <a:lnTo>
                      <a:pt x="26" y="150"/>
                    </a:lnTo>
                    <a:lnTo>
                      <a:pt x="24" y="152"/>
                    </a:lnTo>
                    <a:lnTo>
                      <a:pt x="24" y="152"/>
                    </a:lnTo>
                    <a:lnTo>
                      <a:pt x="24" y="152"/>
                    </a:lnTo>
                    <a:lnTo>
                      <a:pt x="24" y="152"/>
                    </a:lnTo>
                    <a:lnTo>
                      <a:pt x="22" y="152"/>
                    </a:lnTo>
                    <a:lnTo>
                      <a:pt x="16" y="144"/>
                    </a:lnTo>
                    <a:lnTo>
                      <a:pt x="12" y="144"/>
                    </a:lnTo>
                    <a:lnTo>
                      <a:pt x="8" y="154"/>
                    </a:lnTo>
                    <a:lnTo>
                      <a:pt x="8" y="154"/>
                    </a:lnTo>
                    <a:lnTo>
                      <a:pt x="8" y="156"/>
                    </a:lnTo>
                    <a:lnTo>
                      <a:pt x="8" y="156"/>
                    </a:lnTo>
                    <a:lnTo>
                      <a:pt x="6" y="156"/>
                    </a:lnTo>
                    <a:lnTo>
                      <a:pt x="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5" name="Freeform 797"/>
              <p:cNvSpPr>
                <a:spLocks noEditPoints="1"/>
              </p:cNvSpPr>
              <p:nvPr/>
            </p:nvSpPr>
            <p:spPr bwMode="auto">
              <a:xfrm>
                <a:off x="4865" y="1665"/>
                <a:ext cx="46" cy="160"/>
              </a:xfrm>
              <a:custGeom>
                <a:avLst/>
                <a:gdLst>
                  <a:gd name="T0" fmla="*/ 22 w 46"/>
                  <a:gd name="T1" fmla="*/ 14 h 160"/>
                  <a:gd name="T2" fmla="*/ 26 w 46"/>
                  <a:gd name="T3" fmla="*/ 40 h 160"/>
                  <a:gd name="T4" fmla="*/ 32 w 46"/>
                  <a:gd name="T5" fmla="*/ 80 h 160"/>
                  <a:gd name="T6" fmla="*/ 42 w 46"/>
                  <a:gd name="T7" fmla="*/ 104 h 160"/>
                  <a:gd name="T8" fmla="*/ 24 w 46"/>
                  <a:gd name="T9" fmla="*/ 98 h 160"/>
                  <a:gd name="T10" fmla="*/ 16 w 46"/>
                  <a:gd name="T11" fmla="*/ 114 h 160"/>
                  <a:gd name="T12" fmla="*/ 16 w 46"/>
                  <a:gd name="T13" fmla="*/ 130 h 160"/>
                  <a:gd name="T14" fmla="*/ 28 w 46"/>
                  <a:gd name="T15" fmla="*/ 144 h 160"/>
                  <a:gd name="T16" fmla="*/ 20 w 46"/>
                  <a:gd name="T17" fmla="*/ 144 h 160"/>
                  <a:gd name="T18" fmla="*/ 8 w 46"/>
                  <a:gd name="T19" fmla="*/ 156 h 160"/>
                  <a:gd name="T20" fmla="*/ 8 w 46"/>
                  <a:gd name="T21" fmla="*/ 142 h 160"/>
                  <a:gd name="T22" fmla="*/ 8 w 46"/>
                  <a:gd name="T23" fmla="*/ 114 h 160"/>
                  <a:gd name="T24" fmla="*/ 8 w 46"/>
                  <a:gd name="T25" fmla="*/ 76 h 160"/>
                  <a:gd name="T26" fmla="*/ 4 w 46"/>
                  <a:gd name="T27" fmla="*/ 58 h 160"/>
                  <a:gd name="T28" fmla="*/ 4 w 46"/>
                  <a:gd name="T29" fmla="*/ 36 h 160"/>
                  <a:gd name="T30" fmla="*/ 14 w 46"/>
                  <a:gd name="T31" fmla="*/ 18 h 160"/>
                  <a:gd name="T32" fmla="*/ 18 w 46"/>
                  <a:gd name="T33" fmla="*/ 4 h 160"/>
                  <a:gd name="T34" fmla="*/ 18 w 46"/>
                  <a:gd name="T35" fmla="*/ 0 h 160"/>
                  <a:gd name="T36" fmla="*/ 10 w 46"/>
                  <a:gd name="T37" fmla="*/ 6 h 160"/>
                  <a:gd name="T38" fmla="*/ 10 w 46"/>
                  <a:gd name="T39" fmla="*/ 10 h 160"/>
                  <a:gd name="T40" fmla="*/ 4 w 46"/>
                  <a:gd name="T41" fmla="*/ 18 h 160"/>
                  <a:gd name="T42" fmla="*/ 2 w 46"/>
                  <a:gd name="T43" fmla="*/ 20 h 160"/>
                  <a:gd name="T44" fmla="*/ 0 w 46"/>
                  <a:gd name="T45" fmla="*/ 36 h 160"/>
                  <a:gd name="T46" fmla="*/ 0 w 46"/>
                  <a:gd name="T47" fmla="*/ 58 h 160"/>
                  <a:gd name="T48" fmla="*/ 2 w 46"/>
                  <a:gd name="T49" fmla="*/ 60 h 160"/>
                  <a:gd name="T50" fmla="*/ 4 w 46"/>
                  <a:gd name="T51" fmla="*/ 74 h 160"/>
                  <a:gd name="T52" fmla="*/ 4 w 46"/>
                  <a:gd name="T53" fmla="*/ 76 h 160"/>
                  <a:gd name="T54" fmla="*/ 4 w 46"/>
                  <a:gd name="T55" fmla="*/ 114 h 160"/>
                  <a:gd name="T56" fmla="*/ 4 w 46"/>
                  <a:gd name="T57" fmla="*/ 140 h 160"/>
                  <a:gd name="T58" fmla="*/ 0 w 46"/>
                  <a:gd name="T59" fmla="*/ 146 h 160"/>
                  <a:gd name="T60" fmla="*/ 0 w 46"/>
                  <a:gd name="T61" fmla="*/ 150 h 160"/>
                  <a:gd name="T62" fmla="*/ 6 w 46"/>
                  <a:gd name="T63" fmla="*/ 158 h 160"/>
                  <a:gd name="T64" fmla="*/ 8 w 46"/>
                  <a:gd name="T65" fmla="*/ 160 h 160"/>
                  <a:gd name="T66" fmla="*/ 10 w 46"/>
                  <a:gd name="T67" fmla="*/ 160 h 160"/>
                  <a:gd name="T68" fmla="*/ 16 w 46"/>
                  <a:gd name="T69" fmla="*/ 148 h 160"/>
                  <a:gd name="T70" fmla="*/ 22 w 46"/>
                  <a:gd name="T71" fmla="*/ 154 h 160"/>
                  <a:gd name="T72" fmla="*/ 26 w 46"/>
                  <a:gd name="T73" fmla="*/ 156 h 160"/>
                  <a:gd name="T74" fmla="*/ 26 w 46"/>
                  <a:gd name="T75" fmla="*/ 156 h 160"/>
                  <a:gd name="T76" fmla="*/ 30 w 46"/>
                  <a:gd name="T77" fmla="*/ 152 h 160"/>
                  <a:gd name="T78" fmla="*/ 32 w 46"/>
                  <a:gd name="T79" fmla="*/ 146 h 160"/>
                  <a:gd name="T80" fmla="*/ 28 w 46"/>
                  <a:gd name="T81" fmla="*/ 136 h 160"/>
                  <a:gd name="T82" fmla="*/ 26 w 46"/>
                  <a:gd name="T83" fmla="*/ 136 h 160"/>
                  <a:gd name="T84" fmla="*/ 16 w 46"/>
                  <a:gd name="T85" fmla="*/ 120 h 160"/>
                  <a:gd name="T86" fmla="*/ 20 w 46"/>
                  <a:gd name="T87" fmla="*/ 116 h 160"/>
                  <a:gd name="T88" fmla="*/ 24 w 46"/>
                  <a:gd name="T89" fmla="*/ 106 h 160"/>
                  <a:gd name="T90" fmla="*/ 30 w 46"/>
                  <a:gd name="T91" fmla="*/ 100 h 160"/>
                  <a:gd name="T92" fmla="*/ 40 w 46"/>
                  <a:gd name="T93" fmla="*/ 108 h 160"/>
                  <a:gd name="T94" fmla="*/ 42 w 46"/>
                  <a:gd name="T95" fmla="*/ 108 h 160"/>
                  <a:gd name="T96" fmla="*/ 44 w 46"/>
                  <a:gd name="T97" fmla="*/ 108 h 160"/>
                  <a:gd name="T98" fmla="*/ 46 w 46"/>
                  <a:gd name="T99" fmla="*/ 104 h 160"/>
                  <a:gd name="T100" fmla="*/ 46 w 46"/>
                  <a:gd name="T101" fmla="*/ 94 h 160"/>
                  <a:gd name="T102" fmla="*/ 36 w 46"/>
                  <a:gd name="T103" fmla="*/ 78 h 160"/>
                  <a:gd name="T104" fmla="*/ 30 w 46"/>
                  <a:gd name="T105" fmla="*/ 40 h 160"/>
                  <a:gd name="T106" fmla="*/ 26 w 46"/>
                  <a:gd name="T107" fmla="*/ 14 h 160"/>
                  <a:gd name="T108" fmla="*/ 26 w 46"/>
                  <a:gd name="T109" fmla="*/ 12 h 160"/>
                  <a:gd name="T110" fmla="*/ 22 w 46"/>
                  <a:gd name="T111" fmla="*/ 2 h 160"/>
                  <a:gd name="T112" fmla="*/ 18 w 46"/>
                  <a:gd name="T113" fmla="*/ 0 h 160"/>
                  <a:gd name="T114" fmla="*/ 18 w 46"/>
                  <a:gd name="T11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160">
                    <a:moveTo>
                      <a:pt x="18" y="4"/>
                    </a:moveTo>
                    <a:lnTo>
                      <a:pt x="22" y="14"/>
                    </a:lnTo>
                    <a:lnTo>
                      <a:pt x="24" y="26"/>
                    </a:lnTo>
                    <a:lnTo>
                      <a:pt x="26" y="40"/>
                    </a:lnTo>
                    <a:lnTo>
                      <a:pt x="30" y="58"/>
                    </a:lnTo>
                    <a:lnTo>
                      <a:pt x="32" y="80"/>
                    </a:lnTo>
                    <a:lnTo>
                      <a:pt x="42" y="94"/>
                    </a:lnTo>
                    <a:lnTo>
                      <a:pt x="42" y="104"/>
                    </a:lnTo>
                    <a:lnTo>
                      <a:pt x="32" y="96"/>
                    </a:lnTo>
                    <a:lnTo>
                      <a:pt x="24" y="98"/>
                    </a:lnTo>
                    <a:lnTo>
                      <a:pt x="20" y="104"/>
                    </a:lnTo>
                    <a:lnTo>
                      <a:pt x="16" y="114"/>
                    </a:lnTo>
                    <a:lnTo>
                      <a:pt x="12" y="120"/>
                    </a:lnTo>
                    <a:lnTo>
                      <a:pt x="16" y="130"/>
                    </a:lnTo>
                    <a:lnTo>
                      <a:pt x="24" y="138"/>
                    </a:lnTo>
                    <a:lnTo>
                      <a:pt x="28" y="144"/>
                    </a:lnTo>
                    <a:lnTo>
                      <a:pt x="26" y="152"/>
                    </a:lnTo>
                    <a:lnTo>
                      <a:pt x="20" y="144"/>
                    </a:lnTo>
                    <a:lnTo>
                      <a:pt x="12" y="144"/>
                    </a:lnTo>
                    <a:lnTo>
                      <a:pt x="8" y="156"/>
                    </a:lnTo>
                    <a:lnTo>
                      <a:pt x="4" y="148"/>
                    </a:lnTo>
                    <a:lnTo>
                      <a:pt x="8" y="142"/>
                    </a:lnTo>
                    <a:lnTo>
                      <a:pt x="8" y="132"/>
                    </a:lnTo>
                    <a:lnTo>
                      <a:pt x="8" y="114"/>
                    </a:lnTo>
                    <a:lnTo>
                      <a:pt x="8" y="92"/>
                    </a:lnTo>
                    <a:lnTo>
                      <a:pt x="8" y="76"/>
                    </a:lnTo>
                    <a:lnTo>
                      <a:pt x="10" y="64"/>
                    </a:lnTo>
                    <a:lnTo>
                      <a:pt x="4" y="58"/>
                    </a:lnTo>
                    <a:lnTo>
                      <a:pt x="4" y="48"/>
                    </a:lnTo>
                    <a:lnTo>
                      <a:pt x="4" y="36"/>
                    </a:lnTo>
                    <a:lnTo>
                      <a:pt x="4" y="22"/>
                    </a:lnTo>
                    <a:lnTo>
                      <a:pt x="14" y="18"/>
                    </a:lnTo>
                    <a:lnTo>
                      <a:pt x="14" y="10"/>
                    </a:lnTo>
                    <a:lnTo>
                      <a:pt x="18" y="4"/>
                    </a:lnTo>
                    <a:close/>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6" name="Freeform 798"/>
              <p:cNvSpPr>
                <a:spLocks/>
              </p:cNvSpPr>
              <p:nvPr/>
            </p:nvSpPr>
            <p:spPr bwMode="auto">
              <a:xfrm>
                <a:off x="4869" y="1669"/>
                <a:ext cx="38" cy="152"/>
              </a:xfrm>
              <a:custGeom>
                <a:avLst/>
                <a:gdLst>
                  <a:gd name="T0" fmla="*/ 14 w 38"/>
                  <a:gd name="T1" fmla="*/ 0 h 152"/>
                  <a:gd name="T2" fmla="*/ 18 w 38"/>
                  <a:gd name="T3" fmla="*/ 10 h 152"/>
                  <a:gd name="T4" fmla="*/ 20 w 38"/>
                  <a:gd name="T5" fmla="*/ 22 h 152"/>
                  <a:gd name="T6" fmla="*/ 22 w 38"/>
                  <a:gd name="T7" fmla="*/ 36 h 152"/>
                  <a:gd name="T8" fmla="*/ 26 w 38"/>
                  <a:gd name="T9" fmla="*/ 54 h 152"/>
                  <a:gd name="T10" fmla="*/ 28 w 38"/>
                  <a:gd name="T11" fmla="*/ 76 h 152"/>
                  <a:gd name="T12" fmla="*/ 38 w 38"/>
                  <a:gd name="T13" fmla="*/ 90 h 152"/>
                  <a:gd name="T14" fmla="*/ 38 w 38"/>
                  <a:gd name="T15" fmla="*/ 100 h 152"/>
                  <a:gd name="T16" fmla="*/ 28 w 38"/>
                  <a:gd name="T17" fmla="*/ 92 h 152"/>
                  <a:gd name="T18" fmla="*/ 20 w 38"/>
                  <a:gd name="T19" fmla="*/ 94 h 152"/>
                  <a:gd name="T20" fmla="*/ 16 w 38"/>
                  <a:gd name="T21" fmla="*/ 100 h 152"/>
                  <a:gd name="T22" fmla="*/ 12 w 38"/>
                  <a:gd name="T23" fmla="*/ 110 h 152"/>
                  <a:gd name="T24" fmla="*/ 8 w 38"/>
                  <a:gd name="T25" fmla="*/ 116 h 152"/>
                  <a:gd name="T26" fmla="*/ 12 w 38"/>
                  <a:gd name="T27" fmla="*/ 126 h 152"/>
                  <a:gd name="T28" fmla="*/ 20 w 38"/>
                  <a:gd name="T29" fmla="*/ 134 h 152"/>
                  <a:gd name="T30" fmla="*/ 24 w 38"/>
                  <a:gd name="T31" fmla="*/ 140 h 152"/>
                  <a:gd name="T32" fmla="*/ 22 w 38"/>
                  <a:gd name="T33" fmla="*/ 148 h 152"/>
                  <a:gd name="T34" fmla="*/ 16 w 38"/>
                  <a:gd name="T35" fmla="*/ 140 h 152"/>
                  <a:gd name="T36" fmla="*/ 8 w 38"/>
                  <a:gd name="T37" fmla="*/ 140 h 152"/>
                  <a:gd name="T38" fmla="*/ 4 w 38"/>
                  <a:gd name="T39" fmla="*/ 152 h 152"/>
                  <a:gd name="T40" fmla="*/ 0 w 38"/>
                  <a:gd name="T41" fmla="*/ 144 h 152"/>
                  <a:gd name="T42" fmla="*/ 4 w 38"/>
                  <a:gd name="T43" fmla="*/ 138 h 152"/>
                  <a:gd name="T44" fmla="*/ 4 w 38"/>
                  <a:gd name="T45" fmla="*/ 128 h 152"/>
                  <a:gd name="T46" fmla="*/ 4 w 38"/>
                  <a:gd name="T47" fmla="*/ 110 h 152"/>
                  <a:gd name="T48" fmla="*/ 4 w 38"/>
                  <a:gd name="T49" fmla="*/ 88 h 152"/>
                  <a:gd name="T50" fmla="*/ 4 w 38"/>
                  <a:gd name="T51" fmla="*/ 72 h 152"/>
                  <a:gd name="T52" fmla="*/ 6 w 38"/>
                  <a:gd name="T53" fmla="*/ 60 h 152"/>
                  <a:gd name="T54" fmla="*/ 0 w 38"/>
                  <a:gd name="T55" fmla="*/ 54 h 152"/>
                  <a:gd name="T56" fmla="*/ 0 w 38"/>
                  <a:gd name="T57" fmla="*/ 44 h 152"/>
                  <a:gd name="T58" fmla="*/ 0 w 38"/>
                  <a:gd name="T59" fmla="*/ 32 h 152"/>
                  <a:gd name="T60" fmla="*/ 0 w 38"/>
                  <a:gd name="T61" fmla="*/ 18 h 152"/>
                  <a:gd name="T62" fmla="*/ 10 w 38"/>
                  <a:gd name="T63" fmla="*/ 14 h 152"/>
                  <a:gd name="T64" fmla="*/ 10 w 38"/>
                  <a:gd name="T65" fmla="*/ 6 h 152"/>
                  <a:gd name="T66" fmla="*/ 14 w 38"/>
                  <a:gd name="T6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152">
                    <a:moveTo>
                      <a:pt x="14" y="0"/>
                    </a:moveTo>
                    <a:lnTo>
                      <a:pt x="18" y="10"/>
                    </a:lnTo>
                    <a:lnTo>
                      <a:pt x="20" y="22"/>
                    </a:lnTo>
                    <a:lnTo>
                      <a:pt x="22" y="36"/>
                    </a:lnTo>
                    <a:lnTo>
                      <a:pt x="26" y="54"/>
                    </a:lnTo>
                    <a:lnTo>
                      <a:pt x="28" y="76"/>
                    </a:lnTo>
                    <a:lnTo>
                      <a:pt x="38" y="90"/>
                    </a:lnTo>
                    <a:lnTo>
                      <a:pt x="38" y="100"/>
                    </a:lnTo>
                    <a:lnTo>
                      <a:pt x="28" y="92"/>
                    </a:lnTo>
                    <a:lnTo>
                      <a:pt x="20" y="94"/>
                    </a:lnTo>
                    <a:lnTo>
                      <a:pt x="16" y="100"/>
                    </a:lnTo>
                    <a:lnTo>
                      <a:pt x="12" y="110"/>
                    </a:lnTo>
                    <a:lnTo>
                      <a:pt x="8" y="116"/>
                    </a:lnTo>
                    <a:lnTo>
                      <a:pt x="12" y="126"/>
                    </a:lnTo>
                    <a:lnTo>
                      <a:pt x="20" y="134"/>
                    </a:lnTo>
                    <a:lnTo>
                      <a:pt x="24" y="140"/>
                    </a:lnTo>
                    <a:lnTo>
                      <a:pt x="22" y="148"/>
                    </a:lnTo>
                    <a:lnTo>
                      <a:pt x="16" y="140"/>
                    </a:lnTo>
                    <a:lnTo>
                      <a:pt x="8" y="140"/>
                    </a:lnTo>
                    <a:lnTo>
                      <a:pt x="4" y="152"/>
                    </a:lnTo>
                    <a:lnTo>
                      <a:pt x="0" y="144"/>
                    </a:lnTo>
                    <a:lnTo>
                      <a:pt x="4" y="138"/>
                    </a:lnTo>
                    <a:lnTo>
                      <a:pt x="4" y="128"/>
                    </a:lnTo>
                    <a:lnTo>
                      <a:pt x="4" y="110"/>
                    </a:lnTo>
                    <a:lnTo>
                      <a:pt x="4" y="88"/>
                    </a:lnTo>
                    <a:lnTo>
                      <a:pt x="4" y="72"/>
                    </a:lnTo>
                    <a:lnTo>
                      <a:pt x="6" y="60"/>
                    </a:lnTo>
                    <a:lnTo>
                      <a:pt x="0" y="54"/>
                    </a:lnTo>
                    <a:lnTo>
                      <a:pt x="0" y="44"/>
                    </a:lnTo>
                    <a:lnTo>
                      <a:pt x="0" y="32"/>
                    </a:lnTo>
                    <a:lnTo>
                      <a:pt x="0" y="18"/>
                    </a:lnTo>
                    <a:lnTo>
                      <a:pt x="10" y="14"/>
                    </a:lnTo>
                    <a:lnTo>
                      <a:pt x="10" y="6"/>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7" name="Freeform 799"/>
              <p:cNvSpPr>
                <a:spLocks/>
              </p:cNvSpPr>
              <p:nvPr/>
            </p:nvSpPr>
            <p:spPr bwMode="auto">
              <a:xfrm>
                <a:off x="4865" y="1665"/>
                <a:ext cx="46" cy="160"/>
              </a:xfrm>
              <a:custGeom>
                <a:avLst/>
                <a:gdLst>
                  <a:gd name="T0" fmla="*/ 18 w 46"/>
                  <a:gd name="T1" fmla="*/ 0 h 160"/>
                  <a:gd name="T2" fmla="*/ 10 w 46"/>
                  <a:gd name="T3" fmla="*/ 6 h 160"/>
                  <a:gd name="T4" fmla="*/ 10 w 46"/>
                  <a:gd name="T5" fmla="*/ 10 h 160"/>
                  <a:gd name="T6" fmla="*/ 4 w 46"/>
                  <a:gd name="T7" fmla="*/ 18 h 160"/>
                  <a:gd name="T8" fmla="*/ 2 w 46"/>
                  <a:gd name="T9" fmla="*/ 20 h 160"/>
                  <a:gd name="T10" fmla="*/ 0 w 46"/>
                  <a:gd name="T11" fmla="*/ 36 h 160"/>
                  <a:gd name="T12" fmla="*/ 0 w 46"/>
                  <a:gd name="T13" fmla="*/ 58 h 160"/>
                  <a:gd name="T14" fmla="*/ 2 w 46"/>
                  <a:gd name="T15" fmla="*/ 60 h 160"/>
                  <a:gd name="T16" fmla="*/ 4 w 46"/>
                  <a:gd name="T17" fmla="*/ 74 h 160"/>
                  <a:gd name="T18" fmla="*/ 4 w 46"/>
                  <a:gd name="T19" fmla="*/ 76 h 160"/>
                  <a:gd name="T20" fmla="*/ 4 w 46"/>
                  <a:gd name="T21" fmla="*/ 114 h 160"/>
                  <a:gd name="T22" fmla="*/ 4 w 46"/>
                  <a:gd name="T23" fmla="*/ 140 h 160"/>
                  <a:gd name="T24" fmla="*/ 0 w 46"/>
                  <a:gd name="T25" fmla="*/ 146 h 160"/>
                  <a:gd name="T26" fmla="*/ 0 w 46"/>
                  <a:gd name="T27" fmla="*/ 150 h 160"/>
                  <a:gd name="T28" fmla="*/ 6 w 46"/>
                  <a:gd name="T29" fmla="*/ 158 h 160"/>
                  <a:gd name="T30" fmla="*/ 8 w 46"/>
                  <a:gd name="T31" fmla="*/ 160 h 160"/>
                  <a:gd name="T32" fmla="*/ 10 w 46"/>
                  <a:gd name="T33" fmla="*/ 160 h 160"/>
                  <a:gd name="T34" fmla="*/ 16 w 46"/>
                  <a:gd name="T35" fmla="*/ 148 h 160"/>
                  <a:gd name="T36" fmla="*/ 22 w 46"/>
                  <a:gd name="T37" fmla="*/ 154 h 160"/>
                  <a:gd name="T38" fmla="*/ 26 w 46"/>
                  <a:gd name="T39" fmla="*/ 156 h 160"/>
                  <a:gd name="T40" fmla="*/ 26 w 46"/>
                  <a:gd name="T41" fmla="*/ 156 h 160"/>
                  <a:gd name="T42" fmla="*/ 30 w 46"/>
                  <a:gd name="T43" fmla="*/ 152 h 160"/>
                  <a:gd name="T44" fmla="*/ 32 w 46"/>
                  <a:gd name="T45" fmla="*/ 146 h 160"/>
                  <a:gd name="T46" fmla="*/ 28 w 46"/>
                  <a:gd name="T47" fmla="*/ 136 h 160"/>
                  <a:gd name="T48" fmla="*/ 26 w 46"/>
                  <a:gd name="T49" fmla="*/ 136 h 160"/>
                  <a:gd name="T50" fmla="*/ 16 w 46"/>
                  <a:gd name="T51" fmla="*/ 120 h 160"/>
                  <a:gd name="T52" fmla="*/ 20 w 46"/>
                  <a:gd name="T53" fmla="*/ 116 h 160"/>
                  <a:gd name="T54" fmla="*/ 24 w 46"/>
                  <a:gd name="T55" fmla="*/ 106 h 160"/>
                  <a:gd name="T56" fmla="*/ 30 w 46"/>
                  <a:gd name="T57" fmla="*/ 100 h 160"/>
                  <a:gd name="T58" fmla="*/ 40 w 46"/>
                  <a:gd name="T59" fmla="*/ 108 h 160"/>
                  <a:gd name="T60" fmla="*/ 42 w 46"/>
                  <a:gd name="T61" fmla="*/ 108 h 160"/>
                  <a:gd name="T62" fmla="*/ 44 w 46"/>
                  <a:gd name="T63" fmla="*/ 108 h 160"/>
                  <a:gd name="T64" fmla="*/ 46 w 46"/>
                  <a:gd name="T65" fmla="*/ 104 h 160"/>
                  <a:gd name="T66" fmla="*/ 46 w 46"/>
                  <a:gd name="T67" fmla="*/ 94 h 160"/>
                  <a:gd name="T68" fmla="*/ 36 w 46"/>
                  <a:gd name="T69" fmla="*/ 78 h 160"/>
                  <a:gd name="T70" fmla="*/ 30 w 46"/>
                  <a:gd name="T71" fmla="*/ 40 h 160"/>
                  <a:gd name="T72" fmla="*/ 26 w 46"/>
                  <a:gd name="T73" fmla="*/ 14 h 160"/>
                  <a:gd name="T74" fmla="*/ 26 w 46"/>
                  <a:gd name="T75" fmla="*/ 12 h 160"/>
                  <a:gd name="T76" fmla="*/ 22 w 46"/>
                  <a:gd name="T77" fmla="*/ 2 h 160"/>
                  <a:gd name="T78" fmla="*/ 18 w 46"/>
                  <a:gd name="T79" fmla="*/ 0 h 160"/>
                  <a:gd name="T80" fmla="*/ 18 w 46"/>
                  <a:gd name="T8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 h="160">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8" name="Freeform 800"/>
              <p:cNvSpPr>
                <a:spLocks/>
              </p:cNvSpPr>
              <p:nvPr/>
            </p:nvSpPr>
            <p:spPr bwMode="auto">
              <a:xfrm>
                <a:off x="3495" y="1925"/>
                <a:ext cx="26" cy="20"/>
              </a:xfrm>
              <a:custGeom>
                <a:avLst/>
                <a:gdLst>
                  <a:gd name="T0" fmla="*/ 22 w 26"/>
                  <a:gd name="T1" fmla="*/ 20 h 20"/>
                  <a:gd name="T2" fmla="*/ 22 w 26"/>
                  <a:gd name="T3" fmla="*/ 20 h 20"/>
                  <a:gd name="T4" fmla="*/ 22 w 26"/>
                  <a:gd name="T5" fmla="*/ 20 h 20"/>
                  <a:gd name="T6" fmla="*/ 14 w 26"/>
                  <a:gd name="T7" fmla="*/ 18 h 20"/>
                  <a:gd name="T8" fmla="*/ 8 w 26"/>
                  <a:gd name="T9" fmla="*/ 14 h 20"/>
                  <a:gd name="T10" fmla="*/ 2 w 26"/>
                  <a:gd name="T11" fmla="*/ 6 h 20"/>
                  <a:gd name="T12" fmla="*/ 2 w 26"/>
                  <a:gd name="T13" fmla="*/ 6 h 20"/>
                  <a:gd name="T14" fmla="*/ 0 w 26"/>
                  <a:gd name="T15" fmla="*/ 4 h 20"/>
                  <a:gd name="T16" fmla="*/ 2 w 26"/>
                  <a:gd name="T17" fmla="*/ 0 h 20"/>
                  <a:gd name="T18" fmla="*/ 2 w 26"/>
                  <a:gd name="T19" fmla="*/ 0 h 20"/>
                  <a:gd name="T20" fmla="*/ 4 w 26"/>
                  <a:gd name="T21" fmla="*/ 0 h 20"/>
                  <a:gd name="T22" fmla="*/ 12 w 26"/>
                  <a:gd name="T23" fmla="*/ 0 h 20"/>
                  <a:gd name="T24" fmla="*/ 12 w 26"/>
                  <a:gd name="T25" fmla="*/ 0 h 20"/>
                  <a:gd name="T26" fmla="*/ 12 w 26"/>
                  <a:gd name="T27" fmla="*/ 0 h 20"/>
                  <a:gd name="T28" fmla="*/ 18 w 26"/>
                  <a:gd name="T29" fmla="*/ 4 h 20"/>
                  <a:gd name="T30" fmla="*/ 24 w 26"/>
                  <a:gd name="T31" fmla="*/ 6 h 20"/>
                  <a:gd name="T32" fmla="*/ 24 w 26"/>
                  <a:gd name="T33" fmla="*/ 6 h 20"/>
                  <a:gd name="T34" fmla="*/ 24 w 26"/>
                  <a:gd name="T35" fmla="*/ 6 h 20"/>
                  <a:gd name="T36" fmla="*/ 26 w 26"/>
                  <a:gd name="T37" fmla="*/ 14 h 20"/>
                  <a:gd name="T38" fmla="*/ 26 w 26"/>
                  <a:gd name="T39" fmla="*/ 14 h 20"/>
                  <a:gd name="T40" fmla="*/ 26 w 26"/>
                  <a:gd name="T41" fmla="*/ 14 h 20"/>
                  <a:gd name="T42" fmla="*/ 24 w 26"/>
                  <a:gd name="T43" fmla="*/ 20 h 20"/>
                  <a:gd name="T44" fmla="*/ 24 w 26"/>
                  <a:gd name="T45" fmla="*/ 20 h 20"/>
                  <a:gd name="T46" fmla="*/ 24 w 26"/>
                  <a:gd name="T47" fmla="*/ 20 h 20"/>
                  <a:gd name="T48" fmla="*/ 24 w 26"/>
                  <a:gd name="T49" fmla="*/ 20 h 20"/>
                  <a:gd name="T50" fmla="*/ 22 w 26"/>
                  <a:gd name="T51" fmla="*/ 20 h 20"/>
                  <a:gd name="T52" fmla="*/ 22 w 26"/>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0">
                    <a:moveTo>
                      <a:pt x="22" y="20"/>
                    </a:moveTo>
                    <a:lnTo>
                      <a:pt x="22" y="20"/>
                    </a:lnTo>
                    <a:lnTo>
                      <a:pt x="22" y="20"/>
                    </a:lnTo>
                    <a:lnTo>
                      <a:pt x="14" y="18"/>
                    </a:lnTo>
                    <a:lnTo>
                      <a:pt x="8" y="14"/>
                    </a:lnTo>
                    <a:lnTo>
                      <a:pt x="2" y="6"/>
                    </a:lnTo>
                    <a:lnTo>
                      <a:pt x="2" y="6"/>
                    </a:lnTo>
                    <a:lnTo>
                      <a:pt x="0" y="4"/>
                    </a:lnTo>
                    <a:lnTo>
                      <a:pt x="2" y="0"/>
                    </a:lnTo>
                    <a:lnTo>
                      <a:pt x="2" y="0"/>
                    </a:lnTo>
                    <a:lnTo>
                      <a:pt x="4" y="0"/>
                    </a:lnTo>
                    <a:lnTo>
                      <a:pt x="12" y="0"/>
                    </a:lnTo>
                    <a:lnTo>
                      <a:pt x="12" y="0"/>
                    </a:lnTo>
                    <a:lnTo>
                      <a:pt x="12" y="0"/>
                    </a:lnTo>
                    <a:lnTo>
                      <a:pt x="18" y="4"/>
                    </a:lnTo>
                    <a:lnTo>
                      <a:pt x="24" y="6"/>
                    </a:lnTo>
                    <a:lnTo>
                      <a:pt x="24" y="6"/>
                    </a:lnTo>
                    <a:lnTo>
                      <a:pt x="24" y="6"/>
                    </a:lnTo>
                    <a:lnTo>
                      <a:pt x="26" y="14"/>
                    </a:lnTo>
                    <a:lnTo>
                      <a:pt x="26" y="14"/>
                    </a:lnTo>
                    <a:lnTo>
                      <a:pt x="26" y="14"/>
                    </a:lnTo>
                    <a:lnTo>
                      <a:pt x="24" y="20"/>
                    </a:lnTo>
                    <a:lnTo>
                      <a:pt x="24" y="20"/>
                    </a:lnTo>
                    <a:lnTo>
                      <a:pt x="24" y="20"/>
                    </a:lnTo>
                    <a:lnTo>
                      <a:pt x="24" y="20"/>
                    </a:lnTo>
                    <a:lnTo>
                      <a:pt x="2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9" name="Freeform 801"/>
              <p:cNvSpPr>
                <a:spLocks noEditPoints="1"/>
              </p:cNvSpPr>
              <p:nvPr/>
            </p:nvSpPr>
            <p:spPr bwMode="auto">
              <a:xfrm>
                <a:off x="3493" y="1923"/>
                <a:ext cx="30" cy="24"/>
              </a:xfrm>
              <a:custGeom>
                <a:avLst/>
                <a:gdLst>
                  <a:gd name="T0" fmla="*/ 14 w 30"/>
                  <a:gd name="T1" fmla="*/ 4 h 24"/>
                  <a:gd name="T2" fmla="*/ 20 w 30"/>
                  <a:gd name="T3" fmla="*/ 8 h 24"/>
                  <a:gd name="T4" fmla="*/ 24 w 30"/>
                  <a:gd name="T5" fmla="*/ 10 h 24"/>
                  <a:gd name="T6" fmla="*/ 26 w 30"/>
                  <a:gd name="T7" fmla="*/ 16 h 24"/>
                  <a:gd name="T8" fmla="*/ 24 w 30"/>
                  <a:gd name="T9" fmla="*/ 20 h 24"/>
                  <a:gd name="T10" fmla="*/ 18 w 30"/>
                  <a:gd name="T11" fmla="*/ 18 h 24"/>
                  <a:gd name="T12" fmla="*/ 12 w 30"/>
                  <a:gd name="T13" fmla="*/ 14 h 24"/>
                  <a:gd name="T14" fmla="*/ 4 w 30"/>
                  <a:gd name="T15" fmla="*/ 8 h 24"/>
                  <a:gd name="T16" fmla="*/ 6 w 30"/>
                  <a:gd name="T17" fmla="*/ 4 h 24"/>
                  <a:gd name="T18" fmla="*/ 14 w 30"/>
                  <a:gd name="T19" fmla="*/ 4 h 24"/>
                  <a:gd name="T20" fmla="*/ 14 w 30"/>
                  <a:gd name="T21" fmla="*/ 0 h 24"/>
                  <a:gd name="T22" fmla="*/ 6 w 30"/>
                  <a:gd name="T23" fmla="*/ 0 h 24"/>
                  <a:gd name="T24" fmla="*/ 6 w 30"/>
                  <a:gd name="T25" fmla="*/ 0 h 24"/>
                  <a:gd name="T26" fmla="*/ 2 w 30"/>
                  <a:gd name="T27" fmla="*/ 2 h 24"/>
                  <a:gd name="T28" fmla="*/ 0 w 30"/>
                  <a:gd name="T29" fmla="*/ 6 h 24"/>
                  <a:gd name="T30" fmla="*/ 0 w 30"/>
                  <a:gd name="T31" fmla="*/ 6 h 24"/>
                  <a:gd name="T32" fmla="*/ 0 w 30"/>
                  <a:gd name="T33" fmla="*/ 8 h 24"/>
                  <a:gd name="T34" fmla="*/ 2 w 30"/>
                  <a:gd name="T35" fmla="*/ 10 h 24"/>
                  <a:gd name="T36" fmla="*/ 10 w 30"/>
                  <a:gd name="T37" fmla="*/ 18 h 24"/>
                  <a:gd name="T38" fmla="*/ 10 w 30"/>
                  <a:gd name="T39" fmla="*/ 18 h 24"/>
                  <a:gd name="T40" fmla="*/ 10 w 30"/>
                  <a:gd name="T41" fmla="*/ 18 h 24"/>
                  <a:gd name="T42" fmla="*/ 16 w 30"/>
                  <a:gd name="T43" fmla="*/ 20 h 24"/>
                  <a:gd name="T44" fmla="*/ 16 w 30"/>
                  <a:gd name="T45" fmla="*/ 20 h 24"/>
                  <a:gd name="T46" fmla="*/ 16 w 30"/>
                  <a:gd name="T47" fmla="*/ 22 h 24"/>
                  <a:gd name="T48" fmla="*/ 24 w 30"/>
                  <a:gd name="T49" fmla="*/ 24 h 24"/>
                  <a:gd name="T50" fmla="*/ 24 w 30"/>
                  <a:gd name="T51" fmla="*/ 24 h 24"/>
                  <a:gd name="T52" fmla="*/ 24 w 30"/>
                  <a:gd name="T53" fmla="*/ 24 h 24"/>
                  <a:gd name="T54" fmla="*/ 24 w 30"/>
                  <a:gd name="T55" fmla="*/ 24 h 24"/>
                  <a:gd name="T56" fmla="*/ 26 w 30"/>
                  <a:gd name="T57" fmla="*/ 24 h 24"/>
                  <a:gd name="T58" fmla="*/ 26 w 30"/>
                  <a:gd name="T59" fmla="*/ 24 h 24"/>
                  <a:gd name="T60" fmla="*/ 28 w 30"/>
                  <a:gd name="T61" fmla="*/ 22 h 24"/>
                  <a:gd name="T62" fmla="*/ 30 w 30"/>
                  <a:gd name="T63" fmla="*/ 18 h 24"/>
                  <a:gd name="T64" fmla="*/ 30 w 30"/>
                  <a:gd name="T65" fmla="*/ 18 h 24"/>
                  <a:gd name="T66" fmla="*/ 30 w 30"/>
                  <a:gd name="T67" fmla="*/ 14 h 24"/>
                  <a:gd name="T68" fmla="*/ 28 w 30"/>
                  <a:gd name="T69" fmla="*/ 8 h 24"/>
                  <a:gd name="T70" fmla="*/ 28 w 30"/>
                  <a:gd name="T71" fmla="*/ 8 h 24"/>
                  <a:gd name="T72" fmla="*/ 26 w 30"/>
                  <a:gd name="T73" fmla="*/ 6 h 24"/>
                  <a:gd name="T74" fmla="*/ 20 w 30"/>
                  <a:gd name="T75" fmla="*/ 4 h 24"/>
                  <a:gd name="T76" fmla="*/ 16 w 30"/>
                  <a:gd name="T77" fmla="*/ 0 h 24"/>
                  <a:gd name="T78" fmla="*/ 16 w 30"/>
                  <a:gd name="T79" fmla="*/ 0 h 24"/>
                  <a:gd name="T80" fmla="*/ 14 w 30"/>
                  <a:gd name="T81" fmla="*/ 0 h 24"/>
                  <a:gd name="T82" fmla="*/ 14 w 30"/>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 h="24">
                    <a:moveTo>
                      <a:pt x="14" y="4"/>
                    </a:moveTo>
                    <a:lnTo>
                      <a:pt x="20" y="8"/>
                    </a:lnTo>
                    <a:lnTo>
                      <a:pt x="24" y="10"/>
                    </a:lnTo>
                    <a:lnTo>
                      <a:pt x="26" y="16"/>
                    </a:lnTo>
                    <a:lnTo>
                      <a:pt x="24" y="20"/>
                    </a:lnTo>
                    <a:lnTo>
                      <a:pt x="18" y="18"/>
                    </a:lnTo>
                    <a:lnTo>
                      <a:pt x="12" y="14"/>
                    </a:lnTo>
                    <a:lnTo>
                      <a:pt x="4" y="8"/>
                    </a:lnTo>
                    <a:lnTo>
                      <a:pt x="6" y="4"/>
                    </a:lnTo>
                    <a:lnTo>
                      <a:pt x="14" y="4"/>
                    </a:lnTo>
                    <a:close/>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0" name="Freeform 802"/>
              <p:cNvSpPr>
                <a:spLocks/>
              </p:cNvSpPr>
              <p:nvPr/>
            </p:nvSpPr>
            <p:spPr bwMode="auto">
              <a:xfrm>
                <a:off x="3497" y="1927"/>
                <a:ext cx="22" cy="16"/>
              </a:xfrm>
              <a:custGeom>
                <a:avLst/>
                <a:gdLst>
                  <a:gd name="T0" fmla="*/ 10 w 22"/>
                  <a:gd name="T1" fmla="*/ 0 h 16"/>
                  <a:gd name="T2" fmla="*/ 16 w 22"/>
                  <a:gd name="T3" fmla="*/ 4 h 16"/>
                  <a:gd name="T4" fmla="*/ 20 w 22"/>
                  <a:gd name="T5" fmla="*/ 6 h 16"/>
                  <a:gd name="T6" fmla="*/ 22 w 22"/>
                  <a:gd name="T7" fmla="*/ 12 h 16"/>
                  <a:gd name="T8" fmla="*/ 20 w 22"/>
                  <a:gd name="T9" fmla="*/ 16 h 16"/>
                  <a:gd name="T10" fmla="*/ 14 w 22"/>
                  <a:gd name="T11" fmla="*/ 14 h 16"/>
                  <a:gd name="T12" fmla="*/ 8 w 22"/>
                  <a:gd name="T13" fmla="*/ 10 h 16"/>
                  <a:gd name="T14" fmla="*/ 0 w 22"/>
                  <a:gd name="T15" fmla="*/ 4 h 16"/>
                  <a:gd name="T16" fmla="*/ 2 w 22"/>
                  <a:gd name="T17" fmla="*/ 0 h 16"/>
                  <a:gd name="T18" fmla="*/ 10 w 22"/>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6">
                    <a:moveTo>
                      <a:pt x="10" y="0"/>
                    </a:moveTo>
                    <a:lnTo>
                      <a:pt x="16" y="4"/>
                    </a:lnTo>
                    <a:lnTo>
                      <a:pt x="20" y="6"/>
                    </a:lnTo>
                    <a:lnTo>
                      <a:pt x="22" y="12"/>
                    </a:lnTo>
                    <a:lnTo>
                      <a:pt x="20" y="16"/>
                    </a:lnTo>
                    <a:lnTo>
                      <a:pt x="14" y="14"/>
                    </a:lnTo>
                    <a:lnTo>
                      <a:pt x="8" y="10"/>
                    </a:lnTo>
                    <a:lnTo>
                      <a:pt x="0" y="4"/>
                    </a:lnTo>
                    <a:lnTo>
                      <a:pt x="2"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1" name="Freeform 803"/>
              <p:cNvSpPr>
                <a:spLocks/>
              </p:cNvSpPr>
              <p:nvPr/>
            </p:nvSpPr>
            <p:spPr bwMode="auto">
              <a:xfrm>
                <a:off x="3493" y="1923"/>
                <a:ext cx="30" cy="24"/>
              </a:xfrm>
              <a:custGeom>
                <a:avLst/>
                <a:gdLst>
                  <a:gd name="T0" fmla="*/ 14 w 30"/>
                  <a:gd name="T1" fmla="*/ 0 h 24"/>
                  <a:gd name="T2" fmla="*/ 6 w 30"/>
                  <a:gd name="T3" fmla="*/ 0 h 24"/>
                  <a:gd name="T4" fmla="*/ 6 w 30"/>
                  <a:gd name="T5" fmla="*/ 0 h 24"/>
                  <a:gd name="T6" fmla="*/ 2 w 30"/>
                  <a:gd name="T7" fmla="*/ 2 h 24"/>
                  <a:gd name="T8" fmla="*/ 0 w 30"/>
                  <a:gd name="T9" fmla="*/ 6 h 24"/>
                  <a:gd name="T10" fmla="*/ 0 w 30"/>
                  <a:gd name="T11" fmla="*/ 6 h 24"/>
                  <a:gd name="T12" fmla="*/ 0 w 30"/>
                  <a:gd name="T13" fmla="*/ 8 h 24"/>
                  <a:gd name="T14" fmla="*/ 2 w 30"/>
                  <a:gd name="T15" fmla="*/ 10 h 24"/>
                  <a:gd name="T16" fmla="*/ 10 w 30"/>
                  <a:gd name="T17" fmla="*/ 18 h 24"/>
                  <a:gd name="T18" fmla="*/ 10 w 30"/>
                  <a:gd name="T19" fmla="*/ 18 h 24"/>
                  <a:gd name="T20" fmla="*/ 10 w 30"/>
                  <a:gd name="T21" fmla="*/ 18 h 24"/>
                  <a:gd name="T22" fmla="*/ 16 w 30"/>
                  <a:gd name="T23" fmla="*/ 20 h 24"/>
                  <a:gd name="T24" fmla="*/ 16 w 30"/>
                  <a:gd name="T25" fmla="*/ 20 h 24"/>
                  <a:gd name="T26" fmla="*/ 16 w 30"/>
                  <a:gd name="T27" fmla="*/ 22 h 24"/>
                  <a:gd name="T28" fmla="*/ 24 w 30"/>
                  <a:gd name="T29" fmla="*/ 24 h 24"/>
                  <a:gd name="T30" fmla="*/ 24 w 30"/>
                  <a:gd name="T31" fmla="*/ 24 h 24"/>
                  <a:gd name="T32" fmla="*/ 24 w 30"/>
                  <a:gd name="T33" fmla="*/ 24 h 24"/>
                  <a:gd name="T34" fmla="*/ 24 w 30"/>
                  <a:gd name="T35" fmla="*/ 24 h 24"/>
                  <a:gd name="T36" fmla="*/ 26 w 30"/>
                  <a:gd name="T37" fmla="*/ 24 h 24"/>
                  <a:gd name="T38" fmla="*/ 26 w 30"/>
                  <a:gd name="T39" fmla="*/ 24 h 24"/>
                  <a:gd name="T40" fmla="*/ 28 w 30"/>
                  <a:gd name="T41" fmla="*/ 22 h 24"/>
                  <a:gd name="T42" fmla="*/ 30 w 30"/>
                  <a:gd name="T43" fmla="*/ 18 h 24"/>
                  <a:gd name="T44" fmla="*/ 30 w 30"/>
                  <a:gd name="T45" fmla="*/ 18 h 24"/>
                  <a:gd name="T46" fmla="*/ 30 w 30"/>
                  <a:gd name="T47" fmla="*/ 14 h 24"/>
                  <a:gd name="T48" fmla="*/ 28 w 30"/>
                  <a:gd name="T49" fmla="*/ 8 h 24"/>
                  <a:gd name="T50" fmla="*/ 28 w 30"/>
                  <a:gd name="T51" fmla="*/ 8 h 24"/>
                  <a:gd name="T52" fmla="*/ 26 w 30"/>
                  <a:gd name="T53" fmla="*/ 6 h 24"/>
                  <a:gd name="T54" fmla="*/ 20 w 30"/>
                  <a:gd name="T55" fmla="*/ 4 h 24"/>
                  <a:gd name="T56" fmla="*/ 16 w 30"/>
                  <a:gd name="T57" fmla="*/ 0 h 24"/>
                  <a:gd name="T58" fmla="*/ 16 w 30"/>
                  <a:gd name="T59" fmla="*/ 0 h 24"/>
                  <a:gd name="T60" fmla="*/ 14 w 30"/>
                  <a:gd name="T61" fmla="*/ 0 h 24"/>
                  <a:gd name="T62" fmla="*/ 14 w 30"/>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2" name="Freeform 804"/>
              <p:cNvSpPr>
                <a:spLocks/>
              </p:cNvSpPr>
              <p:nvPr/>
            </p:nvSpPr>
            <p:spPr bwMode="auto">
              <a:xfrm>
                <a:off x="3321" y="1997"/>
                <a:ext cx="32" cy="16"/>
              </a:xfrm>
              <a:custGeom>
                <a:avLst/>
                <a:gdLst>
                  <a:gd name="T0" fmla="*/ 6 w 32"/>
                  <a:gd name="T1" fmla="*/ 16 h 16"/>
                  <a:gd name="T2" fmla="*/ 6 w 32"/>
                  <a:gd name="T3" fmla="*/ 16 h 16"/>
                  <a:gd name="T4" fmla="*/ 6 w 32"/>
                  <a:gd name="T5" fmla="*/ 16 h 16"/>
                  <a:gd name="T6" fmla="*/ 2 w 32"/>
                  <a:gd name="T7" fmla="*/ 12 h 16"/>
                  <a:gd name="T8" fmla="*/ 2 w 32"/>
                  <a:gd name="T9" fmla="*/ 12 h 16"/>
                  <a:gd name="T10" fmla="*/ 0 w 32"/>
                  <a:gd name="T11" fmla="*/ 12 h 16"/>
                  <a:gd name="T12" fmla="*/ 0 w 32"/>
                  <a:gd name="T13" fmla="*/ 8 h 16"/>
                  <a:gd name="T14" fmla="*/ 0 w 32"/>
                  <a:gd name="T15" fmla="*/ 8 h 16"/>
                  <a:gd name="T16" fmla="*/ 2 w 32"/>
                  <a:gd name="T17" fmla="*/ 6 h 16"/>
                  <a:gd name="T18" fmla="*/ 10 w 32"/>
                  <a:gd name="T19" fmla="*/ 6 h 16"/>
                  <a:gd name="T20" fmla="*/ 18 w 32"/>
                  <a:gd name="T21" fmla="*/ 4 h 16"/>
                  <a:gd name="T22" fmla="*/ 24 w 32"/>
                  <a:gd name="T23" fmla="*/ 4 h 16"/>
                  <a:gd name="T24" fmla="*/ 30 w 32"/>
                  <a:gd name="T25" fmla="*/ 2 h 16"/>
                  <a:gd name="T26" fmla="*/ 30 w 32"/>
                  <a:gd name="T27" fmla="*/ 2 h 16"/>
                  <a:gd name="T28" fmla="*/ 30 w 32"/>
                  <a:gd name="T29" fmla="*/ 0 h 16"/>
                  <a:gd name="T30" fmla="*/ 30 w 32"/>
                  <a:gd name="T31" fmla="*/ 0 h 16"/>
                  <a:gd name="T32" fmla="*/ 32 w 32"/>
                  <a:gd name="T33" fmla="*/ 2 h 16"/>
                  <a:gd name="T34" fmla="*/ 32 w 32"/>
                  <a:gd name="T35" fmla="*/ 2 h 16"/>
                  <a:gd name="T36" fmla="*/ 32 w 32"/>
                  <a:gd name="T37" fmla="*/ 4 h 16"/>
                  <a:gd name="T38" fmla="*/ 20 w 32"/>
                  <a:gd name="T39" fmla="*/ 12 h 16"/>
                  <a:gd name="T40" fmla="*/ 16 w 32"/>
                  <a:gd name="T41" fmla="*/ 16 h 16"/>
                  <a:gd name="T42" fmla="*/ 16 w 32"/>
                  <a:gd name="T43" fmla="*/ 16 h 16"/>
                  <a:gd name="T44" fmla="*/ 14 w 32"/>
                  <a:gd name="T45" fmla="*/ 16 h 16"/>
                  <a:gd name="T46" fmla="*/ 6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6" y="16"/>
                    </a:moveTo>
                    <a:lnTo>
                      <a:pt x="6" y="16"/>
                    </a:lnTo>
                    <a:lnTo>
                      <a:pt x="6" y="16"/>
                    </a:lnTo>
                    <a:lnTo>
                      <a:pt x="2" y="12"/>
                    </a:lnTo>
                    <a:lnTo>
                      <a:pt x="2" y="12"/>
                    </a:lnTo>
                    <a:lnTo>
                      <a:pt x="0" y="12"/>
                    </a:lnTo>
                    <a:lnTo>
                      <a:pt x="0" y="8"/>
                    </a:lnTo>
                    <a:lnTo>
                      <a:pt x="0" y="8"/>
                    </a:lnTo>
                    <a:lnTo>
                      <a:pt x="2" y="6"/>
                    </a:lnTo>
                    <a:lnTo>
                      <a:pt x="10" y="6"/>
                    </a:lnTo>
                    <a:lnTo>
                      <a:pt x="18" y="4"/>
                    </a:lnTo>
                    <a:lnTo>
                      <a:pt x="24" y="4"/>
                    </a:lnTo>
                    <a:lnTo>
                      <a:pt x="30" y="2"/>
                    </a:lnTo>
                    <a:lnTo>
                      <a:pt x="30" y="2"/>
                    </a:lnTo>
                    <a:lnTo>
                      <a:pt x="30" y="0"/>
                    </a:lnTo>
                    <a:lnTo>
                      <a:pt x="30" y="0"/>
                    </a:lnTo>
                    <a:lnTo>
                      <a:pt x="32" y="2"/>
                    </a:lnTo>
                    <a:lnTo>
                      <a:pt x="32" y="2"/>
                    </a:lnTo>
                    <a:lnTo>
                      <a:pt x="32" y="4"/>
                    </a:lnTo>
                    <a:lnTo>
                      <a:pt x="20" y="12"/>
                    </a:lnTo>
                    <a:lnTo>
                      <a:pt x="16" y="16"/>
                    </a:lnTo>
                    <a:lnTo>
                      <a:pt x="16" y="16"/>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3" name="Freeform 805"/>
              <p:cNvSpPr>
                <a:spLocks noEditPoints="1"/>
              </p:cNvSpPr>
              <p:nvPr/>
            </p:nvSpPr>
            <p:spPr bwMode="auto">
              <a:xfrm>
                <a:off x="3319" y="1995"/>
                <a:ext cx="36" cy="20"/>
              </a:xfrm>
              <a:custGeom>
                <a:avLst/>
                <a:gdLst>
                  <a:gd name="T0" fmla="*/ 32 w 36"/>
                  <a:gd name="T1" fmla="*/ 4 h 20"/>
                  <a:gd name="T2" fmla="*/ 26 w 36"/>
                  <a:gd name="T3" fmla="*/ 10 h 20"/>
                  <a:gd name="T4" fmla="*/ 22 w 36"/>
                  <a:gd name="T5" fmla="*/ 14 h 20"/>
                  <a:gd name="T6" fmla="*/ 16 w 36"/>
                  <a:gd name="T7" fmla="*/ 16 h 20"/>
                  <a:gd name="T8" fmla="*/ 8 w 36"/>
                  <a:gd name="T9" fmla="*/ 16 h 20"/>
                  <a:gd name="T10" fmla="*/ 4 w 36"/>
                  <a:gd name="T11" fmla="*/ 14 h 20"/>
                  <a:gd name="T12" fmla="*/ 4 w 36"/>
                  <a:gd name="T13" fmla="*/ 10 h 20"/>
                  <a:gd name="T14" fmla="*/ 12 w 36"/>
                  <a:gd name="T15" fmla="*/ 10 h 20"/>
                  <a:gd name="T16" fmla="*/ 20 w 36"/>
                  <a:gd name="T17" fmla="*/ 8 h 20"/>
                  <a:gd name="T18" fmla="*/ 28 w 36"/>
                  <a:gd name="T19" fmla="*/ 8 h 20"/>
                  <a:gd name="T20" fmla="*/ 32 w 36"/>
                  <a:gd name="T21" fmla="*/ 4 h 20"/>
                  <a:gd name="T22" fmla="*/ 32 w 36"/>
                  <a:gd name="T23" fmla="*/ 0 h 20"/>
                  <a:gd name="T24" fmla="*/ 32 w 36"/>
                  <a:gd name="T25" fmla="*/ 0 h 20"/>
                  <a:gd name="T26" fmla="*/ 32 w 36"/>
                  <a:gd name="T27" fmla="*/ 2 h 20"/>
                  <a:gd name="T28" fmla="*/ 26 w 36"/>
                  <a:gd name="T29" fmla="*/ 4 h 20"/>
                  <a:gd name="T30" fmla="*/ 20 w 36"/>
                  <a:gd name="T31" fmla="*/ 4 h 20"/>
                  <a:gd name="T32" fmla="*/ 20 w 36"/>
                  <a:gd name="T33" fmla="*/ 4 h 20"/>
                  <a:gd name="T34" fmla="*/ 20 w 36"/>
                  <a:gd name="T35" fmla="*/ 4 h 20"/>
                  <a:gd name="T36" fmla="*/ 12 w 36"/>
                  <a:gd name="T37" fmla="*/ 6 h 20"/>
                  <a:gd name="T38" fmla="*/ 4 w 36"/>
                  <a:gd name="T39" fmla="*/ 6 h 20"/>
                  <a:gd name="T40" fmla="*/ 4 w 36"/>
                  <a:gd name="T41" fmla="*/ 6 h 20"/>
                  <a:gd name="T42" fmla="*/ 2 w 36"/>
                  <a:gd name="T43" fmla="*/ 6 h 20"/>
                  <a:gd name="T44" fmla="*/ 0 w 36"/>
                  <a:gd name="T45" fmla="*/ 10 h 20"/>
                  <a:gd name="T46" fmla="*/ 0 w 36"/>
                  <a:gd name="T47" fmla="*/ 14 h 20"/>
                  <a:gd name="T48" fmla="*/ 0 w 36"/>
                  <a:gd name="T49" fmla="*/ 14 h 20"/>
                  <a:gd name="T50" fmla="*/ 2 w 36"/>
                  <a:gd name="T51" fmla="*/ 16 h 20"/>
                  <a:gd name="T52" fmla="*/ 6 w 36"/>
                  <a:gd name="T53" fmla="*/ 20 h 20"/>
                  <a:gd name="T54" fmla="*/ 6 w 36"/>
                  <a:gd name="T55" fmla="*/ 20 h 20"/>
                  <a:gd name="T56" fmla="*/ 8 w 36"/>
                  <a:gd name="T57" fmla="*/ 20 h 20"/>
                  <a:gd name="T58" fmla="*/ 16 w 36"/>
                  <a:gd name="T59" fmla="*/ 20 h 20"/>
                  <a:gd name="T60" fmla="*/ 16 w 36"/>
                  <a:gd name="T61" fmla="*/ 20 h 20"/>
                  <a:gd name="T62" fmla="*/ 18 w 36"/>
                  <a:gd name="T63" fmla="*/ 20 h 20"/>
                  <a:gd name="T64" fmla="*/ 24 w 36"/>
                  <a:gd name="T65" fmla="*/ 16 h 20"/>
                  <a:gd name="T66" fmla="*/ 24 w 36"/>
                  <a:gd name="T67" fmla="*/ 16 h 20"/>
                  <a:gd name="T68" fmla="*/ 24 w 36"/>
                  <a:gd name="T69" fmla="*/ 16 h 20"/>
                  <a:gd name="T70" fmla="*/ 28 w 36"/>
                  <a:gd name="T71" fmla="*/ 14 h 20"/>
                  <a:gd name="T72" fmla="*/ 36 w 36"/>
                  <a:gd name="T73" fmla="*/ 8 h 20"/>
                  <a:gd name="T74" fmla="*/ 36 w 36"/>
                  <a:gd name="T75" fmla="*/ 8 h 20"/>
                  <a:gd name="T76" fmla="*/ 36 w 36"/>
                  <a:gd name="T77" fmla="*/ 6 h 20"/>
                  <a:gd name="T78" fmla="*/ 36 w 36"/>
                  <a:gd name="T79" fmla="*/ 2 h 20"/>
                  <a:gd name="T80" fmla="*/ 36 w 36"/>
                  <a:gd name="T81" fmla="*/ 2 h 20"/>
                  <a:gd name="T82" fmla="*/ 32 w 36"/>
                  <a:gd name="T83" fmla="*/ 0 h 20"/>
                  <a:gd name="T84" fmla="*/ 32 w 36"/>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20">
                    <a:moveTo>
                      <a:pt x="32" y="4"/>
                    </a:moveTo>
                    <a:lnTo>
                      <a:pt x="26" y="10"/>
                    </a:lnTo>
                    <a:lnTo>
                      <a:pt x="22" y="14"/>
                    </a:lnTo>
                    <a:lnTo>
                      <a:pt x="16" y="16"/>
                    </a:lnTo>
                    <a:lnTo>
                      <a:pt x="8" y="16"/>
                    </a:lnTo>
                    <a:lnTo>
                      <a:pt x="4" y="14"/>
                    </a:lnTo>
                    <a:lnTo>
                      <a:pt x="4" y="10"/>
                    </a:lnTo>
                    <a:lnTo>
                      <a:pt x="12" y="10"/>
                    </a:lnTo>
                    <a:lnTo>
                      <a:pt x="20" y="8"/>
                    </a:lnTo>
                    <a:lnTo>
                      <a:pt x="28" y="8"/>
                    </a:lnTo>
                    <a:lnTo>
                      <a:pt x="32" y="4"/>
                    </a:lnTo>
                    <a:close/>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4" name="Freeform 806"/>
              <p:cNvSpPr>
                <a:spLocks/>
              </p:cNvSpPr>
              <p:nvPr/>
            </p:nvSpPr>
            <p:spPr bwMode="auto">
              <a:xfrm>
                <a:off x="3323" y="1999"/>
                <a:ext cx="28" cy="12"/>
              </a:xfrm>
              <a:custGeom>
                <a:avLst/>
                <a:gdLst>
                  <a:gd name="T0" fmla="*/ 28 w 28"/>
                  <a:gd name="T1" fmla="*/ 0 h 12"/>
                  <a:gd name="T2" fmla="*/ 22 w 28"/>
                  <a:gd name="T3" fmla="*/ 6 h 12"/>
                  <a:gd name="T4" fmla="*/ 18 w 28"/>
                  <a:gd name="T5" fmla="*/ 10 h 12"/>
                  <a:gd name="T6" fmla="*/ 12 w 28"/>
                  <a:gd name="T7" fmla="*/ 12 h 12"/>
                  <a:gd name="T8" fmla="*/ 4 w 28"/>
                  <a:gd name="T9" fmla="*/ 12 h 12"/>
                  <a:gd name="T10" fmla="*/ 0 w 28"/>
                  <a:gd name="T11" fmla="*/ 10 h 12"/>
                  <a:gd name="T12" fmla="*/ 0 w 28"/>
                  <a:gd name="T13" fmla="*/ 6 h 12"/>
                  <a:gd name="T14" fmla="*/ 8 w 28"/>
                  <a:gd name="T15" fmla="*/ 6 h 12"/>
                  <a:gd name="T16" fmla="*/ 16 w 28"/>
                  <a:gd name="T17" fmla="*/ 4 h 12"/>
                  <a:gd name="T18" fmla="*/ 24 w 28"/>
                  <a:gd name="T19" fmla="*/ 4 h 12"/>
                  <a:gd name="T20" fmla="*/ 28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8" y="0"/>
                    </a:moveTo>
                    <a:lnTo>
                      <a:pt x="22" y="6"/>
                    </a:lnTo>
                    <a:lnTo>
                      <a:pt x="18" y="10"/>
                    </a:lnTo>
                    <a:lnTo>
                      <a:pt x="12" y="12"/>
                    </a:lnTo>
                    <a:lnTo>
                      <a:pt x="4" y="12"/>
                    </a:lnTo>
                    <a:lnTo>
                      <a:pt x="0" y="10"/>
                    </a:lnTo>
                    <a:lnTo>
                      <a:pt x="0" y="6"/>
                    </a:lnTo>
                    <a:lnTo>
                      <a:pt x="8" y="6"/>
                    </a:lnTo>
                    <a:lnTo>
                      <a:pt x="16" y="4"/>
                    </a:lnTo>
                    <a:lnTo>
                      <a:pt x="2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5" name="Freeform 807"/>
              <p:cNvSpPr>
                <a:spLocks/>
              </p:cNvSpPr>
              <p:nvPr/>
            </p:nvSpPr>
            <p:spPr bwMode="auto">
              <a:xfrm>
                <a:off x="3319" y="1995"/>
                <a:ext cx="36" cy="20"/>
              </a:xfrm>
              <a:custGeom>
                <a:avLst/>
                <a:gdLst>
                  <a:gd name="T0" fmla="*/ 32 w 36"/>
                  <a:gd name="T1" fmla="*/ 0 h 20"/>
                  <a:gd name="T2" fmla="*/ 32 w 36"/>
                  <a:gd name="T3" fmla="*/ 0 h 20"/>
                  <a:gd name="T4" fmla="*/ 32 w 36"/>
                  <a:gd name="T5" fmla="*/ 2 h 20"/>
                  <a:gd name="T6" fmla="*/ 26 w 36"/>
                  <a:gd name="T7" fmla="*/ 4 h 20"/>
                  <a:gd name="T8" fmla="*/ 20 w 36"/>
                  <a:gd name="T9" fmla="*/ 4 h 20"/>
                  <a:gd name="T10" fmla="*/ 20 w 36"/>
                  <a:gd name="T11" fmla="*/ 4 h 20"/>
                  <a:gd name="T12" fmla="*/ 20 w 36"/>
                  <a:gd name="T13" fmla="*/ 4 h 20"/>
                  <a:gd name="T14" fmla="*/ 12 w 36"/>
                  <a:gd name="T15" fmla="*/ 6 h 20"/>
                  <a:gd name="T16" fmla="*/ 4 w 36"/>
                  <a:gd name="T17" fmla="*/ 6 h 20"/>
                  <a:gd name="T18" fmla="*/ 4 w 36"/>
                  <a:gd name="T19" fmla="*/ 6 h 20"/>
                  <a:gd name="T20" fmla="*/ 2 w 36"/>
                  <a:gd name="T21" fmla="*/ 6 h 20"/>
                  <a:gd name="T22" fmla="*/ 0 w 36"/>
                  <a:gd name="T23" fmla="*/ 10 h 20"/>
                  <a:gd name="T24" fmla="*/ 0 w 36"/>
                  <a:gd name="T25" fmla="*/ 14 h 20"/>
                  <a:gd name="T26" fmla="*/ 0 w 36"/>
                  <a:gd name="T27" fmla="*/ 14 h 20"/>
                  <a:gd name="T28" fmla="*/ 2 w 36"/>
                  <a:gd name="T29" fmla="*/ 16 h 20"/>
                  <a:gd name="T30" fmla="*/ 6 w 36"/>
                  <a:gd name="T31" fmla="*/ 20 h 20"/>
                  <a:gd name="T32" fmla="*/ 6 w 36"/>
                  <a:gd name="T33" fmla="*/ 20 h 20"/>
                  <a:gd name="T34" fmla="*/ 8 w 36"/>
                  <a:gd name="T35" fmla="*/ 20 h 20"/>
                  <a:gd name="T36" fmla="*/ 16 w 36"/>
                  <a:gd name="T37" fmla="*/ 20 h 20"/>
                  <a:gd name="T38" fmla="*/ 16 w 36"/>
                  <a:gd name="T39" fmla="*/ 20 h 20"/>
                  <a:gd name="T40" fmla="*/ 18 w 36"/>
                  <a:gd name="T41" fmla="*/ 20 h 20"/>
                  <a:gd name="T42" fmla="*/ 24 w 36"/>
                  <a:gd name="T43" fmla="*/ 16 h 20"/>
                  <a:gd name="T44" fmla="*/ 24 w 36"/>
                  <a:gd name="T45" fmla="*/ 16 h 20"/>
                  <a:gd name="T46" fmla="*/ 24 w 36"/>
                  <a:gd name="T47" fmla="*/ 16 h 20"/>
                  <a:gd name="T48" fmla="*/ 28 w 36"/>
                  <a:gd name="T49" fmla="*/ 14 h 20"/>
                  <a:gd name="T50" fmla="*/ 36 w 36"/>
                  <a:gd name="T51" fmla="*/ 8 h 20"/>
                  <a:gd name="T52" fmla="*/ 36 w 36"/>
                  <a:gd name="T53" fmla="*/ 8 h 20"/>
                  <a:gd name="T54" fmla="*/ 36 w 36"/>
                  <a:gd name="T55" fmla="*/ 6 h 20"/>
                  <a:gd name="T56" fmla="*/ 36 w 36"/>
                  <a:gd name="T57" fmla="*/ 2 h 20"/>
                  <a:gd name="T58" fmla="*/ 36 w 36"/>
                  <a:gd name="T59" fmla="*/ 2 h 20"/>
                  <a:gd name="T60" fmla="*/ 32 w 36"/>
                  <a:gd name="T61" fmla="*/ 0 h 20"/>
                  <a:gd name="T62" fmla="*/ 32 w 36"/>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0">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11" name="Group 1009"/>
            <p:cNvGrpSpPr>
              <a:grpSpLocks/>
            </p:cNvGrpSpPr>
            <p:nvPr/>
          </p:nvGrpSpPr>
          <p:grpSpPr bwMode="auto">
            <a:xfrm>
              <a:off x="3231" y="1883"/>
              <a:ext cx="1930" cy="800"/>
              <a:chOff x="3231" y="1883"/>
              <a:chExt cx="1930" cy="800"/>
            </a:xfrm>
            <a:grpFill/>
          </p:grpSpPr>
          <p:sp>
            <p:nvSpPr>
              <p:cNvPr id="116" name="Freeform 809"/>
              <p:cNvSpPr>
                <a:spLocks/>
              </p:cNvSpPr>
              <p:nvPr/>
            </p:nvSpPr>
            <p:spPr bwMode="auto">
              <a:xfrm>
                <a:off x="3233" y="1885"/>
                <a:ext cx="266" cy="106"/>
              </a:xfrm>
              <a:custGeom>
                <a:avLst/>
                <a:gdLst>
                  <a:gd name="T0" fmla="*/ 140 w 266"/>
                  <a:gd name="T1" fmla="*/ 106 h 106"/>
                  <a:gd name="T2" fmla="*/ 136 w 266"/>
                  <a:gd name="T3" fmla="*/ 96 h 106"/>
                  <a:gd name="T4" fmla="*/ 138 w 266"/>
                  <a:gd name="T5" fmla="*/ 92 h 106"/>
                  <a:gd name="T6" fmla="*/ 134 w 266"/>
                  <a:gd name="T7" fmla="*/ 94 h 106"/>
                  <a:gd name="T8" fmla="*/ 120 w 266"/>
                  <a:gd name="T9" fmla="*/ 94 h 106"/>
                  <a:gd name="T10" fmla="*/ 110 w 266"/>
                  <a:gd name="T11" fmla="*/ 102 h 106"/>
                  <a:gd name="T12" fmla="*/ 92 w 266"/>
                  <a:gd name="T13" fmla="*/ 104 h 106"/>
                  <a:gd name="T14" fmla="*/ 84 w 266"/>
                  <a:gd name="T15" fmla="*/ 98 h 106"/>
                  <a:gd name="T16" fmla="*/ 64 w 266"/>
                  <a:gd name="T17" fmla="*/ 92 h 106"/>
                  <a:gd name="T18" fmla="*/ 64 w 266"/>
                  <a:gd name="T19" fmla="*/ 98 h 106"/>
                  <a:gd name="T20" fmla="*/ 60 w 266"/>
                  <a:gd name="T21" fmla="*/ 102 h 106"/>
                  <a:gd name="T22" fmla="*/ 46 w 266"/>
                  <a:gd name="T23" fmla="*/ 102 h 106"/>
                  <a:gd name="T24" fmla="*/ 18 w 266"/>
                  <a:gd name="T25" fmla="*/ 88 h 106"/>
                  <a:gd name="T26" fmla="*/ 14 w 266"/>
                  <a:gd name="T27" fmla="*/ 80 h 106"/>
                  <a:gd name="T28" fmla="*/ 14 w 266"/>
                  <a:gd name="T29" fmla="*/ 74 h 106"/>
                  <a:gd name="T30" fmla="*/ 4 w 266"/>
                  <a:gd name="T31" fmla="*/ 70 h 106"/>
                  <a:gd name="T32" fmla="*/ 12 w 266"/>
                  <a:gd name="T33" fmla="*/ 58 h 106"/>
                  <a:gd name="T34" fmla="*/ 2 w 266"/>
                  <a:gd name="T35" fmla="*/ 46 h 106"/>
                  <a:gd name="T36" fmla="*/ 0 w 266"/>
                  <a:gd name="T37" fmla="*/ 40 h 106"/>
                  <a:gd name="T38" fmla="*/ 6 w 266"/>
                  <a:gd name="T39" fmla="*/ 32 h 106"/>
                  <a:gd name="T40" fmla="*/ 12 w 266"/>
                  <a:gd name="T41" fmla="*/ 30 h 106"/>
                  <a:gd name="T42" fmla="*/ 12 w 266"/>
                  <a:gd name="T43" fmla="*/ 30 h 106"/>
                  <a:gd name="T44" fmla="*/ 40 w 266"/>
                  <a:gd name="T45" fmla="*/ 28 h 106"/>
                  <a:gd name="T46" fmla="*/ 46 w 266"/>
                  <a:gd name="T47" fmla="*/ 24 h 106"/>
                  <a:gd name="T48" fmla="*/ 40 w 266"/>
                  <a:gd name="T49" fmla="*/ 22 h 106"/>
                  <a:gd name="T50" fmla="*/ 42 w 266"/>
                  <a:gd name="T51" fmla="*/ 16 h 106"/>
                  <a:gd name="T52" fmla="*/ 42 w 266"/>
                  <a:gd name="T53" fmla="*/ 16 h 106"/>
                  <a:gd name="T54" fmla="*/ 82 w 266"/>
                  <a:gd name="T55" fmla="*/ 10 h 106"/>
                  <a:gd name="T56" fmla="*/ 100 w 266"/>
                  <a:gd name="T57" fmla="*/ 0 h 106"/>
                  <a:gd name="T58" fmla="*/ 130 w 266"/>
                  <a:gd name="T59" fmla="*/ 2 h 106"/>
                  <a:gd name="T60" fmla="*/ 140 w 266"/>
                  <a:gd name="T61" fmla="*/ 10 h 106"/>
                  <a:gd name="T62" fmla="*/ 142 w 266"/>
                  <a:gd name="T63" fmla="*/ 10 h 106"/>
                  <a:gd name="T64" fmla="*/ 166 w 266"/>
                  <a:gd name="T65" fmla="*/ 20 h 106"/>
                  <a:gd name="T66" fmla="*/ 212 w 266"/>
                  <a:gd name="T67" fmla="*/ 18 h 106"/>
                  <a:gd name="T68" fmla="*/ 220 w 266"/>
                  <a:gd name="T69" fmla="*/ 10 h 106"/>
                  <a:gd name="T70" fmla="*/ 226 w 266"/>
                  <a:gd name="T71" fmla="*/ 12 h 106"/>
                  <a:gd name="T72" fmla="*/ 228 w 266"/>
                  <a:gd name="T73" fmla="*/ 10 h 106"/>
                  <a:gd name="T74" fmla="*/ 230 w 266"/>
                  <a:gd name="T75" fmla="*/ 8 h 106"/>
                  <a:gd name="T76" fmla="*/ 238 w 266"/>
                  <a:gd name="T77" fmla="*/ 10 h 106"/>
                  <a:gd name="T78" fmla="*/ 250 w 266"/>
                  <a:gd name="T79" fmla="*/ 20 h 106"/>
                  <a:gd name="T80" fmla="*/ 258 w 266"/>
                  <a:gd name="T81" fmla="*/ 38 h 106"/>
                  <a:gd name="T82" fmla="*/ 266 w 266"/>
                  <a:gd name="T83" fmla="*/ 42 h 106"/>
                  <a:gd name="T84" fmla="*/ 266 w 266"/>
                  <a:gd name="T85" fmla="*/ 44 h 106"/>
                  <a:gd name="T86" fmla="*/ 258 w 266"/>
                  <a:gd name="T87" fmla="*/ 50 h 106"/>
                  <a:gd name="T88" fmla="*/ 266 w 266"/>
                  <a:gd name="T89" fmla="*/ 82 h 106"/>
                  <a:gd name="T90" fmla="*/ 264 w 266"/>
                  <a:gd name="T91" fmla="*/ 86 h 106"/>
                  <a:gd name="T92" fmla="*/ 262 w 266"/>
                  <a:gd name="T93" fmla="*/ 88 h 106"/>
                  <a:gd name="T94" fmla="*/ 238 w 266"/>
                  <a:gd name="T95" fmla="*/ 82 h 106"/>
                  <a:gd name="T96" fmla="*/ 228 w 266"/>
                  <a:gd name="T97" fmla="*/ 88 h 106"/>
                  <a:gd name="T98" fmla="*/ 196 w 266"/>
                  <a:gd name="T99" fmla="*/ 94 h 106"/>
                  <a:gd name="T100" fmla="*/ 178 w 266"/>
                  <a:gd name="T101" fmla="*/ 96 h 106"/>
                  <a:gd name="T102" fmla="*/ 172 w 266"/>
                  <a:gd name="T103" fmla="*/ 92 h 106"/>
                  <a:gd name="T104" fmla="*/ 168 w 266"/>
                  <a:gd name="T105" fmla="*/ 94 h 106"/>
                  <a:gd name="T106" fmla="*/ 154 w 266"/>
                  <a:gd name="T107" fmla="*/ 94 h 106"/>
                  <a:gd name="T108" fmla="*/ 150 w 266"/>
                  <a:gd name="T109" fmla="*/ 96 h 106"/>
                  <a:gd name="T110" fmla="*/ 142 w 266"/>
                  <a:gd name="T111" fmla="*/ 106 h 106"/>
                  <a:gd name="T112" fmla="*/ 140 w 266"/>
                  <a:gd name="T11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 h="106">
                    <a:moveTo>
                      <a:pt x="140" y="106"/>
                    </a:moveTo>
                    <a:lnTo>
                      <a:pt x="140" y="106"/>
                    </a:lnTo>
                    <a:lnTo>
                      <a:pt x="140" y="106"/>
                    </a:lnTo>
                    <a:lnTo>
                      <a:pt x="140" y="106"/>
                    </a:lnTo>
                    <a:lnTo>
                      <a:pt x="138" y="104"/>
                    </a:lnTo>
                    <a:lnTo>
                      <a:pt x="136" y="96"/>
                    </a:lnTo>
                    <a:lnTo>
                      <a:pt x="136" y="96"/>
                    </a:lnTo>
                    <a:lnTo>
                      <a:pt x="136" y="96"/>
                    </a:lnTo>
                    <a:lnTo>
                      <a:pt x="138" y="92"/>
                    </a:lnTo>
                    <a:lnTo>
                      <a:pt x="138" y="92"/>
                    </a:lnTo>
                    <a:lnTo>
                      <a:pt x="134" y="94"/>
                    </a:lnTo>
                    <a:lnTo>
                      <a:pt x="134" y="94"/>
                    </a:lnTo>
                    <a:lnTo>
                      <a:pt x="132" y="94"/>
                    </a:lnTo>
                    <a:lnTo>
                      <a:pt x="132" y="94"/>
                    </a:lnTo>
                    <a:lnTo>
                      <a:pt x="120" y="94"/>
                    </a:lnTo>
                    <a:lnTo>
                      <a:pt x="118" y="94"/>
                    </a:lnTo>
                    <a:lnTo>
                      <a:pt x="110" y="102"/>
                    </a:lnTo>
                    <a:lnTo>
                      <a:pt x="110" y="102"/>
                    </a:lnTo>
                    <a:lnTo>
                      <a:pt x="110" y="102"/>
                    </a:lnTo>
                    <a:lnTo>
                      <a:pt x="100" y="104"/>
                    </a:lnTo>
                    <a:lnTo>
                      <a:pt x="92" y="104"/>
                    </a:lnTo>
                    <a:lnTo>
                      <a:pt x="92" y="104"/>
                    </a:lnTo>
                    <a:lnTo>
                      <a:pt x="90" y="104"/>
                    </a:lnTo>
                    <a:lnTo>
                      <a:pt x="84" y="98"/>
                    </a:lnTo>
                    <a:lnTo>
                      <a:pt x="72" y="94"/>
                    </a:lnTo>
                    <a:lnTo>
                      <a:pt x="66" y="92"/>
                    </a:lnTo>
                    <a:lnTo>
                      <a:pt x="64" y="92"/>
                    </a:lnTo>
                    <a:lnTo>
                      <a:pt x="64" y="96"/>
                    </a:lnTo>
                    <a:lnTo>
                      <a:pt x="64" y="96"/>
                    </a:lnTo>
                    <a:lnTo>
                      <a:pt x="64" y="98"/>
                    </a:lnTo>
                    <a:lnTo>
                      <a:pt x="62" y="100"/>
                    </a:lnTo>
                    <a:lnTo>
                      <a:pt x="62" y="100"/>
                    </a:lnTo>
                    <a:lnTo>
                      <a:pt x="60" y="102"/>
                    </a:lnTo>
                    <a:lnTo>
                      <a:pt x="46" y="102"/>
                    </a:lnTo>
                    <a:lnTo>
                      <a:pt x="46" y="102"/>
                    </a:lnTo>
                    <a:lnTo>
                      <a:pt x="46" y="102"/>
                    </a:lnTo>
                    <a:lnTo>
                      <a:pt x="36" y="94"/>
                    </a:lnTo>
                    <a:lnTo>
                      <a:pt x="30" y="90"/>
                    </a:lnTo>
                    <a:lnTo>
                      <a:pt x="18" y="88"/>
                    </a:lnTo>
                    <a:lnTo>
                      <a:pt x="18" y="88"/>
                    </a:lnTo>
                    <a:lnTo>
                      <a:pt x="18" y="86"/>
                    </a:lnTo>
                    <a:lnTo>
                      <a:pt x="14" y="80"/>
                    </a:lnTo>
                    <a:lnTo>
                      <a:pt x="14" y="80"/>
                    </a:lnTo>
                    <a:lnTo>
                      <a:pt x="14" y="78"/>
                    </a:lnTo>
                    <a:lnTo>
                      <a:pt x="14" y="74"/>
                    </a:lnTo>
                    <a:lnTo>
                      <a:pt x="6" y="72"/>
                    </a:lnTo>
                    <a:lnTo>
                      <a:pt x="6" y="72"/>
                    </a:lnTo>
                    <a:lnTo>
                      <a:pt x="4" y="70"/>
                    </a:lnTo>
                    <a:lnTo>
                      <a:pt x="4" y="70"/>
                    </a:lnTo>
                    <a:lnTo>
                      <a:pt x="6" y="68"/>
                    </a:lnTo>
                    <a:lnTo>
                      <a:pt x="12" y="58"/>
                    </a:lnTo>
                    <a:lnTo>
                      <a:pt x="10" y="52"/>
                    </a:lnTo>
                    <a:lnTo>
                      <a:pt x="8" y="48"/>
                    </a:lnTo>
                    <a:lnTo>
                      <a:pt x="2" y="46"/>
                    </a:lnTo>
                    <a:lnTo>
                      <a:pt x="2" y="46"/>
                    </a:lnTo>
                    <a:lnTo>
                      <a:pt x="0" y="44"/>
                    </a:lnTo>
                    <a:lnTo>
                      <a:pt x="0" y="40"/>
                    </a:lnTo>
                    <a:lnTo>
                      <a:pt x="0" y="40"/>
                    </a:lnTo>
                    <a:lnTo>
                      <a:pt x="0" y="40"/>
                    </a:lnTo>
                    <a:lnTo>
                      <a:pt x="6" y="32"/>
                    </a:lnTo>
                    <a:lnTo>
                      <a:pt x="6" y="32"/>
                    </a:lnTo>
                    <a:lnTo>
                      <a:pt x="6" y="32"/>
                    </a:lnTo>
                    <a:lnTo>
                      <a:pt x="12" y="30"/>
                    </a:lnTo>
                    <a:lnTo>
                      <a:pt x="12" y="30"/>
                    </a:lnTo>
                    <a:lnTo>
                      <a:pt x="12" y="30"/>
                    </a:lnTo>
                    <a:lnTo>
                      <a:pt x="12" y="30"/>
                    </a:lnTo>
                    <a:lnTo>
                      <a:pt x="26" y="32"/>
                    </a:lnTo>
                    <a:lnTo>
                      <a:pt x="40" y="32"/>
                    </a:lnTo>
                    <a:lnTo>
                      <a:pt x="40" y="28"/>
                    </a:lnTo>
                    <a:lnTo>
                      <a:pt x="40" y="28"/>
                    </a:lnTo>
                    <a:lnTo>
                      <a:pt x="42" y="26"/>
                    </a:lnTo>
                    <a:lnTo>
                      <a:pt x="46" y="24"/>
                    </a:lnTo>
                    <a:lnTo>
                      <a:pt x="42" y="24"/>
                    </a:lnTo>
                    <a:lnTo>
                      <a:pt x="42" y="24"/>
                    </a:lnTo>
                    <a:lnTo>
                      <a:pt x="40" y="22"/>
                    </a:lnTo>
                    <a:lnTo>
                      <a:pt x="40" y="18"/>
                    </a:lnTo>
                    <a:lnTo>
                      <a:pt x="40" y="18"/>
                    </a:lnTo>
                    <a:lnTo>
                      <a:pt x="42" y="16"/>
                    </a:lnTo>
                    <a:lnTo>
                      <a:pt x="42" y="16"/>
                    </a:lnTo>
                    <a:lnTo>
                      <a:pt x="42" y="16"/>
                    </a:lnTo>
                    <a:lnTo>
                      <a:pt x="42" y="16"/>
                    </a:lnTo>
                    <a:lnTo>
                      <a:pt x="62" y="16"/>
                    </a:lnTo>
                    <a:lnTo>
                      <a:pt x="74" y="16"/>
                    </a:lnTo>
                    <a:lnTo>
                      <a:pt x="82" y="10"/>
                    </a:lnTo>
                    <a:lnTo>
                      <a:pt x="100" y="0"/>
                    </a:lnTo>
                    <a:lnTo>
                      <a:pt x="100" y="0"/>
                    </a:lnTo>
                    <a:lnTo>
                      <a:pt x="100" y="0"/>
                    </a:lnTo>
                    <a:lnTo>
                      <a:pt x="128" y="0"/>
                    </a:lnTo>
                    <a:lnTo>
                      <a:pt x="128" y="0"/>
                    </a:lnTo>
                    <a:lnTo>
                      <a:pt x="130" y="2"/>
                    </a:lnTo>
                    <a:lnTo>
                      <a:pt x="134" y="12"/>
                    </a:lnTo>
                    <a:lnTo>
                      <a:pt x="140" y="10"/>
                    </a:lnTo>
                    <a:lnTo>
                      <a:pt x="140" y="10"/>
                    </a:lnTo>
                    <a:lnTo>
                      <a:pt x="140" y="10"/>
                    </a:lnTo>
                    <a:lnTo>
                      <a:pt x="140" y="10"/>
                    </a:lnTo>
                    <a:lnTo>
                      <a:pt x="142" y="10"/>
                    </a:lnTo>
                    <a:lnTo>
                      <a:pt x="146" y="16"/>
                    </a:lnTo>
                    <a:lnTo>
                      <a:pt x="154" y="16"/>
                    </a:lnTo>
                    <a:lnTo>
                      <a:pt x="166" y="20"/>
                    </a:lnTo>
                    <a:lnTo>
                      <a:pt x="182" y="20"/>
                    </a:lnTo>
                    <a:lnTo>
                      <a:pt x="198" y="20"/>
                    </a:lnTo>
                    <a:lnTo>
                      <a:pt x="212" y="18"/>
                    </a:lnTo>
                    <a:lnTo>
                      <a:pt x="218" y="10"/>
                    </a:lnTo>
                    <a:lnTo>
                      <a:pt x="218" y="10"/>
                    </a:lnTo>
                    <a:lnTo>
                      <a:pt x="220" y="10"/>
                    </a:lnTo>
                    <a:lnTo>
                      <a:pt x="220" y="10"/>
                    </a:lnTo>
                    <a:lnTo>
                      <a:pt x="220" y="10"/>
                    </a:lnTo>
                    <a:lnTo>
                      <a:pt x="226" y="12"/>
                    </a:lnTo>
                    <a:lnTo>
                      <a:pt x="228" y="12"/>
                    </a:lnTo>
                    <a:lnTo>
                      <a:pt x="228" y="10"/>
                    </a:lnTo>
                    <a:lnTo>
                      <a:pt x="228" y="10"/>
                    </a:lnTo>
                    <a:lnTo>
                      <a:pt x="230" y="8"/>
                    </a:lnTo>
                    <a:lnTo>
                      <a:pt x="230" y="8"/>
                    </a:lnTo>
                    <a:lnTo>
                      <a:pt x="230" y="8"/>
                    </a:lnTo>
                    <a:lnTo>
                      <a:pt x="238" y="10"/>
                    </a:lnTo>
                    <a:lnTo>
                      <a:pt x="238" y="10"/>
                    </a:lnTo>
                    <a:lnTo>
                      <a:pt x="238" y="10"/>
                    </a:lnTo>
                    <a:lnTo>
                      <a:pt x="244" y="16"/>
                    </a:lnTo>
                    <a:lnTo>
                      <a:pt x="250" y="20"/>
                    </a:lnTo>
                    <a:lnTo>
                      <a:pt x="250" y="20"/>
                    </a:lnTo>
                    <a:lnTo>
                      <a:pt x="250" y="20"/>
                    </a:lnTo>
                    <a:lnTo>
                      <a:pt x="250" y="38"/>
                    </a:lnTo>
                    <a:lnTo>
                      <a:pt x="258" y="38"/>
                    </a:lnTo>
                    <a:lnTo>
                      <a:pt x="258" y="38"/>
                    </a:lnTo>
                    <a:lnTo>
                      <a:pt x="260" y="38"/>
                    </a:lnTo>
                    <a:lnTo>
                      <a:pt x="266" y="42"/>
                    </a:lnTo>
                    <a:lnTo>
                      <a:pt x="266" y="42"/>
                    </a:lnTo>
                    <a:lnTo>
                      <a:pt x="266" y="44"/>
                    </a:lnTo>
                    <a:lnTo>
                      <a:pt x="266" y="44"/>
                    </a:lnTo>
                    <a:lnTo>
                      <a:pt x="264" y="46"/>
                    </a:lnTo>
                    <a:lnTo>
                      <a:pt x="258" y="48"/>
                    </a:lnTo>
                    <a:lnTo>
                      <a:pt x="258" y="50"/>
                    </a:lnTo>
                    <a:lnTo>
                      <a:pt x="260" y="64"/>
                    </a:lnTo>
                    <a:lnTo>
                      <a:pt x="262" y="72"/>
                    </a:lnTo>
                    <a:lnTo>
                      <a:pt x="266" y="82"/>
                    </a:lnTo>
                    <a:lnTo>
                      <a:pt x="266" y="82"/>
                    </a:lnTo>
                    <a:lnTo>
                      <a:pt x="266" y="82"/>
                    </a:lnTo>
                    <a:lnTo>
                      <a:pt x="264" y="86"/>
                    </a:lnTo>
                    <a:lnTo>
                      <a:pt x="264" y="86"/>
                    </a:lnTo>
                    <a:lnTo>
                      <a:pt x="262" y="88"/>
                    </a:lnTo>
                    <a:lnTo>
                      <a:pt x="262" y="88"/>
                    </a:lnTo>
                    <a:lnTo>
                      <a:pt x="262" y="88"/>
                    </a:lnTo>
                    <a:lnTo>
                      <a:pt x="254" y="86"/>
                    </a:lnTo>
                    <a:lnTo>
                      <a:pt x="238" y="82"/>
                    </a:lnTo>
                    <a:lnTo>
                      <a:pt x="230" y="88"/>
                    </a:lnTo>
                    <a:lnTo>
                      <a:pt x="230" y="88"/>
                    </a:lnTo>
                    <a:lnTo>
                      <a:pt x="228" y="88"/>
                    </a:lnTo>
                    <a:lnTo>
                      <a:pt x="206" y="88"/>
                    </a:lnTo>
                    <a:lnTo>
                      <a:pt x="196" y="94"/>
                    </a:lnTo>
                    <a:lnTo>
                      <a:pt x="196" y="94"/>
                    </a:lnTo>
                    <a:lnTo>
                      <a:pt x="194" y="94"/>
                    </a:lnTo>
                    <a:lnTo>
                      <a:pt x="194" y="94"/>
                    </a:lnTo>
                    <a:lnTo>
                      <a:pt x="178" y="96"/>
                    </a:lnTo>
                    <a:lnTo>
                      <a:pt x="178" y="96"/>
                    </a:lnTo>
                    <a:lnTo>
                      <a:pt x="176" y="96"/>
                    </a:lnTo>
                    <a:lnTo>
                      <a:pt x="172" y="92"/>
                    </a:lnTo>
                    <a:lnTo>
                      <a:pt x="168" y="92"/>
                    </a:lnTo>
                    <a:lnTo>
                      <a:pt x="168" y="94"/>
                    </a:lnTo>
                    <a:lnTo>
                      <a:pt x="168" y="94"/>
                    </a:lnTo>
                    <a:lnTo>
                      <a:pt x="166" y="94"/>
                    </a:lnTo>
                    <a:lnTo>
                      <a:pt x="154" y="94"/>
                    </a:lnTo>
                    <a:lnTo>
                      <a:pt x="154" y="94"/>
                    </a:lnTo>
                    <a:lnTo>
                      <a:pt x="154" y="94"/>
                    </a:lnTo>
                    <a:lnTo>
                      <a:pt x="150" y="92"/>
                    </a:lnTo>
                    <a:lnTo>
                      <a:pt x="150" y="96"/>
                    </a:lnTo>
                    <a:lnTo>
                      <a:pt x="150" y="96"/>
                    </a:lnTo>
                    <a:lnTo>
                      <a:pt x="148" y="98"/>
                    </a:lnTo>
                    <a:lnTo>
                      <a:pt x="142" y="106"/>
                    </a:lnTo>
                    <a:lnTo>
                      <a:pt x="142" y="106"/>
                    </a:lnTo>
                    <a:lnTo>
                      <a:pt x="140" y="106"/>
                    </a:lnTo>
                    <a:lnTo>
                      <a:pt x="14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7" name="Freeform 810"/>
              <p:cNvSpPr>
                <a:spLocks noEditPoints="1"/>
              </p:cNvSpPr>
              <p:nvPr/>
            </p:nvSpPr>
            <p:spPr bwMode="auto">
              <a:xfrm>
                <a:off x="3231" y="1883"/>
                <a:ext cx="270" cy="110"/>
              </a:xfrm>
              <a:custGeom>
                <a:avLst/>
                <a:gdLst>
                  <a:gd name="T0" fmla="*/ 154 w 270"/>
                  <a:gd name="T1" fmla="*/ 20 h 110"/>
                  <a:gd name="T2" fmla="*/ 222 w 270"/>
                  <a:gd name="T3" fmla="*/ 14 h 110"/>
                  <a:gd name="T4" fmla="*/ 244 w 270"/>
                  <a:gd name="T5" fmla="*/ 20 h 110"/>
                  <a:gd name="T6" fmla="*/ 266 w 270"/>
                  <a:gd name="T7" fmla="*/ 46 h 110"/>
                  <a:gd name="T8" fmla="*/ 262 w 270"/>
                  <a:gd name="T9" fmla="*/ 76 h 110"/>
                  <a:gd name="T10" fmla="*/ 230 w 270"/>
                  <a:gd name="T11" fmla="*/ 88 h 110"/>
                  <a:gd name="T12" fmla="*/ 170 w 270"/>
                  <a:gd name="T13" fmla="*/ 92 h 110"/>
                  <a:gd name="T14" fmla="*/ 142 w 270"/>
                  <a:gd name="T15" fmla="*/ 106 h 110"/>
                  <a:gd name="T16" fmla="*/ 122 w 270"/>
                  <a:gd name="T17" fmla="*/ 94 h 110"/>
                  <a:gd name="T18" fmla="*/ 86 w 270"/>
                  <a:gd name="T19" fmla="*/ 98 h 110"/>
                  <a:gd name="T20" fmla="*/ 62 w 270"/>
                  <a:gd name="T21" fmla="*/ 102 h 110"/>
                  <a:gd name="T22" fmla="*/ 18 w 270"/>
                  <a:gd name="T23" fmla="*/ 80 h 110"/>
                  <a:gd name="T24" fmla="*/ 14 w 270"/>
                  <a:gd name="T25" fmla="*/ 54 h 110"/>
                  <a:gd name="T26" fmla="*/ 14 w 270"/>
                  <a:gd name="T27" fmla="*/ 34 h 110"/>
                  <a:gd name="T28" fmla="*/ 50 w 270"/>
                  <a:gd name="T29" fmla="*/ 28 h 110"/>
                  <a:gd name="T30" fmla="*/ 64 w 270"/>
                  <a:gd name="T31" fmla="*/ 20 h 110"/>
                  <a:gd name="T32" fmla="*/ 130 w 270"/>
                  <a:gd name="T33" fmla="*/ 0 h 110"/>
                  <a:gd name="T34" fmla="*/ 82 w 270"/>
                  <a:gd name="T35" fmla="*/ 10 h 110"/>
                  <a:gd name="T36" fmla="*/ 46 w 270"/>
                  <a:gd name="T37" fmla="*/ 16 h 110"/>
                  <a:gd name="T38" fmla="*/ 40 w 270"/>
                  <a:gd name="T39" fmla="*/ 20 h 110"/>
                  <a:gd name="T40" fmla="*/ 40 w 270"/>
                  <a:gd name="T41" fmla="*/ 30 h 110"/>
                  <a:gd name="T42" fmla="*/ 14 w 270"/>
                  <a:gd name="T43" fmla="*/ 30 h 110"/>
                  <a:gd name="T44" fmla="*/ 8 w 270"/>
                  <a:gd name="T45" fmla="*/ 32 h 110"/>
                  <a:gd name="T46" fmla="*/ 0 w 270"/>
                  <a:gd name="T47" fmla="*/ 46 h 110"/>
                  <a:gd name="T48" fmla="*/ 10 w 270"/>
                  <a:gd name="T49" fmla="*/ 54 h 110"/>
                  <a:gd name="T50" fmla="*/ 4 w 270"/>
                  <a:gd name="T51" fmla="*/ 72 h 110"/>
                  <a:gd name="T52" fmla="*/ 14 w 270"/>
                  <a:gd name="T53" fmla="*/ 80 h 110"/>
                  <a:gd name="T54" fmla="*/ 32 w 270"/>
                  <a:gd name="T55" fmla="*/ 94 h 110"/>
                  <a:gd name="T56" fmla="*/ 62 w 270"/>
                  <a:gd name="T57" fmla="*/ 106 h 110"/>
                  <a:gd name="T58" fmla="*/ 68 w 270"/>
                  <a:gd name="T59" fmla="*/ 98 h 110"/>
                  <a:gd name="T60" fmla="*/ 74 w 270"/>
                  <a:gd name="T61" fmla="*/ 98 h 110"/>
                  <a:gd name="T62" fmla="*/ 102 w 270"/>
                  <a:gd name="T63" fmla="*/ 108 h 110"/>
                  <a:gd name="T64" fmla="*/ 114 w 270"/>
                  <a:gd name="T65" fmla="*/ 104 h 110"/>
                  <a:gd name="T66" fmla="*/ 134 w 270"/>
                  <a:gd name="T67" fmla="*/ 98 h 110"/>
                  <a:gd name="T68" fmla="*/ 138 w 270"/>
                  <a:gd name="T69" fmla="*/ 106 h 110"/>
                  <a:gd name="T70" fmla="*/ 142 w 270"/>
                  <a:gd name="T71" fmla="*/ 110 h 110"/>
                  <a:gd name="T72" fmla="*/ 154 w 270"/>
                  <a:gd name="T73" fmla="*/ 98 h 110"/>
                  <a:gd name="T74" fmla="*/ 168 w 270"/>
                  <a:gd name="T75" fmla="*/ 98 h 110"/>
                  <a:gd name="T76" fmla="*/ 178 w 270"/>
                  <a:gd name="T77" fmla="*/ 100 h 110"/>
                  <a:gd name="T78" fmla="*/ 196 w 270"/>
                  <a:gd name="T79" fmla="*/ 98 h 110"/>
                  <a:gd name="T80" fmla="*/ 232 w 270"/>
                  <a:gd name="T81" fmla="*/ 92 h 110"/>
                  <a:gd name="T82" fmla="*/ 264 w 270"/>
                  <a:gd name="T83" fmla="*/ 92 h 110"/>
                  <a:gd name="T84" fmla="*/ 270 w 270"/>
                  <a:gd name="T85" fmla="*/ 86 h 110"/>
                  <a:gd name="T86" fmla="*/ 262 w 270"/>
                  <a:gd name="T87" fmla="*/ 52 h 110"/>
                  <a:gd name="T88" fmla="*/ 270 w 270"/>
                  <a:gd name="T89" fmla="*/ 46 h 110"/>
                  <a:gd name="T90" fmla="*/ 264 w 270"/>
                  <a:gd name="T91" fmla="*/ 40 h 110"/>
                  <a:gd name="T92" fmla="*/ 254 w 270"/>
                  <a:gd name="T93" fmla="*/ 22 h 110"/>
                  <a:gd name="T94" fmla="*/ 240 w 270"/>
                  <a:gd name="T95" fmla="*/ 10 h 110"/>
                  <a:gd name="T96" fmla="*/ 230 w 270"/>
                  <a:gd name="T97" fmla="*/ 8 h 110"/>
                  <a:gd name="T98" fmla="*/ 222 w 270"/>
                  <a:gd name="T99" fmla="*/ 10 h 110"/>
                  <a:gd name="T100" fmla="*/ 184 w 270"/>
                  <a:gd name="T101" fmla="*/ 20 h 110"/>
                  <a:gd name="T102" fmla="*/ 144 w 270"/>
                  <a:gd name="T103" fmla="*/ 10 h 110"/>
                  <a:gd name="T104" fmla="*/ 134 w 270"/>
                  <a:gd name="T105"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0" h="110">
                    <a:moveTo>
                      <a:pt x="130" y="4"/>
                    </a:moveTo>
                    <a:lnTo>
                      <a:pt x="134" y="16"/>
                    </a:lnTo>
                    <a:lnTo>
                      <a:pt x="142" y="14"/>
                    </a:lnTo>
                    <a:lnTo>
                      <a:pt x="148" y="20"/>
                    </a:lnTo>
                    <a:lnTo>
                      <a:pt x="154" y="20"/>
                    </a:lnTo>
                    <a:lnTo>
                      <a:pt x="168" y="24"/>
                    </a:lnTo>
                    <a:lnTo>
                      <a:pt x="184" y="24"/>
                    </a:lnTo>
                    <a:lnTo>
                      <a:pt x="200" y="24"/>
                    </a:lnTo>
                    <a:lnTo>
                      <a:pt x="214" y="20"/>
                    </a:lnTo>
                    <a:lnTo>
                      <a:pt x="222" y="14"/>
                    </a:lnTo>
                    <a:lnTo>
                      <a:pt x="226" y="16"/>
                    </a:lnTo>
                    <a:lnTo>
                      <a:pt x="230" y="18"/>
                    </a:lnTo>
                    <a:lnTo>
                      <a:pt x="232" y="12"/>
                    </a:lnTo>
                    <a:lnTo>
                      <a:pt x="240" y="14"/>
                    </a:lnTo>
                    <a:lnTo>
                      <a:pt x="244" y="20"/>
                    </a:lnTo>
                    <a:lnTo>
                      <a:pt x="250" y="22"/>
                    </a:lnTo>
                    <a:lnTo>
                      <a:pt x="250" y="32"/>
                    </a:lnTo>
                    <a:lnTo>
                      <a:pt x="250" y="42"/>
                    </a:lnTo>
                    <a:lnTo>
                      <a:pt x="260" y="42"/>
                    </a:lnTo>
                    <a:lnTo>
                      <a:pt x="266" y="46"/>
                    </a:lnTo>
                    <a:lnTo>
                      <a:pt x="260" y="48"/>
                    </a:lnTo>
                    <a:lnTo>
                      <a:pt x="258" y="52"/>
                    </a:lnTo>
                    <a:lnTo>
                      <a:pt x="260" y="58"/>
                    </a:lnTo>
                    <a:lnTo>
                      <a:pt x="260" y="66"/>
                    </a:lnTo>
                    <a:lnTo>
                      <a:pt x="262" y="76"/>
                    </a:lnTo>
                    <a:lnTo>
                      <a:pt x="266" y="84"/>
                    </a:lnTo>
                    <a:lnTo>
                      <a:pt x="264" y="88"/>
                    </a:lnTo>
                    <a:lnTo>
                      <a:pt x="258" y="86"/>
                    </a:lnTo>
                    <a:lnTo>
                      <a:pt x="240" y="82"/>
                    </a:lnTo>
                    <a:lnTo>
                      <a:pt x="230" y="88"/>
                    </a:lnTo>
                    <a:lnTo>
                      <a:pt x="206" y="88"/>
                    </a:lnTo>
                    <a:lnTo>
                      <a:pt x="196" y="94"/>
                    </a:lnTo>
                    <a:lnTo>
                      <a:pt x="180" y="96"/>
                    </a:lnTo>
                    <a:lnTo>
                      <a:pt x="174" y="92"/>
                    </a:lnTo>
                    <a:lnTo>
                      <a:pt x="170" y="92"/>
                    </a:lnTo>
                    <a:lnTo>
                      <a:pt x="168" y="94"/>
                    </a:lnTo>
                    <a:lnTo>
                      <a:pt x="156" y="94"/>
                    </a:lnTo>
                    <a:lnTo>
                      <a:pt x="152" y="92"/>
                    </a:lnTo>
                    <a:lnTo>
                      <a:pt x="150" y="98"/>
                    </a:lnTo>
                    <a:lnTo>
                      <a:pt x="142" y="106"/>
                    </a:lnTo>
                    <a:lnTo>
                      <a:pt x="140" y="98"/>
                    </a:lnTo>
                    <a:lnTo>
                      <a:pt x="144" y="92"/>
                    </a:lnTo>
                    <a:lnTo>
                      <a:pt x="138" y="92"/>
                    </a:lnTo>
                    <a:lnTo>
                      <a:pt x="134" y="94"/>
                    </a:lnTo>
                    <a:lnTo>
                      <a:pt x="122" y="94"/>
                    </a:lnTo>
                    <a:lnTo>
                      <a:pt x="118" y="94"/>
                    </a:lnTo>
                    <a:lnTo>
                      <a:pt x="112" y="102"/>
                    </a:lnTo>
                    <a:lnTo>
                      <a:pt x="102" y="104"/>
                    </a:lnTo>
                    <a:lnTo>
                      <a:pt x="94" y="104"/>
                    </a:lnTo>
                    <a:lnTo>
                      <a:pt x="86" y="98"/>
                    </a:lnTo>
                    <a:lnTo>
                      <a:pt x="76" y="94"/>
                    </a:lnTo>
                    <a:lnTo>
                      <a:pt x="68" y="92"/>
                    </a:lnTo>
                    <a:lnTo>
                      <a:pt x="62" y="94"/>
                    </a:lnTo>
                    <a:lnTo>
                      <a:pt x="64" y="98"/>
                    </a:lnTo>
                    <a:lnTo>
                      <a:pt x="62" y="102"/>
                    </a:lnTo>
                    <a:lnTo>
                      <a:pt x="48" y="102"/>
                    </a:lnTo>
                    <a:lnTo>
                      <a:pt x="40" y="94"/>
                    </a:lnTo>
                    <a:lnTo>
                      <a:pt x="34" y="92"/>
                    </a:lnTo>
                    <a:lnTo>
                      <a:pt x="22" y="88"/>
                    </a:lnTo>
                    <a:lnTo>
                      <a:pt x="18" y="80"/>
                    </a:lnTo>
                    <a:lnTo>
                      <a:pt x="18" y="76"/>
                    </a:lnTo>
                    <a:lnTo>
                      <a:pt x="8" y="72"/>
                    </a:lnTo>
                    <a:lnTo>
                      <a:pt x="12" y="66"/>
                    </a:lnTo>
                    <a:lnTo>
                      <a:pt x="16" y="60"/>
                    </a:lnTo>
                    <a:lnTo>
                      <a:pt x="14" y="54"/>
                    </a:lnTo>
                    <a:lnTo>
                      <a:pt x="12" y="48"/>
                    </a:lnTo>
                    <a:lnTo>
                      <a:pt x="4" y="46"/>
                    </a:lnTo>
                    <a:lnTo>
                      <a:pt x="4" y="42"/>
                    </a:lnTo>
                    <a:lnTo>
                      <a:pt x="8" y="36"/>
                    </a:lnTo>
                    <a:lnTo>
                      <a:pt x="14" y="34"/>
                    </a:lnTo>
                    <a:lnTo>
                      <a:pt x="26" y="36"/>
                    </a:lnTo>
                    <a:lnTo>
                      <a:pt x="38" y="36"/>
                    </a:lnTo>
                    <a:lnTo>
                      <a:pt x="44" y="36"/>
                    </a:lnTo>
                    <a:lnTo>
                      <a:pt x="44" y="30"/>
                    </a:lnTo>
                    <a:lnTo>
                      <a:pt x="50" y="28"/>
                    </a:lnTo>
                    <a:lnTo>
                      <a:pt x="56" y="28"/>
                    </a:lnTo>
                    <a:lnTo>
                      <a:pt x="50" y="24"/>
                    </a:lnTo>
                    <a:lnTo>
                      <a:pt x="44" y="24"/>
                    </a:lnTo>
                    <a:lnTo>
                      <a:pt x="44" y="20"/>
                    </a:lnTo>
                    <a:lnTo>
                      <a:pt x="64" y="20"/>
                    </a:lnTo>
                    <a:lnTo>
                      <a:pt x="78" y="20"/>
                    </a:lnTo>
                    <a:lnTo>
                      <a:pt x="84" y="14"/>
                    </a:lnTo>
                    <a:lnTo>
                      <a:pt x="102" y="4"/>
                    </a:lnTo>
                    <a:lnTo>
                      <a:pt x="130" y="4"/>
                    </a:lnTo>
                    <a:close/>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8" name="Freeform 811"/>
              <p:cNvSpPr>
                <a:spLocks/>
              </p:cNvSpPr>
              <p:nvPr/>
            </p:nvSpPr>
            <p:spPr bwMode="auto">
              <a:xfrm>
                <a:off x="3235" y="1887"/>
                <a:ext cx="262" cy="102"/>
              </a:xfrm>
              <a:custGeom>
                <a:avLst/>
                <a:gdLst>
                  <a:gd name="T0" fmla="*/ 130 w 262"/>
                  <a:gd name="T1" fmla="*/ 12 h 102"/>
                  <a:gd name="T2" fmla="*/ 144 w 262"/>
                  <a:gd name="T3" fmla="*/ 16 h 102"/>
                  <a:gd name="T4" fmla="*/ 164 w 262"/>
                  <a:gd name="T5" fmla="*/ 20 h 102"/>
                  <a:gd name="T6" fmla="*/ 196 w 262"/>
                  <a:gd name="T7" fmla="*/ 20 h 102"/>
                  <a:gd name="T8" fmla="*/ 218 w 262"/>
                  <a:gd name="T9" fmla="*/ 10 h 102"/>
                  <a:gd name="T10" fmla="*/ 226 w 262"/>
                  <a:gd name="T11" fmla="*/ 14 h 102"/>
                  <a:gd name="T12" fmla="*/ 236 w 262"/>
                  <a:gd name="T13" fmla="*/ 10 h 102"/>
                  <a:gd name="T14" fmla="*/ 246 w 262"/>
                  <a:gd name="T15" fmla="*/ 18 h 102"/>
                  <a:gd name="T16" fmla="*/ 246 w 262"/>
                  <a:gd name="T17" fmla="*/ 38 h 102"/>
                  <a:gd name="T18" fmla="*/ 262 w 262"/>
                  <a:gd name="T19" fmla="*/ 42 h 102"/>
                  <a:gd name="T20" fmla="*/ 254 w 262"/>
                  <a:gd name="T21" fmla="*/ 48 h 102"/>
                  <a:gd name="T22" fmla="*/ 256 w 262"/>
                  <a:gd name="T23" fmla="*/ 62 h 102"/>
                  <a:gd name="T24" fmla="*/ 262 w 262"/>
                  <a:gd name="T25" fmla="*/ 80 h 102"/>
                  <a:gd name="T26" fmla="*/ 254 w 262"/>
                  <a:gd name="T27" fmla="*/ 82 h 102"/>
                  <a:gd name="T28" fmla="*/ 226 w 262"/>
                  <a:gd name="T29" fmla="*/ 84 h 102"/>
                  <a:gd name="T30" fmla="*/ 192 w 262"/>
                  <a:gd name="T31" fmla="*/ 90 h 102"/>
                  <a:gd name="T32" fmla="*/ 170 w 262"/>
                  <a:gd name="T33" fmla="*/ 88 h 102"/>
                  <a:gd name="T34" fmla="*/ 164 w 262"/>
                  <a:gd name="T35" fmla="*/ 90 h 102"/>
                  <a:gd name="T36" fmla="*/ 148 w 262"/>
                  <a:gd name="T37" fmla="*/ 88 h 102"/>
                  <a:gd name="T38" fmla="*/ 138 w 262"/>
                  <a:gd name="T39" fmla="*/ 102 h 102"/>
                  <a:gd name="T40" fmla="*/ 140 w 262"/>
                  <a:gd name="T41" fmla="*/ 88 h 102"/>
                  <a:gd name="T42" fmla="*/ 130 w 262"/>
                  <a:gd name="T43" fmla="*/ 90 h 102"/>
                  <a:gd name="T44" fmla="*/ 114 w 262"/>
                  <a:gd name="T45" fmla="*/ 90 h 102"/>
                  <a:gd name="T46" fmla="*/ 98 w 262"/>
                  <a:gd name="T47" fmla="*/ 100 h 102"/>
                  <a:gd name="T48" fmla="*/ 82 w 262"/>
                  <a:gd name="T49" fmla="*/ 94 h 102"/>
                  <a:gd name="T50" fmla="*/ 64 w 262"/>
                  <a:gd name="T51" fmla="*/ 88 h 102"/>
                  <a:gd name="T52" fmla="*/ 60 w 262"/>
                  <a:gd name="T53" fmla="*/ 94 h 102"/>
                  <a:gd name="T54" fmla="*/ 44 w 262"/>
                  <a:gd name="T55" fmla="*/ 98 h 102"/>
                  <a:gd name="T56" fmla="*/ 30 w 262"/>
                  <a:gd name="T57" fmla="*/ 88 h 102"/>
                  <a:gd name="T58" fmla="*/ 14 w 262"/>
                  <a:gd name="T59" fmla="*/ 76 h 102"/>
                  <a:gd name="T60" fmla="*/ 4 w 262"/>
                  <a:gd name="T61" fmla="*/ 68 h 102"/>
                  <a:gd name="T62" fmla="*/ 12 w 262"/>
                  <a:gd name="T63" fmla="*/ 56 h 102"/>
                  <a:gd name="T64" fmla="*/ 8 w 262"/>
                  <a:gd name="T65" fmla="*/ 44 h 102"/>
                  <a:gd name="T66" fmla="*/ 0 w 262"/>
                  <a:gd name="T67" fmla="*/ 38 h 102"/>
                  <a:gd name="T68" fmla="*/ 10 w 262"/>
                  <a:gd name="T69" fmla="*/ 30 h 102"/>
                  <a:gd name="T70" fmla="*/ 34 w 262"/>
                  <a:gd name="T71" fmla="*/ 32 h 102"/>
                  <a:gd name="T72" fmla="*/ 40 w 262"/>
                  <a:gd name="T73" fmla="*/ 26 h 102"/>
                  <a:gd name="T74" fmla="*/ 52 w 262"/>
                  <a:gd name="T75" fmla="*/ 24 h 102"/>
                  <a:gd name="T76" fmla="*/ 40 w 262"/>
                  <a:gd name="T77" fmla="*/ 20 h 102"/>
                  <a:gd name="T78" fmla="*/ 60 w 262"/>
                  <a:gd name="T79" fmla="*/ 16 h 102"/>
                  <a:gd name="T80" fmla="*/ 80 w 262"/>
                  <a:gd name="T81" fmla="*/ 10 h 102"/>
                  <a:gd name="T82" fmla="*/ 126 w 262"/>
                  <a:gd name="T8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2" h="102">
                    <a:moveTo>
                      <a:pt x="126" y="0"/>
                    </a:moveTo>
                    <a:lnTo>
                      <a:pt x="130" y="12"/>
                    </a:lnTo>
                    <a:lnTo>
                      <a:pt x="138" y="10"/>
                    </a:lnTo>
                    <a:lnTo>
                      <a:pt x="144" y="16"/>
                    </a:lnTo>
                    <a:lnTo>
                      <a:pt x="150" y="16"/>
                    </a:lnTo>
                    <a:lnTo>
                      <a:pt x="164" y="20"/>
                    </a:lnTo>
                    <a:lnTo>
                      <a:pt x="180" y="20"/>
                    </a:lnTo>
                    <a:lnTo>
                      <a:pt x="196" y="20"/>
                    </a:lnTo>
                    <a:lnTo>
                      <a:pt x="210" y="16"/>
                    </a:lnTo>
                    <a:lnTo>
                      <a:pt x="218" y="10"/>
                    </a:lnTo>
                    <a:lnTo>
                      <a:pt x="222" y="12"/>
                    </a:lnTo>
                    <a:lnTo>
                      <a:pt x="226" y="14"/>
                    </a:lnTo>
                    <a:lnTo>
                      <a:pt x="228" y="8"/>
                    </a:lnTo>
                    <a:lnTo>
                      <a:pt x="236" y="10"/>
                    </a:lnTo>
                    <a:lnTo>
                      <a:pt x="240" y="16"/>
                    </a:lnTo>
                    <a:lnTo>
                      <a:pt x="246" y="18"/>
                    </a:lnTo>
                    <a:lnTo>
                      <a:pt x="246" y="28"/>
                    </a:lnTo>
                    <a:lnTo>
                      <a:pt x="246" y="38"/>
                    </a:lnTo>
                    <a:lnTo>
                      <a:pt x="256" y="38"/>
                    </a:lnTo>
                    <a:lnTo>
                      <a:pt x="262" y="42"/>
                    </a:lnTo>
                    <a:lnTo>
                      <a:pt x="256" y="44"/>
                    </a:lnTo>
                    <a:lnTo>
                      <a:pt x="254" y="48"/>
                    </a:lnTo>
                    <a:lnTo>
                      <a:pt x="256" y="54"/>
                    </a:lnTo>
                    <a:lnTo>
                      <a:pt x="256" y="62"/>
                    </a:lnTo>
                    <a:lnTo>
                      <a:pt x="258" y="72"/>
                    </a:lnTo>
                    <a:lnTo>
                      <a:pt x="262" y="80"/>
                    </a:lnTo>
                    <a:lnTo>
                      <a:pt x="260" y="84"/>
                    </a:lnTo>
                    <a:lnTo>
                      <a:pt x="254" y="82"/>
                    </a:lnTo>
                    <a:lnTo>
                      <a:pt x="236" y="78"/>
                    </a:lnTo>
                    <a:lnTo>
                      <a:pt x="226" y="84"/>
                    </a:lnTo>
                    <a:lnTo>
                      <a:pt x="202" y="84"/>
                    </a:lnTo>
                    <a:lnTo>
                      <a:pt x="192" y="90"/>
                    </a:lnTo>
                    <a:lnTo>
                      <a:pt x="176" y="92"/>
                    </a:lnTo>
                    <a:lnTo>
                      <a:pt x="170" y="88"/>
                    </a:lnTo>
                    <a:lnTo>
                      <a:pt x="166" y="88"/>
                    </a:lnTo>
                    <a:lnTo>
                      <a:pt x="164" y="90"/>
                    </a:lnTo>
                    <a:lnTo>
                      <a:pt x="152" y="90"/>
                    </a:lnTo>
                    <a:lnTo>
                      <a:pt x="148" y="88"/>
                    </a:lnTo>
                    <a:lnTo>
                      <a:pt x="146" y="94"/>
                    </a:lnTo>
                    <a:lnTo>
                      <a:pt x="138" y="102"/>
                    </a:lnTo>
                    <a:lnTo>
                      <a:pt x="136" y="94"/>
                    </a:lnTo>
                    <a:lnTo>
                      <a:pt x="140" y="88"/>
                    </a:lnTo>
                    <a:lnTo>
                      <a:pt x="134" y="88"/>
                    </a:lnTo>
                    <a:lnTo>
                      <a:pt x="130" y="90"/>
                    </a:lnTo>
                    <a:lnTo>
                      <a:pt x="118" y="90"/>
                    </a:lnTo>
                    <a:lnTo>
                      <a:pt x="114" y="90"/>
                    </a:lnTo>
                    <a:lnTo>
                      <a:pt x="108" y="98"/>
                    </a:lnTo>
                    <a:lnTo>
                      <a:pt x="98" y="100"/>
                    </a:lnTo>
                    <a:lnTo>
                      <a:pt x="90" y="100"/>
                    </a:lnTo>
                    <a:lnTo>
                      <a:pt x="82" y="94"/>
                    </a:lnTo>
                    <a:lnTo>
                      <a:pt x="72" y="90"/>
                    </a:lnTo>
                    <a:lnTo>
                      <a:pt x="64" y="88"/>
                    </a:lnTo>
                    <a:lnTo>
                      <a:pt x="58" y="90"/>
                    </a:lnTo>
                    <a:lnTo>
                      <a:pt x="60" y="94"/>
                    </a:lnTo>
                    <a:lnTo>
                      <a:pt x="58" y="98"/>
                    </a:lnTo>
                    <a:lnTo>
                      <a:pt x="44" y="98"/>
                    </a:lnTo>
                    <a:lnTo>
                      <a:pt x="36" y="90"/>
                    </a:lnTo>
                    <a:lnTo>
                      <a:pt x="30" y="88"/>
                    </a:lnTo>
                    <a:lnTo>
                      <a:pt x="18" y="84"/>
                    </a:lnTo>
                    <a:lnTo>
                      <a:pt x="14" y="76"/>
                    </a:lnTo>
                    <a:lnTo>
                      <a:pt x="14" y="72"/>
                    </a:lnTo>
                    <a:lnTo>
                      <a:pt x="4" y="68"/>
                    </a:lnTo>
                    <a:lnTo>
                      <a:pt x="8" y="62"/>
                    </a:lnTo>
                    <a:lnTo>
                      <a:pt x="12" y="56"/>
                    </a:lnTo>
                    <a:lnTo>
                      <a:pt x="10" y="50"/>
                    </a:lnTo>
                    <a:lnTo>
                      <a:pt x="8" y="44"/>
                    </a:lnTo>
                    <a:lnTo>
                      <a:pt x="0" y="42"/>
                    </a:lnTo>
                    <a:lnTo>
                      <a:pt x="0" y="38"/>
                    </a:lnTo>
                    <a:lnTo>
                      <a:pt x="4" y="32"/>
                    </a:lnTo>
                    <a:lnTo>
                      <a:pt x="10" y="30"/>
                    </a:lnTo>
                    <a:lnTo>
                      <a:pt x="22" y="32"/>
                    </a:lnTo>
                    <a:lnTo>
                      <a:pt x="34" y="32"/>
                    </a:lnTo>
                    <a:lnTo>
                      <a:pt x="40" y="32"/>
                    </a:lnTo>
                    <a:lnTo>
                      <a:pt x="40" y="26"/>
                    </a:lnTo>
                    <a:lnTo>
                      <a:pt x="46" y="24"/>
                    </a:lnTo>
                    <a:lnTo>
                      <a:pt x="52" y="24"/>
                    </a:lnTo>
                    <a:lnTo>
                      <a:pt x="46" y="20"/>
                    </a:lnTo>
                    <a:lnTo>
                      <a:pt x="40" y="20"/>
                    </a:lnTo>
                    <a:lnTo>
                      <a:pt x="40" y="16"/>
                    </a:lnTo>
                    <a:lnTo>
                      <a:pt x="60" y="16"/>
                    </a:lnTo>
                    <a:lnTo>
                      <a:pt x="74" y="16"/>
                    </a:lnTo>
                    <a:lnTo>
                      <a:pt x="80" y="10"/>
                    </a:lnTo>
                    <a:lnTo>
                      <a:pt x="98" y="0"/>
                    </a:lnTo>
                    <a:lnTo>
                      <a:pt x="1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9" name="Freeform 812"/>
              <p:cNvSpPr>
                <a:spLocks/>
              </p:cNvSpPr>
              <p:nvPr/>
            </p:nvSpPr>
            <p:spPr bwMode="auto">
              <a:xfrm>
                <a:off x="3231" y="1883"/>
                <a:ext cx="270" cy="110"/>
              </a:xfrm>
              <a:custGeom>
                <a:avLst/>
                <a:gdLst>
                  <a:gd name="T0" fmla="*/ 102 w 270"/>
                  <a:gd name="T1" fmla="*/ 0 h 110"/>
                  <a:gd name="T2" fmla="*/ 82 w 270"/>
                  <a:gd name="T3" fmla="*/ 10 h 110"/>
                  <a:gd name="T4" fmla="*/ 64 w 270"/>
                  <a:gd name="T5" fmla="*/ 16 h 110"/>
                  <a:gd name="T6" fmla="*/ 44 w 270"/>
                  <a:gd name="T7" fmla="*/ 16 h 110"/>
                  <a:gd name="T8" fmla="*/ 42 w 270"/>
                  <a:gd name="T9" fmla="*/ 16 h 110"/>
                  <a:gd name="T10" fmla="*/ 40 w 270"/>
                  <a:gd name="T11" fmla="*/ 24 h 110"/>
                  <a:gd name="T12" fmla="*/ 40 w 270"/>
                  <a:gd name="T13" fmla="*/ 30 h 110"/>
                  <a:gd name="T14" fmla="*/ 28 w 270"/>
                  <a:gd name="T15" fmla="*/ 32 h 110"/>
                  <a:gd name="T16" fmla="*/ 14 w 270"/>
                  <a:gd name="T17" fmla="*/ 30 h 110"/>
                  <a:gd name="T18" fmla="*/ 8 w 270"/>
                  <a:gd name="T19" fmla="*/ 32 h 110"/>
                  <a:gd name="T20" fmla="*/ 0 w 270"/>
                  <a:gd name="T21" fmla="*/ 40 h 110"/>
                  <a:gd name="T22" fmla="*/ 0 w 270"/>
                  <a:gd name="T23" fmla="*/ 46 h 110"/>
                  <a:gd name="T24" fmla="*/ 2 w 270"/>
                  <a:gd name="T25" fmla="*/ 50 h 110"/>
                  <a:gd name="T26" fmla="*/ 12 w 270"/>
                  <a:gd name="T27" fmla="*/ 60 h 110"/>
                  <a:gd name="T28" fmla="*/ 6 w 270"/>
                  <a:gd name="T29" fmla="*/ 70 h 110"/>
                  <a:gd name="T30" fmla="*/ 8 w 270"/>
                  <a:gd name="T31" fmla="*/ 76 h 110"/>
                  <a:gd name="T32" fmla="*/ 14 w 270"/>
                  <a:gd name="T33" fmla="*/ 80 h 110"/>
                  <a:gd name="T34" fmla="*/ 18 w 270"/>
                  <a:gd name="T35" fmla="*/ 90 h 110"/>
                  <a:gd name="T36" fmla="*/ 38 w 270"/>
                  <a:gd name="T37" fmla="*/ 98 h 110"/>
                  <a:gd name="T38" fmla="*/ 48 w 270"/>
                  <a:gd name="T39" fmla="*/ 106 h 110"/>
                  <a:gd name="T40" fmla="*/ 66 w 270"/>
                  <a:gd name="T41" fmla="*/ 104 h 110"/>
                  <a:gd name="T42" fmla="*/ 68 w 270"/>
                  <a:gd name="T43" fmla="*/ 98 h 110"/>
                  <a:gd name="T44" fmla="*/ 74 w 270"/>
                  <a:gd name="T45" fmla="*/ 98 h 110"/>
                  <a:gd name="T46" fmla="*/ 84 w 270"/>
                  <a:gd name="T47" fmla="*/ 102 h 110"/>
                  <a:gd name="T48" fmla="*/ 94 w 270"/>
                  <a:gd name="T49" fmla="*/ 108 h 110"/>
                  <a:gd name="T50" fmla="*/ 104 w 270"/>
                  <a:gd name="T51" fmla="*/ 108 h 110"/>
                  <a:gd name="T52" fmla="*/ 114 w 270"/>
                  <a:gd name="T53" fmla="*/ 104 h 110"/>
                  <a:gd name="T54" fmla="*/ 134 w 270"/>
                  <a:gd name="T55" fmla="*/ 98 h 110"/>
                  <a:gd name="T56" fmla="*/ 134 w 270"/>
                  <a:gd name="T57" fmla="*/ 98 h 110"/>
                  <a:gd name="T58" fmla="*/ 136 w 270"/>
                  <a:gd name="T59" fmla="*/ 100 h 110"/>
                  <a:gd name="T60" fmla="*/ 142 w 270"/>
                  <a:gd name="T61" fmla="*/ 110 h 110"/>
                  <a:gd name="T62" fmla="*/ 142 w 270"/>
                  <a:gd name="T63" fmla="*/ 110 h 110"/>
                  <a:gd name="T64" fmla="*/ 152 w 270"/>
                  <a:gd name="T65" fmla="*/ 102 h 110"/>
                  <a:gd name="T66" fmla="*/ 154 w 270"/>
                  <a:gd name="T67" fmla="*/ 98 h 110"/>
                  <a:gd name="T68" fmla="*/ 168 w 270"/>
                  <a:gd name="T69" fmla="*/ 98 h 110"/>
                  <a:gd name="T70" fmla="*/ 172 w 270"/>
                  <a:gd name="T71" fmla="*/ 96 h 110"/>
                  <a:gd name="T72" fmla="*/ 178 w 270"/>
                  <a:gd name="T73" fmla="*/ 100 h 110"/>
                  <a:gd name="T74" fmla="*/ 180 w 270"/>
                  <a:gd name="T75" fmla="*/ 100 h 110"/>
                  <a:gd name="T76" fmla="*/ 198 w 270"/>
                  <a:gd name="T77" fmla="*/ 98 h 110"/>
                  <a:gd name="T78" fmla="*/ 230 w 270"/>
                  <a:gd name="T79" fmla="*/ 92 h 110"/>
                  <a:gd name="T80" fmla="*/ 256 w 270"/>
                  <a:gd name="T81" fmla="*/ 90 h 110"/>
                  <a:gd name="T82" fmla="*/ 264 w 270"/>
                  <a:gd name="T83" fmla="*/ 92 h 110"/>
                  <a:gd name="T84" fmla="*/ 268 w 270"/>
                  <a:gd name="T85" fmla="*/ 90 h 110"/>
                  <a:gd name="T86" fmla="*/ 270 w 270"/>
                  <a:gd name="T87" fmla="*/ 82 h 110"/>
                  <a:gd name="T88" fmla="*/ 264 w 270"/>
                  <a:gd name="T89" fmla="*/ 58 h 110"/>
                  <a:gd name="T90" fmla="*/ 268 w 270"/>
                  <a:gd name="T91" fmla="*/ 50 h 110"/>
                  <a:gd name="T92" fmla="*/ 270 w 270"/>
                  <a:gd name="T93" fmla="*/ 46 h 110"/>
                  <a:gd name="T94" fmla="*/ 268 w 270"/>
                  <a:gd name="T95" fmla="*/ 42 h 110"/>
                  <a:gd name="T96" fmla="*/ 260 w 270"/>
                  <a:gd name="T97" fmla="*/ 38 h 110"/>
                  <a:gd name="T98" fmla="*/ 254 w 270"/>
                  <a:gd name="T99" fmla="*/ 22 h 110"/>
                  <a:gd name="T100" fmla="*/ 248 w 270"/>
                  <a:gd name="T101" fmla="*/ 16 h 110"/>
                  <a:gd name="T102" fmla="*/ 240 w 270"/>
                  <a:gd name="T103" fmla="*/ 10 h 110"/>
                  <a:gd name="T104" fmla="*/ 232 w 270"/>
                  <a:gd name="T105" fmla="*/ 8 h 110"/>
                  <a:gd name="T106" fmla="*/ 228 w 270"/>
                  <a:gd name="T107" fmla="*/ 10 h 110"/>
                  <a:gd name="T108" fmla="*/ 222 w 270"/>
                  <a:gd name="T109" fmla="*/ 10 h 110"/>
                  <a:gd name="T110" fmla="*/ 218 w 270"/>
                  <a:gd name="T111" fmla="*/ 10 h 110"/>
                  <a:gd name="T112" fmla="*/ 184 w 270"/>
                  <a:gd name="T113" fmla="*/ 20 h 110"/>
                  <a:gd name="T114" fmla="*/ 150 w 270"/>
                  <a:gd name="T115" fmla="*/ 16 h 110"/>
                  <a:gd name="T116" fmla="*/ 142 w 270"/>
                  <a:gd name="T117" fmla="*/ 10 h 110"/>
                  <a:gd name="T118" fmla="*/ 138 w 270"/>
                  <a:gd name="T119" fmla="*/ 10 h 110"/>
                  <a:gd name="T120" fmla="*/ 130 w 270"/>
                  <a:gd name="T1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0" h="110">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0" name="Freeform 813"/>
              <p:cNvSpPr>
                <a:spLocks/>
              </p:cNvSpPr>
              <p:nvPr/>
            </p:nvSpPr>
            <p:spPr bwMode="auto">
              <a:xfrm>
                <a:off x="3355" y="2009"/>
                <a:ext cx="32" cy="32"/>
              </a:xfrm>
              <a:custGeom>
                <a:avLst/>
                <a:gdLst>
                  <a:gd name="T0" fmla="*/ 8 w 32"/>
                  <a:gd name="T1" fmla="*/ 32 h 32"/>
                  <a:gd name="T2" fmla="*/ 8 w 32"/>
                  <a:gd name="T3" fmla="*/ 32 h 32"/>
                  <a:gd name="T4" fmla="*/ 8 w 32"/>
                  <a:gd name="T5" fmla="*/ 32 h 32"/>
                  <a:gd name="T6" fmla="*/ 2 w 32"/>
                  <a:gd name="T7" fmla="*/ 30 h 32"/>
                  <a:gd name="T8" fmla="*/ 2 w 32"/>
                  <a:gd name="T9" fmla="*/ 30 h 32"/>
                  <a:gd name="T10" fmla="*/ 0 w 32"/>
                  <a:gd name="T11" fmla="*/ 28 h 32"/>
                  <a:gd name="T12" fmla="*/ 0 w 32"/>
                  <a:gd name="T13" fmla="*/ 28 h 32"/>
                  <a:gd name="T14" fmla="*/ 0 w 32"/>
                  <a:gd name="T15" fmla="*/ 26 h 32"/>
                  <a:gd name="T16" fmla="*/ 6 w 32"/>
                  <a:gd name="T17" fmla="*/ 18 h 32"/>
                  <a:gd name="T18" fmla="*/ 12 w 32"/>
                  <a:gd name="T19" fmla="*/ 10 h 32"/>
                  <a:gd name="T20" fmla="*/ 16 w 32"/>
                  <a:gd name="T21" fmla="*/ 4 h 32"/>
                  <a:gd name="T22" fmla="*/ 16 w 32"/>
                  <a:gd name="T23" fmla="*/ 4 h 32"/>
                  <a:gd name="T24" fmla="*/ 18 w 32"/>
                  <a:gd name="T25" fmla="*/ 2 h 32"/>
                  <a:gd name="T26" fmla="*/ 26 w 32"/>
                  <a:gd name="T27" fmla="*/ 0 h 32"/>
                  <a:gd name="T28" fmla="*/ 26 w 32"/>
                  <a:gd name="T29" fmla="*/ 0 h 32"/>
                  <a:gd name="T30" fmla="*/ 26 w 32"/>
                  <a:gd name="T31" fmla="*/ 0 h 32"/>
                  <a:gd name="T32" fmla="*/ 26 w 32"/>
                  <a:gd name="T33" fmla="*/ 0 h 32"/>
                  <a:gd name="T34" fmla="*/ 28 w 32"/>
                  <a:gd name="T35" fmla="*/ 0 h 32"/>
                  <a:gd name="T36" fmla="*/ 32 w 32"/>
                  <a:gd name="T37" fmla="*/ 4 h 32"/>
                  <a:gd name="T38" fmla="*/ 32 w 32"/>
                  <a:gd name="T39" fmla="*/ 4 h 32"/>
                  <a:gd name="T40" fmla="*/ 32 w 32"/>
                  <a:gd name="T41" fmla="*/ 8 h 32"/>
                  <a:gd name="T42" fmla="*/ 28 w 32"/>
                  <a:gd name="T43" fmla="*/ 14 h 32"/>
                  <a:gd name="T44" fmla="*/ 22 w 32"/>
                  <a:gd name="T45" fmla="*/ 18 h 32"/>
                  <a:gd name="T46" fmla="*/ 20 w 32"/>
                  <a:gd name="T47" fmla="*/ 22 h 32"/>
                  <a:gd name="T48" fmla="*/ 20 w 32"/>
                  <a:gd name="T49" fmla="*/ 22 h 32"/>
                  <a:gd name="T50" fmla="*/ 20 w 32"/>
                  <a:gd name="T51" fmla="*/ 24 h 32"/>
                  <a:gd name="T52" fmla="*/ 14 w 32"/>
                  <a:gd name="T53" fmla="*/ 28 h 32"/>
                  <a:gd name="T54" fmla="*/ 10 w 32"/>
                  <a:gd name="T55" fmla="*/ 32 h 32"/>
                  <a:gd name="T56" fmla="*/ 10 w 32"/>
                  <a:gd name="T57" fmla="*/ 32 h 32"/>
                  <a:gd name="T58" fmla="*/ 8 w 32"/>
                  <a:gd name="T59" fmla="*/ 32 h 32"/>
                  <a:gd name="T60" fmla="*/ 8 w 3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32">
                    <a:moveTo>
                      <a:pt x="8" y="32"/>
                    </a:moveTo>
                    <a:lnTo>
                      <a:pt x="8" y="32"/>
                    </a:lnTo>
                    <a:lnTo>
                      <a:pt x="8" y="32"/>
                    </a:lnTo>
                    <a:lnTo>
                      <a:pt x="2" y="30"/>
                    </a:lnTo>
                    <a:lnTo>
                      <a:pt x="2" y="30"/>
                    </a:lnTo>
                    <a:lnTo>
                      <a:pt x="0" y="28"/>
                    </a:lnTo>
                    <a:lnTo>
                      <a:pt x="0" y="28"/>
                    </a:lnTo>
                    <a:lnTo>
                      <a:pt x="0" y="26"/>
                    </a:lnTo>
                    <a:lnTo>
                      <a:pt x="6" y="18"/>
                    </a:lnTo>
                    <a:lnTo>
                      <a:pt x="12" y="10"/>
                    </a:lnTo>
                    <a:lnTo>
                      <a:pt x="16" y="4"/>
                    </a:lnTo>
                    <a:lnTo>
                      <a:pt x="16" y="4"/>
                    </a:lnTo>
                    <a:lnTo>
                      <a:pt x="18" y="2"/>
                    </a:lnTo>
                    <a:lnTo>
                      <a:pt x="26" y="0"/>
                    </a:lnTo>
                    <a:lnTo>
                      <a:pt x="26" y="0"/>
                    </a:lnTo>
                    <a:lnTo>
                      <a:pt x="26" y="0"/>
                    </a:lnTo>
                    <a:lnTo>
                      <a:pt x="26" y="0"/>
                    </a:lnTo>
                    <a:lnTo>
                      <a:pt x="28" y="0"/>
                    </a:lnTo>
                    <a:lnTo>
                      <a:pt x="32" y="4"/>
                    </a:lnTo>
                    <a:lnTo>
                      <a:pt x="32" y="4"/>
                    </a:lnTo>
                    <a:lnTo>
                      <a:pt x="32" y="8"/>
                    </a:lnTo>
                    <a:lnTo>
                      <a:pt x="28" y="14"/>
                    </a:lnTo>
                    <a:lnTo>
                      <a:pt x="22" y="18"/>
                    </a:lnTo>
                    <a:lnTo>
                      <a:pt x="20" y="22"/>
                    </a:lnTo>
                    <a:lnTo>
                      <a:pt x="20" y="22"/>
                    </a:lnTo>
                    <a:lnTo>
                      <a:pt x="20" y="24"/>
                    </a:lnTo>
                    <a:lnTo>
                      <a:pt x="14" y="28"/>
                    </a:lnTo>
                    <a:lnTo>
                      <a:pt x="10" y="32"/>
                    </a:lnTo>
                    <a:lnTo>
                      <a:pt x="10"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1" name="Freeform 814"/>
              <p:cNvSpPr>
                <a:spLocks noEditPoints="1"/>
              </p:cNvSpPr>
              <p:nvPr/>
            </p:nvSpPr>
            <p:spPr bwMode="auto">
              <a:xfrm>
                <a:off x="3353" y="2007"/>
                <a:ext cx="36" cy="36"/>
              </a:xfrm>
              <a:custGeom>
                <a:avLst/>
                <a:gdLst>
                  <a:gd name="T0" fmla="*/ 28 w 36"/>
                  <a:gd name="T1" fmla="*/ 4 h 36"/>
                  <a:gd name="T2" fmla="*/ 32 w 36"/>
                  <a:gd name="T3" fmla="*/ 8 h 36"/>
                  <a:gd name="T4" fmla="*/ 28 w 36"/>
                  <a:gd name="T5" fmla="*/ 14 h 36"/>
                  <a:gd name="T6" fmla="*/ 22 w 36"/>
                  <a:gd name="T7" fmla="*/ 18 h 36"/>
                  <a:gd name="T8" fmla="*/ 20 w 36"/>
                  <a:gd name="T9" fmla="*/ 24 h 36"/>
                  <a:gd name="T10" fmla="*/ 14 w 36"/>
                  <a:gd name="T11" fmla="*/ 28 h 36"/>
                  <a:gd name="T12" fmla="*/ 10 w 36"/>
                  <a:gd name="T13" fmla="*/ 32 h 36"/>
                  <a:gd name="T14" fmla="*/ 4 w 36"/>
                  <a:gd name="T15" fmla="*/ 30 h 36"/>
                  <a:gd name="T16" fmla="*/ 10 w 36"/>
                  <a:gd name="T17" fmla="*/ 22 h 36"/>
                  <a:gd name="T18" fmla="*/ 16 w 36"/>
                  <a:gd name="T19" fmla="*/ 12 h 36"/>
                  <a:gd name="T20" fmla="*/ 20 w 36"/>
                  <a:gd name="T21" fmla="*/ 6 h 36"/>
                  <a:gd name="T22" fmla="*/ 28 w 36"/>
                  <a:gd name="T23" fmla="*/ 4 h 36"/>
                  <a:gd name="T24" fmla="*/ 28 w 36"/>
                  <a:gd name="T25" fmla="*/ 0 h 36"/>
                  <a:gd name="T26" fmla="*/ 28 w 36"/>
                  <a:gd name="T27" fmla="*/ 0 h 36"/>
                  <a:gd name="T28" fmla="*/ 28 w 36"/>
                  <a:gd name="T29" fmla="*/ 0 h 36"/>
                  <a:gd name="T30" fmla="*/ 20 w 36"/>
                  <a:gd name="T31" fmla="*/ 2 h 36"/>
                  <a:gd name="T32" fmla="*/ 20 w 36"/>
                  <a:gd name="T33" fmla="*/ 2 h 36"/>
                  <a:gd name="T34" fmla="*/ 18 w 36"/>
                  <a:gd name="T35" fmla="*/ 4 h 36"/>
                  <a:gd name="T36" fmla="*/ 14 w 36"/>
                  <a:gd name="T37" fmla="*/ 10 h 36"/>
                  <a:gd name="T38" fmla="*/ 8 w 36"/>
                  <a:gd name="T39" fmla="*/ 20 h 36"/>
                  <a:gd name="T40" fmla="*/ 2 w 36"/>
                  <a:gd name="T41" fmla="*/ 28 h 36"/>
                  <a:gd name="T42" fmla="*/ 2 w 36"/>
                  <a:gd name="T43" fmla="*/ 28 h 36"/>
                  <a:gd name="T44" fmla="*/ 0 w 36"/>
                  <a:gd name="T45" fmla="*/ 32 h 36"/>
                  <a:gd name="T46" fmla="*/ 0 w 36"/>
                  <a:gd name="T47" fmla="*/ 32 h 36"/>
                  <a:gd name="T48" fmla="*/ 4 w 36"/>
                  <a:gd name="T49" fmla="*/ 34 h 36"/>
                  <a:gd name="T50" fmla="*/ 10 w 36"/>
                  <a:gd name="T51" fmla="*/ 36 h 36"/>
                  <a:gd name="T52" fmla="*/ 10 w 36"/>
                  <a:gd name="T53" fmla="*/ 36 h 36"/>
                  <a:gd name="T54" fmla="*/ 10 w 36"/>
                  <a:gd name="T55" fmla="*/ 36 h 36"/>
                  <a:gd name="T56" fmla="*/ 10 w 36"/>
                  <a:gd name="T57" fmla="*/ 36 h 36"/>
                  <a:gd name="T58" fmla="*/ 14 w 36"/>
                  <a:gd name="T59" fmla="*/ 34 h 36"/>
                  <a:gd name="T60" fmla="*/ 18 w 36"/>
                  <a:gd name="T61" fmla="*/ 32 h 36"/>
                  <a:gd name="T62" fmla="*/ 22 w 36"/>
                  <a:gd name="T63" fmla="*/ 28 h 36"/>
                  <a:gd name="T64" fmla="*/ 22 w 36"/>
                  <a:gd name="T65" fmla="*/ 28 h 36"/>
                  <a:gd name="T66" fmla="*/ 24 w 36"/>
                  <a:gd name="T67" fmla="*/ 26 h 36"/>
                  <a:gd name="T68" fmla="*/ 26 w 36"/>
                  <a:gd name="T69" fmla="*/ 20 h 36"/>
                  <a:gd name="T70" fmla="*/ 30 w 36"/>
                  <a:gd name="T71" fmla="*/ 18 h 36"/>
                  <a:gd name="T72" fmla="*/ 30 w 36"/>
                  <a:gd name="T73" fmla="*/ 18 h 36"/>
                  <a:gd name="T74" fmla="*/ 32 w 36"/>
                  <a:gd name="T75" fmla="*/ 16 h 36"/>
                  <a:gd name="T76" fmla="*/ 36 w 36"/>
                  <a:gd name="T77" fmla="*/ 10 h 36"/>
                  <a:gd name="T78" fmla="*/ 36 w 36"/>
                  <a:gd name="T79" fmla="*/ 10 h 36"/>
                  <a:gd name="T80" fmla="*/ 36 w 36"/>
                  <a:gd name="T81" fmla="*/ 8 h 36"/>
                  <a:gd name="T82" fmla="*/ 36 w 36"/>
                  <a:gd name="T83" fmla="*/ 6 h 36"/>
                  <a:gd name="T84" fmla="*/ 32 w 36"/>
                  <a:gd name="T85" fmla="*/ 2 h 36"/>
                  <a:gd name="T86" fmla="*/ 32 w 36"/>
                  <a:gd name="T87" fmla="*/ 2 h 36"/>
                  <a:gd name="T88" fmla="*/ 28 w 36"/>
                  <a:gd name="T89" fmla="*/ 0 h 36"/>
                  <a:gd name="T90" fmla="*/ 28 w 36"/>
                  <a:gd name="T9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36">
                    <a:moveTo>
                      <a:pt x="28" y="4"/>
                    </a:moveTo>
                    <a:lnTo>
                      <a:pt x="32" y="8"/>
                    </a:lnTo>
                    <a:lnTo>
                      <a:pt x="28" y="14"/>
                    </a:lnTo>
                    <a:lnTo>
                      <a:pt x="22" y="18"/>
                    </a:lnTo>
                    <a:lnTo>
                      <a:pt x="20" y="24"/>
                    </a:lnTo>
                    <a:lnTo>
                      <a:pt x="14" y="28"/>
                    </a:lnTo>
                    <a:lnTo>
                      <a:pt x="10" y="32"/>
                    </a:lnTo>
                    <a:lnTo>
                      <a:pt x="4" y="30"/>
                    </a:lnTo>
                    <a:lnTo>
                      <a:pt x="10" y="22"/>
                    </a:lnTo>
                    <a:lnTo>
                      <a:pt x="16" y="12"/>
                    </a:lnTo>
                    <a:lnTo>
                      <a:pt x="20" y="6"/>
                    </a:lnTo>
                    <a:lnTo>
                      <a:pt x="28" y="4"/>
                    </a:lnTo>
                    <a:close/>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2" name="Freeform 815"/>
              <p:cNvSpPr>
                <a:spLocks/>
              </p:cNvSpPr>
              <p:nvPr/>
            </p:nvSpPr>
            <p:spPr bwMode="auto">
              <a:xfrm>
                <a:off x="3357" y="2011"/>
                <a:ext cx="28" cy="28"/>
              </a:xfrm>
              <a:custGeom>
                <a:avLst/>
                <a:gdLst>
                  <a:gd name="T0" fmla="*/ 24 w 28"/>
                  <a:gd name="T1" fmla="*/ 0 h 28"/>
                  <a:gd name="T2" fmla="*/ 28 w 28"/>
                  <a:gd name="T3" fmla="*/ 4 h 28"/>
                  <a:gd name="T4" fmla="*/ 24 w 28"/>
                  <a:gd name="T5" fmla="*/ 10 h 28"/>
                  <a:gd name="T6" fmla="*/ 18 w 28"/>
                  <a:gd name="T7" fmla="*/ 14 h 28"/>
                  <a:gd name="T8" fmla="*/ 16 w 28"/>
                  <a:gd name="T9" fmla="*/ 20 h 28"/>
                  <a:gd name="T10" fmla="*/ 10 w 28"/>
                  <a:gd name="T11" fmla="*/ 24 h 28"/>
                  <a:gd name="T12" fmla="*/ 6 w 28"/>
                  <a:gd name="T13" fmla="*/ 28 h 28"/>
                  <a:gd name="T14" fmla="*/ 0 w 28"/>
                  <a:gd name="T15" fmla="*/ 26 h 28"/>
                  <a:gd name="T16" fmla="*/ 6 w 28"/>
                  <a:gd name="T17" fmla="*/ 18 h 28"/>
                  <a:gd name="T18" fmla="*/ 12 w 28"/>
                  <a:gd name="T19" fmla="*/ 8 h 28"/>
                  <a:gd name="T20" fmla="*/ 16 w 28"/>
                  <a:gd name="T21" fmla="*/ 2 h 28"/>
                  <a:gd name="T22" fmla="*/ 24 w 2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0"/>
                    </a:moveTo>
                    <a:lnTo>
                      <a:pt x="28" y="4"/>
                    </a:lnTo>
                    <a:lnTo>
                      <a:pt x="24" y="10"/>
                    </a:lnTo>
                    <a:lnTo>
                      <a:pt x="18" y="14"/>
                    </a:lnTo>
                    <a:lnTo>
                      <a:pt x="16" y="20"/>
                    </a:lnTo>
                    <a:lnTo>
                      <a:pt x="10" y="24"/>
                    </a:lnTo>
                    <a:lnTo>
                      <a:pt x="6" y="28"/>
                    </a:lnTo>
                    <a:lnTo>
                      <a:pt x="0" y="26"/>
                    </a:lnTo>
                    <a:lnTo>
                      <a:pt x="6" y="18"/>
                    </a:lnTo>
                    <a:lnTo>
                      <a:pt x="12" y="8"/>
                    </a:lnTo>
                    <a:lnTo>
                      <a:pt x="16"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3" name="Freeform 816"/>
              <p:cNvSpPr>
                <a:spLocks/>
              </p:cNvSpPr>
              <p:nvPr/>
            </p:nvSpPr>
            <p:spPr bwMode="auto">
              <a:xfrm>
                <a:off x="3353" y="2007"/>
                <a:ext cx="36" cy="36"/>
              </a:xfrm>
              <a:custGeom>
                <a:avLst/>
                <a:gdLst>
                  <a:gd name="T0" fmla="*/ 28 w 36"/>
                  <a:gd name="T1" fmla="*/ 0 h 36"/>
                  <a:gd name="T2" fmla="*/ 28 w 36"/>
                  <a:gd name="T3" fmla="*/ 0 h 36"/>
                  <a:gd name="T4" fmla="*/ 28 w 36"/>
                  <a:gd name="T5" fmla="*/ 0 h 36"/>
                  <a:gd name="T6" fmla="*/ 20 w 36"/>
                  <a:gd name="T7" fmla="*/ 2 h 36"/>
                  <a:gd name="T8" fmla="*/ 20 w 36"/>
                  <a:gd name="T9" fmla="*/ 2 h 36"/>
                  <a:gd name="T10" fmla="*/ 18 w 36"/>
                  <a:gd name="T11" fmla="*/ 4 h 36"/>
                  <a:gd name="T12" fmla="*/ 14 w 36"/>
                  <a:gd name="T13" fmla="*/ 10 h 36"/>
                  <a:gd name="T14" fmla="*/ 8 w 36"/>
                  <a:gd name="T15" fmla="*/ 20 h 36"/>
                  <a:gd name="T16" fmla="*/ 2 w 36"/>
                  <a:gd name="T17" fmla="*/ 28 h 36"/>
                  <a:gd name="T18" fmla="*/ 2 w 36"/>
                  <a:gd name="T19" fmla="*/ 28 h 36"/>
                  <a:gd name="T20" fmla="*/ 0 w 36"/>
                  <a:gd name="T21" fmla="*/ 32 h 36"/>
                  <a:gd name="T22" fmla="*/ 0 w 36"/>
                  <a:gd name="T23" fmla="*/ 32 h 36"/>
                  <a:gd name="T24" fmla="*/ 4 w 36"/>
                  <a:gd name="T25" fmla="*/ 34 h 36"/>
                  <a:gd name="T26" fmla="*/ 10 w 36"/>
                  <a:gd name="T27" fmla="*/ 36 h 36"/>
                  <a:gd name="T28" fmla="*/ 10 w 36"/>
                  <a:gd name="T29" fmla="*/ 36 h 36"/>
                  <a:gd name="T30" fmla="*/ 10 w 36"/>
                  <a:gd name="T31" fmla="*/ 36 h 36"/>
                  <a:gd name="T32" fmla="*/ 10 w 36"/>
                  <a:gd name="T33" fmla="*/ 36 h 36"/>
                  <a:gd name="T34" fmla="*/ 14 w 36"/>
                  <a:gd name="T35" fmla="*/ 34 h 36"/>
                  <a:gd name="T36" fmla="*/ 18 w 36"/>
                  <a:gd name="T37" fmla="*/ 32 h 36"/>
                  <a:gd name="T38" fmla="*/ 22 w 36"/>
                  <a:gd name="T39" fmla="*/ 28 h 36"/>
                  <a:gd name="T40" fmla="*/ 22 w 36"/>
                  <a:gd name="T41" fmla="*/ 28 h 36"/>
                  <a:gd name="T42" fmla="*/ 24 w 36"/>
                  <a:gd name="T43" fmla="*/ 26 h 36"/>
                  <a:gd name="T44" fmla="*/ 26 w 36"/>
                  <a:gd name="T45" fmla="*/ 20 h 36"/>
                  <a:gd name="T46" fmla="*/ 30 w 36"/>
                  <a:gd name="T47" fmla="*/ 18 h 36"/>
                  <a:gd name="T48" fmla="*/ 30 w 36"/>
                  <a:gd name="T49" fmla="*/ 18 h 36"/>
                  <a:gd name="T50" fmla="*/ 32 w 36"/>
                  <a:gd name="T51" fmla="*/ 16 h 36"/>
                  <a:gd name="T52" fmla="*/ 36 w 36"/>
                  <a:gd name="T53" fmla="*/ 10 h 36"/>
                  <a:gd name="T54" fmla="*/ 36 w 36"/>
                  <a:gd name="T55" fmla="*/ 10 h 36"/>
                  <a:gd name="T56" fmla="*/ 36 w 36"/>
                  <a:gd name="T57" fmla="*/ 8 h 36"/>
                  <a:gd name="T58" fmla="*/ 36 w 36"/>
                  <a:gd name="T59" fmla="*/ 6 h 36"/>
                  <a:gd name="T60" fmla="*/ 32 w 36"/>
                  <a:gd name="T61" fmla="*/ 2 h 36"/>
                  <a:gd name="T62" fmla="*/ 32 w 36"/>
                  <a:gd name="T63" fmla="*/ 2 h 36"/>
                  <a:gd name="T64" fmla="*/ 28 w 36"/>
                  <a:gd name="T65" fmla="*/ 0 h 36"/>
                  <a:gd name="T66" fmla="*/ 28 w 36"/>
                  <a:gd name="T6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36">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4" name="Freeform 817"/>
              <p:cNvSpPr>
                <a:spLocks/>
              </p:cNvSpPr>
              <p:nvPr/>
            </p:nvSpPr>
            <p:spPr bwMode="auto">
              <a:xfrm>
                <a:off x="3361" y="1969"/>
                <a:ext cx="104" cy="84"/>
              </a:xfrm>
              <a:custGeom>
                <a:avLst/>
                <a:gdLst>
                  <a:gd name="T0" fmla="*/ 20 w 104"/>
                  <a:gd name="T1" fmla="*/ 84 h 84"/>
                  <a:gd name="T2" fmla="*/ 12 w 104"/>
                  <a:gd name="T3" fmla="*/ 80 h 84"/>
                  <a:gd name="T4" fmla="*/ 4 w 104"/>
                  <a:gd name="T5" fmla="*/ 76 h 84"/>
                  <a:gd name="T6" fmla="*/ 2 w 104"/>
                  <a:gd name="T7" fmla="*/ 74 h 84"/>
                  <a:gd name="T8" fmla="*/ 0 w 104"/>
                  <a:gd name="T9" fmla="*/ 72 h 84"/>
                  <a:gd name="T10" fmla="*/ 10 w 104"/>
                  <a:gd name="T11" fmla="*/ 62 h 84"/>
                  <a:gd name="T12" fmla="*/ 12 w 104"/>
                  <a:gd name="T13" fmla="*/ 58 h 84"/>
                  <a:gd name="T14" fmla="*/ 18 w 104"/>
                  <a:gd name="T15" fmla="*/ 52 h 84"/>
                  <a:gd name="T16" fmla="*/ 18 w 104"/>
                  <a:gd name="T17" fmla="*/ 48 h 84"/>
                  <a:gd name="T18" fmla="*/ 12 w 104"/>
                  <a:gd name="T19" fmla="*/ 48 h 84"/>
                  <a:gd name="T20" fmla="*/ 12 w 104"/>
                  <a:gd name="T21" fmla="*/ 48 h 84"/>
                  <a:gd name="T22" fmla="*/ 10 w 104"/>
                  <a:gd name="T23" fmla="*/ 48 h 84"/>
                  <a:gd name="T24" fmla="*/ 8 w 104"/>
                  <a:gd name="T25" fmla="*/ 32 h 84"/>
                  <a:gd name="T26" fmla="*/ 8 w 104"/>
                  <a:gd name="T27" fmla="*/ 24 h 84"/>
                  <a:gd name="T28" fmla="*/ 10 w 104"/>
                  <a:gd name="T29" fmla="*/ 20 h 84"/>
                  <a:gd name="T30" fmla="*/ 18 w 104"/>
                  <a:gd name="T31" fmla="*/ 6 h 84"/>
                  <a:gd name="T32" fmla="*/ 20 w 104"/>
                  <a:gd name="T33" fmla="*/ 4 h 84"/>
                  <a:gd name="T34" fmla="*/ 20 w 104"/>
                  <a:gd name="T35" fmla="*/ 4 h 84"/>
                  <a:gd name="T36" fmla="*/ 22 w 104"/>
                  <a:gd name="T37" fmla="*/ 4 h 84"/>
                  <a:gd name="T38" fmla="*/ 36 w 104"/>
                  <a:gd name="T39" fmla="*/ 8 h 84"/>
                  <a:gd name="T40" fmla="*/ 38 w 104"/>
                  <a:gd name="T41" fmla="*/ 6 h 84"/>
                  <a:gd name="T42" fmla="*/ 44 w 104"/>
                  <a:gd name="T43" fmla="*/ 4 h 84"/>
                  <a:gd name="T44" fmla="*/ 46 w 104"/>
                  <a:gd name="T45" fmla="*/ 6 h 84"/>
                  <a:gd name="T46" fmla="*/ 66 w 104"/>
                  <a:gd name="T47" fmla="*/ 8 h 84"/>
                  <a:gd name="T48" fmla="*/ 78 w 104"/>
                  <a:gd name="T49" fmla="*/ 2 h 84"/>
                  <a:gd name="T50" fmla="*/ 102 w 104"/>
                  <a:gd name="T51" fmla="*/ 0 h 84"/>
                  <a:gd name="T52" fmla="*/ 104 w 104"/>
                  <a:gd name="T53" fmla="*/ 2 h 84"/>
                  <a:gd name="T54" fmla="*/ 104 w 104"/>
                  <a:gd name="T55" fmla="*/ 6 h 84"/>
                  <a:gd name="T56" fmla="*/ 92 w 104"/>
                  <a:gd name="T57" fmla="*/ 16 h 84"/>
                  <a:gd name="T58" fmla="*/ 88 w 104"/>
                  <a:gd name="T59" fmla="*/ 46 h 84"/>
                  <a:gd name="T60" fmla="*/ 54 w 104"/>
                  <a:gd name="T61" fmla="*/ 66 h 84"/>
                  <a:gd name="T62" fmla="*/ 22 w 104"/>
                  <a:gd name="T63" fmla="*/ 84 h 84"/>
                  <a:gd name="T64" fmla="*/ 20 w 104"/>
                  <a:gd name="T6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84">
                    <a:moveTo>
                      <a:pt x="20" y="84"/>
                    </a:moveTo>
                    <a:lnTo>
                      <a:pt x="20" y="84"/>
                    </a:lnTo>
                    <a:lnTo>
                      <a:pt x="20" y="84"/>
                    </a:lnTo>
                    <a:lnTo>
                      <a:pt x="12" y="80"/>
                    </a:lnTo>
                    <a:lnTo>
                      <a:pt x="8" y="78"/>
                    </a:lnTo>
                    <a:lnTo>
                      <a:pt x="4" y="76"/>
                    </a:lnTo>
                    <a:lnTo>
                      <a:pt x="4" y="76"/>
                    </a:lnTo>
                    <a:lnTo>
                      <a:pt x="2" y="74"/>
                    </a:lnTo>
                    <a:lnTo>
                      <a:pt x="0" y="72"/>
                    </a:lnTo>
                    <a:lnTo>
                      <a:pt x="0" y="72"/>
                    </a:lnTo>
                    <a:lnTo>
                      <a:pt x="0" y="68"/>
                    </a:lnTo>
                    <a:lnTo>
                      <a:pt x="10" y="62"/>
                    </a:lnTo>
                    <a:lnTo>
                      <a:pt x="12" y="58"/>
                    </a:lnTo>
                    <a:lnTo>
                      <a:pt x="12" y="58"/>
                    </a:lnTo>
                    <a:lnTo>
                      <a:pt x="12" y="56"/>
                    </a:lnTo>
                    <a:lnTo>
                      <a:pt x="18" y="52"/>
                    </a:lnTo>
                    <a:lnTo>
                      <a:pt x="20" y="48"/>
                    </a:lnTo>
                    <a:lnTo>
                      <a:pt x="18" y="48"/>
                    </a:lnTo>
                    <a:lnTo>
                      <a:pt x="12" y="48"/>
                    </a:lnTo>
                    <a:lnTo>
                      <a:pt x="12" y="48"/>
                    </a:lnTo>
                    <a:lnTo>
                      <a:pt x="12" y="48"/>
                    </a:lnTo>
                    <a:lnTo>
                      <a:pt x="12" y="48"/>
                    </a:lnTo>
                    <a:lnTo>
                      <a:pt x="10" y="48"/>
                    </a:lnTo>
                    <a:lnTo>
                      <a:pt x="10" y="48"/>
                    </a:lnTo>
                    <a:lnTo>
                      <a:pt x="10" y="46"/>
                    </a:lnTo>
                    <a:lnTo>
                      <a:pt x="8" y="32"/>
                    </a:lnTo>
                    <a:lnTo>
                      <a:pt x="8" y="24"/>
                    </a:lnTo>
                    <a:lnTo>
                      <a:pt x="8" y="24"/>
                    </a:lnTo>
                    <a:lnTo>
                      <a:pt x="8" y="24"/>
                    </a:lnTo>
                    <a:lnTo>
                      <a:pt x="10" y="20"/>
                    </a:lnTo>
                    <a:lnTo>
                      <a:pt x="18" y="12"/>
                    </a:lnTo>
                    <a:lnTo>
                      <a:pt x="18" y="6"/>
                    </a:lnTo>
                    <a:lnTo>
                      <a:pt x="18" y="6"/>
                    </a:lnTo>
                    <a:lnTo>
                      <a:pt x="20" y="4"/>
                    </a:lnTo>
                    <a:lnTo>
                      <a:pt x="20" y="4"/>
                    </a:lnTo>
                    <a:lnTo>
                      <a:pt x="20" y="4"/>
                    </a:lnTo>
                    <a:lnTo>
                      <a:pt x="20" y="4"/>
                    </a:lnTo>
                    <a:lnTo>
                      <a:pt x="22" y="4"/>
                    </a:lnTo>
                    <a:lnTo>
                      <a:pt x="26" y="8"/>
                    </a:lnTo>
                    <a:lnTo>
                      <a:pt x="36" y="8"/>
                    </a:lnTo>
                    <a:lnTo>
                      <a:pt x="38" y="6"/>
                    </a:lnTo>
                    <a:lnTo>
                      <a:pt x="38" y="6"/>
                    </a:lnTo>
                    <a:lnTo>
                      <a:pt x="40" y="4"/>
                    </a:lnTo>
                    <a:lnTo>
                      <a:pt x="44" y="4"/>
                    </a:lnTo>
                    <a:lnTo>
                      <a:pt x="44" y="4"/>
                    </a:lnTo>
                    <a:lnTo>
                      <a:pt x="46" y="6"/>
                    </a:lnTo>
                    <a:lnTo>
                      <a:pt x="52" y="10"/>
                    </a:lnTo>
                    <a:lnTo>
                      <a:pt x="66" y="8"/>
                    </a:lnTo>
                    <a:lnTo>
                      <a:pt x="78" y="2"/>
                    </a:lnTo>
                    <a:lnTo>
                      <a:pt x="78" y="2"/>
                    </a:lnTo>
                    <a:lnTo>
                      <a:pt x="78" y="0"/>
                    </a:lnTo>
                    <a:lnTo>
                      <a:pt x="102" y="0"/>
                    </a:lnTo>
                    <a:lnTo>
                      <a:pt x="102" y="0"/>
                    </a:lnTo>
                    <a:lnTo>
                      <a:pt x="104" y="2"/>
                    </a:lnTo>
                    <a:lnTo>
                      <a:pt x="104" y="6"/>
                    </a:lnTo>
                    <a:lnTo>
                      <a:pt x="104" y="6"/>
                    </a:lnTo>
                    <a:lnTo>
                      <a:pt x="104" y="8"/>
                    </a:lnTo>
                    <a:lnTo>
                      <a:pt x="92" y="16"/>
                    </a:lnTo>
                    <a:lnTo>
                      <a:pt x="88" y="46"/>
                    </a:lnTo>
                    <a:lnTo>
                      <a:pt x="88" y="46"/>
                    </a:lnTo>
                    <a:lnTo>
                      <a:pt x="88" y="46"/>
                    </a:lnTo>
                    <a:lnTo>
                      <a:pt x="54" y="66"/>
                    </a:lnTo>
                    <a:lnTo>
                      <a:pt x="30" y="82"/>
                    </a:lnTo>
                    <a:lnTo>
                      <a:pt x="22" y="84"/>
                    </a:lnTo>
                    <a:lnTo>
                      <a:pt x="22" y="84"/>
                    </a:lnTo>
                    <a:lnTo>
                      <a:pt x="20" y="84"/>
                    </a:lnTo>
                    <a:lnTo>
                      <a:pt x="20" y="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5" name="Freeform 818"/>
              <p:cNvSpPr>
                <a:spLocks noEditPoints="1"/>
              </p:cNvSpPr>
              <p:nvPr/>
            </p:nvSpPr>
            <p:spPr bwMode="auto">
              <a:xfrm>
                <a:off x="3359" y="1967"/>
                <a:ext cx="108" cy="88"/>
              </a:xfrm>
              <a:custGeom>
                <a:avLst/>
                <a:gdLst>
                  <a:gd name="T0" fmla="*/ 104 w 108"/>
                  <a:gd name="T1" fmla="*/ 8 h 88"/>
                  <a:gd name="T2" fmla="*/ 88 w 108"/>
                  <a:gd name="T3" fmla="*/ 46 h 88"/>
                  <a:gd name="T4" fmla="*/ 30 w 108"/>
                  <a:gd name="T5" fmla="*/ 82 h 88"/>
                  <a:gd name="T6" fmla="*/ 16 w 108"/>
                  <a:gd name="T7" fmla="*/ 80 h 88"/>
                  <a:gd name="T8" fmla="*/ 6 w 108"/>
                  <a:gd name="T9" fmla="*/ 76 h 88"/>
                  <a:gd name="T10" fmla="*/ 14 w 108"/>
                  <a:gd name="T11" fmla="*/ 66 h 88"/>
                  <a:gd name="T12" fmla="*/ 20 w 108"/>
                  <a:gd name="T13" fmla="*/ 56 h 88"/>
                  <a:gd name="T14" fmla="*/ 20 w 108"/>
                  <a:gd name="T15" fmla="*/ 46 h 88"/>
                  <a:gd name="T16" fmla="*/ 12 w 108"/>
                  <a:gd name="T17" fmla="*/ 34 h 88"/>
                  <a:gd name="T18" fmla="*/ 14 w 108"/>
                  <a:gd name="T19" fmla="*/ 24 h 88"/>
                  <a:gd name="T20" fmla="*/ 22 w 108"/>
                  <a:gd name="T21" fmla="*/ 8 h 88"/>
                  <a:gd name="T22" fmla="*/ 40 w 108"/>
                  <a:gd name="T23" fmla="*/ 12 h 88"/>
                  <a:gd name="T24" fmla="*/ 46 w 108"/>
                  <a:gd name="T25" fmla="*/ 8 h 88"/>
                  <a:gd name="T26" fmla="*/ 70 w 108"/>
                  <a:gd name="T27" fmla="*/ 12 h 88"/>
                  <a:gd name="T28" fmla="*/ 104 w 108"/>
                  <a:gd name="T29" fmla="*/ 4 h 88"/>
                  <a:gd name="T30" fmla="*/ 80 w 108"/>
                  <a:gd name="T31" fmla="*/ 0 h 88"/>
                  <a:gd name="T32" fmla="*/ 78 w 108"/>
                  <a:gd name="T33" fmla="*/ 2 h 88"/>
                  <a:gd name="T34" fmla="*/ 54 w 108"/>
                  <a:gd name="T35" fmla="*/ 10 h 88"/>
                  <a:gd name="T36" fmla="*/ 50 w 108"/>
                  <a:gd name="T37" fmla="*/ 6 h 88"/>
                  <a:gd name="T38" fmla="*/ 42 w 108"/>
                  <a:gd name="T39" fmla="*/ 4 h 88"/>
                  <a:gd name="T40" fmla="*/ 38 w 108"/>
                  <a:gd name="T41" fmla="*/ 6 h 88"/>
                  <a:gd name="T42" fmla="*/ 30 w 108"/>
                  <a:gd name="T43" fmla="*/ 8 h 88"/>
                  <a:gd name="T44" fmla="*/ 24 w 108"/>
                  <a:gd name="T45" fmla="*/ 6 h 88"/>
                  <a:gd name="T46" fmla="*/ 22 w 108"/>
                  <a:gd name="T47" fmla="*/ 4 h 88"/>
                  <a:gd name="T48" fmla="*/ 22 w 108"/>
                  <a:gd name="T49" fmla="*/ 4 h 88"/>
                  <a:gd name="T50" fmla="*/ 18 w 108"/>
                  <a:gd name="T51" fmla="*/ 14 h 88"/>
                  <a:gd name="T52" fmla="*/ 10 w 108"/>
                  <a:gd name="T53" fmla="*/ 20 h 88"/>
                  <a:gd name="T54" fmla="*/ 8 w 108"/>
                  <a:gd name="T55" fmla="*/ 24 h 88"/>
                  <a:gd name="T56" fmla="*/ 8 w 108"/>
                  <a:gd name="T57" fmla="*/ 26 h 88"/>
                  <a:gd name="T58" fmla="*/ 8 w 108"/>
                  <a:gd name="T59" fmla="*/ 34 h 88"/>
                  <a:gd name="T60" fmla="*/ 10 w 108"/>
                  <a:gd name="T61" fmla="*/ 50 h 88"/>
                  <a:gd name="T62" fmla="*/ 12 w 108"/>
                  <a:gd name="T63" fmla="*/ 52 h 88"/>
                  <a:gd name="T64" fmla="*/ 14 w 108"/>
                  <a:gd name="T65" fmla="*/ 52 h 88"/>
                  <a:gd name="T66" fmla="*/ 14 w 108"/>
                  <a:gd name="T67" fmla="*/ 52 h 88"/>
                  <a:gd name="T68" fmla="*/ 18 w 108"/>
                  <a:gd name="T69" fmla="*/ 54 h 88"/>
                  <a:gd name="T70" fmla="*/ 14 w 108"/>
                  <a:gd name="T71" fmla="*/ 56 h 88"/>
                  <a:gd name="T72" fmla="*/ 10 w 108"/>
                  <a:gd name="T73" fmla="*/ 62 h 88"/>
                  <a:gd name="T74" fmla="*/ 2 w 108"/>
                  <a:gd name="T75" fmla="*/ 70 h 88"/>
                  <a:gd name="T76" fmla="*/ 0 w 108"/>
                  <a:gd name="T77" fmla="*/ 74 h 88"/>
                  <a:gd name="T78" fmla="*/ 2 w 108"/>
                  <a:gd name="T79" fmla="*/ 78 h 88"/>
                  <a:gd name="T80" fmla="*/ 8 w 108"/>
                  <a:gd name="T81" fmla="*/ 82 h 88"/>
                  <a:gd name="T82" fmla="*/ 8 w 108"/>
                  <a:gd name="T83" fmla="*/ 82 h 88"/>
                  <a:gd name="T84" fmla="*/ 20 w 108"/>
                  <a:gd name="T85" fmla="*/ 86 h 88"/>
                  <a:gd name="T86" fmla="*/ 22 w 108"/>
                  <a:gd name="T87" fmla="*/ 88 h 88"/>
                  <a:gd name="T88" fmla="*/ 24 w 108"/>
                  <a:gd name="T89" fmla="*/ 88 h 88"/>
                  <a:gd name="T90" fmla="*/ 32 w 108"/>
                  <a:gd name="T91" fmla="*/ 86 h 88"/>
                  <a:gd name="T92" fmla="*/ 56 w 108"/>
                  <a:gd name="T93" fmla="*/ 70 h 88"/>
                  <a:gd name="T94" fmla="*/ 90 w 108"/>
                  <a:gd name="T95" fmla="*/ 50 h 88"/>
                  <a:gd name="T96" fmla="*/ 96 w 108"/>
                  <a:gd name="T97" fmla="*/ 20 h 88"/>
                  <a:gd name="T98" fmla="*/ 108 w 108"/>
                  <a:gd name="T99" fmla="*/ 12 h 88"/>
                  <a:gd name="T100" fmla="*/ 108 w 108"/>
                  <a:gd name="T101" fmla="*/ 4 h 88"/>
                  <a:gd name="T102" fmla="*/ 108 w 108"/>
                  <a:gd name="T103" fmla="*/ 2 h 88"/>
                  <a:gd name="T104" fmla="*/ 104 w 108"/>
                  <a:gd name="T10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 h="88">
                    <a:moveTo>
                      <a:pt x="104" y="4"/>
                    </a:moveTo>
                    <a:lnTo>
                      <a:pt x="104" y="8"/>
                    </a:lnTo>
                    <a:lnTo>
                      <a:pt x="92" y="18"/>
                    </a:lnTo>
                    <a:lnTo>
                      <a:pt x="88" y="46"/>
                    </a:lnTo>
                    <a:lnTo>
                      <a:pt x="54" y="66"/>
                    </a:lnTo>
                    <a:lnTo>
                      <a:pt x="30" y="82"/>
                    </a:lnTo>
                    <a:lnTo>
                      <a:pt x="22" y="84"/>
                    </a:lnTo>
                    <a:lnTo>
                      <a:pt x="16" y="80"/>
                    </a:lnTo>
                    <a:lnTo>
                      <a:pt x="10" y="78"/>
                    </a:lnTo>
                    <a:lnTo>
                      <a:pt x="6" y="76"/>
                    </a:lnTo>
                    <a:lnTo>
                      <a:pt x="4" y="72"/>
                    </a:lnTo>
                    <a:lnTo>
                      <a:pt x="14" y="66"/>
                    </a:lnTo>
                    <a:lnTo>
                      <a:pt x="16" y="60"/>
                    </a:lnTo>
                    <a:lnTo>
                      <a:pt x="20" y="56"/>
                    </a:lnTo>
                    <a:lnTo>
                      <a:pt x="24" y="50"/>
                    </a:lnTo>
                    <a:lnTo>
                      <a:pt x="20" y="46"/>
                    </a:lnTo>
                    <a:lnTo>
                      <a:pt x="14" y="48"/>
                    </a:lnTo>
                    <a:lnTo>
                      <a:pt x="12" y="34"/>
                    </a:lnTo>
                    <a:lnTo>
                      <a:pt x="12" y="26"/>
                    </a:lnTo>
                    <a:lnTo>
                      <a:pt x="14" y="24"/>
                    </a:lnTo>
                    <a:lnTo>
                      <a:pt x="20" y="16"/>
                    </a:lnTo>
                    <a:lnTo>
                      <a:pt x="22" y="8"/>
                    </a:lnTo>
                    <a:lnTo>
                      <a:pt x="28" y="12"/>
                    </a:lnTo>
                    <a:lnTo>
                      <a:pt x="40" y="12"/>
                    </a:lnTo>
                    <a:lnTo>
                      <a:pt x="42" y="8"/>
                    </a:lnTo>
                    <a:lnTo>
                      <a:pt x="46" y="8"/>
                    </a:lnTo>
                    <a:lnTo>
                      <a:pt x="52" y="14"/>
                    </a:lnTo>
                    <a:lnTo>
                      <a:pt x="70" y="12"/>
                    </a:lnTo>
                    <a:lnTo>
                      <a:pt x="80" y="4"/>
                    </a:lnTo>
                    <a:lnTo>
                      <a:pt x="104" y="4"/>
                    </a:lnTo>
                    <a:close/>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6" name="Freeform 819"/>
              <p:cNvSpPr>
                <a:spLocks/>
              </p:cNvSpPr>
              <p:nvPr/>
            </p:nvSpPr>
            <p:spPr bwMode="auto">
              <a:xfrm>
                <a:off x="3363" y="1971"/>
                <a:ext cx="100" cy="80"/>
              </a:xfrm>
              <a:custGeom>
                <a:avLst/>
                <a:gdLst>
                  <a:gd name="T0" fmla="*/ 100 w 100"/>
                  <a:gd name="T1" fmla="*/ 0 h 80"/>
                  <a:gd name="T2" fmla="*/ 100 w 100"/>
                  <a:gd name="T3" fmla="*/ 4 h 80"/>
                  <a:gd name="T4" fmla="*/ 88 w 100"/>
                  <a:gd name="T5" fmla="*/ 14 h 80"/>
                  <a:gd name="T6" fmla="*/ 84 w 100"/>
                  <a:gd name="T7" fmla="*/ 42 h 80"/>
                  <a:gd name="T8" fmla="*/ 50 w 100"/>
                  <a:gd name="T9" fmla="*/ 62 h 80"/>
                  <a:gd name="T10" fmla="*/ 26 w 100"/>
                  <a:gd name="T11" fmla="*/ 78 h 80"/>
                  <a:gd name="T12" fmla="*/ 18 w 100"/>
                  <a:gd name="T13" fmla="*/ 80 h 80"/>
                  <a:gd name="T14" fmla="*/ 12 w 100"/>
                  <a:gd name="T15" fmla="*/ 76 h 80"/>
                  <a:gd name="T16" fmla="*/ 6 w 100"/>
                  <a:gd name="T17" fmla="*/ 74 h 80"/>
                  <a:gd name="T18" fmla="*/ 2 w 100"/>
                  <a:gd name="T19" fmla="*/ 72 h 80"/>
                  <a:gd name="T20" fmla="*/ 0 w 100"/>
                  <a:gd name="T21" fmla="*/ 68 h 80"/>
                  <a:gd name="T22" fmla="*/ 10 w 100"/>
                  <a:gd name="T23" fmla="*/ 62 h 80"/>
                  <a:gd name="T24" fmla="*/ 12 w 100"/>
                  <a:gd name="T25" fmla="*/ 56 h 80"/>
                  <a:gd name="T26" fmla="*/ 16 w 100"/>
                  <a:gd name="T27" fmla="*/ 52 h 80"/>
                  <a:gd name="T28" fmla="*/ 20 w 100"/>
                  <a:gd name="T29" fmla="*/ 46 h 80"/>
                  <a:gd name="T30" fmla="*/ 16 w 100"/>
                  <a:gd name="T31" fmla="*/ 42 h 80"/>
                  <a:gd name="T32" fmla="*/ 10 w 100"/>
                  <a:gd name="T33" fmla="*/ 44 h 80"/>
                  <a:gd name="T34" fmla="*/ 8 w 100"/>
                  <a:gd name="T35" fmla="*/ 30 h 80"/>
                  <a:gd name="T36" fmla="*/ 8 w 100"/>
                  <a:gd name="T37" fmla="*/ 22 h 80"/>
                  <a:gd name="T38" fmla="*/ 10 w 100"/>
                  <a:gd name="T39" fmla="*/ 20 h 80"/>
                  <a:gd name="T40" fmla="*/ 16 w 100"/>
                  <a:gd name="T41" fmla="*/ 12 h 80"/>
                  <a:gd name="T42" fmla="*/ 18 w 100"/>
                  <a:gd name="T43" fmla="*/ 4 h 80"/>
                  <a:gd name="T44" fmla="*/ 24 w 100"/>
                  <a:gd name="T45" fmla="*/ 8 h 80"/>
                  <a:gd name="T46" fmla="*/ 36 w 100"/>
                  <a:gd name="T47" fmla="*/ 8 h 80"/>
                  <a:gd name="T48" fmla="*/ 38 w 100"/>
                  <a:gd name="T49" fmla="*/ 4 h 80"/>
                  <a:gd name="T50" fmla="*/ 42 w 100"/>
                  <a:gd name="T51" fmla="*/ 4 h 80"/>
                  <a:gd name="T52" fmla="*/ 48 w 100"/>
                  <a:gd name="T53" fmla="*/ 10 h 80"/>
                  <a:gd name="T54" fmla="*/ 66 w 100"/>
                  <a:gd name="T55" fmla="*/ 8 h 80"/>
                  <a:gd name="T56" fmla="*/ 76 w 100"/>
                  <a:gd name="T57" fmla="*/ 0 h 80"/>
                  <a:gd name="T58" fmla="*/ 100 w 100"/>
                  <a:gd name="T5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 h="80">
                    <a:moveTo>
                      <a:pt x="100" y="0"/>
                    </a:moveTo>
                    <a:lnTo>
                      <a:pt x="100" y="4"/>
                    </a:lnTo>
                    <a:lnTo>
                      <a:pt x="88" y="14"/>
                    </a:lnTo>
                    <a:lnTo>
                      <a:pt x="84" y="42"/>
                    </a:lnTo>
                    <a:lnTo>
                      <a:pt x="50" y="62"/>
                    </a:lnTo>
                    <a:lnTo>
                      <a:pt x="26" y="78"/>
                    </a:lnTo>
                    <a:lnTo>
                      <a:pt x="18" y="80"/>
                    </a:lnTo>
                    <a:lnTo>
                      <a:pt x="12" y="76"/>
                    </a:lnTo>
                    <a:lnTo>
                      <a:pt x="6" y="74"/>
                    </a:lnTo>
                    <a:lnTo>
                      <a:pt x="2" y="72"/>
                    </a:lnTo>
                    <a:lnTo>
                      <a:pt x="0" y="68"/>
                    </a:lnTo>
                    <a:lnTo>
                      <a:pt x="10" y="62"/>
                    </a:lnTo>
                    <a:lnTo>
                      <a:pt x="12" y="56"/>
                    </a:lnTo>
                    <a:lnTo>
                      <a:pt x="16" y="52"/>
                    </a:lnTo>
                    <a:lnTo>
                      <a:pt x="20" y="46"/>
                    </a:lnTo>
                    <a:lnTo>
                      <a:pt x="16" y="42"/>
                    </a:lnTo>
                    <a:lnTo>
                      <a:pt x="10" y="44"/>
                    </a:lnTo>
                    <a:lnTo>
                      <a:pt x="8" y="30"/>
                    </a:lnTo>
                    <a:lnTo>
                      <a:pt x="8" y="22"/>
                    </a:lnTo>
                    <a:lnTo>
                      <a:pt x="10" y="20"/>
                    </a:lnTo>
                    <a:lnTo>
                      <a:pt x="16" y="12"/>
                    </a:lnTo>
                    <a:lnTo>
                      <a:pt x="18" y="4"/>
                    </a:lnTo>
                    <a:lnTo>
                      <a:pt x="24" y="8"/>
                    </a:lnTo>
                    <a:lnTo>
                      <a:pt x="36" y="8"/>
                    </a:lnTo>
                    <a:lnTo>
                      <a:pt x="38" y="4"/>
                    </a:lnTo>
                    <a:lnTo>
                      <a:pt x="42" y="4"/>
                    </a:lnTo>
                    <a:lnTo>
                      <a:pt x="48" y="10"/>
                    </a:lnTo>
                    <a:lnTo>
                      <a:pt x="66" y="8"/>
                    </a:lnTo>
                    <a:lnTo>
                      <a:pt x="76" y="0"/>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7" name="Freeform 820"/>
              <p:cNvSpPr>
                <a:spLocks/>
              </p:cNvSpPr>
              <p:nvPr/>
            </p:nvSpPr>
            <p:spPr bwMode="auto">
              <a:xfrm>
                <a:off x="3359" y="1967"/>
                <a:ext cx="108" cy="88"/>
              </a:xfrm>
              <a:custGeom>
                <a:avLst/>
                <a:gdLst>
                  <a:gd name="T0" fmla="*/ 80 w 108"/>
                  <a:gd name="T1" fmla="*/ 0 h 88"/>
                  <a:gd name="T2" fmla="*/ 78 w 108"/>
                  <a:gd name="T3" fmla="*/ 2 h 88"/>
                  <a:gd name="T4" fmla="*/ 54 w 108"/>
                  <a:gd name="T5" fmla="*/ 10 h 88"/>
                  <a:gd name="T6" fmla="*/ 50 w 108"/>
                  <a:gd name="T7" fmla="*/ 6 h 88"/>
                  <a:gd name="T8" fmla="*/ 42 w 108"/>
                  <a:gd name="T9" fmla="*/ 4 h 88"/>
                  <a:gd name="T10" fmla="*/ 38 w 108"/>
                  <a:gd name="T11" fmla="*/ 6 h 88"/>
                  <a:gd name="T12" fmla="*/ 30 w 108"/>
                  <a:gd name="T13" fmla="*/ 8 h 88"/>
                  <a:gd name="T14" fmla="*/ 24 w 108"/>
                  <a:gd name="T15" fmla="*/ 6 h 88"/>
                  <a:gd name="T16" fmla="*/ 22 w 108"/>
                  <a:gd name="T17" fmla="*/ 4 h 88"/>
                  <a:gd name="T18" fmla="*/ 22 w 108"/>
                  <a:gd name="T19" fmla="*/ 4 h 88"/>
                  <a:gd name="T20" fmla="*/ 18 w 108"/>
                  <a:gd name="T21" fmla="*/ 14 h 88"/>
                  <a:gd name="T22" fmla="*/ 10 w 108"/>
                  <a:gd name="T23" fmla="*/ 20 h 88"/>
                  <a:gd name="T24" fmla="*/ 8 w 108"/>
                  <a:gd name="T25" fmla="*/ 24 h 88"/>
                  <a:gd name="T26" fmla="*/ 8 w 108"/>
                  <a:gd name="T27" fmla="*/ 26 h 88"/>
                  <a:gd name="T28" fmla="*/ 8 w 108"/>
                  <a:gd name="T29" fmla="*/ 34 h 88"/>
                  <a:gd name="T30" fmla="*/ 10 w 108"/>
                  <a:gd name="T31" fmla="*/ 50 h 88"/>
                  <a:gd name="T32" fmla="*/ 12 w 108"/>
                  <a:gd name="T33" fmla="*/ 52 h 88"/>
                  <a:gd name="T34" fmla="*/ 14 w 108"/>
                  <a:gd name="T35" fmla="*/ 52 h 88"/>
                  <a:gd name="T36" fmla="*/ 14 w 108"/>
                  <a:gd name="T37" fmla="*/ 52 h 88"/>
                  <a:gd name="T38" fmla="*/ 18 w 108"/>
                  <a:gd name="T39" fmla="*/ 54 h 88"/>
                  <a:gd name="T40" fmla="*/ 14 w 108"/>
                  <a:gd name="T41" fmla="*/ 56 h 88"/>
                  <a:gd name="T42" fmla="*/ 10 w 108"/>
                  <a:gd name="T43" fmla="*/ 62 h 88"/>
                  <a:gd name="T44" fmla="*/ 2 w 108"/>
                  <a:gd name="T45" fmla="*/ 70 h 88"/>
                  <a:gd name="T46" fmla="*/ 0 w 108"/>
                  <a:gd name="T47" fmla="*/ 74 h 88"/>
                  <a:gd name="T48" fmla="*/ 2 w 108"/>
                  <a:gd name="T49" fmla="*/ 78 h 88"/>
                  <a:gd name="T50" fmla="*/ 8 w 108"/>
                  <a:gd name="T51" fmla="*/ 82 h 88"/>
                  <a:gd name="T52" fmla="*/ 8 w 108"/>
                  <a:gd name="T53" fmla="*/ 82 h 88"/>
                  <a:gd name="T54" fmla="*/ 20 w 108"/>
                  <a:gd name="T55" fmla="*/ 86 h 88"/>
                  <a:gd name="T56" fmla="*/ 22 w 108"/>
                  <a:gd name="T57" fmla="*/ 88 h 88"/>
                  <a:gd name="T58" fmla="*/ 24 w 108"/>
                  <a:gd name="T59" fmla="*/ 88 h 88"/>
                  <a:gd name="T60" fmla="*/ 32 w 108"/>
                  <a:gd name="T61" fmla="*/ 86 h 88"/>
                  <a:gd name="T62" fmla="*/ 56 w 108"/>
                  <a:gd name="T63" fmla="*/ 70 h 88"/>
                  <a:gd name="T64" fmla="*/ 90 w 108"/>
                  <a:gd name="T65" fmla="*/ 50 h 88"/>
                  <a:gd name="T66" fmla="*/ 96 w 108"/>
                  <a:gd name="T67" fmla="*/ 20 h 88"/>
                  <a:gd name="T68" fmla="*/ 108 w 108"/>
                  <a:gd name="T69" fmla="*/ 12 h 88"/>
                  <a:gd name="T70" fmla="*/ 108 w 108"/>
                  <a:gd name="T71" fmla="*/ 4 h 88"/>
                  <a:gd name="T72" fmla="*/ 108 w 108"/>
                  <a:gd name="T73" fmla="*/ 2 h 88"/>
                  <a:gd name="T74" fmla="*/ 104 w 108"/>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8">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8" name="Freeform 821"/>
              <p:cNvSpPr>
                <a:spLocks/>
              </p:cNvSpPr>
              <p:nvPr/>
            </p:nvSpPr>
            <p:spPr bwMode="auto">
              <a:xfrm>
                <a:off x="3345" y="2037"/>
                <a:ext cx="26" cy="60"/>
              </a:xfrm>
              <a:custGeom>
                <a:avLst/>
                <a:gdLst>
                  <a:gd name="T0" fmla="*/ 12 w 26"/>
                  <a:gd name="T1" fmla="*/ 60 h 60"/>
                  <a:gd name="T2" fmla="*/ 12 w 26"/>
                  <a:gd name="T3" fmla="*/ 60 h 60"/>
                  <a:gd name="T4" fmla="*/ 10 w 26"/>
                  <a:gd name="T5" fmla="*/ 58 h 60"/>
                  <a:gd name="T6" fmla="*/ 8 w 26"/>
                  <a:gd name="T7" fmla="*/ 54 h 60"/>
                  <a:gd name="T8" fmla="*/ 6 w 26"/>
                  <a:gd name="T9" fmla="*/ 46 h 60"/>
                  <a:gd name="T10" fmla="*/ 0 w 26"/>
                  <a:gd name="T11" fmla="*/ 34 h 60"/>
                  <a:gd name="T12" fmla="*/ 0 w 26"/>
                  <a:gd name="T13" fmla="*/ 34 h 60"/>
                  <a:gd name="T14" fmla="*/ 0 w 26"/>
                  <a:gd name="T15" fmla="*/ 32 h 60"/>
                  <a:gd name="T16" fmla="*/ 4 w 26"/>
                  <a:gd name="T17" fmla="*/ 28 h 60"/>
                  <a:gd name="T18" fmla="*/ 6 w 26"/>
                  <a:gd name="T19" fmla="*/ 24 h 60"/>
                  <a:gd name="T20" fmla="*/ 8 w 26"/>
                  <a:gd name="T21" fmla="*/ 18 h 60"/>
                  <a:gd name="T22" fmla="*/ 10 w 26"/>
                  <a:gd name="T23" fmla="*/ 14 h 60"/>
                  <a:gd name="T24" fmla="*/ 12 w 26"/>
                  <a:gd name="T25" fmla="*/ 6 h 60"/>
                  <a:gd name="T26" fmla="*/ 12 w 26"/>
                  <a:gd name="T27" fmla="*/ 2 h 60"/>
                  <a:gd name="T28" fmla="*/ 12 w 26"/>
                  <a:gd name="T29" fmla="*/ 2 h 60"/>
                  <a:gd name="T30" fmla="*/ 14 w 26"/>
                  <a:gd name="T31" fmla="*/ 0 h 60"/>
                  <a:gd name="T32" fmla="*/ 14 w 26"/>
                  <a:gd name="T33" fmla="*/ 0 h 60"/>
                  <a:gd name="T34" fmla="*/ 14 w 26"/>
                  <a:gd name="T35" fmla="*/ 0 h 60"/>
                  <a:gd name="T36" fmla="*/ 14 w 26"/>
                  <a:gd name="T37" fmla="*/ 0 h 60"/>
                  <a:gd name="T38" fmla="*/ 14 w 26"/>
                  <a:gd name="T39" fmla="*/ 0 h 60"/>
                  <a:gd name="T40" fmla="*/ 20 w 26"/>
                  <a:gd name="T41" fmla="*/ 2 h 60"/>
                  <a:gd name="T42" fmla="*/ 20 w 26"/>
                  <a:gd name="T43" fmla="*/ 2 h 60"/>
                  <a:gd name="T44" fmla="*/ 22 w 26"/>
                  <a:gd name="T45" fmla="*/ 2 h 60"/>
                  <a:gd name="T46" fmla="*/ 24 w 26"/>
                  <a:gd name="T47" fmla="*/ 6 h 60"/>
                  <a:gd name="T48" fmla="*/ 26 w 26"/>
                  <a:gd name="T49" fmla="*/ 8 h 60"/>
                  <a:gd name="T50" fmla="*/ 26 w 26"/>
                  <a:gd name="T51" fmla="*/ 8 h 60"/>
                  <a:gd name="T52" fmla="*/ 26 w 26"/>
                  <a:gd name="T53" fmla="*/ 10 h 60"/>
                  <a:gd name="T54" fmla="*/ 24 w 26"/>
                  <a:gd name="T55" fmla="*/ 16 h 60"/>
                  <a:gd name="T56" fmla="*/ 24 w 26"/>
                  <a:gd name="T57" fmla="*/ 16 h 60"/>
                  <a:gd name="T58" fmla="*/ 22 w 26"/>
                  <a:gd name="T59" fmla="*/ 16 h 60"/>
                  <a:gd name="T60" fmla="*/ 18 w 26"/>
                  <a:gd name="T61" fmla="*/ 16 h 60"/>
                  <a:gd name="T62" fmla="*/ 16 w 26"/>
                  <a:gd name="T63" fmla="*/ 18 h 60"/>
                  <a:gd name="T64" fmla="*/ 18 w 26"/>
                  <a:gd name="T65" fmla="*/ 26 h 60"/>
                  <a:gd name="T66" fmla="*/ 20 w 26"/>
                  <a:gd name="T67" fmla="*/ 26 h 60"/>
                  <a:gd name="T68" fmla="*/ 20 w 26"/>
                  <a:gd name="T69" fmla="*/ 26 h 60"/>
                  <a:gd name="T70" fmla="*/ 22 w 26"/>
                  <a:gd name="T71" fmla="*/ 28 h 60"/>
                  <a:gd name="T72" fmla="*/ 22 w 26"/>
                  <a:gd name="T73" fmla="*/ 38 h 60"/>
                  <a:gd name="T74" fmla="*/ 20 w 26"/>
                  <a:gd name="T75" fmla="*/ 48 h 60"/>
                  <a:gd name="T76" fmla="*/ 14 w 26"/>
                  <a:gd name="T77" fmla="*/ 60 h 60"/>
                  <a:gd name="T78" fmla="*/ 14 w 26"/>
                  <a:gd name="T79" fmla="*/ 60 h 60"/>
                  <a:gd name="T80" fmla="*/ 12 w 26"/>
                  <a:gd name="T81" fmla="*/ 60 h 60"/>
                  <a:gd name="T82" fmla="*/ 12 w 26"/>
                  <a:gd name="T83" fmla="*/ 60 h 60"/>
                  <a:gd name="T84" fmla="*/ 12 w 26"/>
                  <a:gd name="T85" fmla="*/ 60 h 60"/>
                  <a:gd name="T86" fmla="*/ 12 w 2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60">
                    <a:moveTo>
                      <a:pt x="12" y="60"/>
                    </a:moveTo>
                    <a:lnTo>
                      <a:pt x="12" y="60"/>
                    </a:lnTo>
                    <a:lnTo>
                      <a:pt x="10" y="58"/>
                    </a:lnTo>
                    <a:lnTo>
                      <a:pt x="8" y="54"/>
                    </a:lnTo>
                    <a:lnTo>
                      <a:pt x="6" y="46"/>
                    </a:lnTo>
                    <a:lnTo>
                      <a:pt x="0" y="34"/>
                    </a:lnTo>
                    <a:lnTo>
                      <a:pt x="0" y="34"/>
                    </a:lnTo>
                    <a:lnTo>
                      <a:pt x="0" y="32"/>
                    </a:lnTo>
                    <a:lnTo>
                      <a:pt x="4" y="28"/>
                    </a:lnTo>
                    <a:lnTo>
                      <a:pt x="6" y="24"/>
                    </a:lnTo>
                    <a:lnTo>
                      <a:pt x="8" y="18"/>
                    </a:lnTo>
                    <a:lnTo>
                      <a:pt x="10" y="14"/>
                    </a:lnTo>
                    <a:lnTo>
                      <a:pt x="12" y="6"/>
                    </a:lnTo>
                    <a:lnTo>
                      <a:pt x="12" y="2"/>
                    </a:lnTo>
                    <a:lnTo>
                      <a:pt x="12" y="2"/>
                    </a:lnTo>
                    <a:lnTo>
                      <a:pt x="14" y="0"/>
                    </a:lnTo>
                    <a:lnTo>
                      <a:pt x="14" y="0"/>
                    </a:lnTo>
                    <a:lnTo>
                      <a:pt x="14" y="0"/>
                    </a:lnTo>
                    <a:lnTo>
                      <a:pt x="14" y="0"/>
                    </a:lnTo>
                    <a:lnTo>
                      <a:pt x="14" y="0"/>
                    </a:lnTo>
                    <a:lnTo>
                      <a:pt x="20" y="2"/>
                    </a:lnTo>
                    <a:lnTo>
                      <a:pt x="20" y="2"/>
                    </a:lnTo>
                    <a:lnTo>
                      <a:pt x="22" y="2"/>
                    </a:lnTo>
                    <a:lnTo>
                      <a:pt x="24" y="6"/>
                    </a:lnTo>
                    <a:lnTo>
                      <a:pt x="26" y="8"/>
                    </a:lnTo>
                    <a:lnTo>
                      <a:pt x="26" y="8"/>
                    </a:lnTo>
                    <a:lnTo>
                      <a:pt x="26" y="10"/>
                    </a:lnTo>
                    <a:lnTo>
                      <a:pt x="24" y="16"/>
                    </a:lnTo>
                    <a:lnTo>
                      <a:pt x="24" y="16"/>
                    </a:lnTo>
                    <a:lnTo>
                      <a:pt x="22" y="16"/>
                    </a:lnTo>
                    <a:lnTo>
                      <a:pt x="18" y="16"/>
                    </a:lnTo>
                    <a:lnTo>
                      <a:pt x="16" y="18"/>
                    </a:lnTo>
                    <a:lnTo>
                      <a:pt x="18" y="26"/>
                    </a:lnTo>
                    <a:lnTo>
                      <a:pt x="20" y="26"/>
                    </a:lnTo>
                    <a:lnTo>
                      <a:pt x="20" y="26"/>
                    </a:lnTo>
                    <a:lnTo>
                      <a:pt x="22" y="28"/>
                    </a:lnTo>
                    <a:lnTo>
                      <a:pt x="22" y="38"/>
                    </a:lnTo>
                    <a:lnTo>
                      <a:pt x="20" y="48"/>
                    </a:lnTo>
                    <a:lnTo>
                      <a:pt x="14" y="60"/>
                    </a:lnTo>
                    <a:lnTo>
                      <a:pt x="14" y="60"/>
                    </a:lnTo>
                    <a:lnTo>
                      <a:pt x="12" y="60"/>
                    </a:lnTo>
                    <a:lnTo>
                      <a:pt x="12" y="60"/>
                    </a:lnTo>
                    <a:lnTo>
                      <a:pt x="12" y="60"/>
                    </a:lnTo>
                    <a:lnTo>
                      <a:pt x="1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9" name="Freeform 822"/>
              <p:cNvSpPr>
                <a:spLocks noEditPoints="1"/>
              </p:cNvSpPr>
              <p:nvPr/>
            </p:nvSpPr>
            <p:spPr bwMode="auto">
              <a:xfrm>
                <a:off x="3343" y="2035"/>
                <a:ext cx="30" cy="64"/>
              </a:xfrm>
              <a:custGeom>
                <a:avLst/>
                <a:gdLst>
                  <a:gd name="T0" fmla="*/ 22 w 30"/>
                  <a:gd name="T1" fmla="*/ 6 h 64"/>
                  <a:gd name="T2" fmla="*/ 26 w 30"/>
                  <a:gd name="T3" fmla="*/ 12 h 64"/>
                  <a:gd name="T4" fmla="*/ 18 w 30"/>
                  <a:gd name="T5" fmla="*/ 16 h 64"/>
                  <a:gd name="T6" fmla="*/ 18 w 30"/>
                  <a:gd name="T7" fmla="*/ 30 h 64"/>
                  <a:gd name="T8" fmla="*/ 22 w 30"/>
                  <a:gd name="T9" fmla="*/ 40 h 64"/>
                  <a:gd name="T10" fmla="*/ 14 w 30"/>
                  <a:gd name="T11" fmla="*/ 60 h 64"/>
                  <a:gd name="T12" fmla="*/ 8 w 30"/>
                  <a:gd name="T13" fmla="*/ 46 h 64"/>
                  <a:gd name="T14" fmla="*/ 4 w 30"/>
                  <a:gd name="T15" fmla="*/ 36 h 64"/>
                  <a:gd name="T16" fmla="*/ 8 w 30"/>
                  <a:gd name="T17" fmla="*/ 26 h 64"/>
                  <a:gd name="T18" fmla="*/ 14 w 30"/>
                  <a:gd name="T19" fmla="*/ 16 h 64"/>
                  <a:gd name="T20" fmla="*/ 16 w 30"/>
                  <a:gd name="T21" fmla="*/ 4 h 64"/>
                  <a:gd name="T22" fmla="*/ 16 w 30"/>
                  <a:gd name="T23" fmla="*/ 0 h 64"/>
                  <a:gd name="T24" fmla="*/ 14 w 30"/>
                  <a:gd name="T25" fmla="*/ 0 h 64"/>
                  <a:gd name="T26" fmla="*/ 12 w 30"/>
                  <a:gd name="T27" fmla="*/ 8 h 64"/>
                  <a:gd name="T28" fmla="*/ 10 w 30"/>
                  <a:gd name="T29" fmla="*/ 20 h 64"/>
                  <a:gd name="T30" fmla="*/ 6 w 30"/>
                  <a:gd name="T31" fmla="*/ 24 h 64"/>
                  <a:gd name="T32" fmla="*/ 4 w 30"/>
                  <a:gd name="T33" fmla="*/ 28 h 64"/>
                  <a:gd name="T34" fmla="*/ 0 w 30"/>
                  <a:gd name="T35" fmla="*/ 34 h 64"/>
                  <a:gd name="T36" fmla="*/ 2 w 30"/>
                  <a:gd name="T37" fmla="*/ 42 h 64"/>
                  <a:gd name="T38" fmla="*/ 8 w 30"/>
                  <a:gd name="T39" fmla="*/ 56 h 64"/>
                  <a:gd name="T40" fmla="*/ 10 w 30"/>
                  <a:gd name="T41" fmla="*/ 62 h 64"/>
                  <a:gd name="T42" fmla="*/ 14 w 30"/>
                  <a:gd name="T43" fmla="*/ 64 h 64"/>
                  <a:gd name="T44" fmla="*/ 14 w 30"/>
                  <a:gd name="T45" fmla="*/ 64 h 64"/>
                  <a:gd name="T46" fmla="*/ 18 w 30"/>
                  <a:gd name="T47" fmla="*/ 62 h 64"/>
                  <a:gd name="T48" fmla="*/ 24 w 30"/>
                  <a:gd name="T49" fmla="*/ 52 h 64"/>
                  <a:gd name="T50" fmla="*/ 26 w 30"/>
                  <a:gd name="T51" fmla="*/ 42 h 64"/>
                  <a:gd name="T52" fmla="*/ 26 w 30"/>
                  <a:gd name="T53" fmla="*/ 40 h 64"/>
                  <a:gd name="T54" fmla="*/ 26 w 30"/>
                  <a:gd name="T55" fmla="*/ 30 h 64"/>
                  <a:gd name="T56" fmla="*/ 22 w 30"/>
                  <a:gd name="T57" fmla="*/ 26 h 64"/>
                  <a:gd name="T58" fmla="*/ 20 w 30"/>
                  <a:gd name="T59" fmla="*/ 20 h 64"/>
                  <a:gd name="T60" fmla="*/ 24 w 30"/>
                  <a:gd name="T61" fmla="*/ 20 h 64"/>
                  <a:gd name="T62" fmla="*/ 26 w 30"/>
                  <a:gd name="T63" fmla="*/ 20 h 64"/>
                  <a:gd name="T64" fmla="*/ 30 w 30"/>
                  <a:gd name="T65" fmla="*/ 12 h 64"/>
                  <a:gd name="T66" fmla="*/ 30 w 30"/>
                  <a:gd name="T67" fmla="*/ 10 h 64"/>
                  <a:gd name="T68" fmla="*/ 28 w 30"/>
                  <a:gd name="T69" fmla="*/ 6 h 64"/>
                  <a:gd name="T70" fmla="*/ 26 w 30"/>
                  <a:gd name="T71" fmla="*/ 4 h 64"/>
                  <a:gd name="T72" fmla="*/ 18 w 30"/>
                  <a:gd name="T73" fmla="*/ 0 h 64"/>
                  <a:gd name="T74" fmla="*/ 16 w 30"/>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64">
                    <a:moveTo>
                      <a:pt x="16" y="4"/>
                    </a:moveTo>
                    <a:lnTo>
                      <a:pt x="22" y="6"/>
                    </a:lnTo>
                    <a:lnTo>
                      <a:pt x="24" y="10"/>
                    </a:lnTo>
                    <a:lnTo>
                      <a:pt x="26" y="12"/>
                    </a:lnTo>
                    <a:lnTo>
                      <a:pt x="24" y="16"/>
                    </a:lnTo>
                    <a:lnTo>
                      <a:pt x="18" y="16"/>
                    </a:lnTo>
                    <a:lnTo>
                      <a:pt x="16" y="20"/>
                    </a:lnTo>
                    <a:lnTo>
                      <a:pt x="18" y="30"/>
                    </a:lnTo>
                    <a:lnTo>
                      <a:pt x="22" y="30"/>
                    </a:lnTo>
                    <a:lnTo>
                      <a:pt x="22" y="40"/>
                    </a:lnTo>
                    <a:lnTo>
                      <a:pt x="20" y="50"/>
                    </a:lnTo>
                    <a:lnTo>
                      <a:pt x="14" y="60"/>
                    </a:lnTo>
                    <a:lnTo>
                      <a:pt x="12" y="56"/>
                    </a:lnTo>
                    <a:lnTo>
                      <a:pt x="8" y="46"/>
                    </a:lnTo>
                    <a:lnTo>
                      <a:pt x="6" y="40"/>
                    </a:lnTo>
                    <a:lnTo>
                      <a:pt x="4" y="36"/>
                    </a:lnTo>
                    <a:lnTo>
                      <a:pt x="8" y="30"/>
                    </a:lnTo>
                    <a:lnTo>
                      <a:pt x="8" y="26"/>
                    </a:lnTo>
                    <a:lnTo>
                      <a:pt x="12" y="22"/>
                    </a:lnTo>
                    <a:lnTo>
                      <a:pt x="14" y="16"/>
                    </a:lnTo>
                    <a:lnTo>
                      <a:pt x="16" y="10"/>
                    </a:lnTo>
                    <a:lnTo>
                      <a:pt x="16" y="4"/>
                    </a:lnTo>
                    <a:close/>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0" name="Freeform 823"/>
              <p:cNvSpPr>
                <a:spLocks/>
              </p:cNvSpPr>
              <p:nvPr/>
            </p:nvSpPr>
            <p:spPr bwMode="auto">
              <a:xfrm>
                <a:off x="3347" y="2039"/>
                <a:ext cx="22" cy="56"/>
              </a:xfrm>
              <a:custGeom>
                <a:avLst/>
                <a:gdLst>
                  <a:gd name="T0" fmla="*/ 12 w 22"/>
                  <a:gd name="T1" fmla="*/ 0 h 56"/>
                  <a:gd name="T2" fmla="*/ 18 w 22"/>
                  <a:gd name="T3" fmla="*/ 2 h 56"/>
                  <a:gd name="T4" fmla="*/ 20 w 22"/>
                  <a:gd name="T5" fmla="*/ 6 h 56"/>
                  <a:gd name="T6" fmla="*/ 22 w 22"/>
                  <a:gd name="T7" fmla="*/ 8 h 56"/>
                  <a:gd name="T8" fmla="*/ 20 w 22"/>
                  <a:gd name="T9" fmla="*/ 12 h 56"/>
                  <a:gd name="T10" fmla="*/ 14 w 22"/>
                  <a:gd name="T11" fmla="*/ 12 h 56"/>
                  <a:gd name="T12" fmla="*/ 12 w 22"/>
                  <a:gd name="T13" fmla="*/ 16 h 56"/>
                  <a:gd name="T14" fmla="*/ 14 w 22"/>
                  <a:gd name="T15" fmla="*/ 26 h 56"/>
                  <a:gd name="T16" fmla="*/ 18 w 22"/>
                  <a:gd name="T17" fmla="*/ 26 h 56"/>
                  <a:gd name="T18" fmla="*/ 18 w 22"/>
                  <a:gd name="T19" fmla="*/ 36 h 56"/>
                  <a:gd name="T20" fmla="*/ 16 w 22"/>
                  <a:gd name="T21" fmla="*/ 46 h 56"/>
                  <a:gd name="T22" fmla="*/ 10 w 22"/>
                  <a:gd name="T23" fmla="*/ 56 h 56"/>
                  <a:gd name="T24" fmla="*/ 8 w 22"/>
                  <a:gd name="T25" fmla="*/ 52 h 56"/>
                  <a:gd name="T26" fmla="*/ 4 w 22"/>
                  <a:gd name="T27" fmla="*/ 42 h 56"/>
                  <a:gd name="T28" fmla="*/ 2 w 22"/>
                  <a:gd name="T29" fmla="*/ 36 h 56"/>
                  <a:gd name="T30" fmla="*/ 0 w 22"/>
                  <a:gd name="T31" fmla="*/ 32 h 56"/>
                  <a:gd name="T32" fmla="*/ 4 w 22"/>
                  <a:gd name="T33" fmla="*/ 26 h 56"/>
                  <a:gd name="T34" fmla="*/ 4 w 22"/>
                  <a:gd name="T35" fmla="*/ 22 h 56"/>
                  <a:gd name="T36" fmla="*/ 8 w 22"/>
                  <a:gd name="T37" fmla="*/ 18 h 56"/>
                  <a:gd name="T38" fmla="*/ 10 w 22"/>
                  <a:gd name="T39" fmla="*/ 12 h 56"/>
                  <a:gd name="T40" fmla="*/ 12 w 22"/>
                  <a:gd name="T41" fmla="*/ 6 h 56"/>
                  <a:gd name="T42" fmla="*/ 12 w 2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56">
                    <a:moveTo>
                      <a:pt x="12" y="0"/>
                    </a:moveTo>
                    <a:lnTo>
                      <a:pt x="18" y="2"/>
                    </a:lnTo>
                    <a:lnTo>
                      <a:pt x="20" y="6"/>
                    </a:lnTo>
                    <a:lnTo>
                      <a:pt x="22" y="8"/>
                    </a:lnTo>
                    <a:lnTo>
                      <a:pt x="20" y="12"/>
                    </a:lnTo>
                    <a:lnTo>
                      <a:pt x="14" y="12"/>
                    </a:lnTo>
                    <a:lnTo>
                      <a:pt x="12" y="16"/>
                    </a:lnTo>
                    <a:lnTo>
                      <a:pt x="14" y="26"/>
                    </a:lnTo>
                    <a:lnTo>
                      <a:pt x="18" y="26"/>
                    </a:lnTo>
                    <a:lnTo>
                      <a:pt x="18" y="36"/>
                    </a:lnTo>
                    <a:lnTo>
                      <a:pt x="16" y="46"/>
                    </a:lnTo>
                    <a:lnTo>
                      <a:pt x="10" y="56"/>
                    </a:lnTo>
                    <a:lnTo>
                      <a:pt x="8" y="52"/>
                    </a:lnTo>
                    <a:lnTo>
                      <a:pt x="4" y="42"/>
                    </a:lnTo>
                    <a:lnTo>
                      <a:pt x="2" y="36"/>
                    </a:lnTo>
                    <a:lnTo>
                      <a:pt x="0" y="32"/>
                    </a:lnTo>
                    <a:lnTo>
                      <a:pt x="4" y="26"/>
                    </a:lnTo>
                    <a:lnTo>
                      <a:pt x="4" y="22"/>
                    </a:lnTo>
                    <a:lnTo>
                      <a:pt x="8" y="18"/>
                    </a:lnTo>
                    <a:lnTo>
                      <a:pt x="10" y="12"/>
                    </a:lnTo>
                    <a:lnTo>
                      <a:pt x="12" y="6"/>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1" name="Freeform 824"/>
              <p:cNvSpPr>
                <a:spLocks/>
              </p:cNvSpPr>
              <p:nvPr/>
            </p:nvSpPr>
            <p:spPr bwMode="auto">
              <a:xfrm>
                <a:off x="3343" y="2035"/>
                <a:ext cx="30" cy="64"/>
              </a:xfrm>
              <a:custGeom>
                <a:avLst/>
                <a:gdLst>
                  <a:gd name="T0" fmla="*/ 16 w 30"/>
                  <a:gd name="T1" fmla="*/ 0 h 64"/>
                  <a:gd name="T2" fmla="*/ 16 w 30"/>
                  <a:gd name="T3" fmla="*/ 0 h 64"/>
                  <a:gd name="T4" fmla="*/ 14 w 30"/>
                  <a:gd name="T5" fmla="*/ 0 h 64"/>
                  <a:gd name="T6" fmla="*/ 14 w 30"/>
                  <a:gd name="T7" fmla="*/ 0 h 64"/>
                  <a:gd name="T8" fmla="*/ 12 w 30"/>
                  <a:gd name="T9" fmla="*/ 4 h 64"/>
                  <a:gd name="T10" fmla="*/ 12 w 30"/>
                  <a:gd name="T11" fmla="*/ 8 h 64"/>
                  <a:gd name="T12" fmla="*/ 10 w 30"/>
                  <a:gd name="T13" fmla="*/ 16 h 64"/>
                  <a:gd name="T14" fmla="*/ 10 w 30"/>
                  <a:gd name="T15" fmla="*/ 20 h 64"/>
                  <a:gd name="T16" fmla="*/ 6 w 30"/>
                  <a:gd name="T17" fmla="*/ 24 h 64"/>
                  <a:gd name="T18" fmla="*/ 6 w 30"/>
                  <a:gd name="T19" fmla="*/ 24 h 64"/>
                  <a:gd name="T20" fmla="*/ 6 w 30"/>
                  <a:gd name="T21" fmla="*/ 26 h 64"/>
                  <a:gd name="T22" fmla="*/ 4 w 30"/>
                  <a:gd name="T23" fmla="*/ 28 h 64"/>
                  <a:gd name="T24" fmla="*/ 0 w 30"/>
                  <a:gd name="T25" fmla="*/ 34 h 64"/>
                  <a:gd name="T26" fmla="*/ 0 w 30"/>
                  <a:gd name="T27" fmla="*/ 34 h 64"/>
                  <a:gd name="T28" fmla="*/ 0 w 30"/>
                  <a:gd name="T29" fmla="*/ 38 h 64"/>
                  <a:gd name="T30" fmla="*/ 2 w 30"/>
                  <a:gd name="T31" fmla="*/ 42 h 64"/>
                  <a:gd name="T32" fmla="*/ 6 w 30"/>
                  <a:gd name="T33" fmla="*/ 48 h 64"/>
                  <a:gd name="T34" fmla="*/ 8 w 30"/>
                  <a:gd name="T35" fmla="*/ 56 h 64"/>
                  <a:gd name="T36" fmla="*/ 10 w 30"/>
                  <a:gd name="T37" fmla="*/ 62 h 64"/>
                  <a:gd name="T38" fmla="*/ 10 w 30"/>
                  <a:gd name="T39" fmla="*/ 62 h 64"/>
                  <a:gd name="T40" fmla="*/ 12 w 30"/>
                  <a:gd name="T41" fmla="*/ 64 h 64"/>
                  <a:gd name="T42" fmla="*/ 14 w 30"/>
                  <a:gd name="T43" fmla="*/ 64 h 64"/>
                  <a:gd name="T44" fmla="*/ 14 w 30"/>
                  <a:gd name="T45" fmla="*/ 64 h 64"/>
                  <a:gd name="T46" fmla="*/ 14 w 30"/>
                  <a:gd name="T47" fmla="*/ 64 h 64"/>
                  <a:gd name="T48" fmla="*/ 14 w 30"/>
                  <a:gd name="T49" fmla="*/ 64 h 64"/>
                  <a:gd name="T50" fmla="*/ 18 w 30"/>
                  <a:gd name="T51" fmla="*/ 62 h 64"/>
                  <a:gd name="T52" fmla="*/ 24 w 30"/>
                  <a:gd name="T53" fmla="*/ 52 h 64"/>
                  <a:gd name="T54" fmla="*/ 24 w 30"/>
                  <a:gd name="T55" fmla="*/ 52 h 64"/>
                  <a:gd name="T56" fmla="*/ 24 w 30"/>
                  <a:gd name="T57" fmla="*/ 50 h 64"/>
                  <a:gd name="T58" fmla="*/ 26 w 30"/>
                  <a:gd name="T59" fmla="*/ 42 h 64"/>
                  <a:gd name="T60" fmla="*/ 26 w 30"/>
                  <a:gd name="T61" fmla="*/ 42 h 64"/>
                  <a:gd name="T62" fmla="*/ 26 w 30"/>
                  <a:gd name="T63" fmla="*/ 40 h 64"/>
                  <a:gd name="T64" fmla="*/ 26 w 30"/>
                  <a:gd name="T65" fmla="*/ 30 h 64"/>
                  <a:gd name="T66" fmla="*/ 26 w 30"/>
                  <a:gd name="T67" fmla="*/ 30 h 64"/>
                  <a:gd name="T68" fmla="*/ 24 w 30"/>
                  <a:gd name="T69" fmla="*/ 28 h 64"/>
                  <a:gd name="T70" fmla="*/ 22 w 30"/>
                  <a:gd name="T71" fmla="*/ 26 h 64"/>
                  <a:gd name="T72" fmla="*/ 22 w 30"/>
                  <a:gd name="T73" fmla="*/ 26 h 64"/>
                  <a:gd name="T74" fmla="*/ 20 w 30"/>
                  <a:gd name="T75" fmla="*/ 20 h 64"/>
                  <a:gd name="T76" fmla="*/ 20 w 30"/>
                  <a:gd name="T77" fmla="*/ 20 h 64"/>
                  <a:gd name="T78" fmla="*/ 24 w 30"/>
                  <a:gd name="T79" fmla="*/ 20 h 64"/>
                  <a:gd name="T80" fmla="*/ 24 w 30"/>
                  <a:gd name="T81" fmla="*/ 20 h 64"/>
                  <a:gd name="T82" fmla="*/ 26 w 30"/>
                  <a:gd name="T83" fmla="*/ 20 h 64"/>
                  <a:gd name="T84" fmla="*/ 28 w 30"/>
                  <a:gd name="T85" fmla="*/ 18 h 64"/>
                  <a:gd name="T86" fmla="*/ 30 w 30"/>
                  <a:gd name="T87" fmla="*/ 12 h 64"/>
                  <a:gd name="T88" fmla="*/ 30 w 30"/>
                  <a:gd name="T89" fmla="*/ 12 h 64"/>
                  <a:gd name="T90" fmla="*/ 30 w 30"/>
                  <a:gd name="T91" fmla="*/ 10 h 64"/>
                  <a:gd name="T92" fmla="*/ 28 w 30"/>
                  <a:gd name="T93" fmla="*/ 8 h 64"/>
                  <a:gd name="T94" fmla="*/ 28 w 30"/>
                  <a:gd name="T95" fmla="*/ 6 h 64"/>
                  <a:gd name="T96" fmla="*/ 26 w 30"/>
                  <a:gd name="T97" fmla="*/ 4 h 64"/>
                  <a:gd name="T98" fmla="*/ 26 w 30"/>
                  <a:gd name="T99" fmla="*/ 4 h 64"/>
                  <a:gd name="T100" fmla="*/ 24 w 30"/>
                  <a:gd name="T101" fmla="*/ 2 h 64"/>
                  <a:gd name="T102" fmla="*/ 18 w 30"/>
                  <a:gd name="T103" fmla="*/ 0 h 64"/>
                  <a:gd name="T104" fmla="*/ 18 w 30"/>
                  <a:gd name="T105" fmla="*/ 0 h 64"/>
                  <a:gd name="T106" fmla="*/ 16 w 30"/>
                  <a:gd name="T107" fmla="*/ 0 h 64"/>
                  <a:gd name="T108" fmla="*/ 16 w 30"/>
                  <a:gd name="T10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64">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2" name="Freeform 825"/>
              <p:cNvSpPr>
                <a:spLocks/>
              </p:cNvSpPr>
              <p:nvPr/>
            </p:nvSpPr>
            <p:spPr bwMode="auto">
              <a:xfrm>
                <a:off x="3417" y="1965"/>
                <a:ext cx="128" cy="138"/>
              </a:xfrm>
              <a:custGeom>
                <a:avLst/>
                <a:gdLst>
                  <a:gd name="T0" fmla="*/ 80 w 128"/>
                  <a:gd name="T1" fmla="*/ 138 h 138"/>
                  <a:gd name="T2" fmla="*/ 68 w 128"/>
                  <a:gd name="T3" fmla="*/ 126 h 138"/>
                  <a:gd name="T4" fmla="*/ 60 w 128"/>
                  <a:gd name="T5" fmla="*/ 126 h 138"/>
                  <a:gd name="T6" fmla="*/ 50 w 128"/>
                  <a:gd name="T7" fmla="*/ 112 h 138"/>
                  <a:gd name="T8" fmla="*/ 4 w 128"/>
                  <a:gd name="T9" fmla="*/ 90 h 138"/>
                  <a:gd name="T10" fmla="*/ 2 w 128"/>
                  <a:gd name="T11" fmla="*/ 88 h 138"/>
                  <a:gd name="T12" fmla="*/ 0 w 128"/>
                  <a:gd name="T13" fmla="*/ 66 h 138"/>
                  <a:gd name="T14" fmla="*/ 28 w 128"/>
                  <a:gd name="T15" fmla="*/ 48 h 138"/>
                  <a:gd name="T16" fmla="*/ 32 w 128"/>
                  <a:gd name="T17" fmla="*/ 20 h 138"/>
                  <a:gd name="T18" fmla="*/ 44 w 128"/>
                  <a:gd name="T19" fmla="*/ 10 h 138"/>
                  <a:gd name="T20" fmla="*/ 44 w 128"/>
                  <a:gd name="T21" fmla="*/ 6 h 138"/>
                  <a:gd name="T22" fmla="*/ 52 w 128"/>
                  <a:gd name="T23" fmla="*/ 0 h 138"/>
                  <a:gd name="T24" fmla="*/ 54 w 128"/>
                  <a:gd name="T25" fmla="*/ 0 h 138"/>
                  <a:gd name="T26" fmla="*/ 54 w 128"/>
                  <a:gd name="T27" fmla="*/ 0 h 138"/>
                  <a:gd name="T28" fmla="*/ 78 w 128"/>
                  <a:gd name="T29" fmla="*/ 2 h 138"/>
                  <a:gd name="T30" fmla="*/ 80 w 128"/>
                  <a:gd name="T31" fmla="*/ 2 h 138"/>
                  <a:gd name="T32" fmla="*/ 82 w 128"/>
                  <a:gd name="T33" fmla="*/ 2 h 138"/>
                  <a:gd name="T34" fmla="*/ 96 w 128"/>
                  <a:gd name="T35" fmla="*/ 24 h 138"/>
                  <a:gd name="T36" fmla="*/ 102 w 128"/>
                  <a:gd name="T37" fmla="*/ 26 h 138"/>
                  <a:gd name="T38" fmla="*/ 102 w 128"/>
                  <a:gd name="T39" fmla="*/ 28 h 138"/>
                  <a:gd name="T40" fmla="*/ 100 w 128"/>
                  <a:gd name="T41" fmla="*/ 34 h 138"/>
                  <a:gd name="T42" fmla="*/ 102 w 128"/>
                  <a:gd name="T43" fmla="*/ 40 h 138"/>
                  <a:gd name="T44" fmla="*/ 96 w 128"/>
                  <a:gd name="T45" fmla="*/ 46 h 138"/>
                  <a:gd name="T46" fmla="*/ 100 w 128"/>
                  <a:gd name="T47" fmla="*/ 68 h 138"/>
                  <a:gd name="T48" fmla="*/ 118 w 128"/>
                  <a:gd name="T49" fmla="*/ 82 h 138"/>
                  <a:gd name="T50" fmla="*/ 124 w 128"/>
                  <a:gd name="T51" fmla="*/ 90 h 138"/>
                  <a:gd name="T52" fmla="*/ 122 w 128"/>
                  <a:gd name="T53" fmla="*/ 102 h 138"/>
                  <a:gd name="T54" fmla="*/ 126 w 128"/>
                  <a:gd name="T55" fmla="*/ 114 h 138"/>
                  <a:gd name="T56" fmla="*/ 126 w 128"/>
                  <a:gd name="T57" fmla="*/ 120 h 138"/>
                  <a:gd name="T58" fmla="*/ 124 w 128"/>
                  <a:gd name="T59" fmla="*/ 122 h 138"/>
                  <a:gd name="T60" fmla="*/ 110 w 128"/>
                  <a:gd name="T61" fmla="*/ 130 h 138"/>
                  <a:gd name="T62" fmla="*/ 110 w 128"/>
                  <a:gd name="T63" fmla="*/ 136 h 138"/>
                  <a:gd name="T64" fmla="*/ 80 w 128"/>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38">
                    <a:moveTo>
                      <a:pt x="80" y="138"/>
                    </a:moveTo>
                    <a:lnTo>
                      <a:pt x="80" y="138"/>
                    </a:lnTo>
                    <a:lnTo>
                      <a:pt x="78" y="138"/>
                    </a:lnTo>
                    <a:lnTo>
                      <a:pt x="68" y="126"/>
                    </a:lnTo>
                    <a:lnTo>
                      <a:pt x="60" y="126"/>
                    </a:lnTo>
                    <a:lnTo>
                      <a:pt x="60" y="126"/>
                    </a:lnTo>
                    <a:lnTo>
                      <a:pt x="60" y="126"/>
                    </a:lnTo>
                    <a:lnTo>
                      <a:pt x="50" y="112"/>
                    </a:lnTo>
                    <a:lnTo>
                      <a:pt x="20" y="94"/>
                    </a:lnTo>
                    <a:lnTo>
                      <a:pt x="4" y="90"/>
                    </a:lnTo>
                    <a:lnTo>
                      <a:pt x="4" y="90"/>
                    </a:lnTo>
                    <a:lnTo>
                      <a:pt x="2" y="88"/>
                    </a:lnTo>
                    <a:lnTo>
                      <a:pt x="0" y="66"/>
                    </a:lnTo>
                    <a:lnTo>
                      <a:pt x="0" y="66"/>
                    </a:lnTo>
                    <a:lnTo>
                      <a:pt x="0" y="66"/>
                    </a:lnTo>
                    <a:lnTo>
                      <a:pt x="28" y="48"/>
                    </a:lnTo>
                    <a:lnTo>
                      <a:pt x="32" y="20"/>
                    </a:lnTo>
                    <a:lnTo>
                      <a:pt x="32" y="20"/>
                    </a:lnTo>
                    <a:lnTo>
                      <a:pt x="32" y="18"/>
                    </a:lnTo>
                    <a:lnTo>
                      <a:pt x="44" y="10"/>
                    </a:lnTo>
                    <a:lnTo>
                      <a:pt x="44" y="6"/>
                    </a:lnTo>
                    <a:lnTo>
                      <a:pt x="44" y="6"/>
                    </a:lnTo>
                    <a:lnTo>
                      <a:pt x="44" y="6"/>
                    </a:lnTo>
                    <a:lnTo>
                      <a:pt x="52" y="0"/>
                    </a:lnTo>
                    <a:lnTo>
                      <a:pt x="52" y="0"/>
                    </a:lnTo>
                    <a:lnTo>
                      <a:pt x="54" y="0"/>
                    </a:lnTo>
                    <a:lnTo>
                      <a:pt x="54" y="0"/>
                    </a:lnTo>
                    <a:lnTo>
                      <a:pt x="54" y="0"/>
                    </a:lnTo>
                    <a:lnTo>
                      <a:pt x="78" y="4"/>
                    </a:lnTo>
                    <a:lnTo>
                      <a:pt x="78" y="2"/>
                    </a:lnTo>
                    <a:lnTo>
                      <a:pt x="78" y="2"/>
                    </a:lnTo>
                    <a:lnTo>
                      <a:pt x="80" y="2"/>
                    </a:lnTo>
                    <a:lnTo>
                      <a:pt x="80" y="2"/>
                    </a:lnTo>
                    <a:lnTo>
                      <a:pt x="82" y="2"/>
                    </a:lnTo>
                    <a:lnTo>
                      <a:pt x="86" y="10"/>
                    </a:lnTo>
                    <a:lnTo>
                      <a:pt x="96" y="24"/>
                    </a:lnTo>
                    <a:lnTo>
                      <a:pt x="102" y="26"/>
                    </a:lnTo>
                    <a:lnTo>
                      <a:pt x="102" y="26"/>
                    </a:lnTo>
                    <a:lnTo>
                      <a:pt x="102" y="28"/>
                    </a:lnTo>
                    <a:lnTo>
                      <a:pt x="102" y="28"/>
                    </a:lnTo>
                    <a:lnTo>
                      <a:pt x="102" y="30"/>
                    </a:lnTo>
                    <a:lnTo>
                      <a:pt x="100" y="34"/>
                    </a:lnTo>
                    <a:lnTo>
                      <a:pt x="102" y="40"/>
                    </a:lnTo>
                    <a:lnTo>
                      <a:pt x="102" y="40"/>
                    </a:lnTo>
                    <a:lnTo>
                      <a:pt x="100" y="42"/>
                    </a:lnTo>
                    <a:lnTo>
                      <a:pt x="96" y="46"/>
                    </a:lnTo>
                    <a:lnTo>
                      <a:pt x="92" y="58"/>
                    </a:lnTo>
                    <a:lnTo>
                      <a:pt x="100" y="68"/>
                    </a:lnTo>
                    <a:lnTo>
                      <a:pt x="106" y="76"/>
                    </a:lnTo>
                    <a:lnTo>
                      <a:pt x="118" y="82"/>
                    </a:lnTo>
                    <a:lnTo>
                      <a:pt x="124" y="90"/>
                    </a:lnTo>
                    <a:lnTo>
                      <a:pt x="124" y="90"/>
                    </a:lnTo>
                    <a:lnTo>
                      <a:pt x="126" y="90"/>
                    </a:lnTo>
                    <a:lnTo>
                      <a:pt x="122" y="102"/>
                    </a:lnTo>
                    <a:lnTo>
                      <a:pt x="126" y="114"/>
                    </a:lnTo>
                    <a:lnTo>
                      <a:pt x="126" y="114"/>
                    </a:lnTo>
                    <a:lnTo>
                      <a:pt x="128" y="114"/>
                    </a:lnTo>
                    <a:lnTo>
                      <a:pt x="126" y="120"/>
                    </a:lnTo>
                    <a:lnTo>
                      <a:pt x="126" y="120"/>
                    </a:lnTo>
                    <a:lnTo>
                      <a:pt x="124" y="122"/>
                    </a:lnTo>
                    <a:lnTo>
                      <a:pt x="118" y="124"/>
                    </a:lnTo>
                    <a:lnTo>
                      <a:pt x="110" y="130"/>
                    </a:lnTo>
                    <a:lnTo>
                      <a:pt x="110" y="136"/>
                    </a:lnTo>
                    <a:lnTo>
                      <a:pt x="110" y="136"/>
                    </a:lnTo>
                    <a:lnTo>
                      <a:pt x="108" y="138"/>
                    </a:lnTo>
                    <a:lnTo>
                      <a:pt x="8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3" name="Freeform 826"/>
              <p:cNvSpPr>
                <a:spLocks noEditPoints="1"/>
              </p:cNvSpPr>
              <p:nvPr/>
            </p:nvSpPr>
            <p:spPr bwMode="auto">
              <a:xfrm>
                <a:off x="3415" y="1963"/>
                <a:ext cx="130" cy="142"/>
              </a:xfrm>
              <a:custGeom>
                <a:avLst/>
                <a:gdLst>
                  <a:gd name="T0" fmla="*/ 80 w 130"/>
                  <a:gd name="T1" fmla="*/ 8 h 142"/>
                  <a:gd name="T2" fmla="*/ 86 w 130"/>
                  <a:gd name="T3" fmla="*/ 12 h 142"/>
                  <a:gd name="T4" fmla="*/ 102 w 130"/>
                  <a:gd name="T5" fmla="*/ 30 h 142"/>
                  <a:gd name="T6" fmla="*/ 102 w 130"/>
                  <a:gd name="T7" fmla="*/ 44 h 142"/>
                  <a:gd name="T8" fmla="*/ 90 w 130"/>
                  <a:gd name="T9" fmla="*/ 60 h 142"/>
                  <a:gd name="T10" fmla="*/ 106 w 130"/>
                  <a:gd name="T11" fmla="*/ 80 h 142"/>
                  <a:gd name="T12" fmla="*/ 126 w 130"/>
                  <a:gd name="T13" fmla="*/ 92 h 142"/>
                  <a:gd name="T14" fmla="*/ 128 w 130"/>
                  <a:gd name="T15" fmla="*/ 116 h 142"/>
                  <a:gd name="T16" fmla="*/ 118 w 130"/>
                  <a:gd name="T17" fmla="*/ 124 h 142"/>
                  <a:gd name="T18" fmla="*/ 110 w 130"/>
                  <a:gd name="T19" fmla="*/ 138 h 142"/>
                  <a:gd name="T20" fmla="*/ 70 w 130"/>
                  <a:gd name="T21" fmla="*/ 126 h 142"/>
                  <a:gd name="T22" fmla="*/ 54 w 130"/>
                  <a:gd name="T23" fmla="*/ 112 h 142"/>
                  <a:gd name="T24" fmla="*/ 6 w 130"/>
                  <a:gd name="T25" fmla="*/ 90 h 142"/>
                  <a:gd name="T26" fmla="*/ 32 w 130"/>
                  <a:gd name="T27" fmla="*/ 50 h 142"/>
                  <a:gd name="T28" fmla="*/ 48 w 130"/>
                  <a:gd name="T29" fmla="*/ 12 h 142"/>
                  <a:gd name="T30" fmla="*/ 56 w 130"/>
                  <a:gd name="T31" fmla="*/ 4 h 142"/>
                  <a:gd name="T32" fmla="*/ 56 w 130"/>
                  <a:gd name="T33" fmla="*/ 0 h 142"/>
                  <a:gd name="T34" fmla="*/ 46 w 130"/>
                  <a:gd name="T35" fmla="*/ 6 h 142"/>
                  <a:gd name="T36" fmla="*/ 44 w 130"/>
                  <a:gd name="T37" fmla="*/ 8 h 142"/>
                  <a:gd name="T38" fmla="*/ 32 w 130"/>
                  <a:gd name="T39" fmla="*/ 18 h 142"/>
                  <a:gd name="T40" fmla="*/ 32 w 130"/>
                  <a:gd name="T41" fmla="*/ 20 h 142"/>
                  <a:gd name="T42" fmla="*/ 2 w 130"/>
                  <a:gd name="T43" fmla="*/ 66 h 142"/>
                  <a:gd name="T44" fmla="*/ 0 w 130"/>
                  <a:gd name="T45" fmla="*/ 70 h 142"/>
                  <a:gd name="T46" fmla="*/ 2 w 130"/>
                  <a:gd name="T47" fmla="*/ 90 h 142"/>
                  <a:gd name="T48" fmla="*/ 4 w 130"/>
                  <a:gd name="T49" fmla="*/ 94 h 142"/>
                  <a:gd name="T50" fmla="*/ 52 w 130"/>
                  <a:gd name="T51" fmla="*/ 116 h 142"/>
                  <a:gd name="T52" fmla="*/ 60 w 130"/>
                  <a:gd name="T53" fmla="*/ 130 h 142"/>
                  <a:gd name="T54" fmla="*/ 68 w 130"/>
                  <a:gd name="T55" fmla="*/ 130 h 142"/>
                  <a:gd name="T56" fmla="*/ 80 w 130"/>
                  <a:gd name="T57" fmla="*/ 140 h 142"/>
                  <a:gd name="T58" fmla="*/ 110 w 130"/>
                  <a:gd name="T59" fmla="*/ 142 h 142"/>
                  <a:gd name="T60" fmla="*/ 112 w 130"/>
                  <a:gd name="T61" fmla="*/ 140 h 142"/>
                  <a:gd name="T62" fmla="*/ 114 w 130"/>
                  <a:gd name="T63" fmla="*/ 132 h 142"/>
                  <a:gd name="T64" fmla="*/ 126 w 130"/>
                  <a:gd name="T65" fmla="*/ 126 h 142"/>
                  <a:gd name="T66" fmla="*/ 130 w 130"/>
                  <a:gd name="T67" fmla="*/ 122 h 142"/>
                  <a:gd name="T68" fmla="*/ 130 w 130"/>
                  <a:gd name="T69" fmla="*/ 118 h 142"/>
                  <a:gd name="T70" fmla="*/ 126 w 130"/>
                  <a:gd name="T71" fmla="*/ 104 h 142"/>
                  <a:gd name="T72" fmla="*/ 130 w 130"/>
                  <a:gd name="T73" fmla="*/ 94 h 142"/>
                  <a:gd name="T74" fmla="*/ 122 w 130"/>
                  <a:gd name="T75" fmla="*/ 82 h 142"/>
                  <a:gd name="T76" fmla="*/ 120 w 130"/>
                  <a:gd name="T77" fmla="*/ 82 h 142"/>
                  <a:gd name="T78" fmla="*/ 104 w 130"/>
                  <a:gd name="T79" fmla="*/ 68 h 142"/>
                  <a:gd name="T80" fmla="*/ 104 w 130"/>
                  <a:gd name="T81" fmla="*/ 68 h 142"/>
                  <a:gd name="T82" fmla="*/ 100 w 130"/>
                  <a:gd name="T83" fmla="*/ 50 h 142"/>
                  <a:gd name="T84" fmla="*/ 104 w 130"/>
                  <a:gd name="T85" fmla="*/ 46 h 142"/>
                  <a:gd name="T86" fmla="*/ 106 w 130"/>
                  <a:gd name="T87" fmla="*/ 42 h 142"/>
                  <a:gd name="T88" fmla="*/ 106 w 130"/>
                  <a:gd name="T89" fmla="*/ 32 h 142"/>
                  <a:gd name="T90" fmla="*/ 106 w 130"/>
                  <a:gd name="T91" fmla="*/ 30 h 142"/>
                  <a:gd name="T92" fmla="*/ 104 w 130"/>
                  <a:gd name="T93" fmla="*/ 26 h 142"/>
                  <a:gd name="T94" fmla="*/ 90 w 130"/>
                  <a:gd name="T95" fmla="*/ 10 h 142"/>
                  <a:gd name="T96" fmla="*/ 86 w 130"/>
                  <a:gd name="T97" fmla="*/ 4 h 142"/>
                  <a:gd name="T98" fmla="*/ 82 w 130"/>
                  <a:gd name="T99" fmla="*/ 2 h 142"/>
                  <a:gd name="T100" fmla="*/ 80 w 130"/>
                  <a:gd name="T101" fmla="*/ 2 h 142"/>
                  <a:gd name="T102" fmla="*/ 78 w 130"/>
                  <a:gd name="T103" fmla="*/ 4 h 142"/>
                  <a:gd name="T104" fmla="*/ 56 w 130"/>
                  <a:gd name="T105" fmla="*/ 0 h 142"/>
                  <a:gd name="T106" fmla="*/ 56 w 130"/>
                  <a:gd name="T10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2">
                    <a:moveTo>
                      <a:pt x="56" y="4"/>
                    </a:moveTo>
                    <a:lnTo>
                      <a:pt x="80" y="8"/>
                    </a:lnTo>
                    <a:lnTo>
                      <a:pt x="82" y="6"/>
                    </a:lnTo>
                    <a:lnTo>
                      <a:pt x="86" y="12"/>
                    </a:lnTo>
                    <a:lnTo>
                      <a:pt x="96" y="28"/>
                    </a:lnTo>
                    <a:lnTo>
                      <a:pt x="102" y="30"/>
                    </a:lnTo>
                    <a:lnTo>
                      <a:pt x="100" y="36"/>
                    </a:lnTo>
                    <a:lnTo>
                      <a:pt x="102" y="44"/>
                    </a:lnTo>
                    <a:lnTo>
                      <a:pt x="96" y="46"/>
                    </a:lnTo>
                    <a:lnTo>
                      <a:pt x="90" y="60"/>
                    </a:lnTo>
                    <a:lnTo>
                      <a:pt x="102" y="70"/>
                    </a:lnTo>
                    <a:lnTo>
                      <a:pt x="106" y="80"/>
                    </a:lnTo>
                    <a:lnTo>
                      <a:pt x="118" y="86"/>
                    </a:lnTo>
                    <a:lnTo>
                      <a:pt x="126" y="92"/>
                    </a:lnTo>
                    <a:lnTo>
                      <a:pt x="122" y="106"/>
                    </a:lnTo>
                    <a:lnTo>
                      <a:pt x="128" y="116"/>
                    </a:lnTo>
                    <a:lnTo>
                      <a:pt x="126" y="122"/>
                    </a:lnTo>
                    <a:lnTo>
                      <a:pt x="118" y="124"/>
                    </a:lnTo>
                    <a:lnTo>
                      <a:pt x="110" y="130"/>
                    </a:lnTo>
                    <a:lnTo>
                      <a:pt x="110" y="138"/>
                    </a:lnTo>
                    <a:lnTo>
                      <a:pt x="82" y="138"/>
                    </a:lnTo>
                    <a:lnTo>
                      <a:pt x="70" y="126"/>
                    </a:lnTo>
                    <a:lnTo>
                      <a:pt x="62" y="126"/>
                    </a:lnTo>
                    <a:lnTo>
                      <a:pt x="54" y="112"/>
                    </a:lnTo>
                    <a:lnTo>
                      <a:pt x="24" y="94"/>
                    </a:lnTo>
                    <a:lnTo>
                      <a:pt x="6" y="90"/>
                    </a:lnTo>
                    <a:lnTo>
                      <a:pt x="4" y="68"/>
                    </a:lnTo>
                    <a:lnTo>
                      <a:pt x="32" y="50"/>
                    </a:lnTo>
                    <a:lnTo>
                      <a:pt x="36" y="22"/>
                    </a:lnTo>
                    <a:lnTo>
                      <a:pt x="48" y="12"/>
                    </a:lnTo>
                    <a:lnTo>
                      <a:pt x="48" y="8"/>
                    </a:lnTo>
                    <a:lnTo>
                      <a:pt x="56" y="4"/>
                    </a:lnTo>
                    <a:close/>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4" name="Freeform 827"/>
              <p:cNvSpPr>
                <a:spLocks/>
              </p:cNvSpPr>
              <p:nvPr/>
            </p:nvSpPr>
            <p:spPr bwMode="auto">
              <a:xfrm>
                <a:off x="3419" y="1967"/>
                <a:ext cx="124" cy="134"/>
              </a:xfrm>
              <a:custGeom>
                <a:avLst/>
                <a:gdLst>
                  <a:gd name="T0" fmla="*/ 52 w 124"/>
                  <a:gd name="T1" fmla="*/ 0 h 134"/>
                  <a:gd name="T2" fmla="*/ 76 w 124"/>
                  <a:gd name="T3" fmla="*/ 4 h 134"/>
                  <a:gd name="T4" fmla="*/ 78 w 124"/>
                  <a:gd name="T5" fmla="*/ 2 h 134"/>
                  <a:gd name="T6" fmla="*/ 82 w 124"/>
                  <a:gd name="T7" fmla="*/ 8 h 134"/>
                  <a:gd name="T8" fmla="*/ 92 w 124"/>
                  <a:gd name="T9" fmla="*/ 24 h 134"/>
                  <a:gd name="T10" fmla="*/ 98 w 124"/>
                  <a:gd name="T11" fmla="*/ 26 h 134"/>
                  <a:gd name="T12" fmla="*/ 96 w 124"/>
                  <a:gd name="T13" fmla="*/ 32 h 134"/>
                  <a:gd name="T14" fmla="*/ 98 w 124"/>
                  <a:gd name="T15" fmla="*/ 40 h 134"/>
                  <a:gd name="T16" fmla="*/ 92 w 124"/>
                  <a:gd name="T17" fmla="*/ 42 h 134"/>
                  <a:gd name="T18" fmla="*/ 86 w 124"/>
                  <a:gd name="T19" fmla="*/ 56 h 134"/>
                  <a:gd name="T20" fmla="*/ 98 w 124"/>
                  <a:gd name="T21" fmla="*/ 66 h 134"/>
                  <a:gd name="T22" fmla="*/ 102 w 124"/>
                  <a:gd name="T23" fmla="*/ 76 h 134"/>
                  <a:gd name="T24" fmla="*/ 114 w 124"/>
                  <a:gd name="T25" fmla="*/ 82 h 134"/>
                  <a:gd name="T26" fmla="*/ 122 w 124"/>
                  <a:gd name="T27" fmla="*/ 88 h 134"/>
                  <a:gd name="T28" fmla="*/ 118 w 124"/>
                  <a:gd name="T29" fmla="*/ 102 h 134"/>
                  <a:gd name="T30" fmla="*/ 124 w 124"/>
                  <a:gd name="T31" fmla="*/ 112 h 134"/>
                  <a:gd name="T32" fmla="*/ 122 w 124"/>
                  <a:gd name="T33" fmla="*/ 118 h 134"/>
                  <a:gd name="T34" fmla="*/ 114 w 124"/>
                  <a:gd name="T35" fmla="*/ 120 h 134"/>
                  <a:gd name="T36" fmla="*/ 106 w 124"/>
                  <a:gd name="T37" fmla="*/ 126 h 134"/>
                  <a:gd name="T38" fmla="*/ 106 w 124"/>
                  <a:gd name="T39" fmla="*/ 134 h 134"/>
                  <a:gd name="T40" fmla="*/ 78 w 124"/>
                  <a:gd name="T41" fmla="*/ 134 h 134"/>
                  <a:gd name="T42" fmla="*/ 66 w 124"/>
                  <a:gd name="T43" fmla="*/ 122 h 134"/>
                  <a:gd name="T44" fmla="*/ 58 w 124"/>
                  <a:gd name="T45" fmla="*/ 122 h 134"/>
                  <a:gd name="T46" fmla="*/ 50 w 124"/>
                  <a:gd name="T47" fmla="*/ 108 h 134"/>
                  <a:gd name="T48" fmla="*/ 20 w 124"/>
                  <a:gd name="T49" fmla="*/ 90 h 134"/>
                  <a:gd name="T50" fmla="*/ 2 w 124"/>
                  <a:gd name="T51" fmla="*/ 86 h 134"/>
                  <a:gd name="T52" fmla="*/ 0 w 124"/>
                  <a:gd name="T53" fmla="*/ 64 h 134"/>
                  <a:gd name="T54" fmla="*/ 28 w 124"/>
                  <a:gd name="T55" fmla="*/ 46 h 134"/>
                  <a:gd name="T56" fmla="*/ 32 w 124"/>
                  <a:gd name="T57" fmla="*/ 18 h 134"/>
                  <a:gd name="T58" fmla="*/ 44 w 124"/>
                  <a:gd name="T59" fmla="*/ 8 h 134"/>
                  <a:gd name="T60" fmla="*/ 44 w 124"/>
                  <a:gd name="T61" fmla="*/ 4 h 134"/>
                  <a:gd name="T62" fmla="*/ 52 w 124"/>
                  <a:gd name="T6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34">
                    <a:moveTo>
                      <a:pt x="52" y="0"/>
                    </a:moveTo>
                    <a:lnTo>
                      <a:pt x="76" y="4"/>
                    </a:lnTo>
                    <a:lnTo>
                      <a:pt x="78" y="2"/>
                    </a:lnTo>
                    <a:lnTo>
                      <a:pt x="82" y="8"/>
                    </a:lnTo>
                    <a:lnTo>
                      <a:pt x="92" y="24"/>
                    </a:lnTo>
                    <a:lnTo>
                      <a:pt x="98" y="26"/>
                    </a:lnTo>
                    <a:lnTo>
                      <a:pt x="96" y="32"/>
                    </a:lnTo>
                    <a:lnTo>
                      <a:pt x="98" y="40"/>
                    </a:lnTo>
                    <a:lnTo>
                      <a:pt x="92" y="42"/>
                    </a:lnTo>
                    <a:lnTo>
                      <a:pt x="86" y="56"/>
                    </a:lnTo>
                    <a:lnTo>
                      <a:pt x="98" y="66"/>
                    </a:lnTo>
                    <a:lnTo>
                      <a:pt x="102" y="76"/>
                    </a:lnTo>
                    <a:lnTo>
                      <a:pt x="114" y="82"/>
                    </a:lnTo>
                    <a:lnTo>
                      <a:pt x="122" y="88"/>
                    </a:lnTo>
                    <a:lnTo>
                      <a:pt x="118" y="102"/>
                    </a:lnTo>
                    <a:lnTo>
                      <a:pt x="124" y="112"/>
                    </a:lnTo>
                    <a:lnTo>
                      <a:pt x="122" y="118"/>
                    </a:lnTo>
                    <a:lnTo>
                      <a:pt x="114" y="120"/>
                    </a:lnTo>
                    <a:lnTo>
                      <a:pt x="106" y="126"/>
                    </a:lnTo>
                    <a:lnTo>
                      <a:pt x="106" y="134"/>
                    </a:lnTo>
                    <a:lnTo>
                      <a:pt x="78" y="134"/>
                    </a:lnTo>
                    <a:lnTo>
                      <a:pt x="66" y="122"/>
                    </a:lnTo>
                    <a:lnTo>
                      <a:pt x="58" y="122"/>
                    </a:lnTo>
                    <a:lnTo>
                      <a:pt x="50" y="108"/>
                    </a:lnTo>
                    <a:lnTo>
                      <a:pt x="20" y="90"/>
                    </a:lnTo>
                    <a:lnTo>
                      <a:pt x="2" y="86"/>
                    </a:lnTo>
                    <a:lnTo>
                      <a:pt x="0" y="64"/>
                    </a:lnTo>
                    <a:lnTo>
                      <a:pt x="28" y="46"/>
                    </a:lnTo>
                    <a:lnTo>
                      <a:pt x="32" y="18"/>
                    </a:lnTo>
                    <a:lnTo>
                      <a:pt x="44" y="8"/>
                    </a:lnTo>
                    <a:lnTo>
                      <a:pt x="44"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5" name="Freeform 828"/>
              <p:cNvSpPr>
                <a:spLocks/>
              </p:cNvSpPr>
              <p:nvPr/>
            </p:nvSpPr>
            <p:spPr bwMode="auto">
              <a:xfrm>
                <a:off x="3415" y="1963"/>
                <a:ext cx="130" cy="142"/>
              </a:xfrm>
              <a:custGeom>
                <a:avLst/>
                <a:gdLst>
                  <a:gd name="T0" fmla="*/ 56 w 130"/>
                  <a:gd name="T1" fmla="*/ 0 h 142"/>
                  <a:gd name="T2" fmla="*/ 46 w 130"/>
                  <a:gd name="T3" fmla="*/ 6 h 142"/>
                  <a:gd name="T4" fmla="*/ 44 w 130"/>
                  <a:gd name="T5" fmla="*/ 8 h 142"/>
                  <a:gd name="T6" fmla="*/ 32 w 130"/>
                  <a:gd name="T7" fmla="*/ 18 h 142"/>
                  <a:gd name="T8" fmla="*/ 32 w 130"/>
                  <a:gd name="T9" fmla="*/ 20 h 142"/>
                  <a:gd name="T10" fmla="*/ 2 w 130"/>
                  <a:gd name="T11" fmla="*/ 66 h 142"/>
                  <a:gd name="T12" fmla="*/ 0 w 130"/>
                  <a:gd name="T13" fmla="*/ 70 h 142"/>
                  <a:gd name="T14" fmla="*/ 2 w 130"/>
                  <a:gd name="T15" fmla="*/ 90 h 142"/>
                  <a:gd name="T16" fmla="*/ 4 w 130"/>
                  <a:gd name="T17" fmla="*/ 94 h 142"/>
                  <a:gd name="T18" fmla="*/ 52 w 130"/>
                  <a:gd name="T19" fmla="*/ 116 h 142"/>
                  <a:gd name="T20" fmla="*/ 60 w 130"/>
                  <a:gd name="T21" fmla="*/ 130 h 142"/>
                  <a:gd name="T22" fmla="*/ 68 w 130"/>
                  <a:gd name="T23" fmla="*/ 130 h 142"/>
                  <a:gd name="T24" fmla="*/ 80 w 130"/>
                  <a:gd name="T25" fmla="*/ 140 h 142"/>
                  <a:gd name="T26" fmla="*/ 110 w 130"/>
                  <a:gd name="T27" fmla="*/ 142 h 142"/>
                  <a:gd name="T28" fmla="*/ 112 w 130"/>
                  <a:gd name="T29" fmla="*/ 140 h 142"/>
                  <a:gd name="T30" fmla="*/ 114 w 130"/>
                  <a:gd name="T31" fmla="*/ 132 h 142"/>
                  <a:gd name="T32" fmla="*/ 126 w 130"/>
                  <a:gd name="T33" fmla="*/ 126 h 142"/>
                  <a:gd name="T34" fmla="*/ 130 w 130"/>
                  <a:gd name="T35" fmla="*/ 122 h 142"/>
                  <a:gd name="T36" fmla="*/ 130 w 130"/>
                  <a:gd name="T37" fmla="*/ 118 h 142"/>
                  <a:gd name="T38" fmla="*/ 126 w 130"/>
                  <a:gd name="T39" fmla="*/ 104 h 142"/>
                  <a:gd name="T40" fmla="*/ 130 w 130"/>
                  <a:gd name="T41" fmla="*/ 94 h 142"/>
                  <a:gd name="T42" fmla="*/ 122 w 130"/>
                  <a:gd name="T43" fmla="*/ 82 h 142"/>
                  <a:gd name="T44" fmla="*/ 120 w 130"/>
                  <a:gd name="T45" fmla="*/ 82 h 142"/>
                  <a:gd name="T46" fmla="*/ 104 w 130"/>
                  <a:gd name="T47" fmla="*/ 68 h 142"/>
                  <a:gd name="T48" fmla="*/ 104 w 130"/>
                  <a:gd name="T49" fmla="*/ 68 h 142"/>
                  <a:gd name="T50" fmla="*/ 100 w 130"/>
                  <a:gd name="T51" fmla="*/ 50 h 142"/>
                  <a:gd name="T52" fmla="*/ 104 w 130"/>
                  <a:gd name="T53" fmla="*/ 46 h 142"/>
                  <a:gd name="T54" fmla="*/ 106 w 130"/>
                  <a:gd name="T55" fmla="*/ 42 h 142"/>
                  <a:gd name="T56" fmla="*/ 106 w 130"/>
                  <a:gd name="T57" fmla="*/ 32 h 142"/>
                  <a:gd name="T58" fmla="*/ 106 w 130"/>
                  <a:gd name="T59" fmla="*/ 30 h 142"/>
                  <a:gd name="T60" fmla="*/ 104 w 130"/>
                  <a:gd name="T61" fmla="*/ 26 h 142"/>
                  <a:gd name="T62" fmla="*/ 90 w 130"/>
                  <a:gd name="T63" fmla="*/ 10 h 142"/>
                  <a:gd name="T64" fmla="*/ 86 w 130"/>
                  <a:gd name="T65" fmla="*/ 4 h 142"/>
                  <a:gd name="T66" fmla="*/ 82 w 130"/>
                  <a:gd name="T67" fmla="*/ 2 h 142"/>
                  <a:gd name="T68" fmla="*/ 80 w 130"/>
                  <a:gd name="T69" fmla="*/ 2 h 142"/>
                  <a:gd name="T70" fmla="*/ 78 w 130"/>
                  <a:gd name="T71" fmla="*/ 4 h 142"/>
                  <a:gd name="T72" fmla="*/ 56 w 130"/>
                  <a:gd name="T73" fmla="*/ 0 h 142"/>
                  <a:gd name="T74" fmla="*/ 56 w 130"/>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42">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6" name="Freeform 829"/>
              <p:cNvSpPr>
                <a:spLocks/>
              </p:cNvSpPr>
              <p:nvPr/>
            </p:nvSpPr>
            <p:spPr bwMode="auto">
              <a:xfrm>
                <a:off x="3523" y="2083"/>
                <a:ext cx="26" cy="26"/>
              </a:xfrm>
              <a:custGeom>
                <a:avLst/>
                <a:gdLst>
                  <a:gd name="T0" fmla="*/ 16 w 26"/>
                  <a:gd name="T1" fmla="*/ 26 h 26"/>
                  <a:gd name="T2" fmla="*/ 16 w 26"/>
                  <a:gd name="T3" fmla="*/ 26 h 26"/>
                  <a:gd name="T4" fmla="*/ 16 w 26"/>
                  <a:gd name="T5" fmla="*/ 24 h 26"/>
                  <a:gd name="T6" fmla="*/ 10 w 26"/>
                  <a:gd name="T7" fmla="*/ 18 h 26"/>
                  <a:gd name="T8" fmla="*/ 2 w 26"/>
                  <a:gd name="T9" fmla="*/ 18 h 26"/>
                  <a:gd name="T10" fmla="*/ 2 w 26"/>
                  <a:gd name="T11" fmla="*/ 18 h 26"/>
                  <a:gd name="T12" fmla="*/ 0 w 26"/>
                  <a:gd name="T13" fmla="*/ 16 h 26"/>
                  <a:gd name="T14" fmla="*/ 0 w 26"/>
                  <a:gd name="T15" fmla="*/ 10 h 26"/>
                  <a:gd name="T16" fmla="*/ 0 w 26"/>
                  <a:gd name="T17" fmla="*/ 10 h 26"/>
                  <a:gd name="T18" fmla="*/ 2 w 26"/>
                  <a:gd name="T19" fmla="*/ 8 h 26"/>
                  <a:gd name="T20" fmla="*/ 10 w 26"/>
                  <a:gd name="T21" fmla="*/ 2 h 26"/>
                  <a:gd name="T22" fmla="*/ 12 w 26"/>
                  <a:gd name="T23" fmla="*/ 0 h 26"/>
                  <a:gd name="T24" fmla="*/ 12 w 26"/>
                  <a:gd name="T25" fmla="*/ 0 h 26"/>
                  <a:gd name="T26" fmla="*/ 14 w 26"/>
                  <a:gd name="T27" fmla="*/ 0 h 26"/>
                  <a:gd name="T28" fmla="*/ 16 w 26"/>
                  <a:gd name="T29" fmla="*/ 0 h 26"/>
                  <a:gd name="T30" fmla="*/ 26 w 26"/>
                  <a:gd name="T31" fmla="*/ 2 h 26"/>
                  <a:gd name="T32" fmla="*/ 26 w 26"/>
                  <a:gd name="T33" fmla="*/ 2 h 26"/>
                  <a:gd name="T34" fmla="*/ 26 w 26"/>
                  <a:gd name="T35" fmla="*/ 4 h 26"/>
                  <a:gd name="T36" fmla="*/ 26 w 26"/>
                  <a:gd name="T37" fmla="*/ 4 h 26"/>
                  <a:gd name="T38" fmla="*/ 26 w 26"/>
                  <a:gd name="T39" fmla="*/ 6 h 26"/>
                  <a:gd name="T40" fmla="*/ 22 w 26"/>
                  <a:gd name="T41" fmla="*/ 12 h 26"/>
                  <a:gd name="T42" fmla="*/ 22 w 26"/>
                  <a:gd name="T43" fmla="*/ 16 h 26"/>
                  <a:gd name="T44" fmla="*/ 24 w 26"/>
                  <a:gd name="T45" fmla="*/ 22 h 26"/>
                  <a:gd name="T46" fmla="*/ 24 w 26"/>
                  <a:gd name="T47" fmla="*/ 22 h 26"/>
                  <a:gd name="T48" fmla="*/ 24 w 26"/>
                  <a:gd name="T49" fmla="*/ 24 h 26"/>
                  <a:gd name="T50" fmla="*/ 24 w 26"/>
                  <a:gd name="T51" fmla="*/ 24 h 26"/>
                  <a:gd name="T52" fmla="*/ 24 w 26"/>
                  <a:gd name="T53" fmla="*/ 26 h 26"/>
                  <a:gd name="T54" fmla="*/ 16 w 26"/>
                  <a:gd name="T5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26">
                    <a:moveTo>
                      <a:pt x="16" y="26"/>
                    </a:moveTo>
                    <a:lnTo>
                      <a:pt x="16" y="26"/>
                    </a:lnTo>
                    <a:lnTo>
                      <a:pt x="16" y="24"/>
                    </a:lnTo>
                    <a:lnTo>
                      <a:pt x="10" y="18"/>
                    </a:lnTo>
                    <a:lnTo>
                      <a:pt x="2" y="18"/>
                    </a:lnTo>
                    <a:lnTo>
                      <a:pt x="2" y="18"/>
                    </a:lnTo>
                    <a:lnTo>
                      <a:pt x="0" y="16"/>
                    </a:lnTo>
                    <a:lnTo>
                      <a:pt x="0" y="10"/>
                    </a:lnTo>
                    <a:lnTo>
                      <a:pt x="0" y="10"/>
                    </a:lnTo>
                    <a:lnTo>
                      <a:pt x="2" y="8"/>
                    </a:lnTo>
                    <a:lnTo>
                      <a:pt x="10" y="2"/>
                    </a:lnTo>
                    <a:lnTo>
                      <a:pt x="12" y="0"/>
                    </a:lnTo>
                    <a:lnTo>
                      <a:pt x="12" y="0"/>
                    </a:lnTo>
                    <a:lnTo>
                      <a:pt x="14" y="0"/>
                    </a:lnTo>
                    <a:lnTo>
                      <a:pt x="16" y="0"/>
                    </a:lnTo>
                    <a:lnTo>
                      <a:pt x="26" y="2"/>
                    </a:lnTo>
                    <a:lnTo>
                      <a:pt x="26" y="2"/>
                    </a:lnTo>
                    <a:lnTo>
                      <a:pt x="26" y="4"/>
                    </a:lnTo>
                    <a:lnTo>
                      <a:pt x="26" y="4"/>
                    </a:lnTo>
                    <a:lnTo>
                      <a:pt x="26" y="6"/>
                    </a:lnTo>
                    <a:lnTo>
                      <a:pt x="22" y="12"/>
                    </a:lnTo>
                    <a:lnTo>
                      <a:pt x="22" y="16"/>
                    </a:lnTo>
                    <a:lnTo>
                      <a:pt x="24" y="22"/>
                    </a:lnTo>
                    <a:lnTo>
                      <a:pt x="24" y="22"/>
                    </a:lnTo>
                    <a:lnTo>
                      <a:pt x="24" y="24"/>
                    </a:lnTo>
                    <a:lnTo>
                      <a:pt x="24" y="24"/>
                    </a:lnTo>
                    <a:lnTo>
                      <a:pt x="24"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7" name="Freeform 830"/>
              <p:cNvSpPr>
                <a:spLocks noEditPoints="1"/>
              </p:cNvSpPr>
              <p:nvPr/>
            </p:nvSpPr>
            <p:spPr bwMode="auto">
              <a:xfrm>
                <a:off x="3521" y="2081"/>
                <a:ext cx="30" cy="30"/>
              </a:xfrm>
              <a:custGeom>
                <a:avLst/>
                <a:gdLst>
                  <a:gd name="T0" fmla="*/ 18 w 30"/>
                  <a:gd name="T1" fmla="*/ 4 h 30"/>
                  <a:gd name="T2" fmla="*/ 26 w 30"/>
                  <a:gd name="T3" fmla="*/ 6 h 30"/>
                  <a:gd name="T4" fmla="*/ 22 w 30"/>
                  <a:gd name="T5" fmla="*/ 12 h 30"/>
                  <a:gd name="T6" fmla="*/ 22 w 30"/>
                  <a:gd name="T7" fmla="*/ 18 h 30"/>
                  <a:gd name="T8" fmla="*/ 26 w 30"/>
                  <a:gd name="T9" fmla="*/ 26 h 30"/>
                  <a:gd name="T10" fmla="*/ 18 w 30"/>
                  <a:gd name="T11" fmla="*/ 26 h 30"/>
                  <a:gd name="T12" fmla="*/ 12 w 30"/>
                  <a:gd name="T13" fmla="*/ 20 h 30"/>
                  <a:gd name="T14" fmla="*/ 4 w 30"/>
                  <a:gd name="T15" fmla="*/ 18 h 30"/>
                  <a:gd name="T16" fmla="*/ 4 w 30"/>
                  <a:gd name="T17" fmla="*/ 12 h 30"/>
                  <a:gd name="T18" fmla="*/ 12 w 30"/>
                  <a:gd name="T19" fmla="*/ 4 h 30"/>
                  <a:gd name="T20" fmla="*/ 16 w 30"/>
                  <a:gd name="T21" fmla="*/ 4 h 30"/>
                  <a:gd name="T22" fmla="*/ 18 w 30"/>
                  <a:gd name="T23" fmla="*/ 4 h 30"/>
                  <a:gd name="T24" fmla="*/ 18 w 30"/>
                  <a:gd name="T25" fmla="*/ 0 h 30"/>
                  <a:gd name="T26" fmla="*/ 16 w 30"/>
                  <a:gd name="T27" fmla="*/ 0 h 30"/>
                  <a:gd name="T28" fmla="*/ 16 w 30"/>
                  <a:gd name="T29" fmla="*/ 0 h 30"/>
                  <a:gd name="T30" fmla="*/ 14 w 30"/>
                  <a:gd name="T31" fmla="*/ 0 h 30"/>
                  <a:gd name="T32" fmla="*/ 10 w 30"/>
                  <a:gd name="T33" fmla="*/ 2 h 30"/>
                  <a:gd name="T34" fmla="*/ 10 w 30"/>
                  <a:gd name="T35" fmla="*/ 2 h 30"/>
                  <a:gd name="T36" fmla="*/ 10 w 30"/>
                  <a:gd name="T37" fmla="*/ 2 h 30"/>
                  <a:gd name="T38" fmla="*/ 2 w 30"/>
                  <a:gd name="T39" fmla="*/ 8 h 30"/>
                  <a:gd name="T40" fmla="*/ 2 w 30"/>
                  <a:gd name="T41" fmla="*/ 8 h 30"/>
                  <a:gd name="T42" fmla="*/ 0 w 30"/>
                  <a:gd name="T43" fmla="*/ 12 h 30"/>
                  <a:gd name="T44" fmla="*/ 0 w 30"/>
                  <a:gd name="T45" fmla="*/ 18 h 30"/>
                  <a:gd name="T46" fmla="*/ 0 w 30"/>
                  <a:gd name="T47" fmla="*/ 18 h 30"/>
                  <a:gd name="T48" fmla="*/ 2 w 30"/>
                  <a:gd name="T49" fmla="*/ 20 h 30"/>
                  <a:gd name="T50" fmla="*/ 4 w 30"/>
                  <a:gd name="T51" fmla="*/ 22 h 30"/>
                  <a:gd name="T52" fmla="*/ 10 w 30"/>
                  <a:gd name="T53" fmla="*/ 22 h 30"/>
                  <a:gd name="T54" fmla="*/ 16 w 30"/>
                  <a:gd name="T55" fmla="*/ 28 h 30"/>
                  <a:gd name="T56" fmla="*/ 16 w 30"/>
                  <a:gd name="T57" fmla="*/ 28 h 30"/>
                  <a:gd name="T58" fmla="*/ 18 w 30"/>
                  <a:gd name="T59" fmla="*/ 30 h 30"/>
                  <a:gd name="T60" fmla="*/ 26 w 30"/>
                  <a:gd name="T61" fmla="*/ 30 h 30"/>
                  <a:gd name="T62" fmla="*/ 26 w 30"/>
                  <a:gd name="T63" fmla="*/ 30 h 30"/>
                  <a:gd name="T64" fmla="*/ 28 w 30"/>
                  <a:gd name="T65" fmla="*/ 28 h 30"/>
                  <a:gd name="T66" fmla="*/ 28 w 30"/>
                  <a:gd name="T67" fmla="*/ 28 h 30"/>
                  <a:gd name="T68" fmla="*/ 28 w 30"/>
                  <a:gd name="T69" fmla="*/ 24 h 30"/>
                  <a:gd name="T70" fmla="*/ 26 w 30"/>
                  <a:gd name="T71" fmla="*/ 16 h 30"/>
                  <a:gd name="T72" fmla="*/ 26 w 30"/>
                  <a:gd name="T73" fmla="*/ 14 h 30"/>
                  <a:gd name="T74" fmla="*/ 30 w 30"/>
                  <a:gd name="T75" fmla="*/ 8 h 30"/>
                  <a:gd name="T76" fmla="*/ 30 w 30"/>
                  <a:gd name="T77" fmla="*/ 8 h 30"/>
                  <a:gd name="T78" fmla="*/ 30 w 30"/>
                  <a:gd name="T79" fmla="*/ 6 h 30"/>
                  <a:gd name="T80" fmla="*/ 30 w 30"/>
                  <a:gd name="T81" fmla="*/ 6 h 30"/>
                  <a:gd name="T82" fmla="*/ 28 w 30"/>
                  <a:gd name="T83" fmla="*/ 2 h 30"/>
                  <a:gd name="T84" fmla="*/ 20 w 30"/>
                  <a:gd name="T85" fmla="*/ 0 h 30"/>
                  <a:gd name="T86" fmla="*/ 20 w 30"/>
                  <a:gd name="T87" fmla="*/ 0 h 30"/>
                  <a:gd name="T88" fmla="*/ 18 w 30"/>
                  <a:gd name="T89" fmla="*/ 0 h 30"/>
                  <a:gd name="T90" fmla="*/ 18 w 30"/>
                  <a:gd name="T9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0">
                    <a:moveTo>
                      <a:pt x="18" y="4"/>
                    </a:moveTo>
                    <a:lnTo>
                      <a:pt x="26" y="6"/>
                    </a:lnTo>
                    <a:lnTo>
                      <a:pt x="22" y="12"/>
                    </a:lnTo>
                    <a:lnTo>
                      <a:pt x="22" y="18"/>
                    </a:lnTo>
                    <a:lnTo>
                      <a:pt x="26" y="26"/>
                    </a:lnTo>
                    <a:lnTo>
                      <a:pt x="18" y="26"/>
                    </a:lnTo>
                    <a:lnTo>
                      <a:pt x="12" y="20"/>
                    </a:lnTo>
                    <a:lnTo>
                      <a:pt x="4" y="18"/>
                    </a:lnTo>
                    <a:lnTo>
                      <a:pt x="4" y="12"/>
                    </a:lnTo>
                    <a:lnTo>
                      <a:pt x="12" y="4"/>
                    </a:lnTo>
                    <a:lnTo>
                      <a:pt x="16" y="4"/>
                    </a:lnTo>
                    <a:lnTo>
                      <a:pt x="18" y="4"/>
                    </a:lnTo>
                    <a:close/>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8" name="Freeform 831"/>
              <p:cNvSpPr>
                <a:spLocks/>
              </p:cNvSpPr>
              <p:nvPr/>
            </p:nvSpPr>
            <p:spPr bwMode="auto">
              <a:xfrm>
                <a:off x="3525" y="2085"/>
                <a:ext cx="22" cy="22"/>
              </a:xfrm>
              <a:custGeom>
                <a:avLst/>
                <a:gdLst>
                  <a:gd name="T0" fmla="*/ 14 w 22"/>
                  <a:gd name="T1" fmla="*/ 0 h 22"/>
                  <a:gd name="T2" fmla="*/ 22 w 22"/>
                  <a:gd name="T3" fmla="*/ 2 h 22"/>
                  <a:gd name="T4" fmla="*/ 18 w 22"/>
                  <a:gd name="T5" fmla="*/ 8 h 22"/>
                  <a:gd name="T6" fmla="*/ 18 w 22"/>
                  <a:gd name="T7" fmla="*/ 14 h 22"/>
                  <a:gd name="T8" fmla="*/ 22 w 22"/>
                  <a:gd name="T9" fmla="*/ 22 h 22"/>
                  <a:gd name="T10" fmla="*/ 14 w 22"/>
                  <a:gd name="T11" fmla="*/ 22 h 22"/>
                  <a:gd name="T12" fmla="*/ 8 w 22"/>
                  <a:gd name="T13" fmla="*/ 16 h 22"/>
                  <a:gd name="T14" fmla="*/ 0 w 22"/>
                  <a:gd name="T15" fmla="*/ 14 h 22"/>
                  <a:gd name="T16" fmla="*/ 0 w 22"/>
                  <a:gd name="T17" fmla="*/ 8 h 22"/>
                  <a:gd name="T18" fmla="*/ 8 w 22"/>
                  <a:gd name="T19" fmla="*/ 0 h 22"/>
                  <a:gd name="T20" fmla="*/ 12 w 22"/>
                  <a:gd name="T21" fmla="*/ 0 h 22"/>
                  <a:gd name="T22" fmla="*/ 14 w 2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4" y="0"/>
                    </a:moveTo>
                    <a:lnTo>
                      <a:pt x="22" y="2"/>
                    </a:lnTo>
                    <a:lnTo>
                      <a:pt x="18" y="8"/>
                    </a:lnTo>
                    <a:lnTo>
                      <a:pt x="18" y="14"/>
                    </a:lnTo>
                    <a:lnTo>
                      <a:pt x="22" y="22"/>
                    </a:lnTo>
                    <a:lnTo>
                      <a:pt x="14" y="22"/>
                    </a:lnTo>
                    <a:lnTo>
                      <a:pt x="8" y="16"/>
                    </a:lnTo>
                    <a:lnTo>
                      <a:pt x="0" y="14"/>
                    </a:lnTo>
                    <a:lnTo>
                      <a:pt x="0" y="8"/>
                    </a:lnTo>
                    <a:lnTo>
                      <a:pt x="8" y="0"/>
                    </a:lnTo>
                    <a:lnTo>
                      <a:pt x="1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 name="Freeform 832"/>
              <p:cNvSpPr>
                <a:spLocks/>
              </p:cNvSpPr>
              <p:nvPr/>
            </p:nvSpPr>
            <p:spPr bwMode="auto">
              <a:xfrm>
                <a:off x="3521" y="2081"/>
                <a:ext cx="30" cy="30"/>
              </a:xfrm>
              <a:custGeom>
                <a:avLst/>
                <a:gdLst>
                  <a:gd name="T0" fmla="*/ 18 w 30"/>
                  <a:gd name="T1" fmla="*/ 0 h 30"/>
                  <a:gd name="T2" fmla="*/ 16 w 30"/>
                  <a:gd name="T3" fmla="*/ 0 h 30"/>
                  <a:gd name="T4" fmla="*/ 16 w 30"/>
                  <a:gd name="T5" fmla="*/ 0 h 30"/>
                  <a:gd name="T6" fmla="*/ 14 w 30"/>
                  <a:gd name="T7" fmla="*/ 0 h 30"/>
                  <a:gd name="T8" fmla="*/ 10 w 30"/>
                  <a:gd name="T9" fmla="*/ 2 h 30"/>
                  <a:gd name="T10" fmla="*/ 10 w 30"/>
                  <a:gd name="T11" fmla="*/ 2 h 30"/>
                  <a:gd name="T12" fmla="*/ 10 w 30"/>
                  <a:gd name="T13" fmla="*/ 2 h 30"/>
                  <a:gd name="T14" fmla="*/ 2 w 30"/>
                  <a:gd name="T15" fmla="*/ 8 h 30"/>
                  <a:gd name="T16" fmla="*/ 2 w 30"/>
                  <a:gd name="T17" fmla="*/ 8 h 30"/>
                  <a:gd name="T18" fmla="*/ 0 w 30"/>
                  <a:gd name="T19" fmla="*/ 12 h 30"/>
                  <a:gd name="T20" fmla="*/ 0 w 30"/>
                  <a:gd name="T21" fmla="*/ 18 h 30"/>
                  <a:gd name="T22" fmla="*/ 0 w 30"/>
                  <a:gd name="T23" fmla="*/ 18 h 30"/>
                  <a:gd name="T24" fmla="*/ 2 w 30"/>
                  <a:gd name="T25" fmla="*/ 20 h 30"/>
                  <a:gd name="T26" fmla="*/ 4 w 30"/>
                  <a:gd name="T27" fmla="*/ 22 h 30"/>
                  <a:gd name="T28" fmla="*/ 10 w 30"/>
                  <a:gd name="T29" fmla="*/ 22 h 30"/>
                  <a:gd name="T30" fmla="*/ 16 w 30"/>
                  <a:gd name="T31" fmla="*/ 28 h 30"/>
                  <a:gd name="T32" fmla="*/ 16 w 30"/>
                  <a:gd name="T33" fmla="*/ 28 h 30"/>
                  <a:gd name="T34" fmla="*/ 18 w 30"/>
                  <a:gd name="T35" fmla="*/ 30 h 30"/>
                  <a:gd name="T36" fmla="*/ 26 w 30"/>
                  <a:gd name="T37" fmla="*/ 30 h 30"/>
                  <a:gd name="T38" fmla="*/ 26 w 30"/>
                  <a:gd name="T39" fmla="*/ 30 h 30"/>
                  <a:gd name="T40" fmla="*/ 28 w 30"/>
                  <a:gd name="T41" fmla="*/ 28 h 30"/>
                  <a:gd name="T42" fmla="*/ 28 w 30"/>
                  <a:gd name="T43" fmla="*/ 28 h 30"/>
                  <a:gd name="T44" fmla="*/ 28 w 30"/>
                  <a:gd name="T45" fmla="*/ 24 h 30"/>
                  <a:gd name="T46" fmla="*/ 26 w 30"/>
                  <a:gd name="T47" fmla="*/ 16 h 30"/>
                  <a:gd name="T48" fmla="*/ 26 w 30"/>
                  <a:gd name="T49" fmla="*/ 14 h 30"/>
                  <a:gd name="T50" fmla="*/ 30 w 30"/>
                  <a:gd name="T51" fmla="*/ 8 h 30"/>
                  <a:gd name="T52" fmla="*/ 30 w 30"/>
                  <a:gd name="T53" fmla="*/ 8 h 30"/>
                  <a:gd name="T54" fmla="*/ 30 w 30"/>
                  <a:gd name="T55" fmla="*/ 6 h 30"/>
                  <a:gd name="T56" fmla="*/ 30 w 30"/>
                  <a:gd name="T57" fmla="*/ 6 h 30"/>
                  <a:gd name="T58" fmla="*/ 28 w 30"/>
                  <a:gd name="T59" fmla="*/ 2 h 30"/>
                  <a:gd name="T60" fmla="*/ 20 w 30"/>
                  <a:gd name="T61" fmla="*/ 0 h 30"/>
                  <a:gd name="T62" fmla="*/ 20 w 30"/>
                  <a:gd name="T63" fmla="*/ 0 h 30"/>
                  <a:gd name="T64" fmla="*/ 18 w 30"/>
                  <a:gd name="T65" fmla="*/ 0 h 30"/>
                  <a:gd name="T66" fmla="*/ 18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0" name="Freeform 833"/>
              <p:cNvSpPr>
                <a:spLocks/>
              </p:cNvSpPr>
              <p:nvPr/>
            </p:nvSpPr>
            <p:spPr bwMode="auto">
              <a:xfrm>
                <a:off x="3585" y="2149"/>
                <a:ext cx="82" cy="54"/>
              </a:xfrm>
              <a:custGeom>
                <a:avLst/>
                <a:gdLst>
                  <a:gd name="T0" fmla="*/ 46 w 82"/>
                  <a:gd name="T1" fmla="*/ 54 h 54"/>
                  <a:gd name="T2" fmla="*/ 22 w 82"/>
                  <a:gd name="T3" fmla="*/ 50 h 54"/>
                  <a:gd name="T4" fmla="*/ 22 w 82"/>
                  <a:gd name="T5" fmla="*/ 50 h 54"/>
                  <a:gd name="T6" fmla="*/ 20 w 82"/>
                  <a:gd name="T7" fmla="*/ 48 h 54"/>
                  <a:gd name="T8" fmla="*/ 8 w 82"/>
                  <a:gd name="T9" fmla="*/ 34 h 54"/>
                  <a:gd name="T10" fmla="*/ 0 w 82"/>
                  <a:gd name="T11" fmla="*/ 26 h 54"/>
                  <a:gd name="T12" fmla="*/ 0 w 82"/>
                  <a:gd name="T13" fmla="*/ 26 h 54"/>
                  <a:gd name="T14" fmla="*/ 0 w 82"/>
                  <a:gd name="T15" fmla="*/ 22 h 54"/>
                  <a:gd name="T16" fmla="*/ 4 w 82"/>
                  <a:gd name="T17" fmla="*/ 18 h 54"/>
                  <a:gd name="T18" fmla="*/ 4 w 82"/>
                  <a:gd name="T19" fmla="*/ 18 h 54"/>
                  <a:gd name="T20" fmla="*/ 6 w 82"/>
                  <a:gd name="T21" fmla="*/ 18 h 54"/>
                  <a:gd name="T22" fmla="*/ 6 w 82"/>
                  <a:gd name="T23" fmla="*/ 18 h 54"/>
                  <a:gd name="T24" fmla="*/ 8 w 82"/>
                  <a:gd name="T25" fmla="*/ 18 h 54"/>
                  <a:gd name="T26" fmla="*/ 16 w 82"/>
                  <a:gd name="T27" fmla="*/ 28 h 54"/>
                  <a:gd name="T28" fmla="*/ 22 w 82"/>
                  <a:gd name="T29" fmla="*/ 30 h 54"/>
                  <a:gd name="T30" fmla="*/ 26 w 82"/>
                  <a:gd name="T31" fmla="*/ 28 h 54"/>
                  <a:gd name="T32" fmla="*/ 30 w 82"/>
                  <a:gd name="T33" fmla="*/ 24 h 54"/>
                  <a:gd name="T34" fmla="*/ 30 w 82"/>
                  <a:gd name="T35" fmla="*/ 24 h 54"/>
                  <a:gd name="T36" fmla="*/ 32 w 82"/>
                  <a:gd name="T37" fmla="*/ 24 h 54"/>
                  <a:gd name="T38" fmla="*/ 32 w 82"/>
                  <a:gd name="T39" fmla="*/ 24 h 54"/>
                  <a:gd name="T40" fmla="*/ 32 w 82"/>
                  <a:gd name="T41" fmla="*/ 24 h 54"/>
                  <a:gd name="T42" fmla="*/ 42 w 82"/>
                  <a:gd name="T43" fmla="*/ 28 h 54"/>
                  <a:gd name="T44" fmla="*/ 48 w 82"/>
                  <a:gd name="T45" fmla="*/ 26 h 54"/>
                  <a:gd name="T46" fmla="*/ 54 w 82"/>
                  <a:gd name="T47" fmla="*/ 18 h 54"/>
                  <a:gd name="T48" fmla="*/ 64 w 82"/>
                  <a:gd name="T49" fmla="*/ 10 h 54"/>
                  <a:gd name="T50" fmla="*/ 72 w 82"/>
                  <a:gd name="T51" fmla="*/ 2 h 54"/>
                  <a:gd name="T52" fmla="*/ 72 w 82"/>
                  <a:gd name="T53" fmla="*/ 2 h 54"/>
                  <a:gd name="T54" fmla="*/ 72 w 82"/>
                  <a:gd name="T55" fmla="*/ 0 h 54"/>
                  <a:gd name="T56" fmla="*/ 72 w 82"/>
                  <a:gd name="T57" fmla="*/ 0 h 54"/>
                  <a:gd name="T58" fmla="*/ 74 w 82"/>
                  <a:gd name="T59" fmla="*/ 0 h 54"/>
                  <a:gd name="T60" fmla="*/ 78 w 82"/>
                  <a:gd name="T61" fmla="*/ 2 h 54"/>
                  <a:gd name="T62" fmla="*/ 78 w 82"/>
                  <a:gd name="T63" fmla="*/ 2 h 54"/>
                  <a:gd name="T64" fmla="*/ 78 w 82"/>
                  <a:gd name="T65" fmla="*/ 4 h 54"/>
                  <a:gd name="T66" fmla="*/ 80 w 82"/>
                  <a:gd name="T67" fmla="*/ 10 h 54"/>
                  <a:gd name="T68" fmla="*/ 82 w 82"/>
                  <a:gd name="T69" fmla="*/ 24 h 54"/>
                  <a:gd name="T70" fmla="*/ 82 w 82"/>
                  <a:gd name="T71" fmla="*/ 24 h 54"/>
                  <a:gd name="T72" fmla="*/ 82 w 82"/>
                  <a:gd name="T73" fmla="*/ 26 h 54"/>
                  <a:gd name="T74" fmla="*/ 66 w 82"/>
                  <a:gd name="T75" fmla="*/ 54 h 54"/>
                  <a:gd name="T76" fmla="*/ 66 w 82"/>
                  <a:gd name="T77" fmla="*/ 54 h 54"/>
                  <a:gd name="T78" fmla="*/ 64 w 82"/>
                  <a:gd name="T79" fmla="*/ 54 h 54"/>
                  <a:gd name="T80" fmla="*/ 46 w 82"/>
                  <a:gd name="T8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4">
                    <a:moveTo>
                      <a:pt x="46" y="54"/>
                    </a:moveTo>
                    <a:lnTo>
                      <a:pt x="22" y="50"/>
                    </a:lnTo>
                    <a:lnTo>
                      <a:pt x="22" y="50"/>
                    </a:lnTo>
                    <a:lnTo>
                      <a:pt x="20" y="48"/>
                    </a:lnTo>
                    <a:lnTo>
                      <a:pt x="8" y="34"/>
                    </a:lnTo>
                    <a:lnTo>
                      <a:pt x="0" y="26"/>
                    </a:lnTo>
                    <a:lnTo>
                      <a:pt x="0" y="26"/>
                    </a:lnTo>
                    <a:lnTo>
                      <a:pt x="0" y="22"/>
                    </a:lnTo>
                    <a:lnTo>
                      <a:pt x="4" y="18"/>
                    </a:lnTo>
                    <a:lnTo>
                      <a:pt x="4" y="18"/>
                    </a:lnTo>
                    <a:lnTo>
                      <a:pt x="6" y="18"/>
                    </a:lnTo>
                    <a:lnTo>
                      <a:pt x="6" y="18"/>
                    </a:lnTo>
                    <a:lnTo>
                      <a:pt x="8" y="18"/>
                    </a:lnTo>
                    <a:lnTo>
                      <a:pt x="16" y="28"/>
                    </a:lnTo>
                    <a:lnTo>
                      <a:pt x="22" y="30"/>
                    </a:lnTo>
                    <a:lnTo>
                      <a:pt x="26" y="28"/>
                    </a:lnTo>
                    <a:lnTo>
                      <a:pt x="30" y="24"/>
                    </a:lnTo>
                    <a:lnTo>
                      <a:pt x="30" y="24"/>
                    </a:lnTo>
                    <a:lnTo>
                      <a:pt x="32" y="24"/>
                    </a:lnTo>
                    <a:lnTo>
                      <a:pt x="32" y="24"/>
                    </a:lnTo>
                    <a:lnTo>
                      <a:pt x="32" y="24"/>
                    </a:lnTo>
                    <a:lnTo>
                      <a:pt x="42" y="28"/>
                    </a:lnTo>
                    <a:lnTo>
                      <a:pt x="48" y="26"/>
                    </a:lnTo>
                    <a:lnTo>
                      <a:pt x="54" y="18"/>
                    </a:lnTo>
                    <a:lnTo>
                      <a:pt x="64" y="10"/>
                    </a:lnTo>
                    <a:lnTo>
                      <a:pt x="72" y="2"/>
                    </a:lnTo>
                    <a:lnTo>
                      <a:pt x="72" y="2"/>
                    </a:lnTo>
                    <a:lnTo>
                      <a:pt x="72" y="0"/>
                    </a:lnTo>
                    <a:lnTo>
                      <a:pt x="72" y="0"/>
                    </a:lnTo>
                    <a:lnTo>
                      <a:pt x="74" y="0"/>
                    </a:lnTo>
                    <a:lnTo>
                      <a:pt x="78" y="2"/>
                    </a:lnTo>
                    <a:lnTo>
                      <a:pt x="78" y="2"/>
                    </a:lnTo>
                    <a:lnTo>
                      <a:pt x="78" y="4"/>
                    </a:lnTo>
                    <a:lnTo>
                      <a:pt x="80" y="10"/>
                    </a:lnTo>
                    <a:lnTo>
                      <a:pt x="82" y="24"/>
                    </a:lnTo>
                    <a:lnTo>
                      <a:pt x="82" y="24"/>
                    </a:lnTo>
                    <a:lnTo>
                      <a:pt x="82" y="26"/>
                    </a:lnTo>
                    <a:lnTo>
                      <a:pt x="66" y="54"/>
                    </a:lnTo>
                    <a:lnTo>
                      <a:pt x="66" y="54"/>
                    </a:lnTo>
                    <a:lnTo>
                      <a:pt x="64" y="54"/>
                    </a:lnTo>
                    <a:lnTo>
                      <a:pt x="4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1" name="Freeform 834"/>
              <p:cNvSpPr>
                <a:spLocks noEditPoints="1"/>
              </p:cNvSpPr>
              <p:nvPr/>
            </p:nvSpPr>
            <p:spPr bwMode="auto">
              <a:xfrm>
                <a:off x="3583" y="2147"/>
                <a:ext cx="86" cy="58"/>
              </a:xfrm>
              <a:custGeom>
                <a:avLst/>
                <a:gdLst>
                  <a:gd name="T0" fmla="*/ 78 w 86"/>
                  <a:gd name="T1" fmla="*/ 6 h 58"/>
                  <a:gd name="T2" fmla="*/ 82 w 86"/>
                  <a:gd name="T3" fmla="*/ 26 h 58"/>
                  <a:gd name="T4" fmla="*/ 48 w 86"/>
                  <a:gd name="T5" fmla="*/ 54 h 58"/>
                  <a:gd name="T6" fmla="*/ 12 w 86"/>
                  <a:gd name="T7" fmla="*/ 36 h 58"/>
                  <a:gd name="T8" fmla="*/ 8 w 86"/>
                  <a:gd name="T9" fmla="*/ 22 h 58"/>
                  <a:gd name="T10" fmla="*/ 16 w 86"/>
                  <a:gd name="T11" fmla="*/ 32 h 58"/>
                  <a:gd name="T12" fmla="*/ 28 w 86"/>
                  <a:gd name="T13" fmla="*/ 32 h 58"/>
                  <a:gd name="T14" fmla="*/ 44 w 86"/>
                  <a:gd name="T15" fmla="*/ 32 h 58"/>
                  <a:gd name="T16" fmla="*/ 58 w 86"/>
                  <a:gd name="T17" fmla="*/ 20 h 58"/>
                  <a:gd name="T18" fmla="*/ 74 w 86"/>
                  <a:gd name="T19" fmla="*/ 4 h 58"/>
                  <a:gd name="T20" fmla="*/ 74 w 86"/>
                  <a:gd name="T21" fmla="*/ 0 h 58"/>
                  <a:gd name="T22" fmla="*/ 64 w 86"/>
                  <a:gd name="T23" fmla="*/ 10 h 58"/>
                  <a:gd name="T24" fmla="*/ 56 w 86"/>
                  <a:gd name="T25" fmla="*/ 18 h 58"/>
                  <a:gd name="T26" fmla="*/ 48 w 86"/>
                  <a:gd name="T27" fmla="*/ 26 h 58"/>
                  <a:gd name="T28" fmla="*/ 36 w 86"/>
                  <a:gd name="T29" fmla="*/ 24 h 58"/>
                  <a:gd name="T30" fmla="*/ 34 w 86"/>
                  <a:gd name="T31" fmla="*/ 24 h 58"/>
                  <a:gd name="T32" fmla="*/ 32 w 86"/>
                  <a:gd name="T33" fmla="*/ 24 h 58"/>
                  <a:gd name="T34" fmla="*/ 24 w 86"/>
                  <a:gd name="T35" fmla="*/ 30 h 58"/>
                  <a:gd name="T36" fmla="*/ 14 w 86"/>
                  <a:gd name="T37" fmla="*/ 24 h 58"/>
                  <a:gd name="T38" fmla="*/ 10 w 86"/>
                  <a:gd name="T39" fmla="*/ 20 h 58"/>
                  <a:gd name="T40" fmla="*/ 8 w 86"/>
                  <a:gd name="T41" fmla="*/ 18 h 58"/>
                  <a:gd name="T42" fmla="*/ 2 w 86"/>
                  <a:gd name="T43" fmla="*/ 24 h 58"/>
                  <a:gd name="T44" fmla="*/ 0 w 86"/>
                  <a:gd name="T45" fmla="*/ 26 h 58"/>
                  <a:gd name="T46" fmla="*/ 8 w 86"/>
                  <a:gd name="T47" fmla="*/ 38 h 58"/>
                  <a:gd name="T48" fmla="*/ 22 w 86"/>
                  <a:gd name="T49" fmla="*/ 52 h 58"/>
                  <a:gd name="T50" fmla="*/ 48 w 86"/>
                  <a:gd name="T51" fmla="*/ 58 h 58"/>
                  <a:gd name="T52" fmla="*/ 48 w 86"/>
                  <a:gd name="T53" fmla="*/ 58 h 58"/>
                  <a:gd name="T54" fmla="*/ 66 w 86"/>
                  <a:gd name="T55" fmla="*/ 58 h 58"/>
                  <a:gd name="T56" fmla="*/ 86 w 86"/>
                  <a:gd name="T57" fmla="*/ 28 h 58"/>
                  <a:gd name="T58" fmla="*/ 86 w 86"/>
                  <a:gd name="T59" fmla="*/ 26 h 58"/>
                  <a:gd name="T60" fmla="*/ 84 w 86"/>
                  <a:gd name="T61" fmla="*/ 12 h 58"/>
                  <a:gd name="T62" fmla="*/ 82 w 86"/>
                  <a:gd name="T63" fmla="*/ 6 h 58"/>
                  <a:gd name="T64" fmla="*/ 80 w 86"/>
                  <a:gd name="T65" fmla="*/ 2 h 58"/>
                  <a:gd name="T66" fmla="*/ 76 w 86"/>
                  <a:gd name="T67" fmla="*/ 0 h 58"/>
                  <a:gd name="T68" fmla="*/ 74 w 8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8">
                    <a:moveTo>
                      <a:pt x="74" y="4"/>
                    </a:moveTo>
                    <a:lnTo>
                      <a:pt x="78" y="6"/>
                    </a:lnTo>
                    <a:lnTo>
                      <a:pt x="80" y="14"/>
                    </a:lnTo>
                    <a:lnTo>
                      <a:pt x="82" y="26"/>
                    </a:lnTo>
                    <a:lnTo>
                      <a:pt x="66" y="54"/>
                    </a:lnTo>
                    <a:lnTo>
                      <a:pt x="48" y="54"/>
                    </a:lnTo>
                    <a:lnTo>
                      <a:pt x="24" y="50"/>
                    </a:lnTo>
                    <a:lnTo>
                      <a:pt x="12" y="36"/>
                    </a:lnTo>
                    <a:lnTo>
                      <a:pt x="4" y="26"/>
                    </a:lnTo>
                    <a:lnTo>
                      <a:pt x="8" y="22"/>
                    </a:lnTo>
                    <a:lnTo>
                      <a:pt x="12" y="26"/>
                    </a:lnTo>
                    <a:lnTo>
                      <a:pt x="16" y="32"/>
                    </a:lnTo>
                    <a:lnTo>
                      <a:pt x="24" y="34"/>
                    </a:lnTo>
                    <a:lnTo>
                      <a:pt x="28" y="32"/>
                    </a:lnTo>
                    <a:lnTo>
                      <a:pt x="34" y="28"/>
                    </a:lnTo>
                    <a:lnTo>
                      <a:pt x="44" y="32"/>
                    </a:lnTo>
                    <a:lnTo>
                      <a:pt x="50" y="30"/>
                    </a:lnTo>
                    <a:lnTo>
                      <a:pt x="58" y="20"/>
                    </a:lnTo>
                    <a:lnTo>
                      <a:pt x="68" y="14"/>
                    </a:lnTo>
                    <a:lnTo>
                      <a:pt x="74" y="4"/>
                    </a:lnTo>
                    <a:close/>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2" name="Freeform 835"/>
              <p:cNvSpPr>
                <a:spLocks/>
              </p:cNvSpPr>
              <p:nvPr/>
            </p:nvSpPr>
            <p:spPr bwMode="auto">
              <a:xfrm>
                <a:off x="3587" y="2151"/>
                <a:ext cx="78" cy="50"/>
              </a:xfrm>
              <a:custGeom>
                <a:avLst/>
                <a:gdLst>
                  <a:gd name="T0" fmla="*/ 70 w 78"/>
                  <a:gd name="T1" fmla="*/ 0 h 50"/>
                  <a:gd name="T2" fmla="*/ 74 w 78"/>
                  <a:gd name="T3" fmla="*/ 2 h 50"/>
                  <a:gd name="T4" fmla="*/ 76 w 78"/>
                  <a:gd name="T5" fmla="*/ 10 h 50"/>
                  <a:gd name="T6" fmla="*/ 78 w 78"/>
                  <a:gd name="T7" fmla="*/ 22 h 50"/>
                  <a:gd name="T8" fmla="*/ 62 w 78"/>
                  <a:gd name="T9" fmla="*/ 50 h 50"/>
                  <a:gd name="T10" fmla="*/ 44 w 78"/>
                  <a:gd name="T11" fmla="*/ 50 h 50"/>
                  <a:gd name="T12" fmla="*/ 20 w 78"/>
                  <a:gd name="T13" fmla="*/ 46 h 50"/>
                  <a:gd name="T14" fmla="*/ 8 w 78"/>
                  <a:gd name="T15" fmla="*/ 32 h 50"/>
                  <a:gd name="T16" fmla="*/ 0 w 78"/>
                  <a:gd name="T17" fmla="*/ 22 h 50"/>
                  <a:gd name="T18" fmla="*/ 4 w 78"/>
                  <a:gd name="T19" fmla="*/ 18 h 50"/>
                  <a:gd name="T20" fmla="*/ 8 w 78"/>
                  <a:gd name="T21" fmla="*/ 22 h 50"/>
                  <a:gd name="T22" fmla="*/ 12 w 78"/>
                  <a:gd name="T23" fmla="*/ 28 h 50"/>
                  <a:gd name="T24" fmla="*/ 20 w 78"/>
                  <a:gd name="T25" fmla="*/ 30 h 50"/>
                  <a:gd name="T26" fmla="*/ 24 w 78"/>
                  <a:gd name="T27" fmla="*/ 28 h 50"/>
                  <a:gd name="T28" fmla="*/ 30 w 78"/>
                  <a:gd name="T29" fmla="*/ 24 h 50"/>
                  <a:gd name="T30" fmla="*/ 40 w 78"/>
                  <a:gd name="T31" fmla="*/ 28 h 50"/>
                  <a:gd name="T32" fmla="*/ 46 w 78"/>
                  <a:gd name="T33" fmla="*/ 26 h 50"/>
                  <a:gd name="T34" fmla="*/ 54 w 78"/>
                  <a:gd name="T35" fmla="*/ 16 h 50"/>
                  <a:gd name="T36" fmla="*/ 64 w 78"/>
                  <a:gd name="T37" fmla="*/ 10 h 50"/>
                  <a:gd name="T38" fmla="*/ 70 w 78"/>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50">
                    <a:moveTo>
                      <a:pt x="70" y="0"/>
                    </a:moveTo>
                    <a:lnTo>
                      <a:pt x="74" y="2"/>
                    </a:lnTo>
                    <a:lnTo>
                      <a:pt x="76" y="10"/>
                    </a:lnTo>
                    <a:lnTo>
                      <a:pt x="78" y="22"/>
                    </a:lnTo>
                    <a:lnTo>
                      <a:pt x="62" y="50"/>
                    </a:lnTo>
                    <a:lnTo>
                      <a:pt x="44" y="50"/>
                    </a:lnTo>
                    <a:lnTo>
                      <a:pt x="20" y="46"/>
                    </a:lnTo>
                    <a:lnTo>
                      <a:pt x="8" y="32"/>
                    </a:lnTo>
                    <a:lnTo>
                      <a:pt x="0" y="22"/>
                    </a:lnTo>
                    <a:lnTo>
                      <a:pt x="4" y="18"/>
                    </a:lnTo>
                    <a:lnTo>
                      <a:pt x="8" y="22"/>
                    </a:lnTo>
                    <a:lnTo>
                      <a:pt x="12" y="28"/>
                    </a:lnTo>
                    <a:lnTo>
                      <a:pt x="20" y="30"/>
                    </a:lnTo>
                    <a:lnTo>
                      <a:pt x="24" y="28"/>
                    </a:lnTo>
                    <a:lnTo>
                      <a:pt x="30" y="24"/>
                    </a:lnTo>
                    <a:lnTo>
                      <a:pt x="40" y="28"/>
                    </a:lnTo>
                    <a:lnTo>
                      <a:pt x="46" y="26"/>
                    </a:lnTo>
                    <a:lnTo>
                      <a:pt x="54" y="16"/>
                    </a:lnTo>
                    <a:lnTo>
                      <a:pt x="64" y="1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3" name="Freeform 836"/>
              <p:cNvSpPr>
                <a:spLocks/>
              </p:cNvSpPr>
              <p:nvPr/>
            </p:nvSpPr>
            <p:spPr bwMode="auto">
              <a:xfrm>
                <a:off x="3583" y="2147"/>
                <a:ext cx="86" cy="58"/>
              </a:xfrm>
              <a:custGeom>
                <a:avLst/>
                <a:gdLst>
                  <a:gd name="T0" fmla="*/ 74 w 86"/>
                  <a:gd name="T1" fmla="*/ 0 h 58"/>
                  <a:gd name="T2" fmla="*/ 74 w 86"/>
                  <a:gd name="T3" fmla="*/ 0 h 58"/>
                  <a:gd name="T4" fmla="*/ 72 w 86"/>
                  <a:gd name="T5" fmla="*/ 2 h 58"/>
                  <a:gd name="T6" fmla="*/ 64 w 86"/>
                  <a:gd name="T7" fmla="*/ 10 h 58"/>
                  <a:gd name="T8" fmla="*/ 56 w 86"/>
                  <a:gd name="T9" fmla="*/ 18 h 58"/>
                  <a:gd name="T10" fmla="*/ 56 w 86"/>
                  <a:gd name="T11" fmla="*/ 18 h 58"/>
                  <a:gd name="T12" fmla="*/ 54 w 86"/>
                  <a:gd name="T13" fmla="*/ 18 h 58"/>
                  <a:gd name="T14" fmla="*/ 48 w 86"/>
                  <a:gd name="T15" fmla="*/ 26 h 58"/>
                  <a:gd name="T16" fmla="*/ 44 w 86"/>
                  <a:gd name="T17" fmla="*/ 28 h 58"/>
                  <a:gd name="T18" fmla="*/ 36 w 86"/>
                  <a:gd name="T19" fmla="*/ 24 h 58"/>
                  <a:gd name="T20" fmla="*/ 36 w 86"/>
                  <a:gd name="T21" fmla="*/ 24 h 58"/>
                  <a:gd name="T22" fmla="*/ 34 w 86"/>
                  <a:gd name="T23" fmla="*/ 24 h 58"/>
                  <a:gd name="T24" fmla="*/ 34 w 86"/>
                  <a:gd name="T25" fmla="*/ 24 h 58"/>
                  <a:gd name="T26" fmla="*/ 32 w 86"/>
                  <a:gd name="T27" fmla="*/ 24 h 58"/>
                  <a:gd name="T28" fmla="*/ 26 w 86"/>
                  <a:gd name="T29" fmla="*/ 28 h 58"/>
                  <a:gd name="T30" fmla="*/ 24 w 86"/>
                  <a:gd name="T31" fmla="*/ 30 h 58"/>
                  <a:gd name="T32" fmla="*/ 18 w 86"/>
                  <a:gd name="T33" fmla="*/ 28 h 58"/>
                  <a:gd name="T34" fmla="*/ 14 w 86"/>
                  <a:gd name="T35" fmla="*/ 24 h 58"/>
                  <a:gd name="T36" fmla="*/ 10 w 86"/>
                  <a:gd name="T37" fmla="*/ 20 h 58"/>
                  <a:gd name="T38" fmla="*/ 10 w 86"/>
                  <a:gd name="T39" fmla="*/ 20 h 58"/>
                  <a:gd name="T40" fmla="*/ 8 w 86"/>
                  <a:gd name="T41" fmla="*/ 18 h 58"/>
                  <a:gd name="T42" fmla="*/ 8 w 86"/>
                  <a:gd name="T43" fmla="*/ 18 h 58"/>
                  <a:gd name="T44" fmla="*/ 4 w 86"/>
                  <a:gd name="T45" fmla="*/ 20 h 58"/>
                  <a:gd name="T46" fmla="*/ 2 w 86"/>
                  <a:gd name="T47" fmla="*/ 24 h 58"/>
                  <a:gd name="T48" fmla="*/ 2 w 86"/>
                  <a:gd name="T49" fmla="*/ 24 h 58"/>
                  <a:gd name="T50" fmla="*/ 0 w 86"/>
                  <a:gd name="T51" fmla="*/ 26 h 58"/>
                  <a:gd name="T52" fmla="*/ 0 w 86"/>
                  <a:gd name="T53" fmla="*/ 28 h 58"/>
                  <a:gd name="T54" fmla="*/ 8 w 86"/>
                  <a:gd name="T55" fmla="*/ 38 h 58"/>
                  <a:gd name="T56" fmla="*/ 22 w 86"/>
                  <a:gd name="T57" fmla="*/ 52 h 58"/>
                  <a:gd name="T58" fmla="*/ 22 w 86"/>
                  <a:gd name="T59" fmla="*/ 52 h 58"/>
                  <a:gd name="T60" fmla="*/ 24 w 86"/>
                  <a:gd name="T61" fmla="*/ 54 h 58"/>
                  <a:gd name="T62" fmla="*/ 48 w 86"/>
                  <a:gd name="T63" fmla="*/ 58 h 58"/>
                  <a:gd name="T64" fmla="*/ 48 w 86"/>
                  <a:gd name="T65" fmla="*/ 58 h 58"/>
                  <a:gd name="T66" fmla="*/ 48 w 86"/>
                  <a:gd name="T67" fmla="*/ 58 h 58"/>
                  <a:gd name="T68" fmla="*/ 66 w 86"/>
                  <a:gd name="T69" fmla="*/ 58 h 58"/>
                  <a:gd name="T70" fmla="*/ 66 w 86"/>
                  <a:gd name="T71" fmla="*/ 58 h 58"/>
                  <a:gd name="T72" fmla="*/ 68 w 86"/>
                  <a:gd name="T73" fmla="*/ 56 h 58"/>
                  <a:gd name="T74" fmla="*/ 86 w 86"/>
                  <a:gd name="T75" fmla="*/ 28 h 58"/>
                  <a:gd name="T76" fmla="*/ 86 w 86"/>
                  <a:gd name="T77" fmla="*/ 28 h 58"/>
                  <a:gd name="T78" fmla="*/ 86 w 86"/>
                  <a:gd name="T79" fmla="*/ 26 h 58"/>
                  <a:gd name="T80" fmla="*/ 84 w 86"/>
                  <a:gd name="T81" fmla="*/ 12 h 58"/>
                  <a:gd name="T82" fmla="*/ 84 w 86"/>
                  <a:gd name="T83" fmla="*/ 12 h 58"/>
                  <a:gd name="T84" fmla="*/ 84 w 86"/>
                  <a:gd name="T85" fmla="*/ 12 h 58"/>
                  <a:gd name="T86" fmla="*/ 82 w 86"/>
                  <a:gd name="T87" fmla="*/ 6 h 58"/>
                  <a:gd name="T88" fmla="*/ 82 w 86"/>
                  <a:gd name="T89" fmla="*/ 6 h 58"/>
                  <a:gd name="T90" fmla="*/ 80 w 86"/>
                  <a:gd name="T91" fmla="*/ 2 h 58"/>
                  <a:gd name="T92" fmla="*/ 76 w 86"/>
                  <a:gd name="T93" fmla="*/ 0 h 58"/>
                  <a:gd name="T94" fmla="*/ 76 w 86"/>
                  <a:gd name="T95" fmla="*/ 0 h 58"/>
                  <a:gd name="T96" fmla="*/ 74 w 86"/>
                  <a:gd name="T97" fmla="*/ 0 h 58"/>
                  <a:gd name="T98" fmla="*/ 74 w 86"/>
                  <a:gd name="T9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58">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4" name="Freeform 837"/>
              <p:cNvSpPr>
                <a:spLocks/>
              </p:cNvSpPr>
              <p:nvPr/>
            </p:nvSpPr>
            <p:spPr bwMode="auto">
              <a:xfrm>
                <a:off x="3597" y="2167"/>
                <a:ext cx="114" cy="122"/>
              </a:xfrm>
              <a:custGeom>
                <a:avLst/>
                <a:gdLst>
                  <a:gd name="T0" fmla="*/ 16 w 114"/>
                  <a:gd name="T1" fmla="*/ 122 h 122"/>
                  <a:gd name="T2" fmla="*/ 16 w 114"/>
                  <a:gd name="T3" fmla="*/ 122 h 122"/>
                  <a:gd name="T4" fmla="*/ 14 w 114"/>
                  <a:gd name="T5" fmla="*/ 120 h 122"/>
                  <a:gd name="T6" fmla="*/ 0 w 114"/>
                  <a:gd name="T7" fmla="*/ 88 h 122"/>
                  <a:gd name="T8" fmla="*/ 0 w 114"/>
                  <a:gd name="T9" fmla="*/ 88 h 122"/>
                  <a:gd name="T10" fmla="*/ 0 w 114"/>
                  <a:gd name="T11" fmla="*/ 84 h 122"/>
                  <a:gd name="T12" fmla="*/ 10 w 114"/>
                  <a:gd name="T13" fmla="*/ 76 h 122"/>
                  <a:gd name="T14" fmla="*/ 42 w 114"/>
                  <a:gd name="T15" fmla="*/ 64 h 122"/>
                  <a:gd name="T16" fmla="*/ 50 w 114"/>
                  <a:gd name="T17" fmla="*/ 50 h 122"/>
                  <a:gd name="T18" fmla="*/ 50 w 114"/>
                  <a:gd name="T19" fmla="*/ 38 h 122"/>
                  <a:gd name="T20" fmla="*/ 46 w 114"/>
                  <a:gd name="T21" fmla="*/ 30 h 122"/>
                  <a:gd name="T22" fmla="*/ 46 w 114"/>
                  <a:gd name="T23" fmla="*/ 30 h 122"/>
                  <a:gd name="T24" fmla="*/ 46 w 114"/>
                  <a:gd name="T25" fmla="*/ 28 h 122"/>
                  <a:gd name="T26" fmla="*/ 62 w 114"/>
                  <a:gd name="T27" fmla="*/ 0 h 122"/>
                  <a:gd name="T28" fmla="*/ 62 w 114"/>
                  <a:gd name="T29" fmla="*/ 0 h 122"/>
                  <a:gd name="T30" fmla="*/ 64 w 114"/>
                  <a:gd name="T31" fmla="*/ 0 h 122"/>
                  <a:gd name="T32" fmla="*/ 64 w 114"/>
                  <a:gd name="T33" fmla="*/ 0 h 122"/>
                  <a:gd name="T34" fmla="*/ 64 w 114"/>
                  <a:gd name="T35" fmla="*/ 0 h 122"/>
                  <a:gd name="T36" fmla="*/ 64 w 114"/>
                  <a:gd name="T37" fmla="*/ 0 h 122"/>
                  <a:gd name="T38" fmla="*/ 66 w 114"/>
                  <a:gd name="T39" fmla="*/ 0 h 122"/>
                  <a:gd name="T40" fmla="*/ 76 w 114"/>
                  <a:gd name="T41" fmla="*/ 6 h 122"/>
                  <a:gd name="T42" fmla="*/ 84 w 114"/>
                  <a:gd name="T43" fmla="*/ 12 h 122"/>
                  <a:gd name="T44" fmla="*/ 94 w 114"/>
                  <a:gd name="T45" fmla="*/ 14 h 122"/>
                  <a:gd name="T46" fmla="*/ 94 w 114"/>
                  <a:gd name="T47" fmla="*/ 14 h 122"/>
                  <a:gd name="T48" fmla="*/ 94 w 114"/>
                  <a:gd name="T49" fmla="*/ 14 h 122"/>
                  <a:gd name="T50" fmla="*/ 114 w 114"/>
                  <a:gd name="T51" fmla="*/ 32 h 122"/>
                  <a:gd name="T52" fmla="*/ 114 w 114"/>
                  <a:gd name="T53" fmla="*/ 32 h 122"/>
                  <a:gd name="T54" fmla="*/ 114 w 114"/>
                  <a:gd name="T55" fmla="*/ 34 h 122"/>
                  <a:gd name="T56" fmla="*/ 108 w 114"/>
                  <a:gd name="T57" fmla="*/ 48 h 122"/>
                  <a:gd name="T58" fmla="*/ 96 w 114"/>
                  <a:gd name="T59" fmla="*/ 60 h 122"/>
                  <a:gd name="T60" fmla="*/ 96 w 114"/>
                  <a:gd name="T61" fmla="*/ 60 h 122"/>
                  <a:gd name="T62" fmla="*/ 96 w 114"/>
                  <a:gd name="T63" fmla="*/ 62 h 122"/>
                  <a:gd name="T64" fmla="*/ 80 w 114"/>
                  <a:gd name="T65" fmla="*/ 66 h 122"/>
                  <a:gd name="T66" fmla="*/ 84 w 114"/>
                  <a:gd name="T67" fmla="*/ 82 h 122"/>
                  <a:gd name="T68" fmla="*/ 84 w 114"/>
                  <a:gd name="T69" fmla="*/ 82 h 122"/>
                  <a:gd name="T70" fmla="*/ 82 w 114"/>
                  <a:gd name="T71" fmla="*/ 84 h 122"/>
                  <a:gd name="T72" fmla="*/ 74 w 114"/>
                  <a:gd name="T73" fmla="*/ 86 h 122"/>
                  <a:gd name="T74" fmla="*/ 68 w 114"/>
                  <a:gd name="T75" fmla="*/ 92 h 122"/>
                  <a:gd name="T76" fmla="*/ 64 w 114"/>
                  <a:gd name="T77" fmla="*/ 96 h 122"/>
                  <a:gd name="T78" fmla="*/ 64 w 114"/>
                  <a:gd name="T79" fmla="*/ 100 h 122"/>
                  <a:gd name="T80" fmla="*/ 64 w 114"/>
                  <a:gd name="T81" fmla="*/ 100 h 122"/>
                  <a:gd name="T82" fmla="*/ 62 w 114"/>
                  <a:gd name="T83" fmla="*/ 102 h 122"/>
                  <a:gd name="T84" fmla="*/ 52 w 114"/>
                  <a:gd name="T85" fmla="*/ 104 h 122"/>
                  <a:gd name="T86" fmla="*/ 50 w 114"/>
                  <a:gd name="T87" fmla="*/ 108 h 122"/>
                  <a:gd name="T88" fmla="*/ 44 w 114"/>
                  <a:gd name="T89" fmla="*/ 118 h 122"/>
                  <a:gd name="T90" fmla="*/ 44 w 114"/>
                  <a:gd name="T91" fmla="*/ 118 h 122"/>
                  <a:gd name="T92" fmla="*/ 42 w 114"/>
                  <a:gd name="T93" fmla="*/ 120 h 122"/>
                  <a:gd name="T94" fmla="*/ 42 w 114"/>
                  <a:gd name="T95" fmla="*/ 120 h 122"/>
                  <a:gd name="T96" fmla="*/ 24 w 114"/>
                  <a:gd name="T97" fmla="*/ 118 h 122"/>
                  <a:gd name="T98" fmla="*/ 16 w 114"/>
                  <a:gd name="T99" fmla="*/ 120 h 122"/>
                  <a:gd name="T100" fmla="*/ 16 w 114"/>
                  <a:gd name="T101" fmla="*/ 120 h 122"/>
                  <a:gd name="T102" fmla="*/ 16 w 114"/>
                  <a:gd name="T103" fmla="*/ 122 h 122"/>
                  <a:gd name="T104" fmla="*/ 16 w 114"/>
                  <a:gd name="T10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 h="122">
                    <a:moveTo>
                      <a:pt x="16" y="122"/>
                    </a:moveTo>
                    <a:lnTo>
                      <a:pt x="16" y="122"/>
                    </a:lnTo>
                    <a:lnTo>
                      <a:pt x="14" y="120"/>
                    </a:lnTo>
                    <a:lnTo>
                      <a:pt x="0" y="88"/>
                    </a:lnTo>
                    <a:lnTo>
                      <a:pt x="0" y="88"/>
                    </a:lnTo>
                    <a:lnTo>
                      <a:pt x="0" y="84"/>
                    </a:lnTo>
                    <a:lnTo>
                      <a:pt x="10" y="76"/>
                    </a:lnTo>
                    <a:lnTo>
                      <a:pt x="42" y="64"/>
                    </a:lnTo>
                    <a:lnTo>
                      <a:pt x="50" y="50"/>
                    </a:lnTo>
                    <a:lnTo>
                      <a:pt x="50" y="38"/>
                    </a:lnTo>
                    <a:lnTo>
                      <a:pt x="46" y="30"/>
                    </a:lnTo>
                    <a:lnTo>
                      <a:pt x="46" y="30"/>
                    </a:lnTo>
                    <a:lnTo>
                      <a:pt x="46" y="28"/>
                    </a:lnTo>
                    <a:lnTo>
                      <a:pt x="62" y="0"/>
                    </a:lnTo>
                    <a:lnTo>
                      <a:pt x="62" y="0"/>
                    </a:lnTo>
                    <a:lnTo>
                      <a:pt x="64" y="0"/>
                    </a:lnTo>
                    <a:lnTo>
                      <a:pt x="64" y="0"/>
                    </a:lnTo>
                    <a:lnTo>
                      <a:pt x="64" y="0"/>
                    </a:lnTo>
                    <a:lnTo>
                      <a:pt x="64" y="0"/>
                    </a:lnTo>
                    <a:lnTo>
                      <a:pt x="66" y="0"/>
                    </a:lnTo>
                    <a:lnTo>
                      <a:pt x="76" y="6"/>
                    </a:lnTo>
                    <a:lnTo>
                      <a:pt x="84" y="12"/>
                    </a:lnTo>
                    <a:lnTo>
                      <a:pt x="94" y="14"/>
                    </a:lnTo>
                    <a:lnTo>
                      <a:pt x="94" y="14"/>
                    </a:lnTo>
                    <a:lnTo>
                      <a:pt x="94" y="14"/>
                    </a:lnTo>
                    <a:lnTo>
                      <a:pt x="114" y="32"/>
                    </a:lnTo>
                    <a:lnTo>
                      <a:pt x="114" y="32"/>
                    </a:lnTo>
                    <a:lnTo>
                      <a:pt x="114" y="34"/>
                    </a:lnTo>
                    <a:lnTo>
                      <a:pt x="108" y="48"/>
                    </a:lnTo>
                    <a:lnTo>
                      <a:pt x="96" y="60"/>
                    </a:lnTo>
                    <a:lnTo>
                      <a:pt x="96" y="60"/>
                    </a:lnTo>
                    <a:lnTo>
                      <a:pt x="96" y="62"/>
                    </a:lnTo>
                    <a:lnTo>
                      <a:pt x="80" y="66"/>
                    </a:lnTo>
                    <a:lnTo>
                      <a:pt x="84" y="82"/>
                    </a:lnTo>
                    <a:lnTo>
                      <a:pt x="84" y="82"/>
                    </a:lnTo>
                    <a:lnTo>
                      <a:pt x="82" y="84"/>
                    </a:lnTo>
                    <a:lnTo>
                      <a:pt x="74" y="86"/>
                    </a:lnTo>
                    <a:lnTo>
                      <a:pt x="68" y="92"/>
                    </a:lnTo>
                    <a:lnTo>
                      <a:pt x="64" y="96"/>
                    </a:lnTo>
                    <a:lnTo>
                      <a:pt x="64" y="100"/>
                    </a:lnTo>
                    <a:lnTo>
                      <a:pt x="64" y="100"/>
                    </a:lnTo>
                    <a:lnTo>
                      <a:pt x="62" y="102"/>
                    </a:lnTo>
                    <a:lnTo>
                      <a:pt x="52" y="104"/>
                    </a:lnTo>
                    <a:lnTo>
                      <a:pt x="50" y="108"/>
                    </a:lnTo>
                    <a:lnTo>
                      <a:pt x="44" y="118"/>
                    </a:lnTo>
                    <a:lnTo>
                      <a:pt x="44" y="118"/>
                    </a:lnTo>
                    <a:lnTo>
                      <a:pt x="42" y="120"/>
                    </a:lnTo>
                    <a:lnTo>
                      <a:pt x="42" y="120"/>
                    </a:lnTo>
                    <a:lnTo>
                      <a:pt x="24" y="118"/>
                    </a:lnTo>
                    <a:lnTo>
                      <a:pt x="16" y="120"/>
                    </a:lnTo>
                    <a:lnTo>
                      <a:pt x="16" y="120"/>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5" name="Freeform 838"/>
              <p:cNvSpPr>
                <a:spLocks noEditPoints="1"/>
              </p:cNvSpPr>
              <p:nvPr/>
            </p:nvSpPr>
            <p:spPr bwMode="auto">
              <a:xfrm>
                <a:off x="3595" y="2165"/>
                <a:ext cx="118" cy="126"/>
              </a:xfrm>
              <a:custGeom>
                <a:avLst/>
                <a:gdLst>
                  <a:gd name="T0" fmla="*/ 78 w 118"/>
                  <a:gd name="T1" fmla="*/ 10 h 126"/>
                  <a:gd name="T2" fmla="*/ 96 w 118"/>
                  <a:gd name="T3" fmla="*/ 18 h 126"/>
                  <a:gd name="T4" fmla="*/ 108 w 118"/>
                  <a:gd name="T5" fmla="*/ 48 h 126"/>
                  <a:gd name="T6" fmla="*/ 92 w 118"/>
                  <a:gd name="T7" fmla="*/ 64 h 126"/>
                  <a:gd name="T8" fmla="*/ 82 w 118"/>
                  <a:gd name="T9" fmla="*/ 76 h 126"/>
                  <a:gd name="T10" fmla="*/ 76 w 118"/>
                  <a:gd name="T11" fmla="*/ 86 h 126"/>
                  <a:gd name="T12" fmla="*/ 64 w 118"/>
                  <a:gd name="T13" fmla="*/ 98 h 126"/>
                  <a:gd name="T14" fmla="*/ 52 w 118"/>
                  <a:gd name="T15" fmla="*/ 104 h 126"/>
                  <a:gd name="T16" fmla="*/ 44 w 118"/>
                  <a:gd name="T17" fmla="*/ 120 h 126"/>
                  <a:gd name="T18" fmla="*/ 18 w 118"/>
                  <a:gd name="T19" fmla="*/ 122 h 126"/>
                  <a:gd name="T20" fmla="*/ 14 w 118"/>
                  <a:gd name="T21" fmla="*/ 80 h 126"/>
                  <a:gd name="T22" fmla="*/ 54 w 118"/>
                  <a:gd name="T23" fmla="*/ 52 h 126"/>
                  <a:gd name="T24" fmla="*/ 50 w 118"/>
                  <a:gd name="T25" fmla="*/ 30 h 126"/>
                  <a:gd name="T26" fmla="*/ 66 w 118"/>
                  <a:gd name="T27" fmla="*/ 0 h 126"/>
                  <a:gd name="T28" fmla="*/ 66 w 118"/>
                  <a:gd name="T29" fmla="*/ 0 h 126"/>
                  <a:gd name="T30" fmla="*/ 62 w 118"/>
                  <a:gd name="T31" fmla="*/ 2 h 126"/>
                  <a:gd name="T32" fmla="*/ 46 w 118"/>
                  <a:gd name="T33" fmla="*/ 28 h 126"/>
                  <a:gd name="T34" fmla="*/ 50 w 118"/>
                  <a:gd name="T35" fmla="*/ 40 h 126"/>
                  <a:gd name="T36" fmla="*/ 44 w 118"/>
                  <a:gd name="T37" fmla="*/ 66 h 126"/>
                  <a:gd name="T38" fmla="*/ 12 w 118"/>
                  <a:gd name="T39" fmla="*/ 76 h 126"/>
                  <a:gd name="T40" fmla="*/ 0 w 118"/>
                  <a:gd name="T41" fmla="*/ 86 h 126"/>
                  <a:gd name="T42" fmla="*/ 0 w 118"/>
                  <a:gd name="T43" fmla="*/ 88 h 126"/>
                  <a:gd name="T44" fmla="*/ 14 w 118"/>
                  <a:gd name="T45" fmla="*/ 122 h 126"/>
                  <a:gd name="T46" fmla="*/ 16 w 118"/>
                  <a:gd name="T47" fmla="*/ 124 h 126"/>
                  <a:gd name="T48" fmla="*/ 18 w 118"/>
                  <a:gd name="T49" fmla="*/ 126 h 126"/>
                  <a:gd name="T50" fmla="*/ 28 w 118"/>
                  <a:gd name="T51" fmla="*/ 122 h 126"/>
                  <a:gd name="T52" fmla="*/ 44 w 118"/>
                  <a:gd name="T53" fmla="*/ 124 h 126"/>
                  <a:gd name="T54" fmla="*/ 44 w 118"/>
                  <a:gd name="T55" fmla="*/ 124 h 126"/>
                  <a:gd name="T56" fmla="*/ 54 w 118"/>
                  <a:gd name="T57" fmla="*/ 112 h 126"/>
                  <a:gd name="T58" fmla="*/ 54 w 118"/>
                  <a:gd name="T59" fmla="*/ 112 h 126"/>
                  <a:gd name="T60" fmla="*/ 64 w 118"/>
                  <a:gd name="T61" fmla="*/ 106 h 126"/>
                  <a:gd name="T62" fmla="*/ 68 w 118"/>
                  <a:gd name="T63" fmla="*/ 106 h 126"/>
                  <a:gd name="T64" fmla="*/ 68 w 118"/>
                  <a:gd name="T65" fmla="*/ 98 h 126"/>
                  <a:gd name="T66" fmla="*/ 76 w 118"/>
                  <a:gd name="T67" fmla="*/ 90 h 126"/>
                  <a:gd name="T68" fmla="*/ 86 w 118"/>
                  <a:gd name="T69" fmla="*/ 88 h 126"/>
                  <a:gd name="T70" fmla="*/ 88 w 118"/>
                  <a:gd name="T71" fmla="*/ 84 h 126"/>
                  <a:gd name="T72" fmla="*/ 86 w 118"/>
                  <a:gd name="T73" fmla="*/ 70 h 126"/>
                  <a:gd name="T74" fmla="*/ 98 w 118"/>
                  <a:gd name="T75" fmla="*/ 64 h 126"/>
                  <a:gd name="T76" fmla="*/ 100 w 118"/>
                  <a:gd name="T77" fmla="*/ 64 h 126"/>
                  <a:gd name="T78" fmla="*/ 110 w 118"/>
                  <a:gd name="T79" fmla="*/ 52 h 126"/>
                  <a:gd name="T80" fmla="*/ 118 w 118"/>
                  <a:gd name="T81" fmla="*/ 38 h 126"/>
                  <a:gd name="T82" fmla="*/ 118 w 118"/>
                  <a:gd name="T83" fmla="*/ 36 h 126"/>
                  <a:gd name="T84" fmla="*/ 98 w 118"/>
                  <a:gd name="T85" fmla="*/ 14 h 126"/>
                  <a:gd name="T86" fmla="*/ 96 w 118"/>
                  <a:gd name="T87" fmla="*/ 14 h 126"/>
                  <a:gd name="T88" fmla="*/ 80 w 118"/>
                  <a:gd name="T89" fmla="*/ 8 h 126"/>
                  <a:gd name="T90" fmla="*/ 68 w 118"/>
                  <a:gd name="T91" fmla="*/ 0 h 126"/>
                  <a:gd name="T92" fmla="*/ 66 w 118"/>
                  <a:gd name="T9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 h="126">
                    <a:moveTo>
                      <a:pt x="66" y="4"/>
                    </a:moveTo>
                    <a:lnTo>
                      <a:pt x="78" y="10"/>
                    </a:lnTo>
                    <a:lnTo>
                      <a:pt x="84" y="16"/>
                    </a:lnTo>
                    <a:lnTo>
                      <a:pt x="96" y="18"/>
                    </a:lnTo>
                    <a:lnTo>
                      <a:pt x="114" y="36"/>
                    </a:lnTo>
                    <a:lnTo>
                      <a:pt x="108" y="48"/>
                    </a:lnTo>
                    <a:lnTo>
                      <a:pt x="96" y="62"/>
                    </a:lnTo>
                    <a:lnTo>
                      <a:pt x="92" y="64"/>
                    </a:lnTo>
                    <a:lnTo>
                      <a:pt x="80" y="66"/>
                    </a:lnTo>
                    <a:lnTo>
                      <a:pt x="82" y="76"/>
                    </a:lnTo>
                    <a:lnTo>
                      <a:pt x="84" y="84"/>
                    </a:lnTo>
                    <a:lnTo>
                      <a:pt x="76" y="86"/>
                    </a:lnTo>
                    <a:lnTo>
                      <a:pt x="68" y="92"/>
                    </a:lnTo>
                    <a:lnTo>
                      <a:pt x="64" y="98"/>
                    </a:lnTo>
                    <a:lnTo>
                      <a:pt x="64" y="102"/>
                    </a:lnTo>
                    <a:lnTo>
                      <a:pt x="52" y="104"/>
                    </a:lnTo>
                    <a:lnTo>
                      <a:pt x="50" y="110"/>
                    </a:lnTo>
                    <a:lnTo>
                      <a:pt x="44" y="120"/>
                    </a:lnTo>
                    <a:lnTo>
                      <a:pt x="26" y="118"/>
                    </a:lnTo>
                    <a:lnTo>
                      <a:pt x="18" y="122"/>
                    </a:lnTo>
                    <a:lnTo>
                      <a:pt x="4" y="88"/>
                    </a:lnTo>
                    <a:lnTo>
                      <a:pt x="14" y="80"/>
                    </a:lnTo>
                    <a:lnTo>
                      <a:pt x="46" y="68"/>
                    </a:lnTo>
                    <a:lnTo>
                      <a:pt x="54" y="52"/>
                    </a:lnTo>
                    <a:lnTo>
                      <a:pt x="54" y="40"/>
                    </a:lnTo>
                    <a:lnTo>
                      <a:pt x="50" y="30"/>
                    </a:lnTo>
                    <a:lnTo>
                      <a:pt x="66" y="4"/>
                    </a:lnTo>
                    <a:close/>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6" name="Freeform 839"/>
              <p:cNvSpPr>
                <a:spLocks/>
              </p:cNvSpPr>
              <p:nvPr/>
            </p:nvSpPr>
            <p:spPr bwMode="auto">
              <a:xfrm>
                <a:off x="3599" y="2169"/>
                <a:ext cx="110" cy="118"/>
              </a:xfrm>
              <a:custGeom>
                <a:avLst/>
                <a:gdLst>
                  <a:gd name="T0" fmla="*/ 62 w 110"/>
                  <a:gd name="T1" fmla="*/ 0 h 118"/>
                  <a:gd name="T2" fmla="*/ 74 w 110"/>
                  <a:gd name="T3" fmla="*/ 6 h 118"/>
                  <a:gd name="T4" fmla="*/ 80 w 110"/>
                  <a:gd name="T5" fmla="*/ 12 h 118"/>
                  <a:gd name="T6" fmla="*/ 92 w 110"/>
                  <a:gd name="T7" fmla="*/ 14 h 118"/>
                  <a:gd name="T8" fmla="*/ 110 w 110"/>
                  <a:gd name="T9" fmla="*/ 32 h 118"/>
                  <a:gd name="T10" fmla="*/ 104 w 110"/>
                  <a:gd name="T11" fmla="*/ 44 h 118"/>
                  <a:gd name="T12" fmla="*/ 92 w 110"/>
                  <a:gd name="T13" fmla="*/ 58 h 118"/>
                  <a:gd name="T14" fmla="*/ 88 w 110"/>
                  <a:gd name="T15" fmla="*/ 60 h 118"/>
                  <a:gd name="T16" fmla="*/ 76 w 110"/>
                  <a:gd name="T17" fmla="*/ 62 h 118"/>
                  <a:gd name="T18" fmla="*/ 78 w 110"/>
                  <a:gd name="T19" fmla="*/ 72 h 118"/>
                  <a:gd name="T20" fmla="*/ 80 w 110"/>
                  <a:gd name="T21" fmla="*/ 80 h 118"/>
                  <a:gd name="T22" fmla="*/ 72 w 110"/>
                  <a:gd name="T23" fmla="*/ 82 h 118"/>
                  <a:gd name="T24" fmla="*/ 64 w 110"/>
                  <a:gd name="T25" fmla="*/ 88 h 118"/>
                  <a:gd name="T26" fmla="*/ 60 w 110"/>
                  <a:gd name="T27" fmla="*/ 94 h 118"/>
                  <a:gd name="T28" fmla="*/ 60 w 110"/>
                  <a:gd name="T29" fmla="*/ 98 h 118"/>
                  <a:gd name="T30" fmla="*/ 48 w 110"/>
                  <a:gd name="T31" fmla="*/ 100 h 118"/>
                  <a:gd name="T32" fmla="*/ 46 w 110"/>
                  <a:gd name="T33" fmla="*/ 106 h 118"/>
                  <a:gd name="T34" fmla="*/ 40 w 110"/>
                  <a:gd name="T35" fmla="*/ 116 h 118"/>
                  <a:gd name="T36" fmla="*/ 22 w 110"/>
                  <a:gd name="T37" fmla="*/ 114 h 118"/>
                  <a:gd name="T38" fmla="*/ 14 w 110"/>
                  <a:gd name="T39" fmla="*/ 118 h 118"/>
                  <a:gd name="T40" fmla="*/ 0 w 110"/>
                  <a:gd name="T41" fmla="*/ 84 h 118"/>
                  <a:gd name="T42" fmla="*/ 10 w 110"/>
                  <a:gd name="T43" fmla="*/ 76 h 118"/>
                  <a:gd name="T44" fmla="*/ 42 w 110"/>
                  <a:gd name="T45" fmla="*/ 64 h 118"/>
                  <a:gd name="T46" fmla="*/ 50 w 110"/>
                  <a:gd name="T47" fmla="*/ 48 h 118"/>
                  <a:gd name="T48" fmla="*/ 50 w 110"/>
                  <a:gd name="T49" fmla="*/ 36 h 118"/>
                  <a:gd name="T50" fmla="*/ 46 w 110"/>
                  <a:gd name="T51" fmla="*/ 26 h 118"/>
                  <a:gd name="T52" fmla="*/ 62 w 110"/>
                  <a:gd name="T5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18">
                    <a:moveTo>
                      <a:pt x="62" y="0"/>
                    </a:moveTo>
                    <a:lnTo>
                      <a:pt x="74" y="6"/>
                    </a:lnTo>
                    <a:lnTo>
                      <a:pt x="80" y="12"/>
                    </a:lnTo>
                    <a:lnTo>
                      <a:pt x="92" y="14"/>
                    </a:lnTo>
                    <a:lnTo>
                      <a:pt x="110" y="32"/>
                    </a:lnTo>
                    <a:lnTo>
                      <a:pt x="104" y="44"/>
                    </a:lnTo>
                    <a:lnTo>
                      <a:pt x="92" y="58"/>
                    </a:lnTo>
                    <a:lnTo>
                      <a:pt x="88" y="60"/>
                    </a:lnTo>
                    <a:lnTo>
                      <a:pt x="76" y="62"/>
                    </a:lnTo>
                    <a:lnTo>
                      <a:pt x="78" y="72"/>
                    </a:lnTo>
                    <a:lnTo>
                      <a:pt x="80" y="80"/>
                    </a:lnTo>
                    <a:lnTo>
                      <a:pt x="72" y="82"/>
                    </a:lnTo>
                    <a:lnTo>
                      <a:pt x="64" y="88"/>
                    </a:lnTo>
                    <a:lnTo>
                      <a:pt x="60" y="94"/>
                    </a:lnTo>
                    <a:lnTo>
                      <a:pt x="60" y="98"/>
                    </a:lnTo>
                    <a:lnTo>
                      <a:pt x="48" y="100"/>
                    </a:lnTo>
                    <a:lnTo>
                      <a:pt x="46" y="106"/>
                    </a:lnTo>
                    <a:lnTo>
                      <a:pt x="40" y="116"/>
                    </a:lnTo>
                    <a:lnTo>
                      <a:pt x="22" y="114"/>
                    </a:lnTo>
                    <a:lnTo>
                      <a:pt x="14" y="118"/>
                    </a:lnTo>
                    <a:lnTo>
                      <a:pt x="0" y="84"/>
                    </a:lnTo>
                    <a:lnTo>
                      <a:pt x="10" y="76"/>
                    </a:lnTo>
                    <a:lnTo>
                      <a:pt x="42" y="64"/>
                    </a:lnTo>
                    <a:lnTo>
                      <a:pt x="50" y="48"/>
                    </a:lnTo>
                    <a:lnTo>
                      <a:pt x="50" y="36"/>
                    </a:lnTo>
                    <a:lnTo>
                      <a:pt x="46" y="26"/>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7" name="Freeform 840"/>
              <p:cNvSpPr>
                <a:spLocks/>
              </p:cNvSpPr>
              <p:nvPr/>
            </p:nvSpPr>
            <p:spPr bwMode="auto">
              <a:xfrm>
                <a:off x="3595" y="2165"/>
                <a:ext cx="118" cy="126"/>
              </a:xfrm>
              <a:custGeom>
                <a:avLst/>
                <a:gdLst>
                  <a:gd name="T0" fmla="*/ 66 w 118"/>
                  <a:gd name="T1" fmla="*/ 0 h 126"/>
                  <a:gd name="T2" fmla="*/ 66 w 118"/>
                  <a:gd name="T3" fmla="*/ 0 h 126"/>
                  <a:gd name="T4" fmla="*/ 46 w 118"/>
                  <a:gd name="T5" fmla="*/ 28 h 126"/>
                  <a:gd name="T6" fmla="*/ 46 w 118"/>
                  <a:gd name="T7" fmla="*/ 32 h 126"/>
                  <a:gd name="T8" fmla="*/ 50 w 118"/>
                  <a:gd name="T9" fmla="*/ 52 h 126"/>
                  <a:gd name="T10" fmla="*/ 12 w 118"/>
                  <a:gd name="T11" fmla="*/ 76 h 126"/>
                  <a:gd name="T12" fmla="*/ 12 w 118"/>
                  <a:gd name="T13" fmla="*/ 76 h 126"/>
                  <a:gd name="T14" fmla="*/ 0 w 118"/>
                  <a:gd name="T15" fmla="*/ 86 h 126"/>
                  <a:gd name="T16" fmla="*/ 0 w 118"/>
                  <a:gd name="T17" fmla="*/ 90 h 126"/>
                  <a:gd name="T18" fmla="*/ 14 w 118"/>
                  <a:gd name="T19" fmla="*/ 122 h 126"/>
                  <a:gd name="T20" fmla="*/ 18 w 118"/>
                  <a:gd name="T21" fmla="*/ 126 h 126"/>
                  <a:gd name="T22" fmla="*/ 18 w 118"/>
                  <a:gd name="T23" fmla="*/ 124 h 126"/>
                  <a:gd name="T24" fmla="*/ 44 w 118"/>
                  <a:gd name="T25" fmla="*/ 124 h 126"/>
                  <a:gd name="T26" fmla="*/ 44 w 118"/>
                  <a:gd name="T27" fmla="*/ 124 h 126"/>
                  <a:gd name="T28" fmla="*/ 48 w 118"/>
                  <a:gd name="T29" fmla="*/ 122 h 126"/>
                  <a:gd name="T30" fmla="*/ 54 w 118"/>
                  <a:gd name="T31" fmla="*/ 112 h 126"/>
                  <a:gd name="T32" fmla="*/ 54 w 118"/>
                  <a:gd name="T33" fmla="*/ 108 h 126"/>
                  <a:gd name="T34" fmla="*/ 64 w 118"/>
                  <a:gd name="T35" fmla="*/ 106 h 126"/>
                  <a:gd name="T36" fmla="*/ 68 w 118"/>
                  <a:gd name="T37" fmla="*/ 102 h 126"/>
                  <a:gd name="T38" fmla="*/ 70 w 118"/>
                  <a:gd name="T39" fmla="*/ 94 h 126"/>
                  <a:gd name="T40" fmla="*/ 86 w 118"/>
                  <a:gd name="T41" fmla="*/ 88 h 126"/>
                  <a:gd name="T42" fmla="*/ 88 w 118"/>
                  <a:gd name="T43" fmla="*/ 86 h 126"/>
                  <a:gd name="T44" fmla="*/ 86 w 118"/>
                  <a:gd name="T45" fmla="*/ 74 h 126"/>
                  <a:gd name="T46" fmla="*/ 92 w 118"/>
                  <a:gd name="T47" fmla="*/ 66 h 126"/>
                  <a:gd name="T48" fmla="*/ 98 w 118"/>
                  <a:gd name="T49" fmla="*/ 64 h 126"/>
                  <a:gd name="T50" fmla="*/ 110 w 118"/>
                  <a:gd name="T51" fmla="*/ 52 h 126"/>
                  <a:gd name="T52" fmla="*/ 112 w 118"/>
                  <a:gd name="T53" fmla="*/ 50 h 126"/>
                  <a:gd name="T54" fmla="*/ 118 w 118"/>
                  <a:gd name="T55" fmla="*/ 38 h 126"/>
                  <a:gd name="T56" fmla="*/ 118 w 118"/>
                  <a:gd name="T57" fmla="*/ 32 h 126"/>
                  <a:gd name="T58" fmla="*/ 98 w 118"/>
                  <a:gd name="T59" fmla="*/ 14 h 126"/>
                  <a:gd name="T60" fmla="*/ 86 w 118"/>
                  <a:gd name="T61" fmla="*/ 12 h 126"/>
                  <a:gd name="T62" fmla="*/ 68 w 118"/>
                  <a:gd name="T63" fmla="*/ 0 h 126"/>
                  <a:gd name="T64" fmla="*/ 66 w 118"/>
                  <a:gd name="T6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26">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8" name="Freeform 841"/>
              <p:cNvSpPr>
                <a:spLocks/>
              </p:cNvSpPr>
              <p:nvPr/>
            </p:nvSpPr>
            <p:spPr bwMode="auto">
              <a:xfrm>
                <a:off x="3467" y="2251"/>
                <a:ext cx="150" cy="94"/>
              </a:xfrm>
              <a:custGeom>
                <a:avLst/>
                <a:gdLst>
                  <a:gd name="T0" fmla="*/ 16 w 150"/>
                  <a:gd name="T1" fmla="*/ 94 h 94"/>
                  <a:gd name="T2" fmla="*/ 16 w 150"/>
                  <a:gd name="T3" fmla="*/ 94 h 94"/>
                  <a:gd name="T4" fmla="*/ 16 w 150"/>
                  <a:gd name="T5" fmla="*/ 92 h 94"/>
                  <a:gd name="T6" fmla="*/ 8 w 150"/>
                  <a:gd name="T7" fmla="*/ 90 h 94"/>
                  <a:gd name="T8" fmla="*/ 8 w 150"/>
                  <a:gd name="T9" fmla="*/ 90 h 94"/>
                  <a:gd name="T10" fmla="*/ 8 w 150"/>
                  <a:gd name="T11" fmla="*/ 88 h 94"/>
                  <a:gd name="T12" fmla="*/ 0 w 150"/>
                  <a:gd name="T13" fmla="*/ 62 h 94"/>
                  <a:gd name="T14" fmla="*/ 0 w 150"/>
                  <a:gd name="T15" fmla="*/ 40 h 94"/>
                  <a:gd name="T16" fmla="*/ 0 w 150"/>
                  <a:gd name="T17" fmla="*/ 40 h 94"/>
                  <a:gd name="T18" fmla="*/ 0 w 150"/>
                  <a:gd name="T19" fmla="*/ 38 h 94"/>
                  <a:gd name="T20" fmla="*/ 8 w 150"/>
                  <a:gd name="T21" fmla="*/ 22 h 94"/>
                  <a:gd name="T22" fmla="*/ 8 w 150"/>
                  <a:gd name="T23" fmla="*/ 22 h 94"/>
                  <a:gd name="T24" fmla="*/ 10 w 150"/>
                  <a:gd name="T25" fmla="*/ 20 h 94"/>
                  <a:gd name="T26" fmla="*/ 40 w 150"/>
                  <a:gd name="T27" fmla="*/ 20 h 94"/>
                  <a:gd name="T28" fmla="*/ 66 w 150"/>
                  <a:gd name="T29" fmla="*/ 24 h 94"/>
                  <a:gd name="T30" fmla="*/ 90 w 150"/>
                  <a:gd name="T31" fmla="*/ 4 h 94"/>
                  <a:gd name="T32" fmla="*/ 90 w 150"/>
                  <a:gd name="T33" fmla="*/ 4 h 94"/>
                  <a:gd name="T34" fmla="*/ 90 w 150"/>
                  <a:gd name="T35" fmla="*/ 2 h 94"/>
                  <a:gd name="T36" fmla="*/ 118 w 150"/>
                  <a:gd name="T37" fmla="*/ 0 h 94"/>
                  <a:gd name="T38" fmla="*/ 134 w 150"/>
                  <a:gd name="T39" fmla="*/ 0 h 94"/>
                  <a:gd name="T40" fmla="*/ 134 w 150"/>
                  <a:gd name="T41" fmla="*/ 0 h 94"/>
                  <a:gd name="T42" fmla="*/ 136 w 150"/>
                  <a:gd name="T43" fmla="*/ 0 h 94"/>
                  <a:gd name="T44" fmla="*/ 150 w 150"/>
                  <a:gd name="T45" fmla="*/ 32 h 94"/>
                  <a:gd name="T46" fmla="*/ 150 w 150"/>
                  <a:gd name="T47" fmla="*/ 32 h 94"/>
                  <a:gd name="T48" fmla="*/ 148 w 150"/>
                  <a:gd name="T49" fmla="*/ 36 h 94"/>
                  <a:gd name="T50" fmla="*/ 138 w 150"/>
                  <a:gd name="T51" fmla="*/ 40 h 94"/>
                  <a:gd name="T52" fmla="*/ 132 w 150"/>
                  <a:gd name="T53" fmla="*/ 46 h 94"/>
                  <a:gd name="T54" fmla="*/ 132 w 150"/>
                  <a:gd name="T55" fmla="*/ 52 h 94"/>
                  <a:gd name="T56" fmla="*/ 132 w 150"/>
                  <a:gd name="T57" fmla="*/ 52 h 94"/>
                  <a:gd name="T58" fmla="*/ 132 w 150"/>
                  <a:gd name="T59" fmla="*/ 54 h 94"/>
                  <a:gd name="T60" fmla="*/ 126 w 150"/>
                  <a:gd name="T61" fmla="*/ 56 h 94"/>
                  <a:gd name="T62" fmla="*/ 106 w 150"/>
                  <a:gd name="T63" fmla="*/ 62 h 94"/>
                  <a:gd name="T64" fmla="*/ 96 w 150"/>
                  <a:gd name="T65" fmla="*/ 64 h 94"/>
                  <a:gd name="T66" fmla="*/ 90 w 150"/>
                  <a:gd name="T67" fmla="*/ 74 h 94"/>
                  <a:gd name="T68" fmla="*/ 90 w 150"/>
                  <a:gd name="T69" fmla="*/ 74 h 94"/>
                  <a:gd name="T70" fmla="*/ 88 w 150"/>
                  <a:gd name="T71" fmla="*/ 76 h 94"/>
                  <a:gd name="T72" fmla="*/ 88 w 150"/>
                  <a:gd name="T73" fmla="*/ 76 h 94"/>
                  <a:gd name="T74" fmla="*/ 74 w 150"/>
                  <a:gd name="T75" fmla="*/ 74 h 94"/>
                  <a:gd name="T76" fmla="*/ 66 w 150"/>
                  <a:gd name="T77" fmla="*/ 82 h 94"/>
                  <a:gd name="T78" fmla="*/ 66 w 150"/>
                  <a:gd name="T79" fmla="*/ 82 h 94"/>
                  <a:gd name="T80" fmla="*/ 66 w 150"/>
                  <a:gd name="T81" fmla="*/ 82 h 94"/>
                  <a:gd name="T82" fmla="*/ 52 w 150"/>
                  <a:gd name="T83" fmla="*/ 82 h 94"/>
                  <a:gd name="T84" fmla="*/ 48 w 150"/>
                  <a:gd name="T85" fmla="*/ 80 h 94"/>
                  <a:gd name="T86" fmla="*/ 42 w 150"/>
                  <a:gd name="T87" fmla="*/ 86 h 94"/>
                  <a:gd name="T88" fmla="*/ 36 w 150"/>
                  <a:gd name="T89" fmla="*/ 92 h 94"/>
                  <a:gd name="T90" fmla="*/ 36 w 150"/>
                  <a:gd name="T91" fmla="*/ 92 h 94"/>
                  <a:gd name="T92" fmla="*/ 34 w 150"/>
                  <a:gd name="T93" fmla="*/ 94 h 94"/>
                  <a:gd name="T94" fmla="*/ 16 w 150"/>
                  <a:gd name="T9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 h="94">
                    <a:moveTo>
                      <a:pt x="16" y="94"/>
                    </a:moveTo>
                    <a:lnTo>
                      <a:pt x="16" y="94"/>
                    </a:lnTo>
                    <a:lnTo>
                      <a:pt x="16" y="92"/>
                    </a:lnTo>
                    <a:lnTo>
                      <a:pt x="8" y="90"/>
                    </a:lnTo>
                    <a:lnTo>
                      <a:pt x="8" y="90"/>
                    </a:lnTo>
                    <a:lnTo>
                      <a:pt x="8" y="88"/>
                    </a:lnTo>
                    <a:lnTo>
                      <a:pt x="0" y="62"/>
                    </a:lnTo>
                    <a:lnTo>
                      <a:pt x="0" y="40"/>
                    </a:lnTo>
                    <a:lnTo>
                      <a:pt x="0" y="40"/>
                    </a:lnTo>
                    <a:lnTo>
                      <a:pt x="0" y="38"/>
                    </a:lnTo>
                    <a:lnTo>
                      <a:pt x="8" y="22"/>
                    </a:lnTo>
                    <a:lnTo>
                      <a:pt x="8" y="22"/>
                    </a:lnTo>
                    <a:lnTo>
                      <a:pt x="10" y="20"/>
                    </a:lnTo>
                    <a:lnTo>
                      <a:pt x="40" y="20"/>
                    </a:lnTo>
                    <a:lnTo>
                      <a:pt x="66" y="24"/>
                    </a:lnTo>
                    <a:lnTo>
                      <a:pt x="90" y="4"/>
                    </a:lnTo>
                    <a:lnTo>
                      <a:pt x="90" y="4"/>
                    </a:lnTo>
                    <a:lnTo>
                      <a:pt x="90" y="2"/>
                    </a:lnTo>
                    <a:lnTo>
                      <a:pt x="118" y="0"/>
                    </a:lnTo>
                    <a:lnTo>
                      <a:pt x="134" y="0"/>
                    </a:lnTo>
                    <a:lnTo>
                      <a:pt x="134" y="0"/>
                    </a:lnTo>
                    <a:lnTo>
                      <a:pt x="136" y="0"/>
                    </a:lnTo>
                    <a:lnTo>
                      <a:pt x="150" y="32"/>
                    </a:lnTo>
                    <a:lnTo>
                      <a:pt x="150" y="32"/>
                    </a:lnTo>
                    <a:lnTo>
                      <a:pt x="148" y="36"/>
                    </a:lnTo>
                    <a:lnTo>
                      <a:pt x="138" y="40"/>
                    </a:lnTo>
                    <a:lnTo>
                      <a:pt x="132" y="46"/>
                    </a:lnTo>
                    <a:lnTo>
                      <a:pt x="132" y="52"/>
                    </a:lnTo>
                    <a:lnTo>
                      <a:pt x="132" y="52"/>
                    </a:lnTo>
                    <a:lnTo>
                      <a:pt x="132" y="54"/>
                    </a:lnTo>
                    <a:lnTo>
                      <a:pt x="126" y="56"/>
                    </a:lnTo>
                    <a:lnTo>
                      <a:pt x="106" y="62"/>
                    </a:lnTo>
                    <a:lnTo>
                      <a:pt x="96" y="64"/>
                    </a:lnTo>
                    <a:lnTo>
                      <a:pt x="90" y="74"/>
                    </a:lnTo>
                    <a:lnTo>
                      <a:pt x="90" y="74"/>
                    </a:lnTo>
                    <a:lnTo>
                      <a:pt x="88" y="76"/>
                    </a:lnTo>
                    <a:lnTo>
                      <a:pt x="88" y="76"/>
                    </a:lnTo>
                    <a:lnTo>
                      <a:pt x="74" y="74"/>
                    </a:lnTo>
                    <a:lnTo>
                      <a:pt x="66" y="82"/>
                    </a:lnTo>
                    <a:lnTo>
                      <a:pt x="66" y="82"/>
                    </a:lnTo>
                    <a:lnTo>
                      <a:pt x="66" y="82"/>
                    </a:lnTo>
                    <a:lnTo>
                      <a:pt x="52" y="82"/>
                    </a:lnTo>
                    <a:lnTo>
                      <a:pt x="48" y="80"/>
                    </a:lnTo>
                    <a:lnTo>
                      <a:pt x="42" y="86"/>
                    </a:lnTo>
                    <a:lnTo>
                      <a:pt x="36" y="92"/>
                    </a:lnTo>
                    <a:lnTo>
                      <a:pt x="36" y="92"/>
                    </a:lnTo>
                    <a:lnTo>
                      <a:pt x="34" y="94"/>
                    </a:lnTo>
                    <a:lnTo>
                      <a:pt x="1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9" name="Freeform 842"/>
              <p:cNvSpPr>
                <a:spLocks noEditPoints="1"/>
              </p:cNvSpPr>
              <p:nvPr/>
            </p:nvSpPr>
            <p:spPr bwMode="auto">
              <a:xfrm>
                <a:off x="3465" y="2249"/>
                <a:ext cx="154" cy="98"/>
              </a:xfrm>
              <a:custGeom>
                <a:avLst/>
                <a:gdLst>
                  <a:gd name="T0" fmla="*/ 150 w 154"/>
                  <a:gd name="T1" fmla="*/ 36 h 98"/>
                  <a:gd name="T2" fmla="*/ 132 w 154"/>
                  <a:gd name="T3" fmla="*/ 46 h 98"/>
                  <a:gd name="T4" fmla="*/ 126 w 154"/>
                  <a:gd name="T5" fmla="*/ 58 h 98"/>
                  <a:gd name="T6" fmla="*/ 98 w 154"/>
                  <a:gd name="T7" fmla="*/ 64 h 98"/>
                  <a:gd name="T8" fmla="*/ 74 w 154"/>
                  <a:gd name="T9" fmla="*/ 74 h 98"/>
                  <a:gd name="T10" fmla="*/ 54 w 154"/>
                  <a:gd name="T11" fmla="*/ 82 h 98"/>
                  <a:gd name="T12" fmla="*/ 42 w 154"/>
                  <a:gd name="T13" fmla="*/ 86 h 98"/>
                  <a:gd name="T14" fmla="*/ 18 w 154"/>
                  <a:gd name="T15" fmla="*/ 94 h 98"/>
                  <a:gd name="T16" fmla="*/ 4 w 154"/>
                  <a:gd name="T17" fmla="*/ 62 h 98"/>
                  <a:gd name="T18" fmla="*/ 12 w 154"/>
                  <a:gd name="T19" fmla="*/ 24 h 98"/>
                  <a:gd name="T20" fmla="*/ 70 w 154"/>
                  <a:gd name="T21" fmla="*/ 28 h 98"/>
                  <a:gd name="T22" fmla="*/ 120 w 154"/>
                  <a:gd name="T23" fmla="*/ 4 h 98"/>
                  <a:gd name="T24" fmla="*/ 136 w 154"/>
                  <a:gd name="T25" fmla="*/ 0 h 98"/>
                  <a:gd name="T26" fmla="*/ 120 w 154"/>
                  <a:gd name="T27" fmla="*/ 0 h 98"/>
                  <a:gd name="T28" fmla="*/ 92 w 154"/>
                  <a:gd name="T29" fmla="*/ 2 h 98"/>
                  <a:gd name="T30" fmla="*/ 90 w 154"/>
                  <a:gd name="T31" fmla="*/ 4 h 98"/>
                  <a:gd name="T32" fmla="*/ 42 w 154"/>
                  <a:gd name="T33" fmla="*/ 20 h 98"/>
                  <a:gd name="T34" fmla="*/ 42 w 154"/>
                  <a:gd name="T35" fmla="*/ 20 h 98"/>
                  <a:gd name="T36" fmla="*/ 42 w 154"/>
                  <a:gd name="T37" fmla="*/ 20 h 98"/>
                  <a:gd name="T38" fmla="*/ 12 w 154"/>
                  <a:gd name="T39" fmla="*/ 20 h 98"/>
                  <a:gd name="T40" fmla="*/ 0 w 154"/>
                  <a:gd name="T41" fmla="*/ 40 h 98"/>
                  <a:gd name="T42" fmla="*/ 0 w 154"/>
                  <a:gd name="T43" fmla="*/ 42 h 98"/>
                  <a:gd name="T44" fmla="*/ 0 w 154"/>
                  <a:gd name="T45" fmla="*/ 62 h 98"/>
                  <a:gd name="T46" fmla="*/ 8 w 154"/>
                  <a:gd name="T47" fmla="*/ 90 h 98"/>
                  <a:gd name="T48" fmla="*/ 10 w 154"/>
                  <a:gd name="T49" fmla="*/ 94 h 98"/>
                  <a:gd name="T50" fmla="*/ 16 w 154"/>
                  <a:gd name="T51" fmla="*/ 96 h 98"/>
                  <a:gd name="T52" fmla="*/ 36 w 154"/>
                  <a:gd name="T53" fmla="*/ 98 h 98"/>
                  <a:gd name="T54" fmla="*/ 40 w 154"/>
                  <a:gd name="T55" fmla="*/ 96 h 98"/>
                  <a:gd name="T56" fmla="*/ 50 w 154"/>
                  <a:gd name="T57" fmla="*/ 86 h 98"/>
                  <a:gd name="T58" fmla="*/ 54 w 154"/>
                  <a:gd name="T59" fmla="*/ 86 h 98"/>
                  <a:gd name="T60" fmla="*/ 68 w 154"/>
                  <a:gd name="T61" fmla="*/ 86 h 98"/>
                  <a:gd name="T62" fmla="*/ 70 w 154"/>
                  <a:gd name="T63" fmla="*/ 84 h 98"/>
                  <a:gd name="T64" fmla="*/ 90 w 154"/>
                  <a:gd name="T65" fmla="*/ 80 h 98"/>
                  <a:gd name="T66" fmla="*/ 90 w 154"/>
                  <a:gd name="T67" fmla="*/ 80 h 98"/>
                  <a:gd name="T68" fmla="*/ 94 w 154"/>
                  <a:gd name="T69" fmla="*/ 78 h 98"/>
                  <a:gd name="T70" fmla="*/ 108 w 154"/>
                  <a:gd name="T71" fmla="*/ 66 h 98"/>
                  <a:gd name="T72" fmla="*/ 128 w 154"/>
                  <a:gd name="T73" fmla="*/ 62 h 98"/>
                  <a:gd name="T74" fmla="*/ 134 w 154"/>
                  <a:gd name="T75" fmla="*/ 56 h 98"/>
                  <a:gd name="T76" fmla="*/ 136 w 154"/>
                  <a:gd name="T77" fmla="*/ 54 h 98"/>
                  <a:gd name="T78" fmla="*/ 142 w 154"/>
                  <a:gd name="T79" fmla="*/ 44 h 98"/>
                  <a:gd name="T80" fmla="*/ 152 w 154"/>
                  <a:gd name="T81" fmla="*/ 40 h 98"/>
                  <a:gd name="T82" fmla="*/ 154 w 154"/>
                  <a:gd name="T83" fmla="*/ 34 h 98"/>
                  <a:gd name="T84" fmla="*/ 140 w 154"/>
                  <a:gd name="T85" fmla="*/ 2 h 98"/>
                  <a:gd name="T86" fmla="*/ 136 w 154"/>
                  <a:gd name="T8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98">
                    <a:moveTo>
                      <a:pt x="136" y="4"/>
                    </a:moveTo>
                    <a:lnTo>
                      <a:pt x="150" y="36"/>
                    </a:lnTo>
                    <a:lnTo>
                      <a:pt x="140" y="42"/>
                    </a:lnTo>
                    <a:lnTo>
                      <a:pt x="132" y="46"/>
                    </a:lnTo>
                    <a:lnTo>
                      <a:pt x="132" y="54"/>
                    </a:lnTo>
                    <a:lnTo>
                      <a:pt x="126" y="58"/>
                    </a:lnTo>
                    <a:lnTo>
                      <a:pt x="106" y="62"/>
                    </a:lnTo>
                    <a:lnTo>
                      <a:pt x="98" y="64"/>
                    </a:lnTo>
                    <a:lnTo>
                      <a:pt x="90" y="76"/>
                    </a:lnTo>
                    <a:lnTo>
                      <a:pt x="74" y="74"/>
                    </a:lnTo>
                    <a:lnTo>
                      <a:pt x="68" y="82"/>
                    </a:lnTo>
                    <a:lnTo>
                      <a:pt x="54" y="82"/>
                    </a:lnTo>
                    <a:lnTo>
                      <a:pt x="50" y="80"/>
                    </a:lnTo>
                    <a:lnTo>
                      <a:pt x="42" y="86"/>
                    </a:lnTo>
                    <a:lnTo>
                      <a:pt x="36" y="94"/>
                    </a:lnTo>
                    <a:lnTo>
                      <a:pt x="18" y="94"/>
                    </a:lnTo>
                    <a:lnTo>
                      <a:pt x="12" y="90"/>
                    </a:lnTo>
                    <a:lnTo>
                      <a:pt x="4" y="62"/>
                    </a:lnTo>
                    <a:lnTo>
                      <a:pt x="4" y="42"/>
                    </a:lnTo>
                    <a:lnTo>
                      <a:pt x="12" y="24"/>
                    </a:lnTo>
                    <a:lnTo>
                      <a:pt x="42" y="24"/>
                    </a:lnTo>
                    <a:lnTo>
                      <a:pt x="70" y="28"/>
                    </a:lnTo>
                    <a:lnTo>
                      <a:pt x="92" y="6"/>
                    </a:lnTo>
                    <a:lnTo>
                      <a:pt x="120" y="4"/>
                    </a:lnTo>
                    <a:lnTo>
                      <a:pt x="136" y="4"/>
                    </a:lnTo>
                    <a:close/>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0" name="Freeform 843"/>
              <p:cNvSpPr>
                <a:spLocks/>
              </p:cNvSpPr>
              <p:nvPr/>
            </p:nvSpPr>
            <p:spPr bwMode="auto">
              <a:xfrm>
                <a:off x="3469" y="2253"/>
                <a:ext cx="146" cy="90"/>
              </a:xfrm>
              <a:custGeom>
                <a:avLst/>
                <a:gdLst>
                  <a:gd name="T0" fmla="*/ 132 w 146"/>
                  <a:gd name="T1" fmla="*/ 0 h 90"/>
                  <a:gd name="T2" fmla="*/ 146 w 146"/>
                  <a:gd name="T3" fmla="*/ 32 h 90"/>
                  <a:gd name="T4" fmla="*/ 136 w 146"/>
                  <a:gd name="T5" fmla="*/ 38 h 90"/>
                  <a:gd name="T6" fmla="*/ 128 w 146"/>
                  <a:gd name="T7" fmla="*/ 42 h 90"/>
                  <a:gd name="T8" fmla="*/ 128 w 146"/>
                  <a:gd name="T9" fmla="*/ 50 h 90"/>
                  <a:gd name="T10" fmla="*/ 122 w 146"/>
                  <a:gd name="T11" fmla="*/ 54 h 90"/>
                  <a:gd name="T12" fmla="*/ 102 w 146"/>
                  <a:gd name="T13" fmla="*/ 58 h 90"/>
                  <a:gd name="T14" fmla="*/ 94 w 146"/>
                  <a:gd name="T15" fmla="*/ 60 h 90"/>
                  <a:gd name="T16" fmla="*/ 86 w 146"/>
                  <a:gd name="T17" fmla="*/ 72 h 90"/>
                  <a:gd name="T18" fmla="*/ 70 w 146"/>
                  <a:gd name="T19" fmla="*/ 70 h 90"/>
                  <a:gd name="T20" fmla="*/ 64 w 146"/>
                  <a:gd name="T21" fmla="*/ 78 h 90"/>
                  <a:gd name="T22" fmla="*/ 50 w 146"/>
                  <a:gd name="T23" fmla="*/ 78 h 90"/>
                  <a:gd name="T24" fmla="*/ 46 w 146"/>
                  <a:gd name="T25" fmla="*/ 76 h 90"/>
                  <a:gd name="T26" fmla="*/ 38 w 146"/>
                  <a:gd name="T27" fmla="*/ 82 h 90"/>
                  <a:gd name="T28" fmla="*/ 32 w 146"/>
                  <a:gd name="T29" fmla="*/ 90 h 90"/>
                  <a:gd name="T30" fmla="*/ 14 w 146"/>
                  <a:gd name="T31" fmla="*/ 90 h 90"/>
                  <a:gd name="T32" fmla="*/ 8 w 146"/>
                  <a:gd name="T33" fmla="*/ 86 h 90"/>
                  <a:gd name="T34" fmla="*/ 0 w 146"/>
                  <a:gd name="T35" fmla="*/ 58 h 90"/>
                  <a:gd name="T36" fmla="*/ 0 w 146"/>
                  <a:gd name="T37" fmla="*/ 38 h 90"/>
                  <a:gd name="T38" fmla="*/ 8 w 146"/>
                  <a:gd name="T39" fmla="*/ 20 h 90"/>
                  <a:gd name="T40" fmla="*/ 38 w 146"/>
                  <a:gd name="T41" fmla="*/ 20 h 90"/>
                  <a:gd name="T42" fmla="*/ 66 w 146"/>
                  <a:gd name="T43" fmla="*/ 24 h 90"/>
                  <a:gd name="T44" fmla="*/ 88 w 146"/>
                  <a:gd name="T45" fmla="*/ 2 h 90"/>
                  <a:gd name="T46" fmla="*/ 116 w 146"/>
                  <a:gd name="T47" fmla="*/ 0 h 90"/>
                  <a:gd name="T48" fmla="*/ 132 w 146"/>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90">
                    <a:moveTo>
                      <a:pt x="132" y="0"/>
                    </a:moveTo>
                    <a:lnTo>
                      <a:pt x="146" y="32"/>
                    </a:lnTo>
                    <a:lnTo>
                      <a:pt x="136" y="38"/>
                    </a:lnTo>
                    <a:lnTo>
                      <a:pt x="128" y="42"/>
                    </a:lnTo>
                    <a:lnTo>
                      <a:pt x="128" y="50"/>
                    </a:lnTo>
                    <a:lnTo>
                      <a:pt x="122" y="54"/>
                    </a:lnTo>
                    <a:lnTo>
                      <a:pt x="102" y="58"/>
                    </a:lnTo>
                    <a:lnTo>
                      <a:pt x="94" y="60"/>
                    </a:lnTo>
                    <a:lnTo>
                      <a:pt x="86" y="72"/>
                    </a:lnTo>
                    <a:lnTo>
                      <a:pt x="70" y="70"/>
                    </a:lnTo>
                    <a:lnTo>
                      <a:pt x="64" y="78"/>
                    </a:lnTo>
                    <a:lnTo>
                      <a:pt x="50" y="78"/>
                    </a:lnTo>
                    <a:lnTo>
                      <a:pt x="46" y="76"/>
                    </a:lnTo>
                    <a:lnTo>
                      <a:pt x="38" y="82"/>
                    </a:lnTo>
                    <a:lnTo>
                      <a:pt x="32" y="90"/>
                    </a:lnTo>
                    <a:lnTo>
                      <a:pt x="14" y="90"/>
                    </a:lnTo>
                    <a:lnTo>
                      <a:pt x="8" y="86"/>
                    </a:lnTo>
                    <a:lnTo>
                      <a:pt x="0" y="58"/>
                    </a:lnTo>
                    <a:lnTo>
                      <a:pt x="0" y="38"/>
                    </a:lnTo>
                    <a:lnTo>
                      <a:pt x="8" y="20"/>
                    </a:lnTo>
                    <a:lnTo>
                      <a:pt x="38" y="20"/>
                    </a:lnTo>
                    <a:lnTo>
                      <a:pt x="66" y="24"/>
                    </a:lnTo>
                    <a:lnTo>
                      <a:pt x="88" y="2"/>
                    </a:lnTo>
                    <a:lnTo>
                      <a:pt x="116" y="0"/>
                    </a:lnTo>
                    <a:lnTo>
                      <a:pt x="1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1" name="Freeform 844"/>
              <p:cNvSpPr>
                <a:spLocks/>
              </p:cNvSpPr>
              <p:nvPr/>
            </p:nvSpPr>
            <p:spPr bwMode="auto">
              <a:xfrm>
                <a:off x="3465" y="2249"/>
                <a:ext cx="154" cy="98"/>
              </a:xfrm>
              <a:custGeom>
                <a:avLst/>
                <a:gdLst>
                  <a:gd name="T0" fmla="*/ 120 w 154"/>
                  <a:gd name="T1" fmla="*/ 0 h 98"/>
                  <a:gd name="T2" fmla="*/ 118 w 154"/>
                  <a:gd name="T3" fmla="*/ 0 h 98"/>
                  <a:gd name="T4" fmla="*/ 92 w 154"/>
                  <a:gd name="T5" fmla="*/ 2 h 98"/>
                  <a:gd name="T6" fmla="*/ 68 w 154"/>
                  <a:gd name="T7" fmla="*/ 24 h 98"/>
                  <a:gd name="T8" fmla="*/ 42 w 154"/>
                  <a:gd name="T9" fmla="*/ 20 h 98"/>
                  <a:gd name="T10" fmla="*/ 42 w 154"/>
                  <a:gd name="T11" fmla="*/ 20 h 98"/>
                  <a:gd name="T12" fmla="*/ 12 w 154"/>
                  <a:gd name="T13" fmla="*/ 20 h 98"/>
                  <a:gd name="T14" fmla="*/ 8 w 154"/>
                  <a:gd name="T15" fmla="*/ 24 h 98"/>
                  <a:gd name="T16" fmla="*/ 0 w 154"/>
                  <a:gd name="T17" fmla="*/ 40 h 98"/>
                  <a:gd name="T18" fmla="*/ 0 w 154"/>
                  <a:gd name="T19" fmla="*/ 62 h 98"/>
                  <a:gd name="T20" fmla="*/ 0 w 154"/>
                  <a:gd name="T21" fmla="*/ 64 h 98"/>
                  <a:gd name="T22" fmla="*/ 8 w 154"/>
                  <a:gd name="T23" fmla="*/ 90 h 98"/>
                  <a:gd name="T24" fmla="*/ 16 w 154"/>
                  <a:gd name="T25" fmla="*/ 96 h 98"/>
                  <a:gd name="T26" fmla="*/ 18 w 154"/>
                  <a:gd name="T27" fmla="*/ 98 h 98"/>
                  <a:gd name="T28" fmla="*/ 36 w 154"/>
                  <a:gd name="T29" fmla="*/ 98 h 98"/>
                  <a:gd name="T30" fmla="*/ 44 w 154"/>
                  <a:gd name="T31" fmla="*/ 88 h 98"/>
                  <a:gd name="T32" fmla="*/ 54 w 154"/>
                  <a:gd name="T33" fmla="*/ 86 h 98"/>
                  <a:gd name="T34" fmla="*/ 54 w 154"/>
                  <a:gd name="T35" fmla="*/ 86 h 98"/>
                  <a:gd name="T36" fmla="*/ 68 w 154"/>
                  <a:gd name="T37" fmla="*/ 86 h 98"/>
                  <a:gd name="T38" fmla="*/ 76 w 154"/>
                  <a:gd name="T39" fmla="*/ 78 h 98"/>
                  <a:gd name="T40" fmla="*/ 90 w 154"/>
                  <a:gd name="T41" fmla="*/ 80 h 98"/>
                  <a:gd name="T42" fmla="*/ 90 w 154"/>
                  <a:gd name="T43" fmla="*/ 80 h 98"/>
                  <a:gd name="T44" fmla="*/ 100 w 154"/>
                  <a:gd name="T45" fmla="*/ 68 h 98"/>
                  <a:gd name="T46" fmla="*/ 128 w 154"/>
                  <a:gd name="T47" fmla="*/ 62 h 98"/>
                  <a:gd name="T48" fmla="*/ 128 w 154"/>
                  <a:gd name="T49" fmla="*/ 60 h 98"/>
                  <a:gd name="T50" fmla="*/ 134 w 154"/>
                  <a:gd name="T51" fmla="*/ 56 h 98"/>
                  <a:gd name="T52" fmla="*/ 136 w 154"/>
                  <a:gd name="T53" fmla="*/ 48 h 98"/>
                  <a:gd name="T54" fmla="*/ 152 w 154"/>
                  <a:gd name="T55" fmla="*/ 40 h 98"/>
                  <a:gd name="T56" fmla="*/ 154 w 154"/>
                  <a:gd name="T57" fmla="*/ 38 h 98"/>
                  <a:gd name="T58" fmla="*/ 140 w 154"/>
                  <a:gd name="T59" fmla="*/ 2 h 98"/>
                  <a:gd name="T60" fmla="*/ 138 w 154"/>
                  <a:gd name="T61" fmla="*/ 0 h 98"/>
                  <a:gd name="T62" fmla="*/ 136 w 154"/>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98">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2" name="Freeform 845"/>
              <p:cNvSpPr>
                <a:spLocks/>
              </p:cNvSpPr>
              <p:nvPr/>
            </p:nvSpPr>
            <p:spPr bwMode="auto">
              <a:xfrm>
                <a:off x="3485" y="1925"/>
                <a:ext cx="278" cy="234"/>
              </a:xfrm>
              <a:custGeom>
                <a:avLst/>
                <a:gdLst>
                  <a:gd name="T0" fmla="*/ 186 w 278"/>
                  <a:gd name="T1" fmla="*/ 224 h 234"/>
                  <a:gd name="T2" fmla="*/ 176 w 278"/>
                  <a:gd name="T3" fmla="*/ 202 h 234"/>
                  <a:gd name="T4" fmla="*/ 162 w 278"/>
                  <a:gd name="T5" fmla="*/ 210 h 234"/>
                  <a:gd name="T6" fmla="*/ 148 w 278"/>
                  <a:gd name="T7" fmla="*/ 212 h 234"/>
                  <a:gd name="T8" fmla="*/ 124 w 278"/>
                  <a:gd name="T9" fmla="*/ 204 h 234"/>
                  <a:gd name="T10" fmla="*/ 88 w 278"/>
                  <a:gd name="T11" fmla="*/ 160 h 234"/>
                  <a:gd name="T12" fmla="*/ 64 w 278"/>
                  <a:gd name="T13" fmla="*/ 160 h 234"/>
                  <a:gd name="T14" fmla="*/ 64 w 278"/>
                  <a:gd name="T15" fmla="*/ 160 h 234"/>
                  <a:gd name="T16" fmla="*/ 54 w 278"/>
                  <a:gd name="T17" fmla="*/ 154 h 234"/>
                  <a:gd name="T18" fmla="*/ 50 w 278"/>
                  <a:gd name="T19" fmla="*/ 140 h 234"/>
                  <a:gd name="T20" fmla="*/ 42 w 278"/>
                  <a:gd name="T21" fmla="*/ 120 h 234"/>
                  <a:gd name="T22" fmla="*/ 34 w 278"/>
                  <a:gd name="T23" fmla="*/ 116 h 234"/>
                  <a:gd name="T24" fmla="*/ 18 w 278"/>
                  <a:gd name="T25" fmla="*/ 94 h 234"/>
                  <a:gd name="T26" fmla="*/ 24 w 278"/>
                  <a:gd name="T27" fmla="*/ 80 h 234"/>
                  <a:gd name="T28" fmla="*/ 26 w 278"/>
                  <a:gd name="T29" fmla="*/ 72 h 234"/>
                  <a:gd name="T30" fmla="*/ 24 w 278"/>
                  <a:gd name="T31" fmla="*/ 66 h 234"/>
                  <a:gd name="T32" fmla="*/ 14 w 278"/>
                  <a:gd name="T33" fmla="*/ 52 h 234"/>
                  <a:gd name="T34" fmla="*/ 2 w 278"/>
                  <a:gd name="T35" fmla="*/ 24 h 234"/>
                  <a:gd name="T36" fmla="*/ 0 w 278"/>
                  <a:gd name="T37" fmla="*/ 8 h 234"/>
                  <a:gd name="T38" fmla="*/ 2 w 278"/>
                  <a:gd name="T39" fmla="*/ 4 h 234"/>
                  <a:gd name="T40" fmla="*/ 10 w 278"/>
                  <a:gd name="T41" fmla="*/ 2 h 234"/>
                  <a:gd name="T42" fmla="*/ 24 w 278"/>
                  <a:gd name="T43" fmla="*/ 12 h 234"/>
                  <a:gd name="T44" fmla="*/ 30 w 278"/>
                  <a:gd name="T45" fmla="*/ 12 h 234"/>
                  <a:gd name="T46" fmla="*/ 32 w 278"/>
                  <a:gd name="T47" fmla="*/ 10 h 234"/>
                  <a:gd name="T48" fmla="*/ 54 w 278"/>
                  <a:gd name="T49" fmla="*/ 0 h 234"/>
                  <a:gd name="T50" fmla="*/ 54 w 278"/>
                  <a:gd name="T51" fmla="*/ 0 h 234"/>
                  <a:gd name="T52" fmla="*/ 60 w 278"/>
                  <a:gd name="T53" fmla="*/ 2 h 234"/>
                  <a:gd name="T54" fmla="*/ 64 w 278"/>
                  <a:gd name="T55" fmla="*/ 16 h 234"/>
                  <a:gd name="T56" fmla="*/ 64 w 278"/>
                  <a:gd name="T57" fmla="*/ 16 h 234"/>
                  <a:gd name="T58" fmla="*/ 62 w 278"/>
                  <a:gd name="T59" fmla="*/ 22 h 234"/>
                  <a:gd name="T60" fmla="*/ 72 w 278"/>
                  <a:gd name="T61" fmla="*/ 22 h 234"/>
                  <a:gd name="T62" fmla="*/ 102 w 278"/>
                  <a:gd name="T63" fmla="*/ 50 h 234"/>
                  <a:gd name="T64" fmla="*/ 160 w 278"/>
                  <a:gd name="T65" fmla="*/ 28 h 234"/>
                  <a:gd name="T66" fmla="*/ 160 w 278"/>
                  <a:gd name="T67" fmla="*/ 28 h 234"/>
                  <a:gd name="T68" fmla="*/ 184 w 278"/>
                  <a:gd name="T69" fmla="*/ 26 h 234"/>
                  <a:gd name="T70" fmla="*/ 246 w 278"/>
                  <a:gd name="T71" fmla="*/ 50 h 234"/>
                  <a:gd name="T72" fmla="*/ 248 w 278"/>
                  <a:gd name="T73" fmla="*/ 72 h 234"/>
                  <a:gd name="T74" fmla="*/ 240 w 278"/>
                  <a:gd name="T75" fmla="*/ 90 h 234"/>
                  <a:gd name="T76" fmla="*/ 254 w 278"/>
                  <a:gd name="T77" fmla="*/ 134 h 234"/>
                  <a:gd name="T78" fmla="*/ 256 w 278"/>
                  <a:gd name="T79" fmla="*/ 134 h 234"/>
                  <a:gd name="T80" fmla="*/ 254 w 278"/>
                  <a:gd name="T81" fmla="*/ 146 h 234"/>
                  <a:gd name="T82" fmla="*/ 246 w 278"/>
                  <a:gd name="T83" fmla="*/ 166 h 234"/>
                  <a:gd name="T84" fmla="*/ 270 w 278"/>
                  <a:gd name="T85" fmla="*/ 190 h 234"/>
                  <a:gd name="T86" fmla="*/ 276 w 278"/>
                  <a:gd name="T87" fmla="*/ 200 h 234"/>
                  <a:gd name="T88" fmla="*/ 278 w 278"/>
                  <a:gd name="T89" fmla="*/ 208 h 234"/>
                  <a:gd name="T90" fmla="*/ 264 w 278"/>
                  <a:gd name="T91" fmla="*/ 212 h 234"/>
                  <a:gd name="T92" fmla="*/ 252 w 278"/>
                  <a:gd name="T93" fmla="*/ 232 h 234"/>
                  <a:gd name="T94" fmla="*/ 250 w 278"/>
                  <a:gd name="T95" fmla="*/ 234 h 234"/>
                  <a:gd name="T96" fmla="*/ 212 w 278"/>
                  <a:gd name="T97" fmla="*/ 23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8" h="234">
                    <a:moveTo>
                      <a:pt x="212" y="230"/>
                    </a:moveTo>
                    <a:lnTo>
                      <a:pt x="186" y="224"/>
                    </a:lnTo>
                    <a:lnTo>
                      <a:pt x="186" y="224"/>
                    </a:lnTo>
                    <a:lnTo>
                      <a:pt x="186" y="222"/>
                    </a:lnTo>
                    <a:lnTo>
                      <a:pt x="184" y="208"/>
                    </a:lnTo>
                    <a:lnTo>
                      <a:pt x="176" y="202"/>
                    </a:lnTo>
                    <a:lnTo>
                      <a:pt x="170" y="204"/>
                    </a:lnTo>
                    <a:lnTo>
                      <a:pt x="162" y="210"/>
                    </a:lnTo>
                    <a:lnTo>
                      <a:pt x="162" y="210"/>
                    </a:lnTo>
                    <a:lnTo>
                      <a:pt x="160" y="210"/>
                    </a:lnTo>
                    <a:lnTo>
                      <a:pt x="160" y="210"/>
                    </a:lnTo>
                    <a:lnTo>
                      <a:pt x="148" y="212"/>
                    </a:lnTo>
                    <a:lnTo>
                      <a:pt x="148" y="212"/>
                    </a:lnTo>
                    <a:lnTo>
                      <a:pt x="148" y="212"/>
                    </a:lnTo>
                    <a:lnTo>
                      <a:pt x="124" y="204"/>
                    </a:lnTo>
                    <a:lnTo>
                      <a:pt x="106" y="188"/>
                    </a:lnTo>
                    <a:lnTo>
                      <a:pt x="92" y="170"/>
                    </a:lnTo>
                    <a:lnTo>
                      <a:pt x="88" y="160"/>
                    </a:lnTo>
                    <a:lnTo>
                      <a:pt x="74" y="158"/>
                    </a:lnTo>
                    <a:lnTo>
                      <a:pt x="64" y="160"/>
                    </a:lnTo>
                    <a:lnTo>
                      <a:pt x="64" y="160"/>
                    </a:lnTo>
                    <a:lnTo>
                      <a:pt x="64" y="160"/>
                    </a:lnTo>
                    <a:lnTo>
                      <a:pt x="64" y="160"/>
                    </a:lnTo>
                    <a:lnTo>
                      <a:pt x="64" y="160"/>
                    </a:lnTo>
                    <a:lnTo>
                      <a:pt x="54" y="158"/>
                    </a:lnTo>
                    <a:lnTo>
                      <a:pt x="54" y="158"/>
                    </a:lnTo>
                    <a:lnTo>
                      <a:pt x="54" y="154"/>
                    </a:lnTo>
                    <a:lnTo>
                      <a:pt x="54" y="150"/>
                    </a:lnTo>
                    <a:lnTo>
                      <a:pt x="50" y="140"/>
                    </a:lnTo>
                    <a:lnTo>
                      <a:pt x="50" y="140"/>
                    </a:lnTo>
                    <a:lnTo>
                      <a:pt x="50" y="138"/>
                    </a:lnTo>
                    <a:lnTo>
                      <a:pt x="52" y="128"/>
                    </a:lnTo>
                    <a:lnTo>
                      <a:pt x="42" y="120"/>
                    </a:lnTo>
                    <a:lnTo>
                      <a:pt x="34" y="116"/>
                    </a:lnTo>
                    <a:lnTo>
                      <a:pt x="34" y="116"/>
                    </a:lnTo>
                    <a:lnTo>
                      <a:pt x="34" y="116"/>
                    </a:lnTo>
                    <a:lnTo>
                      <a:pt x="18" y="96"/>
                    </a:lnTo>
                    <a:lnTo>
                      <a:pt x="18" y="96"/>
                    </a:lnTo>
                    <a:lnTo>
                      <a:pt x="18" y="94"/>
                    </a:lnTo>
                    <a:lnTo>
                      <a:pt x="22" y="82"/>
                    </a:lnTo>
                    <a:lnTo>
                      <a:pt x="22" y="82"/>
                    </a:lnTo>
                    <a:lnTo>
                      <a:pt x="24" y="80"/>
                    </a:lnTo>
                    <a:lnTo>
                      <a:pt x="28" y="78"/>
                    </a:lnTo>
                    <a:lnTo>
                      <a:pt x="26" y="72"/>
                    </a:lnTo>
                    <a:lnTo>
                      <a:pt x="26" y="72"/>
                    </a:lnTo>
                    <a:lnTo>
                      <a:pt x="26" y="70"/>
                    </a:lnTo>
                    <a:lnTo>
                      <a:pt x="28" y="68"/>
                    </a:lnTo>
                    <a:lnTo>
                      <a:pt x="24" y="66"/>
                    </a:lnTo>
                    <a:lnTo>
                      <a:pt x="24" y="66"/>
                    </a:lnTo>
                    <a:lnTo>
                      <a:pt x="22" y="66"/>
                    </a:lnTo>
                    <a:lnTo>
                      <a:pt x="14" y="52"/>
                    </a:lnTo>
                    <a:lnTo>
                      <a:pt x="8" y="42"/>
                    </a:lnTo>
                    <a:lnTo>
                      <a:pt x="4" y="34"/>
                    </a:lnTo>
                    <a:lnTo>
                      <a:pt x="2" y="24"/>
                    </a:lnTo>
                    <a:lnTo>
                      <a:pt x="0" y="10"/>
                    </a:lnTo>
                    <a:lnTo>
                      <a:pt x="0" y="10"/>
                    </a:lnTo>
                    <a:lnTo>
                      <a:pt x="0" y="8"/>
                    </a:lnTo>
                    <a:lnTo>
                      <a:pt x="2" y="4"/>
                    </a:lnTo>
                    <a:lnTo>
                      <a:pt x="2" y="4"/>
                    </a:lnTo>
                    <a:lnTo>
                      <a:pt x="2" y="4"/>
                    </a:lnTo>
                    <a:lnTo>
                      <a:pt x="10" y="2"/>
                    </a:lnTo>
                    <a:lnTo>
                      <a:pt x="10" y="2"/>
                    </a:lnTo>
                    <a:lnTo>
                      <a:pt x="10" y="2"/>
                    </a:lnTo>
                    <a:lnTo>
                      <a:pt x="10" y="2"/>
                    </a:lnTo>
                    <a:lnTo>
                      <a:pt x="12" y="2"/>
                    </a:lnTo>
                    <a:lnTo>
                      <a:pt x="24" y="12"/>
                    </a:lnTo>
                    <a:lnTo>
                      <a:pt x="28" y="16"/>
                    </a:lnTo>
                    <a:lnTo>
                      <a:pt x="30" y="12"/>
                    </a:lnTo>
                    <a:lnTo>
                      <a:pt x="30" y="12"/>
                    </a:lnTo>
                    <a:lnTo>
                      <a:pt x="32" y="10"/>
                    </a:lnTo>
                    <a:lnTo>
                      <a:pt x="32" y="10"/>
                    </a:lnTo>
                    <a:lnTo>
                      <a:pt x="32" y="10"/>
                    </a:lnTo>
                    <a:lnTo>
                      <a:pt x="38" y="12"/>
                    </a:lnTo>
                    <a:lnTo>
                      <a:pt x="44" y="10"/>
                    </a:lnTo>
                    <a:lnTo>
                      <a:pt x="54" y="0"/>
                    </a:lnTo>
                    <a:lnTo>
                      <a:pt x="54" y="0"/>
                    </a:lnTo>
                    <a:lnTo>
                      <a:pt x="54" y="0"/>
                    </a:lnTo>
                    <a:lnTo>
                      <a:pt x="54" y="0"/>
                    </a:lnTo>
                    <a:lnTo>
                      <a:pt x="56" y="0"/>
                    </a:lnTo>
                    <a:lnTo>
                      <a:pt x="60" y="2"/>
                    </a:lnTo>
                    <a:lnTo>
                      <a:pt x="60" y="2"/>
                    </a:lnTo>
                    <a:lnTo>
                      <a:pt x="60" y="4"/>
                    </a:lnTo>
                    <a:lnTo>
                      <a:pt x="60" y="10"/>
                    </a:lnTo>
                    <a:lnTo>
                      <a:pt x="64" y="16"/>
                    </a:lnTo>
                    <a:lnTo>
                      <a:pt x="64" y="16"/>
                    </a:lnTo>
                    <a:lnTo>
                      <a:pt x="64" y="16"/>
                    </a:lnTo>
                    <a:lnTo>
                      <a:pt x="64" y="16"/>
                    </a:lnTo>
                    <a:lnTo>
                      <a:pt x="62" y="18"/>
                    </a:lnTo>
                    <a:lnTo>
                      <a:pt x="60" y="18"/>
                    </a:lnTo>
                    <a:lnTo>
                      <a:pt x="62" y="22"/>
                    </a:lnTo>
                    <a:lnTo>
                      <a:pt x="70" y="22"/>
                    </a:lnTo>
                    <a:lnTo>
                      <a:pt x="70" y="22"/>
                    </a:lnTo>
                    <a:lnTo>
                      <a:pt x="72" y="22"/>
                    </a:lnTo>
                    <a:lnTo>
                      <a:pt x="74" y="34"/>
                    </a:lnTo>
                    <a:lnTo>
                      <a:pt x="92" y="42"/>
                    </a:lnTo>
                    <a:lnTo>
                      <a:pt x="102" y="50"/>
                    </a:lnTo>
                    <a:lnTo>
                      <a:pt x="128" y="50"/>
                    </a:lnTo>
                    <a:lnTo>
                      <a:pt x="140" y="44"/>
                    </a:lnTo>
                    <a:lnTo>
                      <a:pt x="160" y="28"/>
                    </a:lnTo>
                    <a:lnTo>
                      <a:pt x="160" y="28"/>
                    </a:lnTo>
                    <a:lnTo>
                      <a:pt x="160" y="28"/>
                    </a:lnTo>
                    <a:lnTo>
                      <a:pt x="160" y="28"/>
                    </a:lnTo>
                    <a:lnTo>
                      <a:pt x="184" y="24"/>
                    </a:lnTo>
                    <a:lnTo>
                      <a:pt x="184" y="24"/>
                    </a:lnTo>
                    <a:lnTo>
                      <a:pt x="184" y="26"/>
                    </a:lnTo>
                    <a:lnTo>
                      <a:pt x="204" y="32"/>
                    </a:lnTo>
                    <a:lnTo>
                      <a:pt x="232" y="46"/>
                    </a:lnTo>
                    <a:lnTo>
                      <a:pt x="246" y="50"/>
                    </a:lnTo>
                    <a:lnTo>
                      <a:pt x="246" y="50"/>
                    </a:lnTo>
                    <a:lnTo>
                      <a:pt x="246" y="52"/>
                    </a:lnTo>
                    <a:lnTo>
                      <a:pt x="248" y="72"/>
                    </a:lnTo>
                    <a:lnTo>
                      <a:pt x="248" y="72"/>
                    </a:lnTo>
                    <a:lnTo>
                      <a:pt x="248" y="72"/>
                    </a:lnTo>
                    <a:lnTo>
                      <a:pt x="240" y="90"/>
                    </a:lnTo>
                    <a:lnTo>
                      <a:pt x="238" y="114"/>
                    </a:lnTo>
                    <a:lnTo>
                      <a:pt x="242" y="134"/>
                    </a:lnTo>
                    <a:lnTo>
                      <a:pt x="254" y="134"/>
                    </a:lnTo>
                    <a:lnTo>
                      <a:pt x="254" y="134"/>
                    </a:lnTo>
                    <a:lnTo>
                      <a:pt x="256" y="134"/>
                    </a:lnTo>
                    <a:lnTo>
                      <a:pt x="256" y="134"/>
                    </a:lnTo>
                    <a:lnTo>
                      <a:pt x="256" y="136"/>
                    </a:lnTo>
                    <a:lnTo>
                      <a:pt x="254" y="146"/>
                    </a:lnTo>
                    <a:lnTo>
                      <a:pt x="254" y="146"/>
                    </a:lnTo>
                    <a:lnTo>
                      <a:pt x="254" y="148"/>
                    </a:lnTo>
                    <a:lnTo>
                      <a:pt x="242" y="160"/>
                    </a:lnTo>
                    <a:lnTo>
                      <a:pt x="246" y="166"/>
                    </a:lnTo>
                    <a:lnTo>
                      <a:pt x="258" y="180"/>
                    </a:lnTo>
                    <a:lnTo>
                      <a:pt x="270" y="190"/>
                    </a:lnTo>
                    <a:lnTo>
                      <a:pt x="270" y="190"/>
                    </a:lnTo>
                    <a:lnTo>
                      <a:pt x="270" y="190"/>
                    </a:lnTo>
                    <a:lnTo>
                      <a:pt x="270" y="200"/>
                    </a:lnTo>
                    <a:lnTo>
                      <a:pt x="276" y="200"/>
                    </a:lnTo>
                    <a:lnTo>
                      <a:pt x="276" y="200"/>
                    </a:lnTo>
                    <a:lnTo>
                      <a:pt x="278" y="202"/>
                    </a:lnTo>
                    <a:lnTo>
                      <a:pt x="278" y="208"/>
                    </a:lnTo>
                    <a:lnTo>
                      <a:pt x="278" y="208"/>
                    </a:lnTo>
                    <a:lnTo>
                      <a:pt x="276" y="210"/>
                    </a:lnTo>
                    <a:lnTo>
                      <a:pt x="264" y="212"/>
                    </a:lnTo>
                    <a:lnTo>
                      <a:pt x="252" y="218"/>
                    </a:lnTo>
                    <a:lnTo>
                      <a:pt x="252" y="232"/>
                    </a:lnTo>
                    <a:lnTo>
                      <a:pt x="252" y="232"/>
                    </a:lnTo>
                    <a:lnTo>
                      <a:pt x="252" y="234"/>
                    </a:lnTo>
                    <a:lnTo>
                      <a:pt x="252" y="234"/>
                    </a:lnTo>
                    <a:lnTo>
                      <a:pt x="250" y="234"/>
                    </a:lnTo>
                    <a:lnTo>
                      <a:pt x="250" y="234"/>
                    </a:lnTo>
                    <a:lnTo>
                      <a:pt x="212" y="230"/>
                    </a:lnTo>
                    <a:lnTo>
                      <a:pt x="212" y="2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3" name="Freeform 846"/>
              <p:cNvSpPr>
                <a:spLocks noEditPoints="1"/>
              </p:cNvSpPr>
              <p:nvPr/>
            </p:nvSpPr>
            <p:spPr bwMode="auto">
              <a:xfrm>
                <a:off x="3483" y="1923"/>
                <a:ext cx="282" cy="238"/>
              </a:xfrm>
              <a:custGeom>
                <a:avLst/>
                <a:gdLst>
                  <a:gd name="T0" fmla="*/ 64 w 282"/>
                  <a:gd name="T1" fmla="*/ 18 h 238"/>
                  <a:gd name="T2" fmla="*/ 74 w 282"/>
                  <a:gd name="T3" fmla="*/ 38 h 238"/>
                  <a:gd name="T4" fmla="*/ 142 w 282"/>
                  <a:gd name="T5" fmla="*/ 46 h 238"/>
                  <a:gd name="T6" fmla="*/ 232 w 282"/>
                  <a:gd name="T7" fmla="*/ 50 h 238"/>
                  <a:gd name="T8" fmla="*/ 238 w 282"/>
                  <a:gd name="T9" fmla="*/ 116 h 238"/>
                  <a:gd name="T10" fmla="*/ 242 w 282"/>
                  <a:gd name="T11" fmla="*/ 160 h 238"/>
                  <a:gd name="T12" fmla="*/ 270 w 282"/>
                  <a:gd name="T13" fmla="*/ 204 h 238"/>
                  <a:gd name="T14" fmla="*/ 252 w 282"/>
                  <a:gd name="T15" fmla="*/ 220 h 238"/>
                  <a:gd name="T16" fmla="*/ 188 w 282"/>
                  <a:gd name="T17" fmla="*/ 210 h 238"/>
                  <a:gd name="T18" fmla="*/ 150 w 282"/>
                  <a:gd name="T19" fmla="*/ 212 h 238"/>
                  <a:gd name="T20" fmla="*/ 90 w 282"/>
                  <a:gd name="T21" fmla="*/ 160 h 238"/>
                  <a:gd name="T22" fmla="*/ 58 w 282"/>
                  <a:gd name="T23" fmla="*/ 152 h 238"/>
                  <a:gd name="T24" fmla="*/ 38 w 282"/>
                  <a:gd name="T25" fmla="*/ 116 h 238"/>
                  <a:gd name="T26" fmla="*/ 30 w 282"/>
                  <a:gd name="T27" fmla="*/ 74 h 238"/>
                  <a:gd name="T28" fmla="*/ 12 w 282"/>
                  <a:gd name="T29" fmla="*/ 44 h 238"/>
                  <a:gd name="T30" fmla="*/ 4 w 282"/>
                  <a:gd name="T31" fmla="*/ 12 h 238"/>
                  <a:gd name="T32" fmla="*/ 32 w 282"/>
                  <a:gd name="T33" fmla="*/ 20 h 238"/>
                  <a:gd name="T34" fmla="*/ 56 w 282"/>
                  <a:gd name="T35" fmla="*/ 4 h 238"/>
                  <a:gd name="T36" fmla="*/ 56 w 282"/>
                  <a:gd name="T37" fmla="*/ 0 h 238"/>
                  <a:gd name="T38" fmla="*/ 34 w 282"/>
                  <a:gd name="T39" fmla="*/ 10 h 238"/>
                  <a:gd name="T40" fmla="*/ 32 w 282"/>
                  <a:gd name="T41" fmla="*/ 12 h 238"/>
                  <a:gd name="T42" fmla="*/ 14 w 282"/>
                  <a:gd name="T43" fmla="*/ 2 h 238"/>
                  <a:gd name="T44" fmla="*/ 12 w 282"/>
                  <a:gd name="T45" fmla="*/ 2 h 238"/>
                  <a:gd name="T46" fmla="*/ 0 w 282"/>
                  <a:gd name="T47" fmla="*/ 10 h 238"/>
                  <a:gd name="T48" fmla="*/ 2 w 282"/>
                  <a:gd name="T49" fmla="*/ 26 h 238"/>
                  <a:gd name="T50" fmla="*/ 8 w 282"/>
                  <a:gd name="T51" fmla="*/ 44 h 238"/>
                  <a:gd name="T52" fmla="*/ 24 w 282"/>
                  <a:gd name="T53" fmla="*/ 68 h 238"/>
                  <a:gd name="T54" fmla="*/ 26 w 282"/>
                  <a:gd name="T55" fmla="*/ 72 h 238"/>
                  <a:gd name="T56" fmla="*/ 24 w 282"/>
                  <a:gd name="T57" fmla="*/ 80 h 238"/>
                  <a:gd name="T58" fmla="*/ 18 w 282"/>
                  <a:gd name="T59" fmla="*/ 96 h 238"/>
                  <a:gd name="T60" fmla="*/ 36 w 282"/>
                  <a:gd name="T61" fmla="*/ 120 h 238"/>
                  <a:gd name="T62" fmla="*/ 50 w 282"/>
                  <a:gd name="T63" fmla="*/ 140 h 238"/>
                  <a:gd name="T64" fmla="*/ 54 w 282"/>
                  <a:gd name="T65" fmla="*/ 156 h 238"/>
                  <a:gd name="T66" fmla="*/ 64 w 282"/>
                  <a:gd name="T67" fmla="*/ 164 h 238"/>
                  <a:gd name="T68" fmla="*/ 76 w 282"/>
                  <a:gd name="T69" fmla="*/ 162 h 238"/>
                  <a:gd name="T70" fmla="*/ 94 w 282"/>
                  <a:gd name="T71" fmla="*/ 174 h 238"/>
                  <a:gd name="T72" fmla="*/ 124 w 282"/>
                  <a:gd name="T73" fmla="*/ 206 h 238"/>
                  <a:gd name="T74" fmla="*/ 148 w 282"/>
                  <a:gd name="T75" fmla="*/ 216 h 238"/>
                  <a:gd name="T76" fmla="*/ 164 w 282"/>
                  <a:gd name="T77" fmla="*/ 214 h 238"/>
                  <a:gd name="T78" fmla="*/ 178 w 282"/>
                  <a:gd name="T79" fmla="*/ 206 h 238"/>
                  <a:gd name="T80" fmla="*/ 186 w 282"/>
                  <a:gd name="T81" fmla="*/ 226 h 238"/>
                  <a:gd name="T82" fmla="*/ 214 w 282"/>
                  <a:gd name="T83" fmla="*/ 234 h 238"/>
                  <a:gd name="T84" fmla="*/ 252 w 282"/>
                  <a:gd name="T85" fmla="*/ 238 h 238"/>
                  <a:gd name="T86" fmla="*/ 256 w 282"/>
                  <a:gd name="T87" fmla="*/ 222 h 238"/>
                  <a:gd name="T88" fmla="*/ 280 w 282"/>
                  <a:gd name="T89" fmla="*/ 214 h 238"/>
                  <a:gd name="T90" fmla="*/ 280 w 282"/>
                  <a:gd name="T91" fmla="*/ 200 h 238"/>
                  <a:gd name="T92" fmla="*/ 274 w 282"/>
                  <a:gd name="T93" fmla="*/ 192 h 238"/>
                  <a:gd name="T94" fmla="*/ 246 w 282"/>
                  <a:gd name="T95" fmla="*/ 162 h 238"/>
                  <a:gd name="T96" fmla="*/ 260 w 282"/>
                  <a:gd name="T97" fmla="*/ 138 h 238"/>
                  <a:gd name="T98" fmla="*/ 258 w 282"/>
                  <a:gd name="T99" fmla="*/ 134 h 238"/>
                  <a:gd name="T100" fmla="*/ 242 w 282"/>
                  <a:gd name="T101" fmla="*/ 116 h 238"/>
                  <a:gd name="T102" fmla="*/ 252 w 282"/>
                  <a:gd name="T103" fmla="*/ 74 h 238"/>
                  <a:gd name="T104" fmla="*/ 248 w 282"/>
                  <a:gd name="T105" fmla="*/ 50 h 238"/>
                  <a:gd name="T106" fmla="*/ 206 w 282"/>
                  <a:gd name="T107" fmla="*/ 32 h 238"/>
                  <a:gd name="T108" fmla="*/ 186 w 282"/>
                  <a:gd name="T109" fmla="*/ 24 h 238"/>
                  <a:gd name="T110" fmla="*/ 160 w 282"/>
                  <a:gd name="T111" fmla="*/ 30 h 238"/>
                  <a:gd name="T112" fmla="*/ 94 w 282"/>
                  <a:gd name="T113" fmla="*/ 44 h 238"/>
                  <a:gd name="T114" fmla="*/ 76 w 282"/>
                  <a:gd name="T115" fmla="*/ 24 h 238"/>
                  <a:gd name="T116" fmla="*/ 66 w 282"/>
                  <a:gd name="T117" fmla="*/ 22 h 238"/>
                  <a:gd name="T118" fmla="*/ 68 w 282"/>
                  <a:gd name="T119" fmla="*/ 16 h 238"/>
                  <a:gd name="T120" fmla="*/ 62 w 282"/>
                  <a:gd name="T121" fmla="*/ 2 h 238"/>
                  <a:gd name="T122" fmla="*/ 56 w 282"/>
                  <a:gd name="T12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38">
                    <a:moveTo>
                      <a:pt x="56" y="4"/>
                    </a:moveTo>
                    <a:lnTo>
                      <a:pt x="60" y="6"/>
                    </a:lnTo>
                    <a:lnTo>
                      <a:pt x="60" y="12"/>
                    </a:lnTo>
                    <a:lnTo>
                      <a:pt x="64" y="18"/>
                    </a:lnTo>
                    <a:lnTo>
                      <a:pt x="58" y="20"/>
                    </a:lnTo>
                    <a:lnTo>
                      <a:pt x="64" y="26"/>
                    </a:lnTo>
                    <a:lnTo>
                      <a:pt x="72" y="26"/>
                    </a:lnTo>
                    <a:lnTo>
                      <a:pt x="74" y="38"/>
                    </a:lnTo>
                    <a:lnTo>
                      <a:pt x="92" y="46"/>
                    </a:lnTo>
                    <a:lnTo>
                      <a:pt x="104" y="54"/>
                    </a:lnTo>
                    <a:lnTo>
                      <a:pt x="130" y="54"/>
                    </a:lnTo>
                    <a:lnTo>
                      <a:pt x="142" y="46"/>
                    </a:lnTo>
                    <a:lnTo>
                      <a:pt x="162" y="32"/>
                    </a:lnTo>
                    <a:lnTo>
                      <a:pt x="186" y="28"/>
                    </a:lnTo>
                    <a:lnTo>
                      <a:pt x="206" y="36"/>
                    </a:lnTo>
                    <a:lnTo>
                      <a:pt x="232" y="50"/>
                    </a:lnTo>
                    <a:lnTo>
                      <a:pt x="246" y="54"/>
                    </a:lnTo>
                    <a:lnTo>
                      <a:pt x="248" y="74"/>
                    </a:lnTo>
                    <a:lnTo>
                      <a:pt x="240" y="92"/>
                    </a:lnTo>
                    <a:lnTo>
                      <a:pt x="238" y="116"/>
                    </a:lnTo>
                    <a:lnTo>
                      <a:pt x="244" y="138"/>
                    </a:lnTo>
                    <a:lnTo>
                      <a:pt x="256" y="138"/>
                    </a:lnTo>
                    <a:lnTo>
                      <a:pt x="254" y="148"/>
                    </a:lnTo>
                    <a:lnTo>
                      <a:pt x="242" y="160"/>
                    </a:lnTo>
                    <a:lnTo>
                      <a:pt x="246" y="170"/>
                    </a:lnTo>
                    <a:lnTo>
                      <a:pt x="260" y="184"/>
                    </a:lnTo>
                    <a:lnTo>
                      <a:pt x="270" y="192"/>
                    </a:lnTo>
                    <a:lnTo>
                      <a:pt x="270" y="204"/>
                    </a:lnTo>
                    <a:lnTo>
                      <a:pt x="278" y="204"/>
                    </a:lnTo>
                    <a:lnTo>
                      <a:pt x="278" y="210"/>
                    </a:lnTo>
                    <a:lnTo>
                      <a:pt x="264" y="212"/>
                    </a:lnTo>
                    <a:lnTo>
                      <a:pt x="252" y="220"/>
                    </a:lnTo>
                    <a:lnTo>
                      <a:pt x="252" y="234"/>
                    </a:lnTo>
                    <a:lnTo>
                      <a:pt x="214" y="230"/>
                    </a:lnTo>
                    <a:lnTo>
                      <a:pt x="190" y="224"/>
                    </a:lnTo>
                    <a:lnTo>
                      <a:pt x="188" y="210"/>
                    </a:lnTo>
                    <a:lnTo>
                      <a:pt x="178" y="202"/>
                    </a:lnTo>
                    <a:lnTo>
                      <a:pt x="172" y="204"/>
                    </a:lnTo>
                    <a:lnTo>
                      <a:pt x="162" y="210"/>
                    </a:lnTo>
                    <a:lnTo>
                      <a:pt x="150" y="212"/>
                    </a:lnTo>
                    <a:lnTo>
                      <a:pt x="126" y="204"/>
                    </a:lnTo>
                    <a:lnTo>
                      <a:pt x="108" y="188"/>
                    </a:lnTo>
                    <a:lnTo>
                      <a:pt x="96" y="172"/>
                    </a:lnTo>
                    <a:lnTo>
                      <a:pt x="90" y="160"/>
                    </a:lnTo>
                    <a:lnTo>
                      <a:pt x="74" y="158"/>
                    </a:lnTo>
                    <a:lnTo>
                      <a:pt x="66" y="160"/>
                    </a:lnTo>
                    <a:lnTo>
                      <a:pt x="56" y="158"/>
                    </a:lnTo>
                    <a:lnTo>
                      <a:pt x="58" y="152"/>
                    </a:lnTo>
                    <a:lnTo>
                      <a:pt x="54" y="142"/>
                    </a:lnTo>
                    <a:lnTo>
                      <a:pt x="56" y="128"/>
                    </a:lnTo>
                    <a:lnTo>
                      <a:pt x="46" y="120"/>
                    </a:lnTo>
                    <a:lnTo>
                      <a:pt x="38" y="116"/>
                    </a:lnTo>
                    <a:lnTo>
                      <a:pt x="22" y="96"/>
                    </a:lnTo>
                    <a:lnTo>
                      <a:pt x="26" y="84"/>
                    </a:lnTo>
                    <a:lnTo>
                      <a:pt x="32" y="80"/>
                    </a:lnTo>
                    <a:lnTo>
                      <a:pt x="30" y="74"/>
                    </a:lnTo>
                    <a:lnTo>
                      <a:pt x="34" y="68"/>
                    </a:lnTo>
                    <a:lnTo>
                      <a:pt x="26" y="66"/>
                    </a:lnTo>
                    <a:lnTo>
                      <a:pt x="18" y="52"/>
                    </a:lnTo>
                    <a:lnTo>
                      <a:pt x="12" y="44"/>
                    </a:lnTo>
                    <a:lnTo>
                      <a:pt x="8" y="34"/>
                    </a:lnTo>
                    <a:lnTo>
                      <a:pt x="6" y="26"/>
                    </a:lnTo>
                    <a:lnTo>
                      <a:pt x="4" y="18"/>
                    </a:lnTo>
                    <a:lnTo>
                      <a:pt x="4" y="12"/>
                    </a:lnTo>
                    <a:lnTo>
                      <a:pt x="4" y="8"/>
                    </a:lnTo>
                    <a:lnTo>
                      <a:pt x="12" y="6"/>
                    </a:lnTo>
                    <a:lnTo>
                      <a:pt x="24" y="16"/>
                    </a:lnTo>
                    <a:lnTo>
                      <a:pt x="32" y="20"/>
                    </a:lnTo>
                    <a:lnTo>
                      <a:pt x="34" y="14"/>
                    </a:lnTo>
                    <a:lnTo>
                      <a:pt x="40" y="16"/>
                    </a:lnTo>
                    <a:lnTo>
                      <a:pt x="46" y="12"/>
                    </a:lnTo>
                    <a:lnTo>
                      <a:pt x="56" y="4"/>
                    </a:lnTo>
                    <a:close/>
                    <a:moveTo>
                      <a:pt x="256" y="138"/>
                    </a:moveTo>
                    <a:lnTo>
                      <a:pt x="256" y="138"/>
                    </a:lnTo>
                    <a:close/>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4" name="Freeform 847"/>
              <p:cNvSpPr>
                <a:spLocks/>
              </p:cNvSpPr>
              <p:nvPr/>
            </p:nvSpPr>
            <p:spPr bwMode="auto">
              <a:xfrm>
                <a:off x="3487" y="1927"/>
                <a:ext cx="274" cy="230"/>
              </a:xfrm>
              <a:custGeom>
                <a:avLst/>
                <a:gdLst>
                  <a:gd name="T0" fmla="*/ 56 w 274"/>
                  <a:gd name="T1" fmla="*/ 2 h 230"/>
                  <a:gd name="T2" fmla="*/ 60 w 274"/>
                  <a:gd name="T3" fmla="*/ 14 h 230"/>
                  <a:gd name="T4" fmla="*/ 60 w 274"/>
                  <a:gd name="T5" fmla="*/ 22 h 230"/>
                  <a:gd name="T6" fmla="*/ 70 w 274"/>
                  <a:gd name="T7" fmla="*/ 34 h 230"/>
                  <a:gd name="T8" fmla="*/ 100 w 274"/>
                  <a:gd name="T9" fmla="*/ 50 h 230"/>
                  <a:gd name="T10" fmla="*/ 138 w 274"/>
                  <a:gd name="T11" fmla="*/ 42 h 230"/>
                  <a:gd name="T12" fmla="*/ 182 w 274"/>
                  <a:gd name="T13" fmla="*/ 24 h 230"/>
                  <a:gd name="T14" fmla="*/ 228 w 274"/>
                  <a:gd name="T15" fmla="*/ 46 h 230"/>
                  <a:gd name="T16" fmla="*/ 244 w 274"/>
                  <a:gd name="T17" fmla="*/ 70 h 230"/>
                  <a:gd name="T18" fmla="*/ 234 w 274"/>
                  <a:gd name="T19" fmla="*/ 112 h 230"/>
                  <a:gd name="T20" fmla="*/ 252 w 274"/>
                  <a:gd name="T21" fmla="*/ 134 h 230"/>
                  <a:gd name="T22" fmla="*/ 238 w 274"/>
                  <a:gd name="T23" fmla="*/ 156 h 230"/>
                  <a:gd name="T24" fmla="*/ 256 w 274"/>
                  <a:gd name="T25" fmla="*/ 180 h 230"/>
                  <a:gd name="T26" fmla="*/ 266 w 274"/>
                  <a:gd name="T27" fmla="*/ 200 h 230"/>
                  <a:gd name="T28" fmla="*/ 274 w 274"/>
                  <a:gd name="T29" fmla="*/ 206 h 230"/>
                  <a:gd name="T30" fmla="*/ 248 w 274"/>
                  <a:gd name="T31" fmla="*/ 216 h 230"/>
                  <a:gd name="T32" fmla="*/ 210 w 274"/>
                  <a:gd name="T33" fmla="*/ 226 h 230"/>
                  <a:gd name="T34" fmla="*/ 184 w 274"/>
                  <a:gd name="T35" fmla="*/ 206 h 230"/>
                  <a:gd name="T36" fmla="*/ 168 w 274"/>
                  <a:gd name="T37" fmla="*/ 200 h 230"/>
                  <a:gd name="T38" fmla="*/ 146 w 274"/>
                  <a:gd name="T39" fmla="*/ 208 h 230"/>
                  <a:gd name="T40" fmla="*/ 104 w 274"/>
                  <a:gd name="T41" fmla="*/ 184 h 230"/>
                  <a:gd name="T42" fmla="*/ 86 w 274"/>
                  <a:gd name="T43" fmla="*/ 156 h 230"/>
                  <a:gd name="T44" fmla="*/ 62 w 274"/>
                  <a:gd name="T45" fmla="*/ 156 h 230"/>
                  <a:gd name="T46" fmla="*/ 54 w 274"/>
                  <a:gd name="T47" fmla="*/ 148 h 230"/>
                  <a:gd name="T48" fmla="*/ 52 w 274"/>
                  <a:gd name="T49" fmla="*/ 124 h 230"/>
                  <a:gd name="T50" fmla="*/ 34 w 274"/>
                  <a:gd name="T51" fmla="*/ 112 h 230"/>
                  <a:gd name="T52" fmla="*/ 22 w 274"/>
                  <a:gd name="T53" fmla="*/ 80 h 230"/>
                  <a:gd name="T54" fmla="*/ 26 w 274"/>
                  <a:gd name="T55" fmla="*/ 70 h 230"/>
                  <a:gd name="T56" fmla="*/ 22 w 274"/>
                  <a:gd name="T57" fmla="*/ 62 h 230"/>
                  <a:gd name="T58" fmla="*/ 8 w 274"/>
                  <a:gd name="T59" fmla="*/ 40 h 230"/>
                  <a:gd name="T60" fmla="*/ 2 w 274"/>
                  <a:gd name="T61" fmla="*/ 22 h 230"/>
                  <a:gd name="T62" fmla="*/ 0 w 274"/>
                  <a:gd name="T63" fmla="*/ 8 h 230"/>
                  <a:gd name="T64" fmla="*/ 8 w 274"/>
                  <a:gd name="T65" fmla="*/ 2 h 230"/>
                  <a:gd name="T66" fmla="*/ 28 w 274"/>
                  <a:gd name="T67" fmla="*/ 16 h 230"/>
                  <a:gd name="T68" fmla="*/ 36 w 274"/>
                  <a:gd name="T69" fmla="*/ 12 h 230"/>
                  <a:gd name="T70" fmla="*/ 52 w 274"/>
                  <a:gd name="T7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4" h="230">
                    <a:moveTo>
                      <a:pt x="52" y="0"/>
                    </a:moveTo>
                    <a:lnTo>
                      <a:pt x="56" y="2"/>
                    </a:lnTo>
                    <a:lnTo>
                      <a:pt x="56" y="8"/>
                    </a:lnTo>
                    <a:lnTo>
                      <a:pt x="60" y="14"/>
                    </a:lnTo>
                    <a:lnTo>
                      <a:pt x="54" y="16"/>
                    </a:lnTo>
                    <a:lnTo>
                      <a:pt x="60" y="22"/>
                    </a:lnTo>
                    <a:lnTo>
                      <a:pt x="68" y="22"/>
                    </a:lnTo>
                    <a:lnTo>
                      <a:pt x="70" y="34"/>
                    </a:lnTo>
                    <a:lnTo>
                      <a:pt x="88" y="42"/>
                    </a:lnTo>
                    <a:lnTo>
                      <a:pt x="100" y="50"/>
                    </a:lnTo>
                    <a:lnTo>
                      <a:pt x="126" y="50"/>
                    </a:lnTo>
                    <a:lnTo>
                      <a:pt x="138" y="42"/>
                    </a:lnTo>
                    <a:lnTo>
                      <a:pt x="158" y="28"/>
                    </a:lnTo>
                    <a:lnTo>
                      <a:pt x="182" y="24"/>
                    </a:lnTo>
                    <a:lnTo>
                      <a:pt x="202" y="32"/>
                    </a:lnTo>
                    <a:lnTo>
                      <a:pt x="228" y="46"/>
                    </a:lnTo>
                    <a:lnTo>
                      <a:pt x="242" y="50"/>
                    </a:lnTo>
                    <a:lnTo>
                      <a:pt x="244" y="70"/>
                    </a:lnTo>
                    <a:lnTo>
                      <a:pt x="236" y="88"/>
                    </a:lnTo>
                    <a:lnTo>
                      <a:pt x="234" y="112"/>
                    </a:lnTo>
                    <a:lnTo>
                      <a:pt x="240" y="134"/>
                    </a:lnTo>
                    <a:lnTo>
                      <a:pt x="252" y="134"/>
                    </a:lnTo>
                    <a:lnTo>
                      <a:pt x="250" y="144"/>
                    </a:lnTo>
                    <a:lnTo>
                      <a:pt x="238" y="156"/>
                    </a:lnTo>
                    <a:lnTo>
                      <a:pt x="242" y="166"/>
                    </a:lnTo>
                    <a:lnTo>
                      <a:pt x="256" y="180"/>
                    </a:lnTo>
                    <a:lnTo>
                      <a:pt x="266" y="188"/>
                    </a:lnTo>
                    <a:lnTo>
                      <a:pt x="266" y="200"/>
                    </a:lnTo>
                    <a:lnTo>
                      <a:pt x="274" y="200"/>
                    </a:lnTo>
                    <a:lnTo>
                      <a:pt x="274" y="206"/>
                    </a:lnTo>
                    <a:lnTo>
                      <a:pt x="260" y="208"/>
                    </a:lnTo>
                    <a:lnTo>
                      <a:pt x="248" y="216"/>
                    </a:lnTo>
                    <a:lnTo>
                      <a:pt x="248" y="230"/>
                    </a:lnTo>
                    <a:lnTo>
                      <a:pt x="210" y="226"/>
                    </a:lnTo>
                    <a:lnTo>
                      <a:pt x="186" y="220"/>
                    </a:lnTo>
                    <a:lnTo>
                      <a:pt x="184" y="206"/>
                    </a:lnTo>
                    <a:lnTo>
                      <a:pt x="174" y="198"/>
                    </a:lnTo>
                    <a:lnTo>
                      <a:pt x="168" y="200"/>
                    </a:lnTo>
                    <a:lnTo>
                      <a:pt x="158" y="206"/>
                    </a:lnTo>
                    <a:lnTo>
                      <a:pt x="146" y="208"/>
                    </a:lnTo>
                    <a:lnTo>
                      <a:pt x="122" y="200"/>
                    </a:lnTo>
                    <a:lnTo>
                      <a:pt x="104" y="184"/>
                    </a:lnTo>
                    <a:lnTo>
                      <a:pt x="92" y="168"/>
                    </a:lnTo>
                    <a:lnTo>
                      <a:pt x="86" y="156"/>
                    </a:lnTo>
                    <a:lnTo>
                      <a:pt x="70" y="154"/>
                    </a:lnTo>
                    <a:lnTo>
                      <a:pt x="62" y="156"/>
                    </a:lnTo>
                    <a:lnTo>
                      <a:pt x="52" y="154"/>
                    </a:lnTo>
                    <a:lnTo>
                      <a:pt x="54" y="148"/>
                    </a:lnTo>
                    <a:lnTo>
                      <a:pt x="50" y="138"/>
                    </a:lnTo>
                    <a:lnTo>
                      <a:pt x="52" y="124"/>
                    </a:lnTo>
                    <a:lnTo>
                      <a:pt x="42" y="116"/>
                    </a:lnTo>
                    <a:lnTo>
                      <a:pt x="34" y="112"/>
                    </a:lnTo>
                    <a:lnTo>
                      <a:pt x="18" y="92"/>
                    </a:lnTo>
                    <a:lnTo>
                      <a:pt x="22" y="80"/>
                    </a:lnTo>
                    <a:lnTo>
                      <a:pt x="28" y="76"/>
                    </a:lnTo>
                    <a:lnTo>
                      <a:pt x="26" y="70"/>
                    </a:lnTo>
                    <a:lnTo>
                      <a:pt x="30" y="64"/>
                    </a:lnTo>
                    <a:lnTo>
                      <a:pt x="22" y="62"/>
                    </a:lnTo>
                    <a:lnTo>
                      <a:pt x="14" y="48"/>
                    </a:lnTo>
                    <a:lnTo>
                      <a:pt x="8" y="40"/>
                    </a:lnTo>
                    <a:lnTo>
                      <a:pt x="4" y="30"/>
                    </a:lnTo>
                    <a:lnTo>
                      <a:pt x="2" y="22"/>
                    </a:lnTo>
                    <a:lnTo>
                      <a:pt x="0" y="14"/>
                    </a:lnTo>
                    <a:lnTo>
                      <a:pt x="0" y="8"/>
                    </a:lnTo>
                    <a:lnTo>
                      <a:pt x="0" y="4"/>
                    </a:lnTo>
                    <a:lnTo>
                      <a:pt x="8" y="2"/>
                    </a:lnTo>
                    <a:lnTo>
                      <a:pt x="20" y="12"/>
                    </a:lnTo>
                    <a:lnTo>
                      <a:pt x="28" y="16"/>
                    </a:lnTo>
                    <a:lnTo>
                      <a:pt x="30" y="10"/>
                    </a:lnTo>
                    <a:lnTo>
                      <a:pt x="36" y="12"/>
                    </a:lnTo>
                    <a:lnTo>
                      <a:pt x="42" y="8"/>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5" name="Line 848"/>
              <p:cNvSpPr>
                <a:spLocks noChangeShapeType="1"/>
              </p:cNvSpPr>
              <p:nvPr/>
            </p:nvSpPr>
            <p:spPr bwMode="auto">
              <a:xfrm>
                <a:off x="3739" y="206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6" name="Freeform 849"/>
              <p:cNvSpPr>
                <a:spLocks/>
              </p:cNvSpPr>
              <p:nvPr/>
            </p:nvSpPr>
            <p:spPr bwMode="auto">
              <a:xfrm>
                <a:off x="3483" y="1923"/>
                <a:ext cx="282" cy="238"/>
              </a:xfrm>
              <a:custGeom>
                <a:avLst/>
                <a:gdLst>
                  <a:gd name="T0" fmla="*/ 54 w 282"/>
                  <a:gd name="T1" fmla="*/ 0 h 238"/>
                  <a:gd name="T2" fmla="*/ 34 w 282"/>
                  <a:gd name="T3" fmla="*/ 10 h 238"/>
                  <a:gd name="T4" fmla="*/ 34 w 282"/>
                  <a:gd name="T5" fmla="*/ 10 h 238"/>
                  <a:gd name="T6" fmla="*/ 30 w 282"/>
                  <a:gd name="T7" fmla="*/ 14 h 238"/>
                  <a:gd name="T8" fmla="*/ 14 w 282"/>
                  <a:gd name="T9" fmla="*/ 2 h 238"/>
                  <a:gd name="T10" fmla="*/ 12 w 282"/>
                  <a:gd name="T11" fmla="*/ 2 h 238"/>
                  <a:gd name="T12" fmla="*/ 2 w 282"/>
                  <a:gd name="T13" fmla="*/ 6 h 238"/>
                  <a:gd name="T14" fmla="*/ 0 w 282"/>
                  <a:gd name="T15" fmla="*/ 12 h 238"/>
                  <a:gd name="T16" fmla="*/ 4 w 282"/>
                  <a:gd name="T17" fmla="*/ 36 h 238"/>
                  <a:gd name="T18" fmla="*/ 8 w 282"/>
                  <a:gd name="T19" fmla="*/ 44 h 238"/>
                  <a:gd name="T20" fmla="*/ 14 w 282"/>
                  <a:gd name="T21" fmla="*/ 54 h 238"/>
                  <a:gd name="T22" fmla="*/ 26 w 282"/>
                  <a:gd name="T23" fmla="*/ 70 h 238"/>
                  <a:gd name="T24" fmla="*/ 26 w 282"/>
                  <a:gd name="T25" fmla="*/ 72 h 238"/>
                  <a:gd name="T26" fmla="*/ 24 w 282"/>
                  <a:gd name="T27" fmla="*/ 80 h 238"/>
                  <a:gd name="T28" fmla="*/ 18 w 282"/>
                  <a:gd name="T29" fmla="*/ 96 h 238"/>
                  <a:gd name="T30" fmla="*/ 34 w 282"/>
                  <a:gd name="T31" fmla="*/ 118 h 238"/>
                  <a:gd name="T32" fmla="*/ 44 w 282"/>
                  <a:gd name="T33" fmla="*/ 124 h 238"/>
                  <a:gd name="T34" fmla="*/ 50 w 282"/>
                  <a:gd name="T35" fmla="*/ 140 h 238"/>
                  <a:gd name="T36" fmla="*/ 54 w 282"/>
                  <a:gd name="T37" fmla="*/ 156 h 238"/>
                  <a:gd name="T38" fmla="*/ 56 w 282"/>
                  <a:gd name="T39" fmla="*/ 162 h 238"/>
                  <a:gd name="T40" fmla="*/ 66 w 282"/>
                  <a:gd name="T41" fmla="*/ 164 h 238"/>
                  <a:gd name="T42" fmla="*/ 76 w 282"/>
                  <a:gd name="T43" fmla="*/ 162 h 238"/>
                  <a:gd name="T44" fmla="*/ 92 w 282"/>
                  <a:gd name="T45" fmla="*/ 174 h 238"/>
                  <a:gd name="T46" fmla="*/ 106 w 282"/>
                  <a:gd name="T47" fmla="*/ 190 h 238"/>
                  <a:gd name="T48" fmla="*/ 124 w 282"/>
                  <a:gd name="T49" fmla="*/ 206 h 238"/>
                  <a:gd name="T50" fmla="*/ 148 w 282"/>
                  <a:gd name="T51" fmla="*/ 216 h 238"/>
                  <a:gd name="T52" fmla="*/ 150 w 282"/>
                  <a:gd name="T53" fmla="*/ 216 h 238"/>
                  <a:gd name="T54" fmla="*/ 166 w 282"/>
                  <a:gd name="T55" fmla="*/ 214 h 238"/>
                  <a:gd name="T56" fmla="*/ 184 w 282"/>
                  <a:gd name="T57" fmla="*/ 212 h 238"/>
                  <a:gd name="T58" fmla="*/ 186 w 282"/>
                  <a:gd name="T59" fmla="*/ 226 h 238"/>
                  <a:gd name="T60" fmla="*/ 214 w 282"/>
                  <a:gd name="T61" fmla="*/ 234 h 238"/>
                  <a:gd name="T62" fmla="*/ 252 w 282"/>
                  <a:gd name="T63" fmla="*/ 238 h 238"/>
                  <a:gd name="T64" fmla="*/ 254 w 282"/>
                  <a:gd name="T65" fmla="*/ 236 h 238"/>
                  <a:gd name="T66" fmla="*/ 256 w 282"/>
                  <a:gd name="T67" fmla="*/ 222 h 238"/>
                  <a:gd name="T68" fmla="*/ 278 w 282"/>
                  <a:gd name="T69" fmla="*/ 214 h 238"/>
                  <a:gd name="T70" fmla="*/ 282 w 282"/>
                  <a:gd name="T71" fmla="*/ 204 h 238"/>
                  <a:gd name="T72" fmla="*/ 278 w 282"/>
                  <a:gd name="T73" fmla="*/ 200 h 238"/>
                  <a:gd name="T74" fmla="*/ 274 w 282"/>
                  <a:gd name="T75" fmla="*/ 192 h 238"/>
                  <a:gd name="T76" fmla="*/ 250 w 282"/>
                  <a:gd name="T77" fmla="*/ 168 h 238"/>
                  <a:gd name="T78" fmla="*/ 256 w 282"/>
                  <a:gd name="T79" fmla="*/ 152 h 238"/>
                  <a:gd name="T80" fmla="*/ 260 w 282"/>
                  <a:gd name="T81" fmla="*/ 138 h 238"/>
                  <a:gd name="T82" fmla="*/ 258 w 282"/>
                  <a:gd name="T83" fmla="*/ 134 h 238"/>
                  <a:gd name="T84" fmla="*/ 246 w 282"/>
                  <a:gd name="T85" fmla="*/ 134 h 238"/>
                  <a:gd name="T86" fmla="*/ 252 w 282"/>
                  <a:gd name="T87" fmla="*/ 76 h 238"/>
                  <a:gd name="T88" fmla="*/ 250 w 282"/>
                  <a:gd name="T89" fmla="*/ 54 h 238"/>
                  <a:gd name="T90" fmla="*/ 248 w 282"/>
                  <a:gd name="T91" fmla="*/ 50 h 238"/>
                  <a:gd name="T92" fmla="*/ 208 w 282"/>
                  <a:gd name="T93" fmla="*/ 32 h 238"/>
                  <a:gd name="T94" fmla="*/ 188 w 282"/>
                  <a:gd name="T95" fmla="*/ 26 h 238"/>
                  <a:gd name="T96" fmla="*/ 186 w 282"/>
                  <a:gd name="T97" fmla="*/ 24 h 238"/>
                  <a:gd name="T98" fmla="*/ 160 w 282"/>
                  <a:gd name="T99" fmla="*/ 30 h 238"/>
                  <a:gd name="T100" fmla="*/ 104 w 282"/>
                  <a:gd name="T101" fmla="*/ 50 h 238"/>
                  <a:gd name="T102" fmla="*/ 94 w 282"/>
                  <a:gd name="T103" fmla="*/ 44 h 238"/>
                  <a:gd name="T104" fmla="*/ 76 w 282"/>
                  <a:gd name="T105" fmla="*/ 24 h 238"/>
                  <a:gd name="T106" fmla="*/ 66 w 282"/>
                  <a:gd name="T107" fmla="*/ 22 h 238"/>
                  <a:gd name="T108" fmla="*/ 68 w 282"/>
                  <a:gd name="T109" fmla="*/ 20 h 238"/>
                  <a:gd name="T110" fmla="*/ 64 w 282"/>
                  <a:gd name="T111" fmla="*/ 6 h 238"/>
                  <a:gd name="T112" fmla="*/ 58 w 282"/>
                  <a:gd name="T113" fmla="*/ 0 h 238"/>
                  <a:gd name="T114" fmla="*/ 56 w 282"/>
                  <a:gd name="T11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238">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7" name="Freeform 850"/>
              <p:cNvSpPr>
                <a:spLocks/>
              </p:cNvSpPr>
              <p:nvPr/>
            </p:nvSpPr>
            <p:spPr bwMode="auto">
              <a:xfrm>
                <a:off x="3719" y="1947"/>
                <a:ext cx="206" cy="150"/>
              </a:xfrm>
              <a:custGeom>
                <a:avLst/>
                <a:gdLst>
                  <a:gd name="T0" fmla="*/ 24 w 206"/>
                  <a:gd name="T1" fmla="*/ 150 h 150"/>
                  <a:gd name="T2" fmla="*/ 18 w 206"/>
                  <a:gd name="T3" fmla="*/ 146 h 150"/>
                  <a:gd name="T4" fmla="*/ 10 w 206"/>
                  <a:gd name="T5" fmla="*/ 148 h 150"/>
                  <a:gd name="T6" fmla="*/ 10 w 206"/>
                  <a:gd name="T7" fmla="*/ 148 h 150"/>
                  <a:gd name="T8" fmla="*/ 4 w 206"/>
                  <a:gd name="T9" fmla="*/ 142 h 150"/>
                  <a:gd name="T10" fmla="*/ 4 w 206"/>
                  <a:gd name="T11" fmla="*/ 140 h 150"/>
                  <a:gd name="T12" fmla="*/ 18 w 206"/>
                  <a:gd name="T13" fmla="*/ 120 h 150"/>
                  <a:gd name="T14" fmla="*/ 8 w 206"/>
                  <a:gd name="T15" fmla="*/ 120 h 150"/>
                  <a:gd name="T16" fmla="*/ 4 w 206"/>
                  <a:gd name="T17" fmla="*/ 106 h 150"/>
                  <a:gd name="T18" fmla="*/ 0 w 206"/>
                  <a:gd name="T19" fmla="*/ 96 h 150"/>
                  <a:gd name="T20" fmla="*/ 2 w 206"/>
                  <a:gd name="T21" fmla="*/ 70 h 150"/>
                  <a:gd name="T22" fmla="*/ 12 w 206"/>
                  <a:gd name="T23" fmla="*/ 52 h 150"/>
                  <a:gd name="T24" fmla="*/ 24 w 206"/>
                  <a:gd name="T25" fmla="*/ 50 h 150"/>
                  <a:gd name="T26" fmla="*/ 40 w 206"/>
                  <a:gd name="T27" fmla="*/ 44 h 150"/>
                  <a:gd name="T28" fmla="*/ 40 w 206"/>
                  <a:gd name="T29" fmla="*/ 44 h 150"/>
                  <a:gd name="T30" fmla="*/ 62 w 206"/>
                  <a:gd name="T31" fmla="*/ 24 h 150"/>
                  <a:gd name="T32" fmla="*/ 62 w 206"/>
                  <a:gd name="T33" fmla="*/ 24 h 150"/>
                  <a:gd name="T34" fmla="*/ 88 w 206"/>
                  <a:gd name="T35" fmla="*/ 18 h 150"/>
                  <a:gd name="T36" fmla="*/ 114 w 206"/>
                  <a:gd name="T37" fmla="*/ 28 h 150"/>
                  <a:gd name="T38" fmla="*/ 138 w 206"/>
                  <a:gd name="T39" fmla="*/ 16 h 150"/>
                  <a:gd name="T40" fmla="*/ 146 w 206"/>
                  <a:gd name="T41" fmla="*/ 2 h 150"/>
                  <a:gd name="T42" fmla="*/ 148 w 206"/>
                  <a:gd name="T43" fmla="*/ 0 h 150"/>
                  <a:gd name="T44" fmla="*/ 148 w 206"/>
                  <a:gd name="T45" fmla="*/ 0 h 150"/>
                  <a:gd name="T46" fmla="*/ 156 w 206"/>
                  <a:gd name="T47" fmla="*/ 6 h 150"/>
                  <a:gd name="T48" fmla="*/ 158 w 206"/>
                  <a:gd name="T49" fmla="*/ 8 h 150"/>
                  <a:gd name="T50" fmla="*/ 160 w 206"/>
                  <a:gd name="T51" fmla="*/ 18 h 150"/>
                  <a:gd name="T52" fmla="*/ 158 w 206"/>
                  <a:gd name="T53" fmla="*/ 26 h 150"/>
                  <a:gd name="T54" fmla="*/ 164 w 206"/>
                  <a:gd name="T55" fmla="*/ 28 h 150"/>
                  <a:gd name="T56" fmla="*/ 178 w 206"/>
                  <a:gd name="T57" fmla="*/ 18 h 150"/>
                  <a:gd name="T58" fmla="*/ 178 w 206"/>
                  <a:gd name="T59" fmla="*/ 18 h 150"/>
                  <a:gd name="T60" fmla="*/ 204 w 206"/>
                  <a:gd name="T61" fmla="*/ 18 h 150"/>
                  <a:gd name="T62" fmla="*/ 206 w 206"/>
                  <a:gd name="T63" fmla="*/ 28 h 150"/>
                  <a:gd name="T64" fmla="*/ 204 w 206"/>
                  <a:gd name="T65" fmla="*/ 30 h 150"/>
                  <a:gd name="T66" fmla="*/ 172 w 206"/>
                  <a:gd name="T67" fmla="*/ 32 h 150"/>
                  <a:gd name="T68" fmla="*/ 158 w 206"/>
                  <a:gd name="T69" fmla="*/ 40 h 150"/>
                  <a:gd name="T70" fmla="*/ 158 w 206"/>
                  <a:gd name="T71" fmla="*/ 48 h 150"/>
                  <a:gd name="T72" fmla="*/ 160 w 206"/>
                  <a:gd name="T73" fmla="*/ 54 h 150"/>
                  <a:gd name="T74" fmla="*/ 158 w 206"/>
                  <a:gd name="T75" fmla="*/ 64 h 150"/>
                  <a:gd name="T76" fmla="*/ 154 w 206"/>
                  <a:gd name="T77" fmla="*/ 74 h 150"/>
                  <a:gd name="T78" fmla="*/ 140 w 206"/>
                  <a:gd name="T79" fmla="*/ 80 h 150"/>
                  <a:gd name="T80" fmla="*/ 136 w 206"/>
                  <a:gd name="T81" fmla="*/ 90 h 150"/>
                  <a:gd name="T82" fmla="*/ 130 w 206"/>
                  <a:gd name="T83" fmla="*/ 94 h 150"/>
                  <a:gd name="T84" fmla="*/ 128 w 206"/>
                  <a:gd name="T85" fmla="*/ 114 h 150"/>
                  <a:gd name="T86" fmla="*/ 126 w 206"/>
                  <a:gd name="T87" fmla="*/ 116 h 150"/>
                  <a:gd name="T88" fmla="*/ 102 w 206"/>
                  <a:gd name="T89" fmla="*/ 122 h 150"/>
                  <a:gd name="T90" fmla="*/ 100 w 206"/>
                  <a:gd name="T91" fmla="*/ 124 h 150"/>
                  <a:gd name="T92" fmla="*/ 84 w 206"/>
                  <a:gd name="T93" fmla="*/ 128 h 150"/>
                  <a:gd name="T94" fmla="*/ 82 w 206"/>
                  <a:gd name="T95" fmla="*/ 144 h 150"/>
                  <a:gd name="T96" fmla="*/ 72 w 206"/>
                  <a:gd name="T97" fmla="*/ 146 h 150"/>
                  <a:gd name="T98" fmla="*/ 40 w 206"/>
                  <a:gd name="T9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6" h="150">
                    <a:moveTo>
                      <a:pt x="24" y="150"/>
                    </a:moveTo>
                    <a:lnTo>
                      <a:pt x="24" y="150"/>
                    </a:lnTo>
                    <a:lnTo>
                      <a:pt x="22" y="150"/>
                    </a:lnTo>
                    <a:lnTo>
                      <a:pt x="18" y="146"/>
                    </a:lnTo>
                    <a:lnTo>
                      <a:pt x="10" y="148"/>
                    </a:lnTo>
                    <a:lnTo>
                      <a:pt x="10" y="148"/>
                    </a:lnTo>
                    <a:lnTo>
                      <a:pt x="10" y="148"/>
                    </a:lnTo>
                    <a:lnTo>
                      <a:pt x="10" y="148"/>
                    </a:lnTo>
                    <a:lnTo>
                      <a:pt x="8" y="148"/>
                    </a:lnTo>
                    <a:lnTo>
                      <a:pt x="4" y="142"/>
                    </a:lnTo>
                    <a:lnTo>
                      <a:pt x="4" y="142"/>
                    </a:lnTo>
                    <a:lnTo>
                      <a:pt x="4" y="140"/>
                    </a:lnTo>
                    <a:lnTo>
                      <a:pt x="16" y="128"/>
                    </a:lnTo>
                    <a:lnTo>
                      <a:pt x="18" y="120"/>
                    </a:lnTo>
                    <a:lnTo>
                      <a:pt x="8" y="120"/>
                    </a:lnTo>
                    <a:lnTo>
                      <a:pt x="8" y="120"/>
                    </a:lnTo>
                    <a:lnTo>
                      <a:pt x="6" y="118"/>
                    </a:lnTo>
                    <a:lnTo>
                      <a:pt x="4" y="106"/>
                    </a:lnTo>
                    <a:lnTo>
                      <a:pt x="0" y="96"/>
                    </a:lnTo>
                    <a:lnTo>
                      <a:pt x="0" y="96"/>
                    </a:lnTo>
                    <a:lnTo>
                      <a:pt x="0" y="96"/>
                    </a:lnTo>
                    <a:lnTo>
                      <a:pt x="2" y="70"/>
                    </a:lnTo>
                    <a:lnTo>
                      <a:pt x="12" y="52"/>
                    </a:lnTo>
                    <a:lnTo>
                      <a:pt x="12" y="52"/>
                    </a:lnTo>
                    <a:lnTo>
                      <a:pt x="12" y="50"/>
                    </a:lnTo>
                    <a:lnTo>
                      <a:pt x="24" y="50"/>
                    </a:lnTo>
                    <a:lnTo>
                      <a:pt x="32" y="54"/>
                    </a:lnTo>
                    <a:lnTo>
                      <a:pt x="40" y="44"/>
                    </a:lnTo>
                    <a:lnTo>
                      <a:pt x="40" y="44"/>
                    </a:lnTo>
                    <a:lnTo>
                      <a:pt x="40" y="44"/>
                    </a:lnTo>
                    <a:lnTo>
                      <a:pt x="50" y="40"/>
                    </a:lnTo>
                    <a:lnTo>
                      <a:pt x="62" y="24"/>
                    </a:lnTo>
                    <a:lnTo>
                      <a:pt x="62" y="24"/>
                    </a:lnTo>
                    <a:lnTo>
                      <a:pt x="62" y="24"/>
                    </a:lnTo>
                    <a:lnTo>
                      <a:pt x="76" y="18"/>
                    </a:lnTo>
                    <a:lnTo>
                      <a:pt x="88" y="18"/>
                    </a:lnTo>
                    <a:lnTo>
                      <a:pt x="106" y="24"/>
                    </a:lnTo>
                    <a:lnTo>
                      <a:pt x="114" y="28"/>
                    </a:lnTo>
                    <a:lnTo>
                      <a:pt x="132" y="16"/>
                    </a:lnTo>
                    <a:lnTo>
                      <a:pt x="138" y="16"/>
                    </a:lnTo>
                    <a:lnTo>
                      <a:pt x="146" y="2"/>
                    </a:lnTo>
                    <a:lnTo>
                      <a:pt x="146" y="2"/>
                    </a:lnTo>
                    <a:lnTo>
                      <a:pt x="148" y="0"/>
                    </a:lnTo>
                    <a:lnTo>
                      <a:pt x="148" y="0"/>
                    </a:lnTo>
                    <a:lnTo>
                      <a:pt x="148" y="0"/>
                    </a:lnTo>
                    <a:lnTo>
                      <a:pt x="148" y="0"/>
                    </a:lnTo>
                    <a:lnTo>
                      <a:pt x="150" y="0"/>
                    </a:lnTo>
                    <a:lnTo>
                      <a:pt x="156" y="6"/>
                    </a:lnTo>
                    <a:lnTo>
                      <a:pt x="156" y="6"/>
                    </a:lnTo>
                    <a:lnTo>
                      <a:pt x="158" y="8"/>
                    </a:lnTo>
                    <a:lnTo>
                      <a:pt x="160" y="18"/>
                    </a:lnTo>
                    <a:lnTo>
                      <a:pt x="160" y="18"/>
                    </a:lnTo>
                    <a:lnTo>
                      <a:pt x="160" y="20"/>
                    </a:lnTo>
                    <a:lnTo>
                      <a:pt x="158" y="26"/>
                    </a:lnTo>
                    <a:lnTo>
                      <a:pt x="158" y="28"/>
                    </a:lnTo>
                    <a:lnTo>
                      <a:pt x="164" y="28"/>
                    </a:lnTo>
                    <a:lnTo>
                      <a:pt x="170" y="24"/>
                    </a:lnTo>
                    <a:lnTo>
                      <a:pt x="178" y="18"/>
                    </a:lnTo>
                    <a:lnTo>
                      <a:pt x="178" y="18"/>
                    </a:lnTo>
                    <a:lnTo>
                      <a:pt x="178" y="18"/>
                    </a:lnTo>
                    <a:lnTo>
                      <a:pt x="204" y="18"/>
                    </a:lnTo>
                    <a:lnTo>
                      <a:pt x="204" y="18"/>
                    </a:lnTo>
                    <a:lnTo>
                      <a:pt x="206" y="20"/>
                    </a:lnTo>
                    <a:lnTo>
                      <a:pt x="206" y="28"/>
                    </a:lnTo>
                    <a:lnTo>
                      <a:pt x="206" y="28"/>
                    </a:lnTo>
                    <a:lnTo>
                      <a:pt x="204" y="30"/>
                    </a:lnTo>
                    <a:lnTo>
                      <a:pt x="194" y="32"/>
                    </a:lnTo>
                    <a:lnTo>
                      <a:pt x="172" y="32"/>
                    </a:lnTo>
                    <a:lnTo>
                      <a:pt x="168" y="34"/>
                    </a:lnTo>
                    <a:lnTo>
                      <a:pt x="158" y="40"/>
                    </a:lnTo>
                    <a:lnTo>
                      <a:pt x="154" y="44"/>
                    </a:lnTo>
                    <a:lnTo>
                      <a:pt x="158" y="48"/>
                    </a:lnTo>
                    <a:lnTo>
                      <a:pt x="160" y="54"/>
                    </a:lnTo>
                    <a:lnTo>
                      <a:pt x="160" y="54"/>
                    </a:lnTo>
                    <a:lnTo>
                      <a:pt x="160" y="56"/>
                    </a:lnTo>
                    <a:lnTo>
                      <a:pt x="158" y="64"/>
                    </a:lnTo>
                    <a:lnTo>
                      <a:pt x="154" y="74"/>
                    </a:lnTo>
                    <a:lnTo>
                      <a:pt x="154" y="74"/>
                    </a:lnTo>
                    <a:lnTo>
                      <a:pt x="152" y="74"/>
                    </a:lnTo>
                    <a:lnTo>
                      <a:pt x="140" y="80"/>
                    </a:lnTo>
                    <a:lnTo>
                      <a:pt x="136" y="90"/>
                    </a:lnTo>
                    <a:lnTo>
                      <a:pt x="136" y="90"/>
                    </a:lnTo>
                    <a:lnTo>
                      <a:pt x="136" y="90"/>
                    </a:lnTo>
                    <a:lnTo>
                      <a:pt x="130" y="94"/>
                    </a:lnTo>
                    <a:lnTo>
                      <a:pt x="126" y="102"/>
                    </a:lnTo>
                    <a:lnTo>
                      <a:pt x="128" y="114"/>
                    </a:lnTo>
                    <a:lnTo>
                      <a:pt x="128" y="114"/>
                    </a:lnTo>
                    <a:lnTo>
                      <a:pt x="126" y="116"/>
                    </a:lnTo>
                    <a:lnTo>
                      <a:pt x="104" y="116"/>
                    </a:lnTo>
                    <a:lnTo>
                      <a:pt x="102" y="122"/>
                    </a:lnTo>
                    <a:lnTo>
                      <a:pt x="102" y="122"/>
                    </a:lnTo>
                    <a:lnTo>
                      <a:pt x="100" y="124"/>
                    </a:lnTo>
                    <a:lnTo>
                      <a:pt x="88" y="124"/>
                    </a:lnTo>
                    <a:lnTo>
                      <a:pt x="84" y="128"/>
                    </a:lnTo>
                    <a:lnTo>
                      <a:pt x="82" y="144"/>
                    </a:lnTo>
                    <a:lnTo>
                      <a:pt x="82" y="144"/>
                    </a:lnTo>
                    <a:lnTo>
                      <a:pt x="80" y="144"/>
                    </a:lnTo>
                    <a:lnTo>
                      <a:pt x="72" y="146"/>
                    </a:lnTo>
                    <a:lnTo>
                      <a:pt x="72" y="146"/>
                    </a:lnTo>
                    <a:lnTo>
                      <a:pt x="40" y="150"/>
                    </a:lnTo>
                    <a:lnTo>
                      <a:pt x="24"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8" name="Freeform 851"/>
              <p:cNvSpPr>
                <a:spLocks noEditPoints="1"/>
              </p:cNvSpPr>
              <p:nvPr/>
            </p:nvSpPr>
            <p:spPr bwMode="auto">
              <a:xfrm>
                <a:off x="3717" y="1945"/>
                <a:ext cx="210" cy="154"/>
              </a:xfrm>
              <a:custGeom>
                <a:avLst/>
                <a:gdLst>
                  <a:gd name="T0" fmla="*/ 160 w 210"/>
                  <a:gd name="T1" fmla="*/ 20 h 154"/>
                  <a:gd name="T2" fmla="*/ 166 w 210"/>
                  <a:gd name="T3" fmla="*/ 32 h 154"/>
                  <a:gd name="T4" fmla="*/ 206 w 210"/>
                  <a:gd name="T5" fmla="*/ 22 h 154"/>
                  <a:gd name="T6" fmla="*/ 180 w 210"/>
                  <a:gd name="T7" fmla="*/ 32 h 154"/>
                  <a:gd name="T8" fmla="*/ 160 w 210"/>
                  <a:gd name="T9" fmla="*/ 40 h 154"/>
                  <a:gd name="T10" fmla="*/ 160 w 210"/>
                  <a:gd name="T11" fmla="*/ 56 h 154"/>
                  <a:gd name="T12" fmla="*/ 140 w 210"/>
                  <a:gd name="T13" fmla="*/ 80 h 154"/>
                  <a:gd name="T14" fmla="*/ 128 w 210"/>
                  <a:gd name="T15" fmla="*/ 104 h 154"/>
                  <a:gd name="T16" fmla="*/ 102 w 210"/>
                  <a:gd name="T17" fmla="*/ 124 h 154"/>
                  <a:gd name="T18" fmla="*/ 82 w 210"/>
                  <a:gd name="T19" fmla="*/ 144 h 154"/>
                  <a:gd name="T20" fmla="*/ 26 w 210"/>
                  <a:gd name="T21" fmla="*/ 150 h 154"/>
                  <a:gd name="T22" fmla="*/ 8 w 210"/>
                  <a:gd name="T23" fmla="*/ 144 h 154"/>
                  <a:gd name="T24" fmla="*/ 10 w 210"/>
                  <a:gd name="T25" fmla="*/ 120 h 154"/>
                  <a:gd name="T26" fmla="*/ 6 w 210"/>
                  <a:gd name="T27" fmla="*/ 72 h 154"/>
                  <a:gd name="T28" fmla="*/ 34 w 210"/>
                  <a:gd name="T29" fmla="*/ 58 h 154"/>
                  <a:gd name="T30" fmla="*/ 64 w 210"/>
                  <a:gd name="T31" fmla="*/ 28 h 154"/>
                  <a:gd name="T32" fmla="*/ 108 w 210"/>
                  <a:gd name="T33" fmla="*/ 28 h 154"/>
                  <a:gd name="T34" fmla="*/ 142 w 210"/>
                  <a:gd name="T35" fmla="*/ 18 h 154"/>
                  <a:gd name="T36" fmla="*/ 150 w 210"/>
                  <a:gd name="T37" fmla="*/ 0 h 154"/>
                  <a:gd name="T38" fmla="*/ 146 w 210"/>
                  <a:gd name="T39" fmla="*/ 2 h 154"/>
                  <a:gd name="T40" fmla="*/ 134 w 210"/>
                  <a:gd name="T41" fmla="*/ 16 h 154"/>
                  <a:gd name="T42" fmla="*/ 110 w 210"/>
                  <a:gd name="T43" fmla="*/ 24 h 154"/>
                  <a:gd name="T44" fmla="*/ 90 w 210"/>
                  <a:gd name="T45" fmla="*/ 18 h 154"/>
                  <a:gd name="T46" fmla="*/ 78 w 210"/>
                  <a:gd name="T47" fmla="*/ 18 h 154"/>
                  <a:gd name="T48" fmla="*/ 62 w 210"/>
                  <a:gd name="T49" fmla="*/ 26 h 154"/>
                  <a:gd name="T50" fmla="*/ 42 w 210"/>
                  <a:gd name="T51" fmla="*/ 44 h 154"/>
                  <a:gd name="T52" fmla="*/ 28 w 210"/>
                  <a:gd name="T53" fmla="*/ 52 h 154"/>
                  <a:gd name="T54" fmla="*/ 14 w 210"/>
                  <a:gd name="T55" fmla="*/ 50 h 154"/>
                  <a:gd name="T56" fmla="*/ 12 w 210"/>
                  <a:gd name="T57" fmla="*/ 54 h 154"/>
                  <a:gd name="T58" fmla="*/ 2 w 210"/>
                  <a:gd name="T59" fmla="*/ 72 h 154"/>
                  <a:gd name="T60" fmla="*/ 0 w 210"/>
                  <a:gd name="T61" fmla="*/ 100 h 154"/>
                  <a:gd name="T62" fmla="*/ 6 w 210"/>
                  <a:gd name="T63" fmla="*/ 120 h 154"/>
                  <a:gd name="T64" fmla="*/ 18 w 210"/>
                  <a:gd name="T65" fmla="*/ 124 h 154"/>
                  <a:gd name="T66" fmla="*/ 4 w 210"/>
                  <a:gd name="T67" fmla="*/ 140 h 154"/>
                  <a:gd name="T68" fmla="*/ 8 w 210"/>
                  <a:gd name="T69" fmla="*/ 150 h 154"/>
                  <a:gd name="T70" fmla="*/ 12 w 210"/>
                  <a:gd name="T71" fmla="*/ 152 h 154"/>
                  <a:gd name="T72" fmla="*/ 22 w 210"/>
                  <a:gd name="T73" fmla="*/ 154 h 154"/>
                  <a:gd name="T74" fmla="*/ 42 w 210"/>
                  <a:gd name="T75" fmla="*/ 154 h 154"/>
                  <a:gd name="T76" fmla="*/ 74 w 210"/>
                  <a:gd name="T77" fmla="*/ 150 h 154"/>
                  <a:gd name="T78" fmla="*/ 86 w 210"/>
                  <a:gd name="T79" fmla="*/ 148 h 154"/>
                  <a:gd name="T80" fmla="*/ 90 w 210"/>
                  <a:gd name="T81" fmla="*/ 128 h 154"/>
                  <a:gd name="T82" fmla="*/ 104 w 210"/>
                  <a:gd name="T83" fmla="*/ 126 h 154"/>
                  <a:gd name="T84" fmla="*/ 128 w 210"/>
                  <a:gd name="T85" fmla="*/ 120 h 154"/>
                  <a:gd name="T86" fmla="*/ 132 w 210"/>
                  <a:gd name="T87" fmla="*/ 116 h 154"/>
                  <a:gd name="T88" fmla="*/ 138 w 210"/>
                  <a:gd name="T89" fmla="*/ 94 h 154"/>
                  <a:gd name="T90" fmla="*/ 142 w 210"/>
                  <a:gd name="T91" fmla="*/ 84 h 154"/>
                  <a:gd name="T92" fmla="*/ 158 w 210"/>
                  <a:gd name="T93" fmla="*/ 76 h 154"/>
                  <a:gd name="T94" fmla="*/ 162 w 210"/>
                  <a:gd name="T95" fmla="*/ 66 h 154"/>
                  <a:gd name="T96" fmla="*/ 164 w 210"/>
                  <a:gd name="T97" fmla="*/ 56 h 154"/>
                  <a:gd name="T98" fmla="*/ 160 w 210"/>
                  <a:gd name="T99" fmla="*/ 50 h 154"/>
                  <a:gd name="T100" fmla="*/ 172 w 210"/>
                  <a:gd name="T101" fmla="*/ 36 h 154"/>
                  <a:gd name="T102" fmla="*/ 194 w 210"/>
                  <a:gd name="T103" fmla="*/ 36 h 154"/>
                  <a:gd name="T104" fmla="*/ 206 w 210"/>
                  <a:gd name="T105" fmla="*/ 34 h 154"/>
                  <a:gd name="T106" fmla="*/ 210 w 210"/>
                  <a:gd name="T107" fmla="*/ 30 h 154"/>
                  <a:gd name="T108" fmla="*/ 208 w 210"/>
                  <a:gd name="T109" fmla="*/ 20 h 154"/>
                  <a:gd name="T110" fmla="*/ 180 w 210"/>
                  <a:gd name="T111" fmla="*/ 18 h 154"/>
                  <a:gd name="T112" fmla="*/ 166 w 210"/>
                  <a:gd name="T113" fmla="*/ 28 h 154"/>
                  <a:gd name="T114" fmla="*/ 164 w 210"/>
                  <a:gd name="T115" fmla="*/ 22 h 154"/>
                  <a:gd name="T116" fmla="*/ 162 w 210"/>
                  <a:gd name="T117" fmla="*/ 10 h 154"/>
                  <a:gd name="T118" fmla="*/ 152 w 210"/>
                  <a:gd name="T119" fmla="*/ 2 h 154"/>
                  <a:gd name="T120" fmla="*/ 150 w 210"/>
                  <a:gd name="T1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 h="154">
                    <a:moveTo>
                      <a:pt x="150" y="4"/>
                    </a:moveTo>
                    <a:lnTo>
                      <a:pt x="158" y="10"/>
                    </a:lnTo>
                    <a:lnTo>
                      <a:pt x="160" y="20"/>
                    </a:lnTo>
                    <a:lnTo>
                      <a:pt x="158" y="28"/>
                    </a:lnTo>
                    <a:lnTo>
                      <a:pt x="158" y="34"/>
                    </a:lnTo>
                    <a:lnTo>
                      <a:pt x="166" y="32"/>
                    </a:lnTo>
                    <a:lnTo>
                      <a:pt x="174" y="28"/>
                    </a:lnTo>
                    <a:lnTo>
                      <a:pt x="180" y="22"/>
                    </a:lnTo>
                    <a:lnTo>
                      <a:pt x="206" y="22"/>
                    </a:lnTo>
                    <a:lnTo>
                      <a:pt x="206" y="30"/>
                    </a:lnTo>
                    <a:lnTo>
                      <a:pt x="194" y="32"/>
                    </a:lnTo>
                    <a:lnTo>
                      <a:pt x="180" y="32"/>
                    </a:lnTo>
                    <a:lnTo>
                      <a:pt x="174" y="32"/>
                    </a:lnTo>
                    <a:lnTo>
                      <a:pt x="170" y="34"/>
                    </a:lnTo>
                    <a:lnTo>
                      <a:pt x="160" y="40"/>
                    </a:lnTo>
                    <a:lnTo>
                      <a:pt x="154" y="46"/>
                    </a:lnTo>
                    <a:lnTo>
                      <a:pt x="158" y="52"/>
                    </a:lnTo>
                    <a:lnTo>
                      <a:pt x="160" y="56"/>
                    </a:lnTo>
                    <a:lnTo>
                      <a:pt x="158" y="66"/>
                    </a:lnTo>
                    <a:lnTo>
                      <a:pt x="154" y="74"/>
                    </a:lnTo>
                    <a:lnTo>
                      <a:pt x="140" y="80"/>
                    </a:lnTo>
                    <a:lnTo>
                      <a:pt x="136" y="90"/>
                    </a:lnTo>
                    <a:lnTo>
                      <a:pt x="130" y="94"/>
                    </a:lnTo>
                    <a:lnTo>
                      <a:pt x="128" y="104"/>
                    </a:lnTo>
                    <a:lnTo>
                      <a:pt x="128" y="116"/>
                    </a:lnTo>
                    <a:lnTo>
                      <a:pt x="106" y="116"/>
                    </a:lnTo>
                    <a:lnTo>
                      <a:pt x="102" y="124"/>
                    </a:lnTo>
                    <a:lnTo>
                      <a:pt x="88" y="124"/>
                    </a:lnTo>
                    <a:lnTo>
                      <a:pt x="84" y="128"/>
                    </a:lnTo>
                    <a:lnTo>
                      <a:pt x="82" y="144"/>
                    </a:lnTo>
                    <a:lnTo>
                      <a:pt x="74" y="146"/>
                    </a:lnTo>
                    <a:lnTo>
                      <a:pt x="42" y="150"/>
                    </a:lnTo>
                    <a:lnTo>
                      <a:pt x="26" y="150"/>
                    </a:lnTo>
                    <a:lnTo>
                      <a:pt x="20" y="144"/>
                    </a:lnTo>
                    <a:lnTo>
                      <a:pt x="12" y="148"/>
                    </a:lnTo>
                    <a:lnTo>
                      <a:pt x="8" y="144"/>
                    </a:lnTo>
                    <a:lnTo>
                      <a:pt x="20" y="130"/>
                    </a:lnTo>
                    <a:lnTo>
                      <a:pt x="22" y="120"/>
                    </a:lnTo>
                    <a:lnTo>
                      <a:pt x="10" y="120"/>
                    </a:lnTo>
                    <a:lnTo>
                      <a:pt x="8" y="108"/>
                    </a:lnTo>
                    <a:lnTo>
                      <a:pt x="4" y="98"/>
                    </a:lnTo>
                    <a:lnTo>
                      <a:pt x="6" y="72"/>
                    </a:lnTo>
                    <a:lnTo>
                      <a:pt x="14" y="54"/>
                    </a:lnTo>
                    <a:lnTo>
                      <a:pt x="26" y="54"/>
                    </a:lnTo>
                    <a:lnTo>
                      <a:pt x="34" y="58"/>
                    </a:lnTo>
                    <a:lnTo>
                      <a:pt x="44" y="48"/>
                    </a:lnTo>
                    <a:lnTo>
                      <a:pt x="54" y="44"/>
                    </a:lnTo>
                    <a:lnTo>
                      <a:pt x="64" y="28"/>
                    </a:lnTo>
                    <a:lnTo>
                      <a:pt x="80" y="22"/>
                    </a:lnTo>
                    <a:lnTo>
                      <a:pt x="90" y="22"/>
                    </a:lnTo>
                    <a:lnTo>
                      <a:pt x="108" y="28"/>
                    </a:lnTo>
                    <a:lnTo>
                      <a:pt x="116" y="32"/>
                    </a:lnTo>
                    <a:lnTo>
                      <a:pt x="134" y="20"/>
                    </a:lnTo>
                    <a:lnTo>
                      <a:pt x="142" y="18"/>
                    </a:lnTo>
                    <a:lnTo>
                      <a:pt x="150" y="4"/>
                    </a:lnTo>
                    <a:close/>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9" name="Freeform 852"/>
              <p:cNvSpPr>
                <a:spLocks/>
              </p:cNvSpPr>
              <p:nvPr/>
            </p:nvSpPr>
            <p:spPr bwMode="auto">
              <a:xfrm>
                <a:off x="3721" y="1949"/>
                <a:ext cx="202" cy="146"/>
              </a:xfrm>
              <a:custGeom>
                <a:avLst/>
                <a:gdLst>
                  <a:gd name="T0" fmla="*/ 146 w 202"/>
                  <a:gd name="T1" fmla="*/ 0 h 146"/>
                  <a:gd name="T2" fmla="*/ 154 w 202"/>
                  <a:gd name="T3" fmla="*/ 6 h 146"/>
                  <a:gd name="T4" fmla="*/ 156 w 202"/>
                  <a:gd name="T5" fmla="*/ 16 h 146"/>
                  <a:gd name="T6" fmla="*/ 154 w 202"/>
                  <a:gd name="T7" fmla="*/ 24 h 146"/>
                  <a:gd name="T8" fmla="*/ 154 w 202"/>
                  <a:gd name="T9" fmla="*/ 30 h 146"/>
                  <a:gd name="T10" fmla="*/ 162 w 202"/>
                  <a:gd name="T11" fmla="*/ 28 h 146"/>
                  <a:gd name="T12" fmla="*/ 170 w 202"/>
                  <a:gd name="T13" fmla="*/ 24 h 146"/>
                  <a:gd name="T14" fmla="*/ 176 w 202"/>
                  <a:gd name="T15" fmla="*/ 18 h 146"/>
                  <a:gd name="T16" fmla="*/ 202 w 202"/>
                  <a:gd name="T17" fmla="*/ 18 h 146"/>
                  <a:gd name="T18" fmla="*/ 202 w 202"/>
                  <a:gd name="T19" fmla="*/ 26 h 146"/>
                  <a:gd name="T20" fmla="*/ 190 w 202"/>
                  <a:gd name="T21" fmla="*/ 28 h 146"/>
                  <a:gd name="T22" fmla="*/ 176 w 202"/>
                  <a:gd name="T23" fmla="*/ 28 h 146"/>
                  <a:gd name="T24" fmla="*/ 170 w 202"/>
                  <a:gd name="T25" fmla="*/ 28 h 146"/>
                  <a:gd name="T26" fmla="*/ 166 w 202"/>
                  <a:gd name="T27" fmla="*/ 30 h 146"/>
                  <a:gd name="T28" fmla="*/ 156 w 202"/>
                  <a:gd name="T29" fmla="*/ 36 h 146"/>
                  <a:gd name="T30" fmla="*/ 150 w 202"/>
                  <a:gd name="T31" fmla="*/ 42 h 146"/>
                  <a:gd name="T32" fmla="*/ 154 w 202"/>
                  <a:gd name="T33" fmla="*/ 48 h 146"/>
                  <a:gd name="T34" fmla="*/ 156 w 202"/>
                  <a:gd name="T35" fmla="*/ 52 h 146"/>
                  <a:gd name="T36" fmla="*/ 154 w 202"/>
                  <a:gd name="T37" fmla="*/ 62 h 146"/>
                  <a:gd name="T38" fmla="*/ 150 w 202"/>
                  <a:gd name="T39" fmla="*/ 70 h 146"/>
                  <a:gd name="T40" fmla="*/ 136 w 202"/>
                  <a:gd name="T41" fmla="*/ 76 h 146"/>
                  <a:gd name="T42" fmla="*/ 132 w 202"/>
                  <a:gd name="T43" fmla="*/ 86 h 146"/>
                  <a:gd name="T44" fmla="*/ 126 w 202"/>
                  <a:gd name="T45" fmla="*/ 90 h 146"/>
                  <a:gd name="T46" fmla="*/ 124 w 202"/>
                  <a:gd name="T47" fmla="*/ 100 h 146"/>
                  <a:gd name="T48" fmla="*/ 124 w 202"/>
                  <a:gd name="T49" fmla="*/ 112 h 146"/>
                  <a:gd name="T50" fmla="*/ 102 w 202"/>
                  <a:gd name="T51" fmla="*/ 112 h 146"/>
                  <a:gd name="T52" fmla="*/ 98 w 202"/>
                  <a:gd name="T53" fmla="*/ 120 h 146"/>
                  <a:gd name="T54" fmla="*/ 84 w 202"/>
                  <a:gd name="T55" fmla="*/ 120 h 146"/>
                  <a:gd name="T56" fmla="*/ 80 w 202"/>
                  <a:gd name="T57" fmla="*/ 124 h 146"/>
                  <a:gd name="T58" fmla="*/ 78 w 202"/>
                  <a:gd name="T59" fmla="*/ 140 h 146"/>
                  <a:gd name="T60" fmla="*/ 70 w 202"/>
                  <a:gd name="T61" fmla="*/ 142 h 146"/>
                  <a:gd name="T62" fmla="*/ 38 w 202"/>
                  <a:gd name="T63" fmla="*/ 146 h 146"/>
                  <a:gd name="T64" fmla="*/ 22 w 202"/>
                  <a:gd name="T65" fmla="*/ 146 h 146"/>
                  <a:gd name="T66" fmla="*/ 16 w 202"/>
                  <a:gd name="T67" fmla="*/ 140 h 146"/>
                  <a:gd name="T68" fmla="*/ 8 w 202"/>
                  <a:gd name="T69" fmla="*/ 144 h 146"/>
                  <a:gd name="T70" fmla="*/ 4 w 202"/>
                  <a:gd name="T71" fmla="*/ 140 h 146"/>
                  <a:gd name="T72" fmla="*/ 16 w 202"/>
                  <a:gd name="T73" fmla="*/ 126 h 146"/>
                  <a:gd name="T74" fmla="*/ 18 w 202"/>
                  <a:gd name="T75" fmla="*/ 116 h 146"/>
                  <a:gd name="T76" fmla="*/ 6 w 202"/>
                  <a:gd name="T77" fmla="*/ 116 h 146"/>
                  <a:gd name="T78" fmla="*/ 4 w 202"/>
                  <a:gd name="T79" fmla="*/ 104 h 146"/>
                  <a:gd name="T80" fmla="*/ 0 w 202"/>
                  <a:gd name="T81" fmla="*/ 94 h 146"/>
                  <a:gd name="T82" fmla="*/ 2 w 202"/>
                  <a:gd name="T83" fmla="*/ 68 h 146"/>
                  <a:gd name="T84" fmla="*/ 10 w 202"/>
                  <a:gd name="T85" fmla="*/ 50 h 146"/>
                  <a:gd name="T86" fmla="*/ 22 w 202"/>
                  <a:gd name="T87" fmla="*/ 50 h 146"/>
                  <a:gd name="T88" fmla="*/ 30 w 202"/>
                  <a:gd name="T89" fmla="*/ 54 h 146"/>
                  <a:gd name="T90" fmla="*/ 40 w 202"/>
                  <a:gd name="T91" fmla="*/ 44 h 146"/>
                  <a:gd name="T92" fmla="*/ 50 w 202"/>
                  <a:gd name="T93" fmla="*/ 40 h 146"/>
                  <a:gd name="T94" fmla="*/ 60 w 202"/>
                  <a:gd name="T95" fmla="*/ 24 h 146"/>
                  <a:gd name="T96" fmla="*/ 76 w 202"/>
                  <a:gd name="T97" fmla="*/ 18 h 146"/>
                  <a:gd name="T98" fmla="*/ 86 w 202"/>
                  <a:gd name="T99" fmla="*/ 18 h 146"/>
                  <a:gd name="T100" fmla="*/ 104 w 202"/>
                  <a:gd name="T101" fmla="*/ 24 h 146"/>
                  <a:gd name="T102" fmla="*/ 112 w 202"/>
                  <a:gd name="T103" fmla="*/ 28 h 146"/>
                  <a:gd name="T104" fmla="*/ 130 w 202"/>
                  <a:gd name="T105" fmla="*/ 16 h 146"/>
                  <a:gd name="T106" fmla="*/ 138 w 202"/>
                  <a:gd name="T107" fmla="*/ 14 h 146"/>
                  <a:gd name="T108" fmla="*/ 146 w 202"/>
                  <a:gd name="T10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2" h="146">
                    <a:moveTo>
                      <a:pt x="146" y="0"/>
                    </a:moveTo>
                    <a:lnTo>
                      <a:pt x="154" y="6"/>
                    </a:lnTo>
                    <a:lnTo>
                      <a:pt x="156" y="16"/>
                    </a:lnTo>
                    <a:lnTo>
                      <a:pt x="154" y="24"/>
                    </a:lnTo>
                    <a:lnTo>
                      <a:pt x="154" y="30"/>
                    </a:lnTo>
                    <a:lnTo>
                      <a:pt x="162" y="28"/>
                    </a:lnTo>
                    <a:lnTo>
                      <a:pt x="170" y="24"/>
                    </a:lnTo>
                    <a:lnTo>
                      <a:pt x="176" y="18"/>
                    </a:lnTo>
                    <a:lnTo>
                      <a:pt x="202" y="18"/>
                    </a:lnTo>
                    <a:lnTo>
                      <a:pt x="202" y="26"/>
                    </a:lnTo>
                    <a:lnTo>
                      <a:pt x="190" y="28"/>
                    </a:lnTo>
                    <a:lnTo>
                      <a:pt x="176" y="28"/>
                    </a:lnTo>
                    <a:lnTo>
                      <a:pt x="170" y="28"/>
                    </a:lnTo>
                    <a:lnTo>
                      <a:pt x="166" y="30"/>
                    </a:lnTo>
                    <a:lnTo>
                      <a:pt x="156" y="36"/>
                    </a:lnTo>
                    <a:lnTo>
                      <a:pt x="150" y="42"/>
                    </a:lnTo>
                    <a:lnTo>
                      <a:pt x="154" y="48"/>
                    </a:lnTo>
                    <a:lnTo>
                      <a:pt x="156" y="52"/>
                    </a:lnTo>
                    <a:lnTo>
                      <a:pt x="154" y="62"/>
                    </a:lnTo>
                    <a:lnTo>
                      <a:pt x="150" y="70"/>
                    </a:lnTo>
                    <a:lnTo>
                      <a:pt x="136" y="76"/>
                    </a:lnTo>
                    <a:lnTo>
                      <a:pt x="132" y="86"/>
                    </a:lnTo>
                    <a:lnTo>
                      <a:pt x="126" y="90"/>
                    </a:lnTo>
                    <a:lnTo>
                      <a:pt x="124" y="100"/>
                    </a:lnTo>
                    <a:lnTo>
                      <a:pt x="124" y="112"/>
                    </a:lnTo>
                    <a:lnTo>
                      <a:pt x="102" y="112"/>
                    </a:lnTo>
                    <a:lnTo>
                      <a:pt x="98" y="120"/>
                    </a:lnTo>
                    <a:lnTo>
                      <a:pt x="84" y="120"/>
                    </a:lnTo>
                    <a:lnTo>
                      <a:pt x="80" y="124"/>
                    </a:lnTo>
                    <a:lnTo>
                      <a:pt x="78" y="140"/>
                    </a:lnTo>
                    <a:lnTo>
                      <a:pt x="70" y="142"/>
                    </a:lnTo>
                    <a:lnTo>
                      <a:pt x="38" y="146"/>
                    </a:lnTo>
                    <a:lnTo>
                      <a:pt x="22" y="146"/>
                    </a:lnTo>
                    <a:lnTo>
                      <a:pt x="16" y="140"/>
                    </a:lnTo>
                    <a:lnTo>
                      <a:pt x="8" y="144"/>
                    </a:lnTo>
                    <a:lnTo>
                      <a:pt x="4" y="140"/>
                    </a:lnTo>
                    <a:lnTo>
                      <a:pt x="16" y="126"/>
                    </a:lnTo>
                    <a:lnTo>
                      <a:pt x="18" y="116"/>
                    </a:lnTo>
                    <a:lnTo>
                      <a:pt x="6" y="116"/>
                    </a:lnTo>
                    <a:lnTo>
                      <a:pt x="4" y="104"/>
                    </a:lnTo>
                    <a:lnTo>
                      <a:pt x="0" y="94"/>
                    </a:lnTo>
                    <a:lnTo>
                      <a:pt x="2" y="68"/>
                    </a:lnTo>
                    <a:lnTo>
                      <a:pt x="10" y="50"/>
                    </a:lnTo>
                    <a:lnTo>
                      <a:pt x="22" y="50"/>
                    </a:lnTo>
                    <a:lnTo>
                      <a:pt x="30" y="54"/>
                    </a:lnTo>
                    <a:lnTo>
                      <a:pt x="40" y="44"/>
                    </a:lnTo>
                    <a:lnTo>
                      <a:pt x="50" y="40"/>
                    </a:lnTo>
                    <a:lnTo>
                      <a:pt x="60" y="24"/>
                    </a:lnTo>
                    <a:lnTo>
                      <a:pt x="76" y="18"/>
                    </a:lnTo>
                    <a:lnTo>
                      <a:pt x="86" y="18"/>
                    </a:lnTo>
                    <a:lnTo>
                      <a:pt x="104" y="24"/>
                    </a:lnTo>
                    <a:lnTo>
                      <a:pt x="112" y="28"/>
                    </a:lnTo>
                    <a:lnTo>
                      <a:pt x="130" y="16"/>
                    </a:lnTo>
                    <a:lnTo>
                      <a:pt x="138" y="14"/>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0" name="Freeform 853"/>
              <p:cNvSpPr>
                <a:spLocks/>
              </p:cNvSpPr>
              <p:nvPr/>
            </p:nvSpPr>
            <p:spPr bwMode="auto">
              <a:xfrm>
                <a:off x="3717" y="1945"/>
                <a:ext cx="210" cy="154"/>
              </a:xfrm>
              <a:custGeom>
                <a:avLst/>
                <a:gdLst>
                  <a:gd name="T0" fmla="*/ 150 w 210"/>
                  <a:gd name="T1" fmla="*/ 0 h 154"/>
                  <a:gd name="T2" fmla="*/ 138 w 210"/>
                  <a:gd name="T3" fmla="*/ 16 h 154"/>
                  <a:gd name="T4" fmla="*/ 132 w 210"/>
                  <a:gd name="T5" fmla="*/ 18 h 154"/>
                  <a:gd name="T6" fmla="*/ 90 w 210"/>
                  <a:gd name="T7" fmla="*/ 18 h 154"/>
                  <a:gd name="T8" fmla="*/ 80 w 210"/>
                  <a:gd name="T9" fmla="*/ 18 h 154"/>
                  <a:gd name="T10" fmla="*/ 64 w 210"/>
                  <a:gd name="T11" fmla="*/ 24 h 154"/>
                  <a:gd name="T12" fmla="*/ 52 w 210"/>
                  <a:gd name="T13" fmla="*/ 40 h 154"/>
                  <a:gd name="T14" fmla="*/ 40 w 210"/>
                  <a:gd name="T15" fmla="*/ 46 h 154"/>
                  <a:gd name="T16" fmla="*/ 28 w 210"/>
                  <a:gd name="T17" fmla="*/ 52 h 154"/>
                  <a:gd name="T18" fmla="*/ 14 w 210"/>
                  <a:gd name="T19" fmla="*/ 50 h 154"/>
                  <a:gd name="T20" fmla="*/ 2 w 210"/>
                  <a:gd name="T21" fmla="*/ 72 h 154"/>
                  <a:gd name="T22" fmla="*/ 0 w 210"/>
                  <a:gd name="T23" fmla="*/ 98 h 154"/>
                  <a:gd name="T24" fmla="*/ 4 w 210"/>
                  <a:gd name="T25" fmla="*/ 108 h 154"/>
                  <a:gd name="T26" fmla="*/ 6 w 210"/>
                  <a:gd name="T27" fmla="*/ 122 h 154"/>
                  <a:gd name="T28" fmla="*/ 16 w 210"/>
                  <a:gd name="T29" fmla="*/ 128 h 154"/>
                  <a:gd name="T30" fmla="*/ 4 w 210"/>
                  <a:gd name="T31" fmla="*/ 142 h 154"/>
                  <a:gd name="T32" fmla="*/ 8 w 210"/>
                  <a:gd name="T33" fmla="*/ 150 h 154"/>
                  <a:gd name="T34" fmla="*/ 12 w 210"/>
                  <a:gd name="T35" fmla="*/ 152 h 154"/>
                  <a:gd name="T36" fmla="*/ 22 w 210"/>
                  <a:gd name="T37" fmla="*/ 154 h 154"/>
                  <a:gd name="T38" fmla="*/ 42 w 210"/>
                  <a:gd name="T39" fmla="*/ 154 h 154"/>
                  <a:gd name="T40" fmla="*/ 84 w 210"/>
                  <a:gd name="T41" fmla="*/ 148 h 154"/>
                  <a:gd name="T42" fmla="*/ 86 w 210"/>
                  <a:gd name="T43" fmla="*/ 146 h 154"/>
                  <a:gd name="T44" fmla="*/ 102 w 210"/>
                  <a:gd name="T45" fmla="*/ 128 h 154"/>
                  <a:gd name="T46" fmla="*/ 106 w 210"/>
                  <a:gd name="T47" fmla="*/ 126 h 154"/>
                  <a:gd name="T48" fmla="*/ 128 w 210"/>
                  <a:gd name="T49" fmla="*/ 120 h 154"/>
                  <a:gd name="T50" fmla="*/ 132 w 210"/>
                  <a:gd name="T51" fmla="*/ 104 h 154"/>
                  <a:gd name="T52" fmla="*/ 138 w 210"/>
                  <a:gd name="T53" fmla="*/ 94 h 154"/>
                  <a:gd name="T54" fmla="*/ 156 w 210"/>
                  <a:gd name="T55" fmla="*/ 78 h 154"/>
                  <a:gd name="T56" fmla="*/ 162 w 210"/>
                  <a:gd name="T57" fmla="*/ 68 h 154"/>
                  <a:gd name="T58" fmla="*/ 164 w 210"/>
                  <a:gd name="T59" fmla="*/ 58 h 154"/>
                  <a:gd name="T60" fmla="*/ 162 w 210"/>
                  <a:gd name="T61" fmla="*/ 50 h 154"/>
                  <a:gd name="T62" fmla="*/ 158 w 210"/>
                  <a:gd name="T63" fmla="*/ 46 h 154"/>
                  <a:gd name="T64" fmla="*/ 174 w 210"/>
                  <a:gd name="T65" fmla="*/ 36 h 154"/>
                  <a:gd name="T66" fmla="*/ 194 w 210"/>
                  <a:gd name="T67" fmla="*/ 36 h 154"/>
                  <a:gd name="T68" fmla="*/ 206 w 210"/>
                  <a:gd name="T69" fmla="*/ 34 h 154"/>
                  <a:gd name="T70" fmla="*/ 210 w 210"/>
                  <a:gd name="T71" fmla="*/ 22 h 154"/>
                  <a:gd name="T72" fmla="*/ 206 w 210"/>
                  <a:gd name="T73" fmla="*/ 18 h 154"/>
                  <a:gd name="T74" fmla="*/ 178 w 210"/>
                  <a:gd name="T75" fmla="*/ 20 h 154"/>
                  <a:gd name="T76" fmla="*/ 162 w 210"/>
                  <a:gd name="T77" fmla="*/ 28 h 154"/>
                  <a:gd name="T78" fmla="*/ 164 w 210"/>
                  <a:gd name="T79" fmla="*/ 22 h 154"/>
                  <a:gd name="T80" fmla="*/ 162 w 210"/>
                  <a:gd name="T81" fmla="*/ 10 h 154"/>
                  <a:gd name="T82" fmla="*/ 152 w 210"/>
                  <a:gd name="T83"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0" h="154">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1" name="Freeform 854"/>
              <p:cNvSpPr>
                <a:spLocks/>
              </p:cNvSpPr>
              <p:nvPr/>
            </p:nvSpPr>
            <p:spPr bwMode="auto">
              <a:xfrm>
                <a:off x="3725" y="1969"/>
                <a:ext cx="234" cy="212"/>
              </a:xfrm>
              <a:custGeom>
                <a:avLst/>
                <a:gdLst>
                  <a:gd name="T0" fmla="*/ 106 w 234"/>
                  <a:gd name="T1" fmla="*/ 212 h 212"/>
                  <a:gd name="T2" fmla="*/ 94 w 234"/>
                  <a:gd name="T3" fmla="*/ 208 h 212"/>
                  <a:gd name="T4" fmla="*/ 76 w 234"/>
                  <a:gd name="T5" fmla="*/ 186 h 212"/>
                  <a:gd name="T6" fmla="*/ 34 w 234"/>
                  <a:gd name="T7" fmla="*/ 192 h 212"/>
                  <a:gd name="T8" fmla="*/ 32 w 234"/>
                  <a:gd name="T9" fmla="*/ 192 h 212"/>
                  <a:gd name="T10" fmla="*/ 6 w 234"/>
                  <a:gd name="T11" fmla="*/ 188 h 212"/>
                  <a:gd name="T12" fmla="*/ 8 w 234"/>
                  <a:gd name="T13" fmla="*/ 172 h 212"/>
                  <a:gd name="T14" fmla="*/ 32 w 234"/>
                  <a:gd name="T15" fmla="*/ 160 h 212"/>
                  <a:gd name="T16" fmla="*/ 24 w 234"/>
                  <a:gd name="T17" fmla="*/ 158 h 212"/>
                  <a:gd name="T18" fmla="*/ 0 w 234"/>
                  <a:gd name="T19" fmla="*/ 122 h 212"/>
                  <a:gd name="T20" fmla="*/ 0 w 234"/>
                  <a:gd name="T21" fmla="*/ 120 h 212"/>
                  <a:gd name="T22" fmla="*/ 10 w 234"/>
                  <a:gd name="T23" fmla="*/ 116 h 212"/>
                  <a:gd name="T24" fmla="*/ 12 w 234"/>
                  <a:gd name="T25" fmla="*/ 116 h 212"/>
                  <a:gd name="T26" fmla="*/ 50 w 234"/>
                  <a:gd name="T27" fmla="*/ 118 h 212"/>
                  <a:gd name="T28" fmla="*/ 74 w 234"/>
                  <a:gd name="T29" fmla="*/ 102 h 212"/>
                  <a:gd name="T30" fmla="*/ 78 w 234"/>
                  <a:gd name="T31" fmla="*/ 94 h 212"/>
                  <a:gd name="T32" fmla="*/ 92 w 234"/>
                  <a:gd name="T33" fmla="*/ 94 h 212"/>
                  <a:gd name="T34" fmla="*/ 96 w 234"/>
                  <a:gd name="T35" fmla="*/ 86 h 212"/>
                  <a:gd name="T36" fmla="*/ 120 w 234"/>
                  <a:gd name="T37" fmla="*/ 66 h 212"/>
                  <a:gd name="T38" fmla="*/ 126 w 234"/>
                  <a:gd name="T39" fmla="*/ 62 h 212"/>
                  <a:gd name="T40" fmla="*/ 130 w 234"/>
                  <a:gd name="T41" fmla="*/ 52 h 212"/>
                  <a:gd name="T42" fmla="*/ 144 w 234"/>
                  <a:gd name="T43" fmla="*/ 20 h 212"/>
                  <a:gd name="T44" fmla="*/ 150 w 234"/>
                  <a:gd name="T45" fmla="*/ 12 h 212"/>
                  <a:gd name="T46" fmla="*/ 164 w 234"/>
                  <a:gd name="T47" fmla="*/ 2 h 212"/>
                  <a:gd name="T48" fmla="*/ 196 w 234"/>
                  <a:gd name="T49" fmla="*/ 0 h 212"/>
                  <a:gd name="T50" fmla="*/ 198 w 234"/>
                  <a:gd name="T51" fmla="*/ 0 h 212"/>
                  <a:gd name="T52" fmla="*/ 216 w 234"/>
                  <a:gd name="T53" fmla="*/ 8 h 212"/>
                  <a:gd name="T54" fmla="*/ 232 w 234"/>
                  <a:gd name="T55" fmla="*/ 22 h 212"/>
                  <a:gd name="T56" fmla="*/ 228 w 234"/>
                  <a:gd name="T57" fmla="*/ 42 h 212"/>
                  <a:gd name="T58" fmla="*/ 186 w 234"/>
                  <a:gd name="T59" fmla="*/ 42 h 212"/>
                  <a:gd name="T60" fmla="*/ 202 w 234"/>
                  <a:gd name="T61" fmla="*/ 78 h 212"/>
                  <a:gd name="T62" fmla="*/ 202 w 234"/>
                  <a:gd name="T63" fmla="*/ 80 h 212"/>
                  <a:gd name="T64" fmla="*/ 196 w 234"/>
                  <a:gd name="T65" fmla="*/ 98 h 212"/>
                  <a:gd name="T66" fmla="*/ 158 w 234"/>
                  <a:gd name="T67" fmla="*/ 148 h 212"/>
                  <a:gd name="T68" fmla="*/ 144 w 234"/>
                  <a:gd name="T69" fmla="*/ 152 h 212"/>
                  <a:gd name="T70" fmla="*/ 144 w 234"/>
                  <a:gd name="T71" fmla="*/ 152 h 212"/>
                  <a:gd name="T72" fmla="*/ 130 w 234"/>
                  <a:gd name="T73" fmla="*/ 148 h 212"/>
                  <a:gd name="T74" fmla="*/ 128 w 234"/>
                  <a:gd name="T75" fmla="*/ 164 h 212"/>
                  <a:gd name="T76" fmla="*/ 132 w 234"/>
                  <a:gd name="T77" fmla="*/ 178 h 212"/>
                  <a:gd name="T78" fmla="*/ 144 w 234"/>
                  <a:gd name="T79" fmla="*/ 190 h 212"/>
                  <a:gd name="T80" fmla="*/ 144 w 234"/>
                  <a:gd name="T81" fmla="*/ 200 h 212"/>
                  <a:gd name="T82" fmla="*/ 128 w 234"/>
                  <a:gd name="T83" fmla="*/ 206 h 212"/>
                  <a:gd name="T84" fmla="*/ 126 w 234"/>
                  <a:gd name="T85" fmla="*/ 208 h 212"/>
                  <a:gd name="T86" fmla="*/ 124 w 234"/>
                  <a:gd name="T87" fmla="*/ 206 h 212"/>
                  <a:gd name="T88" fmla="*/ 108 w 234"/>
                  <a:gd name="T89" fmla="*/ 212 h 212"/>
                  <a:gd name="T90" fmla="*/ 106 w 234"/>
                  <a:gd name="T91"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12">
                    <a:moveTo>
                      <a:pt x="106" y="212"/>
                    </a:moveTo>
                    <a:lnTo>
                      <a:pt x="106" y="212"/>
                    </a:lnTo>
                    <a:lnTo>
                      <a:pt x="106" y="212"/>
                    </a:lnTo>
                    <a:lnTo>
                      <a:pt x="94" y="208"/>
                    </a:lnTo>
                    <a:lnTo>
                      <a:pt x="94" y="208"/>
                    </a:lnTo>
                    <a:lnTo>
                      <a:pt x="94" y="208"/>
                    </a:lnTo>
                    <a:lnTo>
                      <a:pt x="78" y="186"/>
                    </a:lnTo>
                    <a:lnTo>
                      <a:pt x="78" y="186"/>
                    </a:lnTo>
                    <a:lnTo>
                      <a:pt x="76" y="186"/>
                    </a:lnTo>
                    <a:lnTo>
                      <a:pt x="76" y="184"/>
                    </a:lnTo>
                    <a:lnTo>
                      <a:pt x="36" y="188"/>
                    </a:lnTo>
                    <a:lnTo>
                      <a:pt x="34" y="192"/>
                    </a:lnTo>
                    <a:lnTo>
                      <a:pt x="34" y="192"/>
                    </a:lnTo>
                    <a:lnTo>
                      <a:pt x="32" y="192"/>
                    </a:lnTo>
                    <a:lnTo>
                      <a:pt x="32" y="192"/>
                    </a:lnTo>
                    <a:lnTo>
                      <a:pt x="8" y="190"/>
                    </a:lnTo>
                    <a:lnTo>
                      <a:pt x="8" y="190"/>
                    </a:lnTo>
                    <a:lnTo>
                      <a:pt x="6" y="188"/>
                    </a:lnTo>
                    <a:lnTo>
                      <a:pt x="6" y="174"/>
                    </a:lnTo>
                    <a:lnTo>
                      <a:pt x="6" y="174"/>
                    </a:lnTo>
                    <a:lnTo>
                      <a:pt x="8" y="172"/>
                    </a:lnTo>
                    <a:lnTo>
                      <a:pt x="20" y="166"/>
                    </a:lnTo>
                    <a:lnTo>
                      <a:pt x="32" y="164"/>
                    </a:lnTo>
                    <a:lnTo>
                      <a:pt x="32" y="160"/>
                    </a:lnTo>
                    <a:lnTo>
                      <a:pt x="26" y="160"/>
                    </a:lnTo>
                    <a:lnTo>
                      <a:pt x="26" y="160"/>
                    </a:lnTo>
                    <a:lnTo>
                      <a:pt x="24" y="158"/>
                    </a:lnTo>
                    <a:lnTo>
                      <a:pt x="24" y="148"/>
                    </a:lnTo>
                    <a:lnTo>
                      <a:pt x="14" y="140"/>
                    </a:lnTo>
                    <a:lnTo>
                      <a:pt x="0" y="122"/>
                    </a:lnTo>
                    <a:lnTo>
                      <a:pt x="0" y="122"/>
                    </a:lnTo>
                    <a:lnTo>
                      <a:pt x="0" y="120"/>
                    </a:lnTo>
                    <a:lnTo>
                      <a:pt x="0" y="120"/>
                    </a:lnTo>
                    <a:lnTo>
                      <a:pt x="0" y="120"/>
                    </a:lnTo>
                    <a:lnTo>
                      <a:pt x="10" y="116"/>
                    </a:lnTo>
                    <a:lnTo>
                      <a:pt x="10" y="116"/>
                    </a:lnTo>
                    <a:lnTo>
                      <a:pt x="10" y="116"/>
                    </a:lnTo>
                    <a:lnTo>
                      <a:pt x="10" y="116"/>
                    </a:lnTo>
                    <a:lnTo>
                      <a:pt x="12" y="116"/>
                    </a:lnTo>
                    <a:lnTo>
                      <a:pt x="16" y="120"/>
                    </a:lnTo>
                    <a:lnTo>
                      <a:pt x="32" y="120"/>
                    </a:lnTo>
                    <a:lnTo>
                      <a:pt x="50" y="118"/>
                    </a:lnTo>
                    <a:lnTo>
                      <a:pt x="64" y="118"/>
                    </a:lnTo>
                    <a:lnTo>
                      <a:pt x="72" y="116"/>
                    </a:lnTo>
                    <a:lnTo>
                      <a:pt x="74" y="102"/>
                    </a:lnTo>
                    <a:lnTo>
                      <a:pt x="74" y="102"/>
                    </a:lnTo>
                    <a:lnTo>
                      <a:pt x="74" y="100"/>
                    </a:lnTo>
                    <a:lnTo>
                      <a:pt x="78" y="94"/>
                    </a:lnTo>
                    <a:lnTo>
                      <a:pt x="78" y="94"/>
                    </a:lnTo>
                    <a:lnTo>
                      <a:pt x="78" y="94"/>
                    </a:lnTo>
                    <a:lnTo>
                      <a:pt x="92" y="94"/>
                    </a:lnTo>
                    <a:lnTo>
                      <a:pt x="94" y="88"/>
                    </a:lnTo>
                    <a:lnTo>
                      <a:pt x="94" y="88"/>
                    </a:lnTo>
                    <a:lnTo>
                      <a:pt x="96" y="86"/>
                    </a:lnTo>
                    <a:lnTo>
                      <a:pt x="116" y="86"/>
                    </a:lnTo>
                    <a:lnTo>
                      <a:pt x="116" y="76"/>
                    </a:lnTo>
                    <a:lnTo>
                      <a:pt x="120" y="66"/>
                    </a:lnTo>
                    <a:lnTo>
                      <a:pt x="120" y="66"/>
                    </a:lnTo>
                    <a:lnTo>
                      <a:pt x="120" y="66"/>
                    </a:lnTo>
                    <a:lnTo>
                      <a:pt x="126" y="62"/>
                    </a:lnTo>
                    <a:lnTo>
                      <a:pt x="128" y="52"/>
                    </a:lnTo>
                    <a:lnTo>
                      <a:pt x="128" y="52"/>
                    </a:lnTo>
                    <a:lnTo>
                      <a:pt x="130" y="52"/>
                    </a:lnTo>
                    <a:lnTo>
                      <a:pt x="144" y="46"/>
                    </a:lnTo>
                    <a:lnTo>
                      <a:pt x="148" y="30"/>
                    </a:lnTo>
                    <a:lnTo>
                      <a:pt x="144" y="20"/>
                    </a:lnTo>
                    <a:lnTo>
                      <a:pt x="144" y="20"/>
                    </a:lnTo>
                    <a:lnTo>
                      <a:pt x="144" y="18"/>
                    </a:lnTo>
                    <a:lnTo>
                      <a:pt x="150" y="12"/>
                    </a:lnTo>
                    <a:lnTo>
                      <a:pt x="164" y="2"/>
                    </a:lnTo>
                    <a:lnTo>
                      <a:pt x="164" y="2"/>
                    </a:lnTo>
                    <a:lnTo>
                      <a:pt x="164" y="2"/>
                    </a:lnTo>
                    <a:lnTo>
                      <a:pt x="186" y="2"/>
                    </a:lnTo>
                    <a:lnTo>
                      <a:pt x="196" y="0"/>
                    </a:lnTo>
                    <a:lnTo>
                      <a:pt x="196" y="0"/>
                    </a:lnTo>
                    <a:lnTo>
                      <a:pt x="198" y="0"/>
                    </a:lnTo>
                    <a:lnTo>
                      <a:pt x="198" y="0"/>
                    </a:lnTo>
                    <a:lnTo>
                      <a:pt x="198" y="0"/>
                    </a:lnTo>
                    <a:lnTo>
                      <a:pt x="214" y="6"/>
                    </a:lnTo>
                    <a:lnTo>
                      <a:pt x="214" y="6"/>
                    </a:lnTo>
                    <a:lnTo>
                      <a:pt x="216" y="8"/>
                    </a:lnTo>
                    <a:lnTo>
                      <a:pt x="216" y="16"/>
                    </a:lnTo>
                    <a:lnTo>
                      <a:pt x="232" y="22"/>
                    </a:lnTo>
                    <a:lnTo>
                      <a:pt x="232" y="22"/>
                    </a:lnTo>
                    <a:lnTo>
                      <a:pt x="234" y="24"/>
                    </a:lnTo>
                    <a:lnTo>
                      <a:pt x="228" y="42"/>
                    </a:lnTo>
                    <a:lnTo>
                      <a:pt x="228" y="42"/>
                    </a:lnTo>
                    <a:lnTo>
                      <a:pt x="226" y="42"/>
                    </a:lnTo>
                    <a:lnTo>
                      <a:pt x="212" y="46"/>
                    </a:lnTo>
                    <a:lnTo>
                      <a:pt x="186" y="42"/>
                    </a:lnTo>
                    <a:lnTo>
                      <a:pt x="188" y="66"/>
                    </a:lnTo>
                    <a:lnTo>
                      <a:pt x="194" y="72"/>
                    </a:lnTo>
                    <a:lnTo>
                      <a:pt x="202" y="78"/>
                    </a:lnTo>
                    <a:lnTo>
                      <a:pt x="202" y="78"/>
                    </a:lnTo>
                    <a:lnTo>
                      <a:pt x="202" y="80"/>
                    </a:lnTo>
                    <a:lnTo>
                      <a:pt x="202" y="80"/>
                    </a:lnTo>
                    <a:lnTo>
                      <a:pt x="202" y="82"/>
                    </a:lnTo>
                    <a:lnTo>
                      <a:pt x="198" y="86"/>
                    </a:lnTo>
                    <a:lnTo>
                      <a:pt x="196" y="98"/>
                    </a:lnTo>
                    <a:lnTo>
                      <a:pt x="196" y="98"/>
                    </a:lnTo>
                    <a:lnTo>
                      <a:pt x="196" y="98"/>
                    </a:lnTo>
                    <a:lnTo>
                      <a:pt x="158" y="148"/>
                    </a:lnTo>
                    <a:lnTo>
                      <a:pt x="158" y="148"/>
                    </a:lnTo>
                    <a:lnTo>
                      <a:pt x="156" y="148"/>
                    </a:lnTo>
                    <a:lnTo>
                      <a:pt x="144" y="152"/>
                    </a:lnTo>
                    <a:lnTo>
                      <a:pt x="144" y="152"/>
                    </a:lnTo>
                    <a:lnTo>
                      <a:pt x="144" y="152"/>
                    </a:lnTo>
                    <a:lnTo>
                      <a:pt x="144" y="152"/>
                    </a:lnTo>
                    <a:lnTo>
                      <a:pt x="142" y="152"/>
                    </a:lnTo>
                    <a:lnTo>
                      <a:pt x="136" y="148"/>
                    </a:lnTo>
                    <a:lnTo>
                      <a:pt x="130" y="148"/>
                    </a:lnTo>
                    <a:lnTo>
                      <a:pt x="122" y="158"/>
                    </a:lnTo>
                    <a:lnTo>
                      <a:pt x="122" y="164"/>
                    </a:lnTo>
                    <a:lnTo>
                      <a:pt x="128" y="164"/>
                    </a:lnTo>
                    <a:lnTo>
                      <a:pt x="128" y="164"/>
                    </a:lnTo>
                    <a:lnTo>
                      <a:pt x="130" y="166"/>
                    </a:lnTo>
                    <a:lnTo>
                      <a:pt x="132" y="178"/>
                    </a:lnTo>
                    <a:lnTo>
                      <a:pt x="138" y="182"/>
                    </a:lnTo>
                    <a:lnTo>
                      <a:pt x="144" y="190"/>
                    </a:lnTo>
                    <a:lnTo>
                      <a:pt x="144" y="190"/>
                    </a:lnTo>
                    <a:lnTo>
                      <a:pt x="144" y="190"/>
                    </a:lnTo>
                    <a:lnTo>
                      <a:pt x="144" y="200"/>
                    </a:lnTo>
                    <a:lnTo>
                      <a:pt x="144" y="200"/>
                    </a:lnTo>
                    <a:lnTo>
                      <a:pt x="142" y="202"/>
                    </a:lnTo>
                    <a:lnTo>
                      <a:pt x="130" y="202"/>
                    </a:lnTo>
                    <a:lnTo>
                      <a:pt x="128" y="206"/>
                    </a:lnTo>
                    <a:lnTo>
                      <a:pt x="128" y="206"/>
                    </a:lnTo>
                    <a:lnTo>
                      <a:pt x="126" y="208"/>
                    </a:lnTo>
                    <a:lnTo>
                      <a:pt x="126" y="208"/>
                    </a:lnTo>
                    <a:lnTo>
                      <a:pt x="126" y="208"/>
                    </a:lnTo>
                    <a:lnTo>
                      <a:pt x="126" y="208"/>
                    </a:lnTo>
                    <a:lnTo>
                      <a:pt x="124" y="206"/>
                    </a:lnTo>
                    <a:lnTo>
                      <a:pt x="118" y="202"/>
                    </a:lnTo>
                    <a:lnTo>
                      <a:pt x="112" y="202"/>
                    </a:lnTo>
                    <a:lnTo>
                      <a:pt x="108" y="212"/>
                    </a:lnTo>
                    <a:lnTo>
                      <a:pt x="108" y="212"/>
                    </a:lnTo>
                    <a:lnTo>
                      <a:pt x="106" y="212"/>
                    </a:lnTo>
                    <a:lnTo>
                      <a:pt x="106"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2" name="Freeform 855"/>
              <p:cNvSpPr>
                <a:spLocks noEditPoints="1"/>
              </p:cNvSpPr>
              <p:nvPr/>
            </p:nvSpPr>
            <p:spPr bwMode="auto">
              <a:xfrm>
                <a:off x="3723" y="1967"/>
                <a:ext cx="236" cy="216"/>
              </a:xfrm>
              <a:custGeom>
                <a:avLst/>
                <a:gdLst>
                  <a:gd name="T0" fmla="*/ 216 w 236"/>
                  <a:gd name="T1" fmla="*/ 20 h 216"/>
                  <a:gd name="T2" fmla="*/ 214 w 236"/>
                  <a:gd name="T3" fmla="*/ 46 h 216"/>
                  <a:gd name="T4" fmla="*/ 202 w 236"/>
                  <a:gd name="T5" fmla="*/ 82 h 216"/>
                  <a:gd name="T6" fmla="*/ 146 w 236"/>
                  <a:gd name="T7" fmla="*/ 152 h 216"/>
                  <a:gd name="T8" fmla="*/ 122 w 236"/>
                  <a:gd name="T9" fmla="*/ 168 h 216"/>
                  <a:gd name="T10" fmla="*/ 144 w 236"/>
                  <a:gd name="T11" fmla="*/ 192 h 216"/>
                  <a:gd name="T12" fmla="*/ 120 w 236"/>
                  <a:gd name="T13" fmla="*/ 202 h 216"/>
                  <a:gd name="T14" fmla="*/ 80 w 236"/>
                  <a:gd name="T15" fmla="*/ 188 h 216"/>
                  <a:gd name="T16" fmla="*/ 10 w 236"/>
                  <a:gd name="T17" fmla="*/ 190 h 216"/>
                  <a:gd name="T18" fmla="*/ 36 w 236"/>
                  <a:gd name="T19" fmla="*/ 160 h 216"/>
                  <a:gd name="T20" fmla="*/ 4 w 236"/>
                  <a:gd name="T21" fmla="*/ 122 h 216"/>
                  <a:gd name="T22" fmla="*/ 52 w 236"/>
                  <a:gd name="T23" fmla="*/ 122 h 216"/>
                  <a:gd name="T24" fmla="*/ 80 w 236"/>
                  <a:gd name="T25" fmla="*/ 98 h 216"/>
                  <a:gd name="T26" fmla="*/ 120 w 236"/>
                  <a:gd name="T27" fmla="*/ 78 h 216"/>
                  <a:gd name="T28" fmla="*/ 148 w 236"/>
                  <a:gd name="T29" fmla="*/ 50 h 216"/>
                  <a:gd name="T30" fmla="*/ 166 w 236"/>
                  <a:gd name="T31" fmla="*/ 6 h 216"/>
                  <a:gd name="T32" fmla="*/ 200 w 236"/>
                  <a:gd name="T33" fmla="*/ 0 h 216"/>
                  <a:gd name="T34" fmla="*/ 174 w 236"/>
                  <a:gd name="T35" fmla="*/ 2 h 216"/>
                  <a:gd name="T36" fmla="*/ 150 w 236"/>
                  <a:gd name="T37" fmla="*/ 12 h 216"/>
                  <a:gd name="T38" fmla="*/ 144 w 236"/>
                  <a:gd name="T39" fmla="*/ 18 h 216"/>
                  <a:gd name="T40" fmla="*/ 144 w 236"/>
                  <a:gd name="T41" fmla="*/ 46 h 216"/>
                  <a:gd name="T42" fmla="*/ 126 w 236"/>
                  <a:gd name="T43" fmla="*/ 64 h 216"/>
                  <a:gd name="T44" fmla="*/ 116 w 236"/>
                  <a:gd name="T45" fmla="*/ 76 h 216"/>
                  <a:gd name="T46" fmla="*/ 98 w 236"/>
                  <a:gd name="T47" fmla="*/ 86 h 216"/>
                  <a:gd name="T48" fmla="*/ 80 w 236"/>
                  <a:gd name="T49" fmla="*/ 94 h 216"/>
                  <a:gd name="T50" fmla="*/ 74 w 236"/>
                  <a:gd name="T51" fmla="*/ 102 h 216"/>
                  <a:gd name="T52" fmla="*/ 52 w 236"/>
                  <a:gd name="T53" fmla="*/ 118 h 216"/>
                  <a:gd name="T54" fmla="*/ 16 w 236"/>
                  <a:gd name="T55" fmla="*/ 116 h 216"/>
                  <a:gd name="T56" fmla="*/ 2 w 236"/>
                  <a:gd name="T57" fmla="*/ 120 h 216"/>
                  <a:gd name="T58" fmla="*/ 0 w 236"/>
                  <a:gd name="T59" fmla="*/ 126 h 216"/>
                  <a:gd name="T60" fmla="*/ 24 w 236"/>
                  <a:gd name="T61" fmla="*/ 152 h 216"/>
                  <a:gd name="T62" fmla="*/ 28 w 236"/>
                  <a:gd name="T63" fmla="*/ 164 h 216"/>
                  <a:gd name="T64" fmla="*/ 22 w 236"/>
                  <a:gd name="T65" fmla="*/ 166 h 216"/>
                  <a:gd name="T66" fmla="*/ 6 w 236"/>
                  <a:gd name="T67" fmla="*/ 190 h 216"/>
                  <a:gd name="T68" fmla="*/ 34 w 236"/>
                  <a:gd name="T69" fmla="*/ 196 h 216"/>
                  <a:gd name="T70" fmla="*/ 38 w 236"/>
                  <a:gd name="T71" fmla="*/ 194 h 216"/>
                  <a:gd name="T72" fmla="*/ 78 w 236"/>
                  <a:gd name="T73" fmla="*/ 190 h 216"/>
                  <a:gd name="T74" fmla="*/ 106 w 236"/>
                  <a:gd name="T75" fmla="*/ 216 h 216"/>
                  <a:gd name="T76" fmla="*/ 110 w 236"/>
                  <a:gd name="T77" fmla="*/ 216 h 216"/>
                  <a:gd name="T78" fmla="*/ 124 w 236"/>
                  <a:gd name="T79" fmla="*/ 210 h 216"/>
                  <a:gd name="T80" fmla="*/ 128 w 236"/>
                  <a:gd name="T81" fmla="*/ 210 h 216"/>
                  <a:gd name="T82" fmla="*/ 144 w 236"/>
                  <a:gd name="T83" fmla="*/ 206 h 216"/>
                  <a:gd name="T84" fmla="*/ 148 w 236"/>
                  <a:gd name="T85" fmla="*/ 192 h 216"/>
                  <a:gd name="T86" fmla="*/ 142 w 236"/>
                  <a:gd name="T87" fmla="*/ 184 h 216"/>
                  <a:gd name="T88" fmla="*/ 134 w 236"/>
                  <a:gd name="T89" fmla="*/ 166 h 216"/>
                  <a:gd name="T90" fmla="*/ 126 w 236"/>
                  <a:gd name="T91" fmla="*/ 160 h 216"/>
                  <a:gd name="T92" fmla="*/ 144 w 236"/>
                  <a:gd name="T93" fmla="*/ 156 h 216"/>
                  <a:gd name="T94" fmla="*/ 158 w 236"/>
                  <a:gd name="T95" fmla="*/ 152 h 216"/>
                  <a:gd name="T96" fmla="*/ 198 w 236"/>
                  <a:gd name="T97" fmla="*/ 102 h 216"/>
                  <a:gd name="T98" fmla="*/ 206 w 236"/>
                  <a:gd name="T99" fmla="*/ 84 h 216"/>
                  <a:gd name="T100" fmla="*/ 198 w 236"/>
                  <a:gd name="T101" fmla="*/ 72 h 216"/>
                  <a:gd name="T102" fmla="*/ 190 w 236"/>
                  <a:gd name="T103" fmla="*/ 48 h 216"/>
                  <a:gd name="T104" fmla="*/ 214 w 236"/>
                  <a:gd name="T105" fmla="*/ 50 h 216"/>
                  <a:gd name="T106" fmla="*/ 232 w 236"/>
                  <a:gd name="T107" fmla="*/ 44 h 216"/>
                  <a:gd name="T108" fmla="*/ 236 w 236"/>
                  <a:gd name="T109" fmla="*/ 24 h 216"/>
                  <a:gd name="T110" fmla="*/ 220 w 236"/>
                  <a:gd name="T111" fmla="*/ 10 h 216"/>
                  <a:gd name="T112" fmla="*/ 200 w 236"/>
                  <a:gd name="T113"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16">
                    <a:moveTo>
                      <a:pt x="200" y="4"/>
                    </a:moveTo>
                    <a:lnTo>
                      <a:pt x="204" y="6"/>
                    </a:lnTo>
                    <a:lnTo>
                      <a:pt x="216" y="10"/>
                    </a:lnTo>
                    <a:lnTo>
                      <a:pt x="216" y="20"/>
                    </a:lnTo>
                    <a:lnTo>
                      <a:pt x="234" y="26"/>
                    </a:lnTo>
                    <a:lnTo>
                      <a:pt x="232" y="32"/>
                    </a:lnTo>
                    <a:lnTo>
                      <a:pt x="228" y="42"/>
                    </a:lnTo>
                    <a:lnTo>
                      <a:pt x="214" y="46"/>
                    </a:lnTo>
                    <a:lnTo>
                      <a:pt x="186" y="42"/>
                    </a:lnTo>
                    <a:lnTo>
                      <a:pt x="188" y="70"/>
                    </a:lnTo>
                    <a:lnTo>
                      <a:pt x="196" y="74"/>
                    </a:lnTo>
                    <a:lnTo>
                      <a:pt x="202" y="82"/>
                    </a:lnTo>
                    <a:lnTo>
                      <a:pt x="198" y="88"/>
                    </a:lnTo>
                    <a:lnTo>
                      <a:pt x="196" y="100"/>
                    </a:lnTo>
                    <a:lnTo>
                      <a:pt x="158" y="148"/>
                    </a:lnTo>
                    <a:lnTo>
                      <a:pt x="146" y="152"/>
                    </a:lnTo>
                    <a:lnTo>
                      <a:pt x="138" y="148"/>
                    </a:lnTo>
                    <a:lnTo>
                      <a:pt x="130" y="148"/>
                    </a:lnTo>
                    <a:lnTo>
                      <a:pt x="122" y="158"/>
                    </a:lnTo>
                    <a:lnTo>
                      <a:pt x="122" y="168"/>
                    </a:lnTo>
                    <a:lnTo>
                      <a:pt x="130" y="168"/>
                    </a:lnTo>
                    <a:lnTo>
                      <a:pt x="132" y="180"/>
                    </a:lnTo>
                    <a:lnTo>
                      <a:pt x="138" y="186"/>
                    </a:lnTo>
                    <a:lnTo>
                      <a:pt x="144" y="192"/>
                    </a:lnTo>
                    <a:lnTo>
                      <a:pt x="144" y="202"/>
                    </a:lnTo>
                    <a:lnTo>
                      <a:pt x="130" y="202"/>
                    </a:lnTo>
                    <a:lnTo>
                      <a:pt x="128" y="208"/>
                    </a:lnTo>
                    <a:lnTo>
                      <a:pt x="120" y="202"/>
                    </a:lnTo>
                    <a:lnTo>
                      <a:pt x="114" y="202"/>
                    </a:lnTo>
                    <a:lnTo>
                      <a:pt x="108" y="212"/>
                    </a:lnTo>
                    <a:lnTo>
                      <a:pt x="96" y="208"/>
                    </a:lnTo>
                    <a:lnTo>
                      <a:pt x="80" y="188"/>
                    </a:lnTo>
                    <a:lnTo>
                      <a:pt x="80" y="184"/>
                    </a:lnTo>
                    <a:lnTo>
                      <a:pt x="38" y="188"/>
                    </a:lnTo>
                    <a:lnTo>
                      <a:pt x="34" y="192"/>
                    </a:lnTo>
                    <a:lnTo>
                      <a:pt x="10" y="190"/>
                    </a:lnTo>
                    <a:lnTo>
                      <a:pt x="10" y="176"/>
                    </a:lnTo>
                    <a:lnTo>
                      <a:pt x="24" y="170"/>
                    </a:lnTo>
                    <a:lnTo>
                      <a:pt x="36" y="168"/>
                    </a:lnTo>
                    <a:lnTo>
                      <a:pt x="36" y="160"/>
                    </a:lnTo>
                    <a:lnTo>
                      <a:pt x="28" y="160"/>
                    </a:lnTo>
                    <a:lnTo>
                      <a:pt x="28" y="150"/>
                    </a:lnTo>
                    <a:lnTo>
                      <a:pt x="18" y="140"/>
                    </a:lnTo>
                    <a:lnTo>
                      <a:pt x="4" y="122"/>
                    </a:lnTo>
                    <a:lnTo>
                      <a:pt x="12" y="120"/>
                    </a:lnTo>
                    <a:lnTo>
                      <a:pt x="18" y="124"/>
                    </a:lnTo>
                    <a:lnTo>
                      <a:pt x="34" y="124"/>
                    </a:lnTo>
                    <a:lnTo>
                      <a:pt x="52" y="122"/>
                    </a:lnTo>
                    <a:lnTo>
                      <a:pt x="66" y="122"/>
                    </a:lnTo>
                    <a:lnTo>
                      <a:pt x="76" y="120"/>
                    </a:lnTo>
                    <a:lnTo>
                      <a:pt x="78" y="104"/>
                    </a:lnTo>
                    <a:lnTo>
                      <a:pt x="80" y="98"/>
                    </a:lnTo>
                    <a:lnTo>
                      <a:pt x="96" y="98"/>
                    </a:lnTo>
                    <a:lnTo>
                      <a:pt x="98" y="90"/>
                    </a:lnTo>
                    <a:lnTo>
                      <a:pt x="120" y="90"/>
                    </a:lnTo>
                    <a:lnTo>
                      <a:pt x="120" y="78"/>
                    </a:lnTo>
                    <a:lnTo>
                      <a:pt x="124" y="70"/>
                    </a:lnTo>
                    <a:lnTo>
                      <a:pt x="130" y="66"/>
                    </a:lnTo>
                    <a:lnTo>
                      <a:pt x="132" y="54"/>
                    </a:lnTo>
                    <a:lnTo>
                      <a:pt x="148" y="50"/>
                    </a:lnTo>
                    <a:lnTo>
                      <a:pt x="152" y="32"/>
                    </a:lnTo>
                    <a:lnTo>
                      <a:pt x="148" y="20"/>
                    </a:lnTo>
                    <a:lnTo>
                      <a:pt x="152" y="16"/>
                    </a:lnTo>
                    <a:lnTo>
                      <a:pt x="166" y="6"/>
                    </a:lnTo>
                    <a:lnTo>
                      <a:pt x="174" y="6"/>
                    </a:lnTo>
                    <a:lnTo>
                      <a:pt x="188" y="6"/>
                    </a:lnTo>
                    <a:lnTo>
                      <a:pt x="200" y="4"/>
                    </a:lnTo>
                    <a:close/>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3" name="Freeform 856"/>
              <p:cNvSpPr>
                <a:spLocks/>
              </p:cNvSpPr>
              <p:nvPr/>
            </p:nvSpPr>
            <p:spPr bwMode="auto">
              <a:xfrm>
                <a:off x="3727" y="1971"/>
                <a:ext cx="230" cy="208"/>
              </a:xfrm>
              <a:custGeom>
                <a:avLst/>
                <a:gdLst>
                  <a:gd name="T0" fmla="*/ 200 w 230"/>
                  <a:gd name="T1" fmla="*/ 2 h 208"/>
                  <a:gd name="T2" fmla="*/ 212 w 230"/>
                  <a:gd name="T3" fmla="*/ 16 h 208"/>
                  <a:gd name="T4" fmla="*/ 228 w 230"/>
                  <a:gd name="T5" fmla="*/ 28 h 208"/>
                  <a:gd name="T6" fmla="*/ 210 w 230"/>
                  <a:gd name="T7" fmla="*/ 42 h 208"/>
                  <a:gd name="T8" fmla="*/ 184 w 230"/>
                  <a:gd name="T9" fmla="*/ 66 h 208"/>
                  <a:gd name="T10" fmla="*/ 198 w 230"/>
                  <a:gd name="T11" fmla="*/ 78 h 208"/>
                  <a:gd name="T12" fmla="*/ 192 w 230"/>
                  <a:gd name="T13" fmla="*/ 96 h 208"/>
                  <a:gd name="T14" fmla="*/ 142 w 230"/>
                  <a:gd name="T15" fmla="*/ 148 h 208"/>
                  <a:gd name="T16" fmla="*/ 126 w 230"/>
                  <a:gd name="T17" fmla="*/ 144 h 208"/>
                  <a:gd name="T18" fmla="*/ 118 w 230"/>
                  <a:gd name="T19" fmla="*/ 164 h 208"/>
                  <a:gd name="T20" fmla="*/ 128 w 230"/>
                  <a:gd name="T21" fmla="*/ 176 h 208"/>
                  <a:gd name="T22" fmla="*/ 140 w 230"/>
                  <a:gd name="T23" fmla="*/ 188 h 208"/>
                  <a:gd name="T24" fmla="*/ 126 w 230"/>
                  <a:gd name="T25" fmla="*/ 198 h 208"/>
                  <a:gd name="T26" fmla="*/ 116 w 230"/>
                  <a:gd name="T27" fmla="*/ 198 h 208"/>
                  <a:gd name="T28" fmla="*/ 104 w 230"/>
                  <a:gd name="T29" fmla="*/ 208 h 208"/>
                  <a:gd name="T30" fmla="*/ 76 w 230"/>
                  <a:gd name="T31" fmla="*/ 184 h 208"/>
                  <a:gd name="T32" fmla="*/ 34 w 230"/>
                  <a:gd name="T33" fmla="*/ 184 h 208"/>
                  <a:gd name="T34" fmla="*/ 6 w 230"/>
                  <a:gd name="T35" fmla="*/ 186 h 208"/>
                  <a:gd name="T36" fmla="*/ 20 w 230"/>
                  <a:gd name="T37" fmla="*/ 166 h 208"/>
                  <a:gd name="T38" fmla="*/ 32 w 230"/>
                  <a:gd name="T39" fmla="*/ 156 h 208"/>
                  <a:gd name="T40" fmla="*/ 24 w 230"/>
                  <a:gd name="T41" fmla="*/ 146 h 208"/>
                  <a:gd name="T42" fmla="*/ 0 w 230"/>
                  <a:gd name="T43" fmla="*/ 118 h 208"/>
                  <a:gd name="T44" fmla="*/ 14 w 230"/>
                  <a:gd name="T45" fmla="*/ 120 h 208"/>
                  <a:gd name="T46" fmla="*/ 48 w 230"/>
                  <a:gd name="T47" fmla="*/ 118 h 208"/>
                  <a:gd name="T48" fmla="*/ 72 w 230"/>
                  <a:gd name="T49" fmla="*/ 116 h 208"/>
                  <a:gd name="T50" fmla="*/ 76 w 230"/>
                  <a:gd name="T51" fmla="*/ 94 h 208"/>
                  <a:gd name="T52" fmla="*/ 94 w 230"/>
                  <a:gd name="T53" fmla="*/ 86 h 208"/>
                  <a:gd name="T54" fmla="*/ 116 w 230"/>
                  <a:gd name="T55" fmla="*/ 74 h 208"/>
                  <a:gd name="T56" fmla="*/ 126 w 230"/>
                  <a:gd name="T57" fmla="*/ 62 h 208"/>
                  <a:gd name="T58" fmla="*/ 144 w 230"/>
                  <a:gd name="T59" fmla="*/ 46 h 208"/>
                  <a:gd name="T60" fmla="*/ 144 w 230"/>
                  <a:gd name="T61" fmla="*/ 16 h 208"/>
                  <a:gd name="T62" fmla="*/ 162 w 230"/>
                  <a:gd name="T63" fmla="*/ 2 h 208"/>
                  <a:gd name="T64" fmla="*/ 184 w 230"/>
                  <a:gd name="T6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08">
                    <a:moveTo>
                      <a:pt x="196" y="0"/>
                    </a:moveTo>
                    <a:lnTo>
                      <a:pt x="200" y="2"/>
                    </a:lnTo>
                    <a:lnTo>
                      <a:pt x="212" y="6"/>
                    </a:lnTo>
                    <a:lnTo>
                      <a:pt x="212" y="16"/>
                    </a:lnTo>
                    <a:lnTo>
                      <a:pt x="230" y="22"/>
                    </a:lnTo>
                    <a:lnTo>
                      <a:pt x="228" y="28"/>
                    </a:lnTo>
                    <a:lnTo>
                      <a:pt x="224" y="38"/>
                    </a:lnTo>
                    <a:lnTo>
                      <a:pt x="210" y="42"/>
                    </a:lnTo>
                    <a:lnTo>
                      <a:pt x="182" y="38"/>
                    </a:lnTo>
                    <a:lnTo>
                      <a:pt x="184" y="66"/>
                    </a:lnTo>
                    <a:lnTo>
                      <a:pt x="192" y="70"/>
                    </a:lnTo>
                    <a:lnTo>
                      <a:pt x="198" y="78"/>
                    </a:lnTo>
                    <a:lnTo>
                      <a:pt x="194" y="84"/>
                    </a:lnTo>
                    <a:lnTo>
                      <a:pt x="192" y="96"/>
                    </a:lnTo>
                    <a:lnTo>
                      <a:pt x="154" y="144"/>
                    </a:lnTo>
                    <a:lnTo>
                      <a:pt x="142" y="148"/>
                    </a:lnTo>
                    <a:lnTo>
                      <a:pt x="134" y="144"/>
                    </a:lnTo>
                    <a:lnTo>
                      <a:pt x="126" y="144"/>
                    </a:lnTo>
                    <a:lnTo>
                      <a:pt x="118" y="154"/>
                    </a:lnTo>
                    <a:lnTo>
                      <a:pt x="118" y="164"/>
                    </a:lnTo>
                    <a:lnTo>
                      <a:pt x="126" y="164"/>
                    </a:lnTo>
                    <a:lnTo>
                      <a:pt x="128" y="176"/>
                    </a:lnTo>
                    <a:lnTo>
                      <a:pt x="134" y="182"/>
                    </a:lnTo>
                    <a:lnTo>
                      <a:pt x="140" y="188"/>
                    </a:lnTo>
                    <a:lnTo>
                      <a:pt x="140" y="198"/>
                    </a:lnTo>
                    <a:lnTo>
                      <a:pt x="126" y="198"/>
                    </a:lnTo>
                    <a:lnTo>
                      <a:pt x="124" y="204"/>
                    </a:lnTo>
                    <a:lnTo>
                      <a:pt x="116" y="198"/>
                    </a:lnTo>
                    <a:lnTo>
                      <a:pt x="110" y="198"/>
                    </a:lnTo>
                    <a:lnTo>
                      <a:pt x="104" y="208"/>
                    </a:lnTo>
                    <a:lnTo>
                      <a:pt x="92" y="204"/>
                    </a:lnTo>
                    <a:lnTo>
                      <a:pt x="76" y="184"/>
                    </a:lnTo>
                    <a:lnTo>
                      <a:pt x="76" y="180"/>
                    </a:lnTo>
                    <a:lnTo>
                      <a:pt x="34" y="184"/>
                    </a:lnTo>
                    <a:lnTo>
                      <a:pt x="30" y="188"/>
                    </a:lnTo>
                    <a:lnTo>
                      <a:pt x="6" y="186"/>
                    </a:lnTo>
                    <a:lnTo>
                      <a:pt x="6" y="172"/>
                    </a:lnTo>
                    <a:lnTo>
                      <a:pt x="20" y="166"/>
                    </a:lnTo>
                    <a:lnTo>
                      <a:pt x="32" y="164"/>
                    </a:lnTo>
                    <a:lnTo>
                      <a:pt x="32" y="156"/>
                    </a:lnTo>
                    <a:lnTo>
                      <a:pt x="24" y="156"/>
                    </a:lnTo>
                    <a:lnTo>
                      <a:pt x="24" y="146"/>
                    </a:lnTo>
                    <a:lnTo>
                      <a:pt x="14" y="136"/>
                    </a:lnTo>
                    <a:lnTo>
                      <a:pt x="0" y="118"/>
                    </a:lnTo>
                    <a:lnTo>
                      <a:pt x="8" y="116"/>
                    </a:lnTo>
                    <a:lnTo>
                      <a:pt x="14" y="120"/>
                    </a:lnTo>
                    <a:lnTo>
                      <a:pt x="30" y="120"/>
                    </a:lnTo>
                    <a:lnTo>
                      <a:pt x="48" y="118"/>
                    </a:lnTo>
                    <a:lnTo>
                      <a:pt x="62" y="118"/>
                    </a:lnTo>
                    <a:lnTo>
                      <a:pt x="72" y="116"/>
                    </a:lnTo>
                    <a:lnTo>
                      <a:pt x="74" y="100"/>
                    </a:lnTo>
                    <a:lnTo>
                      <a:pt x="76" y="94"/>
                    </a:lnTo>
                    <a:lnTo>
                      <a:pt x="92" y="94"/>
                    </a:lnTo>
                    <a:lnTo>
                      <a:pt x="94" y="86"/>
                    </a:lnTo>
                    <a:lnTo>
                      <a:pt x="116" y="86"/>
                    </a:lnTo>
                    <a:lnTo>
                      <a:pt x="116" y="74"/>
                    </a:lnTo>
                    <a:lnTo>
                      <a:pt x="120" y="66"/>
                    </a:lnTo>
                    <a:lnTo>
                      <a:pt x="126" y="62"/>
                    </a:lnTo>
                    <a:lnTo>
                      <a:pt x="128" y="50"/>
                    </a:lnTo>
                    <a:lnTo>
                      <a:pt x="144" y="46"/>
                    </a:lnTo>
                    <a:lnTo>
                      <a:pt x="148" y="28"/>
                    </a:lnTo>
                    <a:lnTo>
                      <a:pt x="144" y="16"/>
                    </a:lnTo>
                    <a:lnTo>
                      <a:pt x="148" y="12"/>
                    </a:lnTo>
                    <a:lnTo>
                      <a:pt x="162" y="2"/>
                    </a:lnTo>
                    <a:lnTo>
                      <a:pt x="170" y="2"/>
                    </a:lnTo>
                    <a:lnTo>
                      <a:pt x="184" y="2"/>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4" name="Freeform 857"/>
              <p:cNvSpPr>
                <a:spLocks/>
              </p:cNvSpPr>
              <p:nvPr/>
            </p:nvSpPr>
            <p:spPr bwMode="auto">
              <a:xfrm>
                <a:off x="3723" y="1967"/>
                <a:ext cx="236" cy="216"/>
              </a:xfrm>
              <a:custGeom>
                <a:avLst/>
                <a:gdLst>
                  <a:gd name="T0" fmla="*/ 198 w 236"/>
                  <a:gd name="T1" fmla="*/ 0 h 216"/>
                  <a:gd name="T2" fmla="*/ 166 w 236"/>
                  <a:gd name="T3" fmla="*/ 2 h 216"/>
                  <a:gd name="T4" fmla="*/ 150 w 236"/>
                  <a:gd name="T5" fmla="*/ 12 h 216"/>
                  <a:gd name="T6" fmla="*/ 144 w 236"/>
                  <a:gd name="T7" fmla="*/ 18 h 216"/>
                  <a:gd name="T8" fmla="*/ 144 w 236"/>
                  <a:gd name="T9" fmla="*/ 22 h 216"/>
                  <a:gd name="T10" fmla="*/ 132 w 236"/>
                  <a:gd name="T11" fmla="*/ 52 h 216"/>
                  <a:gd name="T12" fmla="*/ 126 w 236"/>
                  <a:gd name="T13" fmla="*/ 64 h 216"/>
                  <a:gd name="T14" fmla="*/ 120 w 236"/>
                  <a:gd name="T15" fmla="*/ 68 h 216"/>
                  <a:gd name="T16" fmla="*/ 116 w 236"/>
                  <a:gd name="T17" fmla="*/ 78 h 216"/>
                  <a:gd name="T18" fmla="*/ 98 w 236"/>
                  <a:gd name="T19" fmla="*/ 86 h 216"/>
                  <a:gd name="T20" fmla="*/ 80 w 236"/>
                  <a:gd name="T21" fmla="*/ 94 h 216"/>
                  <a:gd name="T22" fmla="*/ 74 w 236"/>
                  <a:gd name="T23" fmla="*/ 102 h 216"/>
                  <a:gd name="T24" fmla="*/ 72 w 236"/>
                  <a:gd name="T25" fmla="*/ 116 h 216"/>
                  <a:gd name="T26" fmla="*/ 34 w 236"/>
                  <a:gd name="T27" fmla="*/ 120 h 216"/>
                  <a:gd name="T28" fmla="*/ 16 w 236"/>
                  <a:gd name="T29" fmla="*/ 116 h 216"/>
                  <a:gd name="T30" fmla="*/ 12 w 236"/>
                  <a:gd name="T31" fmla="*/ 116 h 216"/>
                  <a:gd name="T32" fmla="*/ 0 w 236"/>
                  <a:gd name="T33" fmla="*/ 122 h 216"/>
                  <a:gd name="T34" fmla="*/ 14 w 236"/>
                  <a:gd name="T35" fmla="*/ 144 h 216"/>
                  <a:gd name="T36" fmla="*/ 24 w 236"/>
                  <a:gd name="T37" fmla="*/ 152 h 216"/>
                  <a:gd name="T38" fmla="*/ 26 w 236"/>
                  <a:gd name="T39" fmla="*/ 164 h 216"/>
                  <a:gd name="T40" fmla="*/ 22 w 236"/>
                  <a:gd name="T41" fmla="*/ 166 h 216"/>
                  <a:gd name="T42" fmla="*/ 8 w 236"/>
                  <a:gd name="T43" fmla="*/ 174 h 216"/>
                  <a:gd name="T44" fmla="*/ 6 w 236"/>
                  <a:gd name="T45" fmla="*/ 190 h 216"/>
                  <a:gd name="T46" fmla="*/ 10 w 236"/>
                  <a:gd name="T47" fmla="*/ 194 h 216"/>
                  <a:gd name="T48" fmla="*/ 34 w 236"/>
                  <a:gd name="T49" fmla="*/ 196 h 216"/>
                  <a:gd name="T50" fmla="*/ 40 w 236"/>
                  <a:gd name="T51" fmla="*/ 192 h 216"/>
                  <a:gd name="T52" fmla="*/ 78 w 236"/>
                  <a:gd name="T53" fmla="*/ 190 h 216"/>
                  <a:gd name="T54" fmla="*/ 96 w 236"/>
                  <a:gd name="T55" fmla="*/ 212 h 216"/>
                  <a:gd name="T56" fmla="*/ 108 w 236"/>
                  <a:gd name="T57" fmla="*/ 216 h 216"/>
                  <a:gd name="T58" fmla="*/ 112 w 236"/>
                  <a:gd name="T59" fmla="*/ 214 h 216"/>
                  <a:gd name="T60" fmla="*/ 124 w 236"/>
                  <a:gd name="T61" fmla="*/ 210 h 216"/>
                  <a:gd name="T62" fmla="*/ 128 w 236"/>
                  <a:gd name="T63" fmla="*/ 212 h 216"/>
                  <a:gd name="T64" fmla="*/ 130 w 236"/>
                  <a:gd name="T65" fmla="*/ 210 h 216"/>
                  <a:gd name="T66" fmla="*/ 144 w 236"/>
                  <a:gd name="T67" fmla="*/ 206 h 216"/>
                  <a:gd name="T68" fmla="*/ 148 w 236"/>
                  <a:gd name="T69" fmla="*/ 192 h 216"/>
                  <a:gd name="T70" fmla="*/ 142 w 236"/>
                  <a:gd name="T71" fmla="*/ 184 h 216"/>
                  <a:gd name="T72" fmla="*/ 136 w 236"/>
                  <a:gd name="T73" fmla="*/ 178 h 216"/>
                  <a:gd name="T74" fmla="*/ 132 w 236"/>
                  <a:gd name="T75" fmla="*/ 164 h 216"/>
                  <a:gd name="T76" fmla="*/ 126 w 236"/>
                  <a:gd name="T77" fmla="*/ 160 h 216"/>
                  <a:gd name="T78" fmla="*/ 144 w 236"/>
                  <a:gd name="T79" fmla="*/ 156 h 216"/>
                  <a:gd name="T80" fmla="*/ 146 w 236"/>
                  <a:gd name="T81" fmla="*/ 156 h 216"/>
                  <a:gd name="T82" fmla="*/ 158 w 236"/>
                  <a:gd name="T83" fmla="*/ 152 h 216"/>
                  <a:gd name="T84" fmla="*/ 198 w 236"/>
                  <a:gd name="T85" fmla="*/ 102 h 216"/>
                  <a:gd name="T86" fmla="*/ 206 w 236"/>
                  <a:gd name="T87" fmla="*/ 84 h 216"/>
                  <a:gd name="T88" fmla="*/ 206 w 236"/>
                  <a:gd name="T89" fmla="*/ 82 h 216"/>
                  <a:gd name="T90" fmla="*/ 198 w 236"/>
                  <a:gd name="T91" fmla="*/ 72 h 216"/>
                  <a:gd name="T92" fmla="*/ 190 w 236"/>
                  <a:gd name="T93" fmla="*/ 48 h 216"/>
                  <a:gd name="T94" fmla="*/ 214 w 236"/>
                  <a:gd name="T95" fmla="*/ 50 h 216"/>
                  <a:gd name="T96" fmla="*/ 228 w 236"/>
                  <a:gd name="T97" fmla="*/ 46 h 216"/>
                  <a:gd name="T98" fmla="*/ 236 w 236"/>
                  <a:gd name="T99" fmla="*/ 32 h 216"/>
                  <a:gd name="T100" fmla="*/ 236 w 236"/>
                  <a:gd name="T101" fmla="*/ 24 h 216"/>
                  <a:gd name="T102" fmla="*/ 220 w 236"/>
                  <a:gd name="T103" fmla="*/ 10 h 216"/>
                  <a:gd name="T104" fmla="*/ 216 w 236"/>
                  <a:gd name="T105" fmla="*/ 6 h 216"/>
                  <a:gd name="T106" fmla="*/ 200 w 236"/>
                  <a:gd name="T107"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16">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5" name="Freeform 858"/>
              <p:cNvSpPr>
                <a:spLocks/>
              </p:cNvSpPr>
              <p:nvPr/>
            </p:nvSpPr>
            <p:spPr bwMode="auto">
              <a:xfrm>
                <a:off x="3355" y="2031"/>
                <a:ext cx="66" cy="72"/>
              </a:xfrm>
              <a:custGeom>
                <a:avLst/>
                <a:gdLst>
                  <a:gd name="T0" fmla="*/ 20 w 66"/>
                  <a:gd name="T1" fmla="*/ 72 h 72"/>
                  <a:gd name="T2" fmla="*/ 20 w 66"/>
                  <a:gd name="T3" fmla="*/ 72 h 72"/>
                  <a:gd name="T4" fmla="*/ 20 w 66"/>
                  <a:gd name="T5" fmla="*/ 72 h 72"/>
                  <a:gd name="T6" fmla="*/ 2 w 66"/>
                  <a:gd name="T7" fmla="*/ 66 h 72"/>
                  <a:gd name="T8" fmla="*/ 2 w 66"/>
                  <a:gd name="T9" fmla="*/ 66 h 72"/>
                  <a:gd name="T10" fmla="*/ 0 w 66"/>
                  <a:gd name="T11" fmla="*/ 66 h 72"/>
                  <a:gd name="T12" fmla="*/ 0 w 66"/>
                  <a:gd name="T13" fmla="*/ 66 h 72"/>
                  <a:gd name="T14" fmla="*/ 0 w 66"/>
                  <a:gd name="T15" fmla="*/ 64 h 72"/>
                  <a:gd name="T16" fmla="*/ 6 w 66"/>
                  <a:gd name="T17" fmla="*/ 54 h 72"/>
                  <a:gd name="T18" fmla="*/ 8 w 66"/>
                  <a:gd name="T19" fmla="*/ 44 h 72"/>
                  <a:gd name="T20" fmla="*/ 8 w 66"/>
                  <a:gd name="T21" fmla="*/ 34 h 72"/>
                  <a:gd name="T22" fmla="*/ 10 w 66"/>
                  <a:gd name="T23" fmla="*/ 26 h 72"/>
                  <a:gd name="T24" fmla="*/ 10 w 66"/>
                  <a:gd name="T25" fmla="*/ 20 h 72"/>
                  <a:gd name="T26" fmla="*/ 12 w 66"/>
                  <a:gd name="T27" fmla="*/ 14 h 72"/>
                  <a:gd name="T28" fmla="*/ 12 w 66"/>
                  <a:gd name="T29" fmla="*/ 14 h 72"/>
                  <a:gd name="T30" fmla="*/ 12 w 66"/>
                  <a:gd name="T31" fmla="*/ 14 h 72"/>
                  <a:gd name="T32" fmla="*/ 12 w 66"/>
                  <a:gd name="T33" fmla="*/ 14 h 72"/>
                  <a:gd name="T34" fmla="*/ 14 w 66"/>
                  <a:gd name="T35" fmla="*/ 12 h 72"/>
                  <a:gd name="T36" fmla="*/ 14 w 66"/>
                  <a:gd name="T37" fmla="*/ 12 h 72"/>
                  <a:gd name="T38" fmla="*/ 14 w 66"/>
                  <a:gd name="T39" fmla="*/ 14 h 72"/>
                  <a:gd name="T40" fmla="*/ 18 w 66"/>
                  <a:gd name="T41" fmla="*/ 14 h 72"/>
                  <a:gd name="T42" fmla="*/ 20 w 66"/>
                  <a:gd name="T43" fmla="*/ 14 h 72"/>
                  <a:gd name="T44" fmla="*/ 20 w 66"/>
                  <a:gd name="T45" fmla="*/ 14 h 72"/>
                  <a:gd name="T46" fmla="*/ 22 w 66"/>
                  <a:gd name="T47" fmla="*/ 14 h 72"/>
                  <a:gd name="T48" fmla="*/ 28 w 66"/>
                  <a:gd name="T49" fmla="*/ 18 h 72"/>
                  <a:gd name="T50" fmla="*/ 34 w 66"/>
                  <a:gd name="T51" fmla="*/ 16 h 72"/>
                  <a:gd name="T52" fmla="*/ 62 w 66"/>
                  <a:gd name="T53" fmla="*/ 0 h 72"/>
                  <a:gd name="T54" fmla="*/ 62 w 66"/>
                  <a:gd name="T55" fmla="*/ 0 h 72"/>
                  <a:gd name="T56" fmla="*/ 62 w 66"/>
                  <a:gd name="T57" fmla="*/ 0 h 72"/>
                  <a:gd name="T58" fmla="*/ 62 w 66"/>
                  <a:gd name="T59" fmla="*/ 0 h 72"/>
                  <a:gd name="T60" fmla="*/ 64 w 66"/>
                  <a:gd name="T61" fmla="*/ 0 h 72"/>
                  <a:gd name="T62" fmla="*/ 64 w 66"/>
                  <a:gd name="T63" fmla="*/ 0 h 72"/>
                  <a:gd name="T64" fmla="*/ 64 w 66"/>
                  <a:gd name="T65" fmla="*/ 2 h 72"/>
                  <a:gd name="T66" fmla="*/ 66 w 66"/>
                  <a:gd name="T67" fmla="*/ 24 h 72"/>
                  <a:gd name="T68" fmla="*/ 66 w 66"/>
                  <a:gd name="T69" fmla="*/ 24 h 72"/>
                  <a:gd name="T70" fmla="*/ 66 w 66"/>
                  <a:gd name="T71" fmla="*/ 24 h 72"/>
                  <a:gd name="T72" fmla="*/ 64 w 66"/>
                  <a:gd name="T73" fmla="*/ 30 h 72"/>
                  <a:gd name="T74" fmla="*/ 64 w 66"/>
                  <a:gd name="T75" fmla="*/ 30 h 72"/>
                  <a:gd name="T76" fmla="*/ 62 w 66"/>
                  <a:gd name="T77" fmla="*/ 32 h 72"/>
                  <a:gd name="T78" fmla="*/ 40 w 66"/>
                  <a:gd name="T79" fmla="*/ 34 h 72"/>
                  <a:gd name="T80" fmla="*/ 50 w 66"/>
                  <a:gd name="T81" fmla="*/ 46 h 72"/>
                  <a:gd name="T82" fmla="*/ 50 w 66"/>
                  <a:gd name="T83" fmla="*/ 46 h 72"/>
                  <a:gd name="T84" fmla="*/ 50 w 66"/>
                  <a:gd name="T85" fmla="*/ 48 h 72"/>
                  <a:gd name="T86" fmla="*/ 44 w 66"/>
                  <a:gd name="T87" fmla="*/ 54 h 72"/>
                  <a:gd name="T88" fmla="*/ 42 w 66"/>
                  <a:gd name="T89" fmla="*/ 58 h 72"/>
                  <a:gd name="T90" fmla="*/ 42 w 66"/>
                  <a:gd name="T91" fmla="*/ 58 h 72"/>
                  <a:gd name="T92" fmla="*/ 40 w 66"/>
                  <a:gd name="T93" fmla="*/ 60 h 72"/>
                  <a:gd name="T94" fmla="*/ 30 w 66"/>
                  <a:gd name="T95" fmla="*/ 62 h 72"/>
                  <a:gd name="T96" fmla="*/ 26 w 66"/>
                  <a:gd name="T97" fmla="*/ 68 h 72"/>
                  <a:gd name="T98" fmla="*/ 22 w 66"/>
                  <a:gd name="T99" fmla="*/ 72 h 72"/>
                  <a:gd name="T100" fmla="*/ 22 w 66"/>
                  <a:gd name="T101" fmla="*/ 72 h 72"/>
                  <a:gd name="T102" fmla="*/ 20 w 66"/>
                  <a:gd name="T103" fmla="*/ 72 h 72"/>
                  <a:gd name="T104" fmla="*/ 20 w 66"/>
                  <a:gd name="T10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72">
                    <a:moveTo>
                      <a:pt x="20" y="72"/>
                    </a:moveTo>
                    <a:lnTo>
                      <a:pt x="20" y="72"/>
                    </a:lnTo>
                    <a:lnTo>
                      <a:pt x="20" y="72"/>
                    </a:lnTo>
                    <a:lnTo>
                      <a:pt x="2" y="66"/>
                    </a:lnTo>
                    <a:lnTo>
                      <a:pt x="2" y="66"/>
                    </a:lnTo>
                    <a:lnTo>
                      <a:pt x="0" y="66"/>
                    </a:lnTo>
                    <a:lnTo>
                      <a:pt x="0" y="66"/>
                    </a:lnTo>
                    <a:lnTo>
                      <a:pt x="0" y="64"/>
                    </a:lnTo>
                    <a:lnTo>
                      <a:pt x="6" y="54"/>
                    </a:lnTo>
                    <a:lnTo>
                      <a:pt x="8" y="44"/>
                    </a:lnTo>
                    <a:lnTo>
                      <a:pt x="8" y="34"/>
                    </a:lnTo>
                    <a:lnTo>
                      <a:pt x="10" y="26"/>
                    </a:lnTo>
                    <a:lnTo>
                      <a:pt x="10" y="20"/>
                    </a:lnTo>
                    <a:lnTo>
                      <a:pt x="12" y="14"/>
                    </a:lnTo>
                    <a:lnTo>
                      <a:pt x="12" y="14"/>
                    </a:lnTo>
                    <a:lnTo>
                      <a:pt x="12" y="14"/>
                    </a:lnTo>
                    <a:lnTo>
                      <a:pt x="12" y="14"/>
                    </a:lnTo>
                    <a:lnTo>
                      <a:pt x="14" y="12"/>
                    </a:lnTo>
                    <a:lnTo>
                      <a:pt x="14" y="12"/>
                    </a:lnTo>
                    <a:lnTo>
                      <a:pt x="14" y="14"/>
                    </a:lnTo>
                    <a:lnTo>
                      <a:pt x="18" y="14"/>
                    </a:lnTo>
                    <a:lnTo>
                      <a:pt x="20" y="14"/>
                    </a:lnTo>
                    <a:lnTo>
                      <a:pt x="20" y="14"/>
                    </a:lnTo>
                    <a:lnTo>
                      <a:pt x="22" y="14"/>
                    </a:lnTo>
                    <a:lnTo>
                      <a:pt x="28" y="18"/>
                    </a:lnTo>
                    <a:lnTo>
                      <a:pt x="34" y="16"/>
                    </a:lnTo>
                    <a:lnTo>
                      <a:pt x="62" y="0"/>
                    </a:lnTo>
                    <a:lnTo>
                      <a:pt x="62" y="0"/>
                    </a:lnTo>
                    <a:lnTo>
                      <a:pt x="62" y="0"/>
                    </a:lnTo>
                    <a:lnTo>
                      <a:pt x="62" y="0"/>
                    </a:lnTo>
                    <a:lnTo>
                      <a:pt x="64" y="0"/>
                    </a:lnTo>
                    <a:lnTo>
                      <a:pt x="64" y="0"/>
                    </a:lnTo>
                    <a:lnTo>
                      <a:pt x="64" y="2"/>
                    </a:lnTo>
                    <a:lnTo>
                      <a:pt x="66" y="24"/>
                    </a:lnTo>
                    <a:lnTo>
                      <a:pt x="66" y="24"/>
                    </a:lnTo>
                    <a:lnTo>
                      <a:pt x="66" y="24"/>
                    </a:lnTo>
                    <a:lnTo>
                      <a:pt x="64" y="30"/>
                    </a:lnTo>
                    <a:lnTo>
                      <a:pt x="64" y="30"/>
                    </a:lnTo>
                    <a:lnTo>
                      <a:pt x="62" y="32"/>
                    </a:lnTo>
                    <a:lnTo>
                      <a:pt x="40" y="34"/>
                    </a:lnTo>
                    <a:lnTo>
                      <a:pt x="50" y="46"/>
                    </a:lnTo>
                    <a:lnTo>
                      <a:pt x="50" y="46"/>
                    </a:lnTo>
                    <a:lnTo>
                      <a:pt x="50" y="48"/>
                    </a:lnTo>
                    <a:lnTo>
                      <a:pt x="44" y="54"/>
                    </a:lnTo>
                    <a:lnTo>
                      <a:pt x="42" y="58"/>
                    </a:lnTo>
                    <a:lnTo>
                      <a:pt x="42" y="58"/>
                    </a:lnTo>
                    <a:lnTo>
                      <a:pt x="40" y="60"/>
                    </a:lnTo>
                    <a:lnTo>
                      <a:pt x="30" y="62"/>
                    </a:lnTo>
                    <a:lnTo>
                      <a:pt x="26" y="68"/>
                    </a:lnTo>
                    <a:lnTo>
                      <a:pt x="22" y="72"/>
                    </a:lnTo>
                    <a:lnTo>
                      <a:pt x="22" y="72"/>
                    </a:lnTo>
                    <a:lnTo>
                      <a:pt x="20" y="72"/>
                    </a:lnTo>
                    <a:lnTo>
                      <a:pt x="2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6" name="Freeform 859"/>
              <p:cNvSpPr>
                <a:spLocks noEditPoints="1"/>
              </p:cNvSpPr>
              <p:nvPr/>
            </p:nvSpPr>
            <p:spPr bwMode="auto">
              <a:xfrm>
                <a:off x="3353" y="2029"/>
                <a:ext cx="70" cy="76"/>
              </a:xfrm>
              <a:custGeom>
                <a:avLst/>
                <a:gdLst>
                  <a:gd name="T0" fmla="*/ 66 w 70"/>
                  <a:gd name="T1" fmla="*/ 26 h 76"/>
                  <a:gd name="T2" fmla="*/ 38 w 70"/>
                  <a:gd name="T3" fmla="*/ 34 h 76"/>
                  <a:gd name="T4" fmla="*/ 44 w 70"/>
                  <a:gd name="T5" fmla="*/ 54 h 76"/>
                  <a:gd name="T6" fmla="*/ 32 w 70"/>
                  <a:gd name="T7" fmla="*/ 62 h 76"/>
                  <a:gd name="T8" fmla="*/ 22 w 70"/>
                  <a:gd name="T9" fmla="*/ 72 h 76"/>
                  <a:gd name="T10" fmla="*/ 10 w 70"/>
                  <a:gd name="T11" fmla="*/ 56 h 76"/>
                  <a:gd name="T12" fmla="*/ 12 w 70"/>
                  <a:gd name="T13" fmla="*/ 36 h 76"/>
                  <a:gd name="T14" fmla="*/ 14 w 70"/>
                  <a:gd name="T15" fmla="*/ 22 h 76"/>
                  <a:gd name="T16" fmla="*/ 18 w 70"/>
                  <a:gd name="T17" fmla="*/ 18 h 76"/>
                  <a:gd name="T18" fmla="*/ 30 w 70"/>
                  <a:gd name="T19" fmla="*/ 22 h 76"/>
                  <a:gd name="T20" fmla="*/ 64 w 70"/>
                  <a:gd name="T21" fmla="*/ 4 h 76"/>
                  <a:gd name="T22" fmla="*/ 64 w 70"/>
                  <a:gd name="T23" fmla="*/ 0 h 76"/>
                  <a:gd name="T24" fmla="*/ 36 w 70"/>
                  <a:gd name="T25" fmla="*/ 16 h 76"/>
                  <a:gd name="T26" fmla="*/ 24 w 70"/>
                  <a:gd name="T27" fmla="*/ 16 h 76"/>
                  <a:gd name="T28" fmla="*/ 22 w 70"/>
                  <a:gd name="T29" fmla="*/ 14 h 76"/>
                  <a:gd name="T30" fmla="*/ 18 w 70"/>
                  <a:gd name="T31" fmla="*/ 14 h 76"/>
                  <a:gd name="T32" fmla="*/ 16 w 70"/>
                  <a:gd name="T33" fmla="*/ 12 h 76"/>
                  <a:gd name="T34" fmla="*/ 14 w 70"/>
                  <a:gd name="T35" fmla="*/ 14 h 76"/>
                  <a:gd name="T36" fmla="*/ 12 w 70"/>
                  <a:gd name="T37" fmla="*/ 16 h 76"/>
                  <a:gd name="T38" fmla="*/ 10 w 70"/>
                  <a:gd name="T39" fmla="*/ 20 h 76"/>
                  <a:gd name="T40" fmla="*/ 10 w 70"/>
                  <a:gd name="T41" fmla="*/ 28 h 76"/>
                  <a:gd name="T42" fmla="*/ 8 w 70"/>
                  <a:gd name="T43" fmla="*/ 36 h 76"/>
                  <a:gd name="T44" fmla="*/ 8 w 70"/>
                  <a:gd name="T45" fmla="*/ 46 h 76"/>
                  <a:gd name="T46" fmla="*/ 0 w 70"/>
                  <a:gd name="T47" fmla="*/ 64 h 76"/>
                  <a:gd name="T48" fmla="*/ 0 w 70"/>
                  <a:gd name="T49" fmla="*/ 68 h 76"/>
                  <a:gd name="T50" fmla="*/ 4 w 70"/>
                  <a:gd name="T51" fmla="*/ 70 h 76"/>
                  <a:gd name="T52" fmla="*/ 22 w 70"/>
                  <a:gd name="T53" fmla="*/ 76 h 76"/>
                  <a:gd name="T54" fmla="*/ 22 w 70"/>
                  <a:gd name="T55" fmla="*/ 76 h 76"/>
                  <a:gd name="T56" fmla="*/ 30 w 70"/>
                  <a:gd name="T57" fmla="*/ 72 h 76"/>
                  <a:gd name="T58" fmla="*/ 30 w 70"/>
                  <a:gd name="T59" fmla="*/ 70 h 76"/>
                  <a:gd name="T60" fmla="*/ 44 w 70"/>
                  <a:gd name="T61" fmla="*/ 64 h 76"/>
                  <a:gd name="T62" fmla="*/ 46 w 70"/>
                  <a:gd name="T63" fmla="*/ 60 h 76"/>
                  <a:gd name="T64" fmla="*/ 52 w 70"/>
                  <a:gd name="T65" fmla="*/ 52 h 76"/>
                  <a:gd name="T66" fmla="*/ 54 w 70"/>
                  <a:gd name="T67" fmla="*/ 50 h 76"/>
                  <a:gd name="T68" fmla="*/ 46 w 70"/>
                  <a:gd name="T69" fmla="*/ 38 h 76"/>
                  <a:gd name="T70" fmla="*/ 64 w 70"/>
                  <a:gd name="T71" fmla="*/ 36 h 76"/>
                  <a:gd name="T72" fmla="*/ 70 w 70"/>
                  <a:gd name="T73" fmla="*/ 28 h 76"/>
                  <a:gd name="T74" fmla="*/ 70 w 70"/>
                  <a:gd name="T75" fmla="*/ 26 h 76"/>
                  <a:gd name="T76" fmla="*/ 68 w 70"/>
                  <a:gd name="T77" fmla="*/ 4 h 76"/>
                  <a:gd name="T78" fmla="*/ 66 w 70"/>
                  <a:gd name="T79" fmla="*/ 2 h 76"/>
                  <a:gd name="T80" fmla="*/ 64 w 70"/>
                  <a:gd name="T8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76">
                    <a:moveTo>
                      <a:pt x="64" y="4"/>
                    </a:moveTo>
                    <a:lnTo>
                      <a:pt x="66" y="26"/>
                    </a:lnTo>
                    <a:lnTo>
                      <a:pt x="64" y="32"/>
                    </a:lnTo>
                    <a:lnTo>
                      <a:pt x="38" y="34"/>
                    </a:lnTo>
                    <a:lnTo>
                      <a:pt x="50" y="48"/>
                    </a:lnTo>
                    <a:lnTo>
                      <a:pt x="44" y="54"/>
                    </a:lnTo>
                    <a:lnTo>
                      <a:pt x="42" y="60"/>
                    </a:lnTo>
                    <a:lnTo>
                      <a:pt x="32" y="62"/>
                    </a:lnTo>
                    <a:lnTo>
                      <a:pt x="26" y="68"/>
                    </a:lnTo>
                    <a:lnTo>
                      <a:pt x="22" y="72"/>
                    </a:lnTo>
                    <a:lnTo>
                      <a:pt x="4" y="66"/>
                    </a:lnTo>
                    <a:lnTo>
                      <a:pt x="10" y="56"/>
                    </a:lnTo>
                    <a:lnTo>
                      <a:pt x="12" y="48"/>
                    </a:lnTo>
                    <a:lnTo>
                      <a:pt x="12" y="36"/>
                    </a:lnTo>
                    <a:lnTo>
                      <a:pt x="14" y="30"/>
                    </a:lnTo>
                    <a:lnTo>
                      <a:pt x="14" y="22"/>
                    </a:lnTo>
                    <a:lnTo>
                      <a:pt x="16" y="16"/>
                    </a:lnTo>
                    <a:lnTo>
                      <a:pt x="18" y="18"/>
                    </a:lnTo>
                    <a:lnTo>
                      <a:pt x="22" y="18"/>
                    </a:lnTo>
                    <a:lnTo>
                      <a:pt x="30" y="22"/>
                    </a:lnTo>
                    <a:lnTo>
                      <a:pt x="38" y="20"/>
                    </a:lnTo>
                    <a:lnTo>
                      <a:pt x="64" y="4"/>
                    </a:lnTo>
                    <a:close/>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7" name="Freeform 860"/>
              <p:cNvSpPr>
                <a:spLocks/>
              </p:cNvSpPr>
              <p:nvPr/>
            </p:nvSpPr>
            <p:spPr bwMode="auto">
              <a:xfrm>
                <a:off x="3357" y="2033"/>
                <a:ext cx="62" cy="68"/>
              </a:xfrm>
              <a:custGeom>
                <a:avLst/>
                <a:gdLst>
                  <a:gd name="T0" fmla="*/ 60 w 62"/>
                  <a:gd name="T1" fmla="*/ 0 h 68"/>
                  <a:gd name="T2" fmla="*/ 62 w 62"/>
                  <a:gd name="T3" fmla="*/ 22 h 68"/>
                  <a:gd name="T4" fmla="*/ 60 w 62"/>
                  <a:gd name="T5" fmla="*/ 28 h 68"/>
                  <a:gd name="T6" fmla="*/ 34 w 62"/>
                  <a:gd name="T7" fmla="*/ 30 h 68"/>
                  <a:gd name="T8" fmla="*/ 46 w 62"/>
                  <a:gd name="T9" fmla="*/ 44 h 68"/>
                  <a:gd name="T10" fmla="*/ 40 w 62"/>
                  <a:gd name="T11" fmla="*/ 50 h 68"/>
                  <a:gd name="T12" fmla="*/ 38 w 62"/>
                  <a:gd name="T13" fmla="*/ 56 h 68"/>
                  <a:gd name="T14" fmla="*/ 28 w 62"/>
                  <a:gd name="T15" fmla="*/ 58 h 68"/>
                  <a:gd name="T16" fmla="*/ 22 w 62"/>
                  <a:gd name="T17" fmla="*/ 64 h 68"/>
                  <a:gd name="T18" fmla="*/ 18 w 62"/>
                  <a:gd name="T19" fmla="*/ 68 h 68"/>
                  <a:gd name="T20" fmla="*/ 0 w 62"/>
                  <a:gd name="T21" fmla="*/ 62 h 68"/>
                  <a:gd name="T22" fmla="*/ 6 w 62"/>
                  <a:gd name="T23" fmla="*/ 52 h 68"/>
                  <a:gd name="T24" fmla="*/ 8 w 62"/>
                  <a:gd name="T25" fmla="*/ 44 h 68"/>
                  <a:gd name="T26" fmla="*/ 8 w 62"/>
                  <a:gd name="T27" fmla="*/ 32 h 68"/>
                  <a:gd name="T28" fmla="*/ 10 w 62"/>
                  <a:gd name="T29" fmla="*/ 26 h 68"/>
                  <a:gd name="T30" fmla="*/ 10 w 62"/>
                  <a:gd name="T31" fmla="*/ 18 h 68"/>
                  <a:gd name="T32" fmla="*/ 12 w 62"/>
                  <a:gd name="T33" fmla="*/ 12 h 68"/>
                  <a:gd name="T34" fmla="*/ 14 w 62"/>
                  <a:gd name="T35" fmla="*/ 14 h 68"/>
                  <a:gd name="T36" fmla="*/ 18 w 62"/>
                  <a:gd name="T37" fmla="*/ 14 h 68"/>
                  <a:gd name="T38" fmla="*/ 26 w 62"/>
                  <a:gd name="T39" fmla="*/ 18 h 68"/>
                  <a:gd name="T40" fmla="*/ 34 w 62"/>
                  <a:gd name="T41" fmla="*/ 16 h 68"/>
                  <a:gd name="T42" fmla="*/ 60 w 62"/>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68">
                    <a:moveTo>
                      <a:pt x="60" y="0"/>
                    </a:moveTo>
                    <a:lnTo>
                      <a:pt x="62" y="22"/>
                    </a:lnTo>
                    <a:lnTo>
                      <a:pt x="60" y="28"/>
                    </a:lnTo>
                    <a:lnTo>
                      <a:pt x="34" y="30"/>
                    </a:lnTo>
                    <a:lnTo>
                      <a:pt x="46" y="44"/>
                    </a:lnTo>
                    <a:lnTo>
                      <a:pt x="40" y="50"/>
                    </a:lnTo>
                    <a:lnTo>
                      <a:pt x="38" y="56"/>
                    </a:lnTo>
                    <a:lnTo>
                      <a:pt x="28" y="58"/>
                    </a:lnTo>
                    <a:lnTo>
                      <a:pt x="22" y="64"/>
                    </a:lnTo>
                    <a:lnTo>
                      <a:pt x="18" y="68"/>
                    </a:lnTo>
                    <a:lnTo>
                      <a:pt x="0" y="62"/>
                    </a:lnTo>
                    <a:lnTo>
                      <a:pt x="6" y="52"/>
                    </a:lnTo>
                    <a:lnTo>
                      <a:pt x="8" y="44"/>
                    </a:lnTo>
                    <a:lnTo>
                      <a:pt x="8" y="32"/>
                    </a:lnTo>
                    <a:lnTo>
                      <a:pt x="10" y="26"/>
                    </a:lnTo>
                    <a:lnTo>
                      <a:pt x="10" y="18"/>
                    </a:lnTo>
                    <a:lnTo>
                      <a:pt x="12" y="12"/>
                    </a:lnTo>
                    <a:lnTo>
                      <a:pt x="14" y="14"/>
                    </a:lnTo>
                    <a:lnTo>
                      <a:pt x="18" y="14"/>
                    </a:lnTo>
                    <a:lnTo>
                      <a:pt x="26" y="18"/>
                    </a:lnTo>
                    <a:lnTo>
                      <a:pt x="34" y="16"/>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8" name="Freeform 861"/>
              <p:cNvSpPr>
                <a:spLocks/>
              </p:cNvSpPr>
              <p:nvPr/>
            </p:nvSpPr>
            <p:spPr bwMode="auto">
              <a:xfrm>
                <a:off x="3353" y="2029"/>
                <a:ext cx="70" cy="76"/>
              </a:xfrm>
              <a:custGeom>
                <a:avLst/>
                <a:gdLst>
                  <a:gd name="T0" fmla="*/ 64 w 70"/>
                  <a:gd name="T1" fmla="*/ 0 h 76"/>
                  <a:gd name="T2" fmla="*/ 64 w 70"/>
                  <a:gd name="T3" fmla="*/ 0 h 76"/>
                  <a:gd name="T4" fmla="*/ 62 w 70"/>
                  <a:gd name="T5" fmla="*/ 2 h 76"/>
                  <a:gd name="T6" fmla="*/ 36 w 70"/>
                  <a:gd name="T7" fmla="*/ 16 h 76"/>
                  <a:gd name="T8" fmla="*/ 30 w 70"/>
                  <a:gd name="T9" fmla="*/ 18 h 76"/>
                  <a:gd name="T10" fmla="*/ 24 w 70"/>
                  <a:gd name="T11" fmla="*/ 16 h 76"/>
                  <a:gd name="T12" fmla="*/ 24 w 70"/>
                  <a:gd name="T13" fmla="*/ 16 h 76"/>
                  <a:gd name="T14" fmla="*/ 22 w 70"/>
                  <a:gd name="T15" fmla="*/ 14 h 76"/>
                  <a:gd name="T16" fmla="*/ 20 w 70"/>
                  <a:gd name="T17" fmla="*/ 14 h 76"/>
                  <a:gd name="T18" fmla="*/ 18 w 70"/>
                  <a:gd name="T19" fmla="*/ 14 h 76"/>
                  <a:gd name="T20" fmla="*/ 18 w 70"/>
                  <a:gd name="T21" fmla="*/ 14 h 76"/>
                  <a:gd name="T22" fmla="*/ 16 w 70"/>
                  <a:gd name="T23" fmla="*/ 12 h 76"/>
                  <a:gd name="T24" fmla="*/ 16 w 70"/>
                  <a:gd name="T25" fmla="*/ 12 h 76"/>
                  <a:gd name="T26" fmla="*/ 14 w 70"/>
                  <a:gd name="T27" fmla="*/ 14 h 76"/>
                  <a:gd name="T28" fmla="*/ 14 w 70"/>
                  <a:gd name="T29" fmla="*/ 14 h 76"/>
                  <a:gd name="T30" fmla="*/ 12 w 70"/>
                  <a:gd name="T31" fmla="*/ 16 h 76"/>
                  <a:gd name="T32" fmla="*/ 10 w 70"/>
                  <a:gd name="T33" fmla="*/ 20 h 76"/>
                  <a:gd name="T34" fmla="*/ 10 w 70"/>
                  <a:gd name="T35" fmla="*/ 20 h 76"/>
                  <a:gd name="T36" fmla="*/ 10 w 70"/>
                  <a:gd name="T37" fmla="*/ 22 h 76"/>
                  <a:gd name="T38" fmla="*/ 10 w 70"/>
                  <a:gd name="T39" fmla="*/ 28 h 76"/>
                  <a:gd name="T40" fmla="*/ 8 w 70"/>
                  <a:gd name="T41" fmla="*/ 36 h 76"/>
                  <a:gd name="T42" fmla="*/ 8 w 70"/>
                  <a:gd name="T43" fmla="*/ 36 h 76"/>
                  <a:gd name="T44" fmla="*/ 8 w 70"/>
                  <a:gd name="T45" fmla="*/ 36 h 76"/>
                  <a:gd name="T46" fmla="*/ 8 w 70"/>
                  <a:gd name="T47" fmla="*/ 46 h 76"/>
                  <a:gd name="T48" fmla="*/ 6 w 70"/>
                  <a:gd name="T49" fmla="*/ 54 h 76"/>
                  <a:gd name="T50" fmla="*/ 0 w 70"/>
                  <a:gd name="T51" fmla="*/ 64 h 76"/>
                  <a:gd name="T52" fmla="*/ 0 w 70"/>
                  <a:gd name="T53" fmla="*/ 64 h 76"/>
                  <a:gd name="T54" fmla="*/ 0 w 70"/>
                  <a:gd name="T55" fmla="*/ 68 h 76"/>
                  <a:gd name="T56" fmla="*/ 0 w 70"/>
                  <a:gd name="T57" fmla="*/ 68 h 76"/>
                  <a:gd name="T58" fmla="*/ 4 w 70"/>
                  <a:gd name="T59" fmla="*/ 70 h 76"/>
                  <a:gd name="T60" fmla="*/ 22 w 70"/>
                  <a:gd name="T61" fmla="*/ 76 h 76"/>
                  <a:gd name="T62" fmla="*/ 22 w 70"/>
                  <a:gd name="T63" fmla="*/ 76 h 76"/>
                  <a:gd name="T64" fmla="*/ 22 w 70"/>
                  <a:gd name="T65" fmla="*/ 76 h 76"/>
                  <a:gd name="T66" fmla="*/ 22 w 70"/>
                  <a:gd name="T67" fmla="*/ 76 h 76"/>
                  <a:gd name="T68" fmla="*/ 26 w 70"/>
                  <a:gd name="T69" fmla="*/ 74 h 76"/>
                  <a:gd name="T70" fmla="*/ 30 w 70"/>
                  <a:gd name="T71" fmla="*/ 72 h 76"/>
                  <a:gd name="T72" fmla="*/ 30 w 70"/>
                  <a:gd name="T73" fmla="*/ 72 h 76"/>
                  <a:gd name="T74" fmla="*/ 30 w 70"/>
                  <a:gd name="T75" fmla="*/ 70 h 76"/>
                  <a:gd name="T76" fmla="*/ 34 w 70"/>
                  <a:gd name="T77" fmla="*/ 64 h 76"/>
                  <a:gd name="T78" fmla="*/ 44 w 70"/>
                  <a:gd name="T79" fmla="*/ 64 h 76"/>
                  <a:gd name="T80" fmla="*/ 44 w 70"/>
                  <a:gd name="T81" fmla="*/ 64 h 76"/>
                  <a:gd name="T82" fmla="*/ 46 w 70"/>
                  <a:gd name="T83" fmla="*/ 60 h 76"/>
                  <a:gd name="T84" fmla="*/ 48 w 70"/>
                  <a:gd name="T85" fmla="*/ 56 h 76"/>
                  <a:gd name="T86" fmla="*/ 52 w 70"/>
                  <a:gd name="T87" fmla="*/ 52 h 76"/>
                  <a:gd name="T88" fmla="*/ 52 w 70"/>
                  <a:gd name="T89" fmla="*/ 52 h 76"/>
                  <a:gd name="T90" fmla="*/ 54 w 70"/>
                  <a:gd name="T91" fmla="*/ 50 h 76"/>
                  <a:gd name="T92" fmla="*/ 52 w 70"/>
                  <a:gd name="T93" fmla="*/ 46 h 76"/>
                  <a:gd name="T94" fmla="*/ 46 w 70"/>
                  <a:gd name="T95" fmla="*/ 38 h 76"/>
                  <a:gd name="T96" fmla="*/ 64 w 70"/>
                  <a:gd name="T97" fmla="*/ 36 h 76"/>
                  <a:gd name="T98" fmla="*/ 64 w 70"/>
                  <a:gd name="T99" fmla="*/ 36 h 76"/>
                  <a:gd name="T100" fmla="*/ 68 w 70"/>
                  <a:gd name="T101" fmla="*/ 32 h 76"/>
                  <a:gd name="T102" fmla="*/ 70 w 70"/>
                  <a:gd name="T103" fmla="*/ 28 h 76"/>
                  <a:gd name="T104" fmla="*/ 70 w 70"/>
                  <a:gd name="T105" fmla="*/ 28 h 76"/>
                  <a:gd name="T106" fmla="*/ 70 w 70"/>
                  <a:gd name="T107" fmla="*/ 26 h 76"/>
                  <a:gd name="T108" fmla="*/ 68 w 70"/>
                  <a:gd name="T109" fmla="*/ 4 h 76"/>
                  <a:gd name="T110" fmla="*/ 68 w 70"/>
                  <a:gd name="T111" fmla="*/ 4 h 76"/>
                  <a:gd name="T112" fmla="*/ 66 w 70"/>
                  <a:gd name="T113" fmla="*/ 2 h 76"/>
                  <a:gd name="T114" fmla="*/ 66 w 70"/>
                  <a:gd name="T115" fmla="*/ 2 h 76"/>
                  <a:gd name="T116" fmla="*/ 64 w 70"/>
                  <a:gd name="T117" fmla="*/ 0 h 76"/>
                  <a:gd name="T118" fmla="*/ 64 w 70"/>
                  <a:gd name="T1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76">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9" name="Freeform 862"/>
              <p:cNvSpPr>
                <a:spLocks/>
              </p:cNvSpPr>
              <p:nvPr/>
            </p:nvSpPr>
            <p:spPr bwMode="auto">
              <a:xfrm>
                <a:off x="3355" y="2049"/>
                <a:ext cx="296" cy="244"/>
              </a:xfrm>
              <a:custGeom>
                <a:avLst/>
                <a:gdLst>
                  <a:gd name="T0" fmla="*/ 116 w 296"/>
                  <a:gd name="T1" fmla="*/ 244 h 244"/>
                  <a:gd name="T2" fmla="*/ 106 w 296"/>
                  <a:gd name="T3" fmla="*/ 228 h 244"/>
                  <a:gd name="T4" fmla="*/ 86 w 296"/>
                  <a:gd name="T5" fmla="*/ 194 h 244"/>
                  <a:gd name="T6" fmla="*/ 70 w 296"/>
                  <a:gd name="T7" fmla="*/ 184 h 244"/>
                  <a:gd name="T8" fmla="*/ 68 w 296"/>
                  <a:gd name="T9" fmla="*/ 182 h 244"/>
                  <a:gd name="T10" fmla="*/ 60 w 296"/>
                  <a:gd name="T11" fmla="*/ 168 h 244"/>
                  <a:gd name="T12" fmla="*/ 60 w 296"/>
                  <a:gd name="T13" fmla="*/ 146 h 244"/>
                  <a:gd name="T14" fmla="*/ 38 w 296"/>
                  <a:gd name="T15" fmla="*/ 126 h 244"/>
                  <a:gd name="T16" fmla="*/ 38 w 296"/>
                  <a:gd name="T17" fmla="*/ 124 h 244"/>
                  <a:gd name="T18" fmla="*/ 34 w 296"/>
                  <a:gd name="T19" fmla="*/ 104 h 244"/>
                  <a:gd name="T20" fmla="*/ 8 w 296"/>
                  <a:gd name="T21" fmla="*/ 66 h 244"/>
                  <a:gd name="T22" fmla="*/ 2 w 296"/>
                  <a:gd name="T23" fmla="*/ 64 h 244"/>
                  <a:gd name="T24" fmla="*/ 4 w 296"/>
                  <a:gd name="T25" fmla="*/ 42 h 244"/>
                  <a:gd name="T26" fmla="*/ 6 w 296"/>
                  <a:gd name="T27" fmla="*/ 42 h 244"/>
                  <a:gd name="T28" fmla="*/ 6 w 296"/>
                  <a:gd name="T29" fmla="*/ 40 h 244"/>
                  <a:gd name="T30" fmla="*/ 6 w 296"/>
                  <a:gd name="T31" fmla="*/ 40 h 244"/>
                  <a:gd name="T32" fmla="*/ 24 w 296"/>
                  <a:gd name="T33" fmla="*/ 44 h 244"/>
                  <a:gd name="T34" fmla="*/ 30 w 296"/>
                  <a:gd name="T35" fmla="*/ 36 h 244"/>
                  <a:gd name="T36" fmla="*/ 40 w 296"/>
                  <a:gd name="T37" fmla="*/ 34 h 244"/>
                  <a:gd name="T38" fmla="*/ 42 w 296"/>
                  <a:gd name="T39" fmla="*/ 30 h 244"/>
                  <a:gd name="T40" fmla="*/ 46 w 296"/>
                  <a:gd name="T41" fmla="*/ 24 h 244"/>
                  <a:gd name="T42" fmla="*/ 36 w 296"/>
                  <a:gd name="T43" fmla="*/ 12 h 244"/>
                  <a:gd name="T44" fmla="*/ 36 w 296"/>
                  <a:gd name="T45" fmla="*/ 10 h 244"/>
                  <a:gd name="T46" fmla="*/ 60 w 296"/>
                  <a:gd name="T47" fmla="*/ 4 h 244"/>
                  <a:gd name="T48" fmla="*/ 62 w 296"/>
                  <a:gd name="T49" fmla="*/ 0 h 244"/>
                  <a:gd name="T50" fmla="*/ 64 w 296"/>
                  <a:gd name="T51" fmla="*/ 0 h 244"/>
                  <a:gd name="T52" fmla="*/ 82 w 296"/>
                  <a:gd name="T53" fmla="*/ 4 h 244"/>
                  <a:gd name="T54" fmla="*/ 114 w 296"/>
                  <a:gd name="T55" fmla="*/ 22 h 244"/>
                  <a:gd name="T56" fmla="*/ 122 w 296"/>
                  <a:gd name="T57" fmla="*/ 32 h 244"/>
                  <a:gd name="T58" fmla="*/ 130 w 296"/>
                  <a:gd name="T59" fmla="*/ 38 h 244"/>
                  <a:gd name="T60" fmla="*/ 170 w 296"/>
                  <a:gd name="T61" fmla="*/ 46 h 244"/>
                  <a:gd name="T62" fmla="*/ 180 w 296"/>
                  <a:gd name="T63" fmla="*/ 48 h 244"/>
                  <a:gd name="T64" fmla="*/ 186 w 296"/>
                  <a:gd name="T65" fmla="*/ 56 h 244"/>
                  <a:gd name="T66" fmla="*/ 192 w 296"/>
                  <a:gd name="T67" fmla="*/ 56 h 244"/>
                  <a:gd name="T68" fmla="*/ 204 w 296"/>
                  <a:gd name="T69" fmla="*/ 74 h 244"/>
                  <a:gd name="T70" fmla="*/ 218 w 296"/>
                  <a:gd name="T71" fmla="*/ 86 h 244"/>
                  <a:gd name="T72" fmla="*/ 218 w 296"/>
                  <a:gd name="T73" fmla="*/ 88 h 244"/>
                  <a:gd name="T74" fmla="*/ 222 w 296"/>
                  <a:gd name="T75" fmla="*/ 106 h 244"/>
                  <a:gd name="T76" fmla="*/ 234 w 296"/>
                  <a:gd name="T77" fmla="*/ 118 h 244"/>
                  <a:gd name="T78" fmla="*/ 258 w 296"/>
                  <a:gd name="T79" fmla="*/ 144 h 244"/>
                  <a:gd name="T80" fmla="*/ 274 w 296"/>
                  <a:gd name="T81" fmla="*/ 148 h 244"/>
                  <a:gd name="T82" fmla="*/ 290 w 296"/>
                  <a:gd name="T83" fmla="*/ 148 h 244"/>
                  <a:gd name="T84" fmla="*/ 296 w 296"/>
                  <a:gd name="T85" fmla="*/ 156 h 244"/>
                  <a:gd name="T86" fmla="*/ 296 w 296"/>
                  <a:gd name="T87" fmla="*/ 156 h 244"/>
                  <a:gd name="T88" fmla="*/ 296 w 296"/>
                  <a:gd name="T89" fmla="*/ 168 h 244"/>
                  <a:gd name="T90" fmla="*/ 288 w 296"/>
                  <a:gd name="T91" fmla="*/ 186 h 244"/>
                  <a:gd name="T92" fmla="*/ 286 w 296"/>
                  <a:gd name="T93" fmla="*/ 186 h 244"/>
                  <a:gd name="T94" fmla="*/ 260 w 296"/>
                  <a:gd name="T95" fmla="*/ 198 h 244"/>
                  <a:gd name="T96" fmla="*/ 246 w 296"/>
                  <a:gd name="T97" fmla="*/ 206 h 244"/>
                  <a:gd name="T98" fmla="*/ 244 w 296"/>
                  <a:gd name="T99" fmla="*/ 206 h 244"/>
                  <a:gd name="T100" fmla="*/ 202 w 296"/>
                  <a:gd name="T101" fmla="*/ 210 h 244"/>
                  <a:gd name="T102" fmla="*/ 180 w 296"/>
                  <a:gd name="T103" fmla="*/ 232 h 244"/>
                  <a:gd name="T104" fmla="*/ 178 w 296"/>
                  <a:gd name="T105" fmla="*/ 232 h 244"/>
                  <a:gd name="T106" fmla="*/ 152 w 296"/>
                  <a:gd name="T107" fmla="*/ 226 h 244"/>
                  <a:gd name="T108" fmla="*/ 118 w 296"/>
                  <a:gd name="T109" fmla="*/ 244 h 244"/>
                  <a:gd name="T110" fmla="*/ 116 w 296"/>
                  <a:gd name="T111"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244">
                    <a:moveTo>
                      <a:pt x="116" y="244"/>
                    </a:moveTo>
                    <a:lnTo>
                      <a:pt x="116" y="244"/>
                    </a:lnTo>
                    <a:lnTo>
                      <a:pt x="114" y="244"/>
                    </a:lnTo>
                    <a:lnTo>
                      <a:pt x="106" y="228"/>
                    </a:lnTo>
                    <a:lnTo>
                      <a:pt x="94" y="212"/>
                    </a:lnTo>
                    <a:lnTo>
                      <a:pt x="86" y="194"/>
                    </a:lnTo>
                    <a:lnTo>
                      <a:pt x="78" y="186"/>
                    </a:lnTo>
                    <a:lnTo>
                      <a:pt x="70" y="184"/>
                    </a:lnTo>
                    <a:lnTo>
                      <a:pt x="70" y="184"/>
                    </a:lnTo>
                    <a:lnTo>
                      <a:pt x="68" y="182"/>
                    </a:lnTo>
                    <a:lnTo>
                      <a:pt x="60" y="168"/>
                    </a:lnTo>
                    <a:lnTo>
                      <a:pt x="60" y="168"/>
                    </a:lnTo>
                    <a:lnTo>
                      <a:pt x="60" y="168"/>
                    </a:lnTo>
                    <a:lnTo>
                      <a:pt x="60" y="146"/>
                    </a:lnTo>
                    <a:lnTo>
                      <a:pt x="50" y="130"/>
                    </a:lnTo>
                    <a:lnTo>
                      <a:pt x="38" y="126"/>
                    </a:lnTo>
                    <a:lnTo>
                      <a:pt x="38" y="126"/>
                    </a:lnTo>
                    <a:lnTo>
                      <a:pt x="38" y="124"/>
                    </a:lnTo>
                    <a:lnTo>
                      <a:pt x="34" y="116"/>
                    </a:lnTo>
                    <a:lnTo>
                      <a:pt x="34" y="104"/>
                    </a:lnTo>
                    <a:lnTo>
                      <a:pt x="16" y="84"/>
                    </a:lnTo>
                    <a:lnTo>
                      <a:pt x="8" y="66"/>
                    </a:lnTo>
                    <a:lnTo>
                      <a:pt x="2" y="64"/>
                    </a:lnTo>
                    <a:lnTo>
                      <a:pt x="2" y="64"/>
                    </a:lnTo>
                    <a:lnTo>
                      <a:pt x="0" y="62"/>
                    </a:lnTo>
                    <a:lnTo>
                      <a:pt x="4" y="42"/>
                    </a:lnTo>
                    <a:lnTo>
                      <a:pt x="4" y="42"/>
                    </a:lnTo>
                    <a:lnTo>
                      <a:pt x="6" y="42"/>
                    </a:lnTo>
                    <a:lnTo>
                      <a:pt x="6" y="42"/>
                    </a:lnTo>
                    <a:lnTo>
                      <a:pt x="6" y="40"/>
                    </a:lnTo>
                    <a:lnTo>
                      <a:pt x="6" y="40"/>
                    </a:lnTo>
                    <a:lnTo>
                      <a:pt x="6" y="40"/>
                    </a:lnTo>
                    <a:lnTo>
                      <a:pt x="22" y="46"/>
                    </a:lnTo>
                    <a:lnTo>
                      <a:pt x="24" y="44"/>
                    </a:lnTo>
                    <a:lnTo>
                      <a:pt x="30" y="36"/>
                    </a:lnTo>
                    <a:lnTo>
                      <a:pt x="30" y="36"/>
                    </a:lnTo>
                    <a:lnTo>
                      <a:pt x="30" y="36"/>
                    </a:lnTo>
                    <a:lnTo>
                      <a:pt x="40" y="34"/>
                    </a:lnTo>
                    <a:lnTo>
                      <a:pt x="42" y="30"/>
                    </a:lnTo>
                    <a:lnTo>
                      <a:pt x="42" y="30"/>
                    </a:lnTo>
                    <a:lnTo>
                      <a:pt x="42" y="28"/>
                    </a:lnTo>
                    <a:lnTo>
                      <a:pt x="46" y="24"/>
                    </a:lnTo>
                    <a:lnTo>
                      <a:pt x="36" y="12"/>
                    </a:lnTo>
                    <a:lnTo>
                      <a:pt x="36" y="12"/>
                    </a:lnTo>
                    <a:lnTo>
                      <a:pt x="36" y="10"/>
                    </a:lnTo>
                    <a:lnTo>
                      <a:pt x="36" y="10"/>
                    </a:lnTo>
                    <a:lnTo>
                      <a:pt x="38" y="8"/>
                    </a:lnTo>
                    <a:lnTo>
                      <a:pt x="60" y="4"/>
                    </a:lnTo>
                    <a:lnTo>
                      <a:pt x="62" y="0"/>
                    </a:lnTo>
                    <a:lnTo>
                      <a:pt x="62" y="0"/>
                    </a:lnTo>
                    <a:lnTo>
                      <a:pt x="64" y="0"/>
                    </a:lnTo>
                    <a:lnTo>
                      <a:pt x="64" y="0"/>
                    </a:lnTo>
                    <a:lnTo>
                      <a:pt x="64" y="0"/>
                    </a:lnTo>
                    <a:lnTo>
                      <a:pt x="82" y="4"/>
                    </a:lnTo>
                    <a:lnTo>
                      <a:pt x="114" y="22"/>
                    </a:lnTo>
                    <a:lnTo>
                      <a:pt x="114" y="22"/>
                    </a:lnTo>
                    <a:lnTo>
                      <a:pt x="116" y="22"/>
                    </a:lnTo>
                    <a:lnTo>
                      <a:pt x="122" y="32"/>
                    </a:lnTo>
                    <a:lnTo>
                      <a:pt x="124" y="36"/>
                    </a:lnTo>
                    <a:lnTo>
                      <a:pt x="130" y="38"/>
                    </a:lnTo>
                    <a:lnTo>
                      <a:pt x="142" y="46"/>
                    </a:lnTo>
                    <a:lnTo>
                      <a:pt x="170" y="46"/>
                    </a:lnTo>
                    <a:lnTo>
                      <a:pt x="180" y="48"/>
                    </a:lnTo>
                    <a:lnTo>
                      <a:pt x="180" y="48"/>
                    </a:lnTo>
                    <a:lnTo>
                      <a:pt x="180" y="48"/>
                    </a:lnTo>
                    <a:lnTo>
                      <a:pt x="186" y="56"/>
                    </a:lnTo>
                    <a:lnTo>
                      <a:pt x="192" y="56"/>
                    </a:lnTo>
                    <a:lnTo>
                      <a:pt x="192" y="56"/>
                    </a:lnTo>
                    <a:lnTo>
                      <a:pt x="194" y="56"/>
                    </a:lnTo>
                    <a:lnTo>
                      <a:pt x="204" y="74"/>
                    </a:lnTo>
                    <a:lnTo>
                      <a:pt x="210" y="80"/>
                    </a:lnTo>
                    <a:lnTo>
                      <a:pt x="218" y="86"/>
                    </a:lnTo>
                    <a:lnTo>
                      <a:pt x="218" y="86"/>
                    </a:lnTo>
                    <a:lnTo>
                      <a:pt x="218" y="88"/>
                    </a:lnTo>
                    <a:lnTo>
                      <a:pt x="220" y="100"/>
                    </a:lnTo>
                    <a:lnTo>
                      <a:pt x="222" y="106"/>
                    </a:lnTo>
                    <a:lnTo>
                      <a:pt x="230" y="116"/>
                    </a:lnTo>
                    <a:lnTo>
                      <a:pt x="234" y="118"/>
                    </a:lnTo>
                    <a:lnTo>
                      <a:pt x="252" y="142"/>
                    </a:lnTo>
                    <a:lnTo>
                      <a:pt x="258" y="144"/>
                    </a:lnTo>
                    <a:lnTo>
                      <a:pt x="274" y="148"/>
                    </a:lnTo>
                    <a:lnTo>
                      <a:pt x="274" y="148"/>
                    </a:lnTo>
                    <a:lnTo>
                      <a:pt x="290" y="148"/>
                    </a:lnTo>
                    <a:lnTo>
                      <a:pt x="290" y="148"/>
                    </a:lnTo>
                    <a:lnTo>
                      <a:pt x="292" y="148"/>
                    </a:lnTo>
                    <a:lnTo>
                      <a:pt x="296" y="156"/>
                    </a:lnTo>
                    <a:lnTo>
                      <a:pt x="296" y="156"/>
                    </a:lnTo>
                    <a:lnTo>
                      <a:pt x="296" y="156"/>
                    </a:lnTo>
                    <a:lnTo>
                      <a:pt x="296" y="168"/>
                    </a:lnTo>
                    <a:lnTo>
                      <a:pt x="296" y="168"/>
                    </a:lnTo>
                    <a:lnTo>
                      <a:pt x="296" y="170"/>
                    </a:lnTo>
                    <a:lnTo>
                      <a:pt x="288" y="186"/>
                    </a:lnTo>
                    <a:lnTo>
                      <a:pt x="288" y="186"/>
                    </a:lnTo>
                    <a:lnTo>
                      <a:pt x="286" y="186"/>
                    </a:lnTo>
                    <a:lnTo>
                      <a:pt x="272" y="190"/>
                    </a:lnTo>
                    <a:lnTo>
                      <a:pt x="260" y="198"/>
                    </a:lnTo>
                    <a:lnTo>
                      <a:pt x="246" y="206"/>
                    </a:lnTo>
                    <a:lnTo>
                      <a:pt x="246" y="206"/>
                    </a:lnTo>
                    <a:lnTo>
                      <a:pt x="244" y="206"/>
                    </a:lnTo>
                    <a:lnTo>
                      <a:pt x="244" y="206"/>
                    </a:lnTo>
                    <a:lnTo>
                      <a:pt x="230" y="206"/>
                    </a:lnTo>
                    <a:lnTo>
                      <a:pt x="202" y="210"/>
                    </a:lnTo>
                    <a:lnTo>
                      <a:pt x="180" y="232"/>
                    </a:lnTo>
                    <a:lnTo>
                      <a:pt x="180" y="232"/>
                    </a:lnTo>
                    <a:lnTo>
                      <a:pt x="178" y="232"/>
                    </a:lnTo>
                    <a:lnTo>
                      <a:pt x="178" y="232"/>
                    </a:lnTo>
                    <a:lnTo>
                      <a:pt x="178" y="232"/>
                    </a:lnTo>
                    <a:lnTo>
                      <a:pt x="152" y="226"/>
                    </a:lnTo>
                    <a:lnTo>
                      <a:pt x="124" y="228"/>
                    </a:lnTo>
                    <a:lnTo>
                      <a:pt x="118" y="244"/>
                    </a:lnTo>
                    <a:lnTo>
                      <a:pt x="118" y="244"/>
                    </a:lnTo>
                    <a:lnTo>
                      <a:pt x="116" y="244"/>
                    </a:lnTo>
                    <a:lnTo>
                      <a:pt x="116"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0" name="Freeform 863"/>
              <p:cNvSpPr>
                <a:spLocks noEditPoints="1"/>
              </p:cNvSpPr>
              <p:nvPr/>
            </p:nvSpPr>
            <p:spPr bwMode="auto">
              <a:xfrm>
                <a:off x="3353" y="2047"/>
                <a:ext cx="300" cy="248"/>
              </a:xfrm>
              <a:custGeom>
                <a:avLst/>
                <a:gdLst>
                  <a:gd name="T0" fmla="*/ 122 w 300"/>
                  <a:gd name="T1" fmla="*/ 36 h 248"/>
                  <a:gd name="T2" fmla="*/ 158 w 300"/>
                  <a:gd name="T3" fmla="*/ 50 h 248"/>
                  <a:gd name="T4" fmla="*/ 194 w 300"/>
                  <a:gd name="T5" fmla="*/ 60 h 248"/>
                  <a:gd name="T6" fmla="*/ 220 w 300"/>
                  <a:gd name="T7" fmla="*/ 102 h 248"/>
                  <a:gd name="T8" fmla="*/ 254 w 300"/>
                  <a:gd name="T9" fmla="*/ 146 h 248"/>
                  <a:gd name="T10" fmla="*/ 292 w 300"/>
                  <a:gd name="T11" fmla="*/ 152 h 248"/>
                  <a:gd name="T12" fmla="*/ 274 w 300"/>
                  <a:gd name="T13" fmla="*/ 190 h 248"/>
                  <a:gd name="T14" fmla="*/ 204 w 300"/>
                  <a:gd name="T15" fmla="*/ 210 h 248"/>
                  <a:gd name="T16" fmla="*/ 118 w 300"/>
                  <a:gd name="T17" fmla="*/ 244 h 248"/>
                  <a:gd name="T18" fmla="*/ 82 w 300"/>
                  <a:gd name="T19" fmla="*/ 186 h 248"/>
                  <a:gd name="T20" fmla="*/ 54 w 300"/>
                  <a:gd name="T21" fmla="*/ 132 h 248"/>
                  <a:gd name="T22" fmla="*/ 20 w 300"/>
                  <a:gd name="T23" fmla="*/ 84 h 248"/>
                  <a:gd name="T24" fmla="*/ 24 w 300"/>
                  <a:gd name="T25" fmla="*/ 50 h 248"/>
                  <a:gd name="T26" fmla="*/ 46 w 300"/>
                  <a:gd name="T27" fmla="*/ 32 h 248"/>
                  <a:gd name="T28" fmla="*/ 66 w 300"/>
                  <a:gd name="T29" fmla="*/ 4 h 248"/>
                  <a:gd name="T30" fmla="*/ 62 w 300"/>
                  <a:gd name="T31" fmla="*/ 2 h 248"/>
                  <a:gd name="T32" fmla="*/ 36 w 300"/>
                  <a:gd name="T33" fmla="*/ 10 h 248"/>
                  <a:gd name="T34" fmla="*/ 42 w 300"/>
                  <a:gd name="T35" fmla="*/ 30 h 248"/>
                  <a:gd name="T36" fmla="*/ 32 w 300"/>
                  <a:gd name="T37" fmla="*/ 36 h 248"/>
                  <a:gd name="T38" fmla="*/ 22 w 300"/>
                  <a:gd name="T39" fmla="*/ 46 h 248"/>
                  <a:gd name="T40" fmla="*/ 8 w 300"/>
                  <a:gd name="T41" fmla="*/ 40 h 248"/>
                  <a:gd name="T42" fmla="*/ 0 w 300"/>
                  <a:gd name="T43" fmla="*/ 64 h 248"/>
                  <a:gd name="T44" fmla="*/ 8 w 300"/>
                  <a:gd name="T45" fmla="*/ 70 h 248"/>
                  <a:gd name="T46" fmla="*/ 34 w 300"/>
                  <a:gd name="T47" fmla="*/ 108 h 248"/>
                  <a:gd name="T48" fmla="*/ 38 w 300"/>
                  <a:gd name="T49" fmla="*/ 128 h 248"/>
                  <a:gd name="T50" fmla="*/ 60 w 300"/>
                  <a:gd name="T51" fmla="*/ 148 h 248"/>
                  <a:gd name="T52" fmla="*/ 68 w 300"/>
                  <a:gd name="T53" fmla="*/ 186 h 248"/>
                  <a:gd name="T54" fmla="*/ 86 w 300"/>
                  <a:gd name="T55" fmla="*/ 196 h 248"/>
                  <a:gd name="T56" fmla="*/ 106 w 300"/>
                  <a:gd name="T57" fmla="*/ 230 h 248"/>
                  <a:gd name="T58" fmla="*/ 118 w 300"/>
                  <a:gd name="T59" fmla="*/ 248 h 248"/>
                  <a:gd name="T60" fmla="*/ 122 w 300"/>
                  <a:gd name="T61" fmla="*/ 246 h 248"/>
                  <a:gd name="T62" fmla="*/ 180 w 300"/>
                  <a:gd name="T63" fmla="*/ 236 h 248"/>
                  <a:gd name="T64" fmla="*/ 206 w 300"/>
                  <a:gd name="T65" fmla="*/ 214 h 248"/>
                  <a:gd name="T66" fmla="*/ 246 w 300"/>
                  <a:gd name="T67" fmla="*/ 210 h 248"/>
                  <a:gd name="T68" fmla="*/ 276 w 300"/>
                  <a:gd name="T69" fmla="*/ 194 h 248"/>
                  <a:gd name="T70" fmla="*/ 300 w 300"/>
                  <a:gd name="T71" fmla="*/ 172 h 248"/>
                  <a:gd name="T72" fmla="*/ 300 w 300"/>
                  <a:gd name="T73" fmla="*/ 158 h 248"/>
                  <a:gd name="T74" fmla="*/ 294 w 300"/>
                  <a:gd name="T75" fmla="*/ 148 h 248"/>
                  <a:gd name="T76" fmla="*/ 276 w 300"/>
                  <a:gd name="T77" fmla="*/ 148 h 248"/>
                  <a:gd name="T78" fmla="*/ 236 w 300"/>
                  <a:gd name="T79" fmla="*/ 120 h 248"/>
                  <a:gd name="T80" fmla="*/ 222 w 300"/>
                  <a:gd name="T81" fmla="*/ 90 h 248"/>
                  <a:gd name="T82" fmla="*/ 214 w 300"/>
                  <a:gd name="T83" fmla="*/ 80 h 248"/>
                  <a:gd name="T84" fmla="*/ 198 w 300"/>
                  <a:gd name="T85" fmla="*/ 58 h 248"/>
                  <a:gd name="T86" fmla="*/ 184 w 300"/>
                  <a:gd name="T87" fmla="*/ 50 h 248"/>
                  <a:gd name="T88" fmla="*/ 172 w 300"/>
                  <a:gd name="T89" fmla="*/ 46 h 248"/>
                  <a:gd name="T90" fmla="*/ 134 w 300"/>
                  <a:gd name="T91" fmla="*/ 38 h 248"/>
                  <a:gd name="T92" fmla="*/ 126 w 300"/>
                  <a:gd name="T93" fmla="*/ 34 h 248"/>
                  <a:gd name="T94" fmla="*/ 118 w 300"/>
                  <a:gd name="T95" fmla="*/ 22 h 248"/>
                  <a:gd name="T96" fmla="*/ 84 w 300"/>
                  <a:gd name="T97" fmla="*/ 4 h 248"/>
                  <a:gd name="T98" fmla="*/ 66 w 300"/>
                  <a:gd name="T99"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0" h="248">
                    <a:moveTo>
                      <a:pt x="66" y="4"/>
                    </a:moveTo>
                    <a:lnTo>
                      <a:pt x="84" y="6"/>
                    </a:lnTo>
                    <a:lnTo>
                      <a:pt x="116" y="24"/>
                    </a:lnTo>
                    <a:lnTo>
                      <a:pt x="122" y="36"/>
                    </a:lnTo>
                    <a:lnTo>
                      <a:pt x="124" y="40"/>
                    </a:lnTo>
                    <a:lnTo>
                      <a:pt x="132" y="42"/>
                    </a:lnTo>
                    <a:lnTo>
                      <a:pt x="144" y="50"/>
                    </a:lnTo>
                    <a:lnTo>
                      <a:pt x="158" y="50"/>
                    </a:lnTo>
                    <a:lnTo>
                      <a:pt x="172" y="50"/>
                    </a:lnTo>
                    <a:lnTo>
                      <a:pt x="180" y="52"/>
                    </a:lnTo>
                    <a:lnTo>
                      <a:pt x="188" y="60"/>
                    </a:lnTo>
                    <a:lnTo>
                      <a:pt x="194" y="60"/>
                    </a:lnTo>
                    <a:lnTo>
                      <a:pt x="204" y="78"/>
                    </a:lnTo>
                    <a:lnTo>
                      <a:pt x="210" y="82"/>
                    </a:lnTo>
                    <a:lnTo>
                      <a:pt x="218" y="90"/>
                    </a:lnTo>
                    <a:lnTo>
                      <a:pt x="220" y="102"/>
                    </a:lnTo>
                    <a:lnTo>
                      <a:pt x="224" y="110"/>
                    </a:lnTo>
                    <a:lnTo>
                      <a:pt x="230" y="118"/>
                    </a:lnTo>
                    <a:lnTo>
                      <a:pt x="234" y="122"/>
                    </a:lnTo>
                    <a:lnTo>
                      <a:pt x="254" y="146"/>
                    </a:lnTo>
                    <a:lnTo>
                      <a:pt x="260" y="148"/>
                    </a:lnTo>
                    <a:lnTo>
                      <a:pt x="270" y="152"/>
                    </a:lnTo>
                    <a:lnTo>
                      <a:pt x="276" y="152"/>
                    </a:lnTo>
                    <a:lnTo>
                      <a:pt x="292" y="152"/>
                    </a:lnTo>
                    <a:lnTo>
                      <a:pt x="296" y="158"/>
                    </a:lnTo>
                    <a:lnTo>
                      <a:pt x="296" y="170"/>
                    </a:lnTo>
                    <a:lnTo>
                      <a:pt x="288" y="188"/>
                    </a:lnTo>
                    <a:lnTo>
                      <a:pt x="274" y="190"/>
                    </a:lnTo>
                    <a:lnTo>
                      <a:pt x="260" y="198"/>
                    </a:lnTo>
                    <a:lnTo>
                      <a:pt x="246" y="206"/>
                    </a:lnTo>
                    <a:lnTo>
                      <a:pt x="232" y="206"/>
                    </a:lnTo>
                    <a:lnTo>
                      <a:pt x="204" y="210"/>
                    </a:lnTo>
                    <a:lnTo>
                      <a:pt x="180" y="232"/>
                    </a:lnTo>
                    <a:lnTo>
                      <a:pt x="154" y="226"/>
                    </a:lnTo>
                    <a:lnTo>
                      <a:pt x="124" y="228"/>
                    </a:lnTo>
                    <a:lnTo>
                      <a:pt x="118" y="244"/>
                    </a:lnTo>
                    <a:lnTo>
                      <a:pt x="110" y="228"/>
                    </a:lnTo>
                    <a:lnTo>
                      <a:pt x="98" y="212"/>
                    </a:lnTo>
                    <a:lnTo>
                      <a:pt x="90" y="194"/>
                    </a:lnTo>
                    <a:lnTo>
                      <a:pt x="82" y="186"/>
                    </a:lnTo>
                    <a:lnTo>
                      <a:pt x="72" y="184"/>
                    </a:lnTo>
                    <a:lnTo>
                      <a:pt x="64" y="170"/>
                    </a:lnTo>
                    <a:lnTo>
                      <a:pt x="64" y="148"/>
                    </a:lnTo>
                    <a:lnTo>
                      <a:pt x="54" y="132"/>
                    </a:lnTo>
                    <a:lnTo>
                      <a:pt x="42" y="126"/>
                    </a:lnTo>
                    <a:lnTo>
                      <a:pt x="38" y="116"/>
                    </a:lnTo>
                    <a:lnTo>
                      <a:pt x="38" y="106"/>
                    </a:lnTo>
                    <a:lnTo>
                      <a:pt x="20" y="84"/>
                    </a:lnTo>
                    <a:lnTo>
                      <a:pt x="12" y="66"/>
                    </a:lnTo>
                    <a:lnTo>
                      <a:pt x="4" y="64"/>
                    </a:lnTo>
                    <a:lnTo>
                      <a:pt x="8" y="44"/>
                    </a:lnTo>
                    <a:lnTo>
                      <a:pt x="24" y="50"/>
                    </a:lnTo>
                    <a:lnTo>
                      <a:pt x="28" y="46"/>
                    </a:lnTo>
                    <a:lnTo>
                      <a:pt x="32" y="40"/>
                    </a:lnTo>
                    <a:lnTo>
                      <a:pt x="44" y="38"/>
                    </a:lnTo>
                    <a:lnTo>
                      <a:pt x="46" y="32"/>
                    </a:lnTo>
                    <a:lnTo>
                      <a:pt x="50" y="26"/>
                    </a:lnTo>
                    <a:lnTo>
                      <a:pt x="40" y="12"/>
                    </a:lnTo>
                    <a:lnTo>
                      <a:pt x="64" y="8"/>
                    </a:lnTo>
                    <a:lnTo>
                      <a:pt x="66" y="4"/>
                    </a:lnTo>
                    <a:close/>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1" name="Freeform 864"/>
              <p:cNvSpPr>
                <a:spLocks/>
              </p:cNvSpPr>
              <p:nvPr/>
            </p:nvSpPr>
            <p:spPr bwMode="auto">
              <a:xfrm>
                <a:off x="3357" y="2051"/>
                <a:ext cx="292" cy="240"/>
              </a:xfrm>
              <a:custGeom>
                <a:avLst/>
                <a:gdLst>
                  <a:gd name="T0" fmla="*/ 62 w 292"/>
                  <a:gd name="T1" fmla="*/ 0 h 240"/>
                  <a:gd name="T2" fmla="*/ 80 w 292"/>
                  <a:gd name="T3" fmla="*/ 2 h 240"/>
                  <a:gd name="T4" fmla="*/ 112 w 292"/>
                  <a:gd name="T5" fmla="*/ 20 h 240"/>
                  <a:gd name="T6" fmla="*/ 118 w 292"/>
                  <a:gd name="T7" fmla="*/ 32 h 240"/>
                  <a:gd name="T8" fmla="*/ 120 w 292"/>
                  <a:gd name="T9" fmla="*/ 36 h 240"/>
                  <a:gd name="T10" fmla="*/ 128 w 292"/>
                  <a:gd name="T11" fmla="*/ 38 h 240"/>
                  <a:gd name="T12" fmla="*/ 140 w 292"/>
                  <a:gd name="T13" fmla="*/ 46 h 240"/>
                  <a:gd name="T14" fmla="*/ 154 w 292"/>
                  <a:gd name="T15" fmla="*/ 46 h 240"/>
                  <a:gd name="T16" fmla="*/ 168 w 292"/>
                  <a:gd name="T17" fmla="*/ 46 h 240"/>
                  <a:gd name="T18" fmla="*/ 176 w 292"/>
                  <a:gd name="T19" fmla="*/ 48 h 240"/>
                  <a:gd name="T20" fmla="*/ 184 w 292"/>
                  <a:gd name="T21" fmla="*/ 56 h 240"/>
                  <a:gd name="T22" fmla="*/ 190 w 292"/>
                  <a:gd name="T23" fmla="*/ 56 h 240"/>
                  <a:gd name="T24" fmla="*/ 200 w 292"/>
                  <a:gd name="T25" fmla="*/ 74 h 240"/>
                  <a:gd name="T26" fmla="*/ 206 w 292"/>
                  <a:gd name="T27" fmla="*/ 78 h 240"/>
                  <a:gd name="T28" fmla="*/ 214 w 292"/>
                  <a:gd name="T29" fmla="*/ 86 h 240"/>
                  <a:gd name="T30" fmla="*/ 216 w 292"/>
                  <a:gd name="T31" fmla="*/ 98 h 240"/>
                  <a:gd name="T32" fmla="*/ 220 w 292"/>
                  <a:gd name="T33" fmla="*/ 106 h 240"/>
                  <a:gd name="T34" fmla="*/ 226 w 292"/>
                  <a:gd name="T35" fmla="*/ 114 h 240"/>
                  <a:gd name="T36" fmla="*/ 230 w 292"/>
                  <a:gd name="T37" fmla="*/ 118 h 240"/>
                  <a:gd name="T38" fmla="*/ 250 w 292"/>
                  <a:gd name="T39" fmla="*/ 142 h 240"/>
                  <a:gd name="T40" fmla="*/ 256 w 292"/>
                  <a:gd name="T41" fmla="*/ 144 h 240"/>
                  <a:gd name="T42" fmla="*/ 266 w 292"/>
                  <a:gd name="T43" fmla="*/ 148 h 240"/>
                  <a:gd name="T44" fmla="*/ 272 w 292"/>
                  <a:gd name="T45" fmla="*/ 148 h 240"/>
                  <a:gd name="T46" fmla="*/ 288 w 292"/>
                  <a:gd name="T47" fmla="*/ 148 h 240"/>
                  <a:gd name="T48" fmla="*/ 292 w 292"/>
                  <a:gd name="T49" fmla="*/ 154 h 240"/>
                  <a:gd name="T50" fmla="*/ 292 w 292"/>
                  <a:gd name="T51" fmla="*/ 166 h 240"/>
                  <a:gd name="T52" fmla="*/ 284 w 292"/>
                  <a:gd name="T53" fmla="*/ 184 h 240"/>
                  <a:gd name="T54" fmla="*/ 270 w 292"/>
                  <a:gd name="T55" fmla="*/ 186 h 240"/>
                  <a:gd name="T56" fmla="*/ 256 w 292"/>
                  <a:gd name="T57" fmla="*/ 194 h 240"/>
                  <a:gd name="T58" fmla="*/ 242 w 292"/>
                  <a:gd name="T59" fmla="*/ 202 h 240"/>
                  <a:gd name="T60" fmla="*/ 228 w 292"/>
                  <a:gd name="T61" fmla="*/ 202 h 240"/>
                  <a:gd name="T62" fmla="*/ 200 w 292"/>
                  <a:gd name="T63" fmla="*/ 206 h 240"/>
                  <a:gd name="T64" fmla="*/ 176 w 292"/>
                  <a:gd name="T65" fmla="*/ 228 h 240"/>
                  <a:gd name="T66" fmla="*/ 150 w 292"/>
                  <a:gd name="T67" fmla="*/ 222 h 240"/>
                  <a:gd name="T68" fmla="*/ 120 w 292"/>
                  <a:gd name="T69" fmla="*/ 224 h 240"/>
                  <a:gd name="T70" fmla="*/ 114 w 292"/>
                  <a:gd name="T71" fmla="*/ 240 h 240"/>
                  <a:gd name="T72" fmla="*/ 106 w 292"/>
                  <a:gd name="T73" fmla="*/ 224 h 240"/>
                  <a:gd name="T74" fmla="*/ 94 w 292"/>
                  <a:gd name="T75" fmla="*/ 208 h 240"/>
                  <a:gd name="T76" fmla="*/ 86 w 292"/>
                  <a:gd name="T77" fmla="*/ 190 h 240"/>
                  <a:gd name="T78" fmla="*/ 78 w 292"/>
                  <a:gd name="T79" fmla="*/ 182 h 240"/>
                  <a:gd name="T80" fmla="*/ 68 w 292"/>
                  <a:gd name="T81" fmla="*/ 180 h 240"/>
                  <a:gd name="T82" fmla="*/ 60 w 292"/>
                  <a:gd name="T83" fmla="*/ 166 h 240"/>
                  <a:gd name="T84" fmla="*/ 60 w 292"/>
                  <a:gd name="T85" fmla="*/ 144 h 240"/>
                  <a:gd name="T86" fmla="*/ 50 w 292"/>
                  <a:gd name="T87" fmla="*/ 128 h 240"/>
                  <a:gd name="T88" fmla="*/ 38 w 292"/>
                  <a:gd name="T89" fmla="*/ 122 h 240"/>
                  <a:gd name="T90" fmla="*/ 34 w 292"/>
                  <a:gd name="T91" fmla="*/ 112 h 240"/>
                  <a:gd name="T92" fmla="*/ 34 w 292"/>
                  <a:gd name="T93" fmla="*/ 102 h 240"/>
                  <a:gd name="T94" fmla="*/ 16 w 292"/>
                  <a:gd name="T95" fmla="*/ 80 h 240"/>
                  <a:gd name="T96" fmla="*/ 8 w 292"/>
                  <a:gd name="T97" fmla="*/ 62 h 240"/>
                  <a:gd name="T98" fmla="*/ 0 w 292"/>
                  <a:gd name="T99" fmla="*/ 60 h 240"/>
                  <a:gd name="T100" fmla="*/ 4 w 292"/>
                  <a:gd name="T101" fmla="*/ 40 h 240"/>
                  <a:gd name="T102" fmla="*/ 20 w 292"/>
                  <a:gd name="T103" fmla="*/ 46 h 240"/>
                  <a:gd name="T104" fmla="*/ 24 w 292"/>
                  <a:gd name="T105" fmla="*/ 42 h 240"/>
                  <a:gd name="T106" fmla="*/ 28 w 292"/>
                  <a:gd name="T107" fmla="*/ 36 h 240"/>
                  <a:gd name="T108" fmla="*/ 40 w 292"/>
                  <a:gd name="T109" fmla="*/ 34 h 240"/>
                  <a:gd name="T110" fmla="*/ 42 w 292"/>
                  <a:gd name="T111" fmla="*/ 28 h 240"/>
                  <a:gd name="T112" fmla="*/ 46 w 292"/>
                  <a:gd name="T113" fmla="*/ 22 h 240"/>
                  <a:gd name="T114" fmla="*/ 36 w 292"/>
                  <a:gd name="T115" fmla="*/ 8 h 240"/>
                  <a:gd name="T116" fmla="*/ 60 w 292"/>
                  <a:gd name="T117" fmla="*/ 4 h 240"/>
                  <a:gd name="T118" fmla="*/ 62 w 292"/>
                  <a:gd name="T11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240">
                    <a:moveTo>
                      <a:pt x="62" y="0"/>
                    </a:moveTo>
                    <a:lnTo>
                      <a:pt x="80" y="2"/>
                    </a:lnTo>
                    <a:lnTo>
                      <a:pt x="112" y="20"/>
                    </a:lnTo>
                    <a:lnTo>
                      <a:pt x="118" y="32"/>
                    </a:lnTo>
                    <a:lnTo>
                      <a:pt x="120" y="36"/>
                    </a:lnTo>
                    <a:lnTo>
                      <a:pt x="128" y="38"/>
                    </a:lnTo>
                    <a:lnTo>
                      <a:pt x="140" y="46"/>
                    </a:lnTo>
                    <a:lnTo>
                      <a:pt x="154" y="46"/>
                    </a:lnTo>
                    <a:lnTo>
                      <a:pt x="168" y="46"/>
                    </a:lnTo>
                    <a:lnTo>
                      <a:pt x="176" y="48"/>
                    </a:lnTo>
                    <a:lnTo>
                      <a:pt x="184" y="56"/>
                    </a:lnTo>
                    <a:lnTo>
                      <a:pt x="190" y="56"/>
                    </a:lnTo>
                    <a:lnTo>
                      <a:pt x="200" y="74"/>
                    </a:lnTo>
                    <a:lnTo>
                      <a:pt x="206" y="78"/>
                    </a:lnTo>
                    <a:lnTo>
                      <a:pt x="214" y="86"/>
                    </a:lnTo>
                    <a:lnTo>
                      <a:pt x="216" y="98"/>
                    </a:lnTo>
                    <a:lnTo>
                      <a:pt x="220" y="106"/>
                    </a:lnTo>
                    <a:lnTo>
                      <a:pt x="226" y="114"/>
                    </a:lnTo>
                    <a:lnTo>
                      <a:pt x="230" y="118"/>
                    </a:lnTo>
                    <a:lnTo>
                      <a:pt x="250" y="142"/>
                    </a:lnTo>
                    <a:lnTo>
                      <a:pt x="256" y="144"/>
                    </a:lnTo>
                    <a:lnTo>
                      <a:pt x="266" y="148"/>
                    </a:lnTo>
                    <a:lnTo>
                      <a:pt x="272" y="148"/>
                    </a:lnTo>
                    <a:lnTo>
                      <a:pt x="288" y="148"/>
                    </a:lnTo>
                    <a:lnTo>
                      <a:pt x="292" y="154"/>
                    </a:lnTo>
                    <a:lnTo>
                      <a:pt x="292" y="166"/>
                    </a:lnTo>
                    <a:lnTo>
                      <a:pt x="284" y="184"/>
                    </a:lnTo>
                    <a:lnTo>
                      <a:pt x="270" y="186"/>
                    </a:lnTo>
                    <a:lnTo>
                      <a:pt x="256" y="194"/>
                    </a:lnTo>
                    <a:lnTo>
                      <a:pt x="242" y="202"/>
                    </a:lnTo>
                    <a:lnTo>
                      <a:pt x="228" y="202"/>
                    </a:lnTo>
                    <a:lnTo>
                      <a:pt x="200" y="206"/>
                    </a:lnTo>
                    <a:lnTo>
                      <a:pt x="176" y="228"/>
                    </a:lnTo>
                    <a:lnTo>
                      <a:pt x="150" y="222"/>
                    </a:lnTo>
                    <a:lnTo>
                      <a:pt x="120" y="224"/>
                    </a:lnTo>
                    <a:lnTo>
                      <a:pt x="114" y="240"/>
                    </a:lnTo>
                    <a:lnTo>
                      <a:pt x="106" y="224"/>
                    </a:lnTo>
                    <a:lnTo>
                      <a:pt x="94" y="208"/>
                    </a:lnTo>
                    <a:lnTo>
                      <a:pt x="86" y="190"/>
                    </a:lnTo>
                    <a:lnTo>
                      <a:pt x="78" y="182"/>
                    </a:lnTo>
                    <a:lnTo>
                      <a:pt x="68" y="180"/>
                    </a:lnTo>
                    <a:lnTo>
                      <a:pt x="60" y="166"/>
                    </a:lnTo>
                    <a:lnTo>
                      <a:pt x="60" y="144"/>
                    </a:lnTo>
                    <a:lnTo>
                      <a:pt x="50" y="128"/>
                    </a:lnTo>
                    <a:lnTo>
                      <a:pt x="38" y="122"/>
                    </a:lnTo>
                    <a:lnTo>
                      <a:pt x="34" y="112"/>
                    </a:lnTo>
                    <a:lnTo>
                      <a:pt x="34" y="102"/>
                    </a:lnTo>
                    <a:lnTo>
                      <a:pt x="16" y="80"/>
                    </a:lnTo>
                    <a:lnTo>
                      <a:pt x="8" y="62"/>
                    </a:lnTo>
                    <a:lnTo>
                      <a:pt x="0" y="60"/>
                    </a:lnTo>
                    <a:lnTo>
                      <a:pt x="4" y="40"/>
                    </a:lnTo>
                    <a:lnTo>
                      <a:pt x="20" y="46"/>
                    </a:lnTo>
                    <a:lnTo>
                      <a:pt x="24" y="42"/>
                    </a:lnTo>
                    <a:lnTo>
                      <a:pt x="28" y="36"/>
                    </a:lnTo>
                    <a:lnTo>
                      <a:pt x="40" y="34"/>
                    </a:lnTo>
                    <a:lnTo>
                      <a:pt x="42" y="28"/>
                    </a:lnTo>
                    <a:lnTo>
                      <a:pt x="46" y="22"/>
                    </a:lnTo>
                    <a:lnTo>
                      <a:pt x="36" y="8"/>
                    </a:lnTo>
                    <a:lnTo>
                      <a:pt x="60" y="4"/>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2" name="Freeform 865"/>
              <p:cNvSpPr>
                <a:spLocks/>
              </p:cNvSpPr>
              <p:nvPr/>
            </p:nvSpPr>
            <p:spPr bwMode="auto">
              <a:xfrm>
                <a:off x="3353" y="2047"/>
                <a:ext cx="300" cy="248"/>
              </a:xfrm>
              <a:custGeom>
                <a:avLst/>
                <a:gdLst>
                  <a:gd name="T0" fmla="*/ 64 w 300"/>
                  <a:gd name="T1" fmla="*/ 0 h 248"/>
                  <a:gd name="T2" fmla="*/ 40 w 300"/>
                  <a:gd name="T3" fmla="*/ 8 h 248"/>
                  <a:gd name="T4" fmla="*/ 36 w 300"/>
                  <a:gd name="T5" fmla="*/ 10 h 248"/>
                  <a:gd name="T6" fmla="*/ 42 w 300"/>
                  <a:gd name="T7" fmla="*/ 30 h 248"/>
                  <a:gd name="T8" fmla="*/ 40 w 300"/>
                  <a:gd name="T9" fmla="*/ 34 h 248"/>
                  <a:gd name="T10" fmla="*/ 30 w 300"/>
                  <a:gd name="T11" fmla="*/ 38 h 248"/>
                  <a:gd name="T12" fmla="*/ 10 w 300"/>
                  <a:gd name="T13" fmla="*/ 42 h 248"/>
                  <a:gd name="T14" fmla="*/ 8 w 300"/>
                  <a:gd name="T15" fmla="*/ 40 h 248"/>
                  <a:gd name="T16" fmla="*/ 4 w 300"/>
                  <a:gd name="T17" fmla="*/ 44 h 248"/>
                  <a:gd name="T18" fmla="*/ 2 w 300"/>
                  <a:gd name="T19" fmla="*/ 66 h 248"/>
                  <a:gd name="T20" fmla="*/ 16 w 300"/>
                  <a:gd name="T21" fmla="*/ 86 h 248"/>
                  <a:gd name="T22" fmla="*/ 34 w 300"/>
                  <a:gd name="T23" fmla="*/ 108 h 248"/>
                  <a:gd name="T24" fmla="*/ 34 w 300"/>
                  <a:gd name="T25" fmla="*/ 118 h 248"/>
                  <a:gd name="T26" fmla="*/ 40 w 300"/>
                  <a:gd name="T27" fmla="*/ 130 h 248"/>
                  <a:gd name="T28" fmla="*/ 60 w 300"/>
                  <a:gd name="T29" fmla="*/ 170 h 248"/>
                  <a:gd name="T30" fmla="*/ 68 w 300"/>
                  <a:gd name="T31" fmla="*/ 186 h 248"/>
                  <a:gd name="T32" fmla="*/ 80 w 300"/>
                  <a:gd name="T33" fmla="*/ 188 h 248"/>
                  <a:gd name="T34" fmla="*/ 94 w 300"/>
                  <a:gd name="T35" fmla="*/ 214 h 248"/>
                  <a:gd name="T36" fmla="*/ 114 w 300"/>
                  <a:gd name="T37" fmla="*/ 246 h 248"/>
                  <a:gd name="T38" fmla="*/ 118 w 300"/>
                  <a:gd name="T39" fmla="*/ 248 h 248"/>
                  <a:gd name="T40" fmla="*/ 120 w 300"/>
                  <a:gd name="T41" fmla="*/ 248 h 248"/>
                  <a:gd name="T42" fmla="*/ 154 w 300"/>
                  <a:gd name="T43" fmla="*/ 230 h 248"/>
                  <a:gd name="T44" fmla="*/ 180 w 300"/>
                  <a:gd name="T45" fmla="*/ 236 h 248"/>
                  <a:gd name="T46" fmla="*/ 206 w 300"/>
                  <a:gd name="T47" fmla="*/ 214 h 248"/>
                  <a:gd name="T48" fmla="*/ 246 w 300"/>
                  <a:gd name="T49" fmla="*/ 210 h 248"/>
                  <a:gd name="T50" fmla="*/ 248 w 300"/>
                  <a:gd name="T51" fmla="*/ 210 h 248"/>
                  <a:gd name="T52" fmla="*/ 290 w 300"/>
                  <a:gd name="T53" fmla="*/ 190 h 248"/>
                  <a:gd name="T54" fmla="*/ 300 w 300"/>
                  <a:gd name="T55" fmla="*/ 172 h 248"/>
                  <a:gd name="T56" fmla="*/ 300 w 300"/>
                  <a:gd name="T57" fmla="*/ 158 h 248"/>
                  <a:gd name="T58" fmla="*/ 296 w 300"/>
                  <a:gd name="T59" fmla="*/ 150 h 248"/>
                  <a:gd name="T60" fmla="*/ 292 w 300"/>
                  <a:gd name="T61" fmla="*/ 148 h 248"/>
                  <a:gd name="T62" fmla="*/ 276 w 300"/>
                  <a:gd name="T63" fmla="*/ 148 h 248"/>
                  <a:gd name="T64" fmla="*/ 256 w 300"/>
                  <a:gd name="T65" fmla="*/ 142 h 248"/>
                  <a:gd name="T66" fmla="*/ 226 w 300"/>
                  <a:gd name="T67" fmla="*/ 108 h 248"/>
                  <a:gd name="T68" fmla="*/ 222 w 300"/>
                  <a:gd name="T69" fmla="*/ 90 h 248"/>
                  <a:gd name="T70" fmla="*/ 214 w 300"/>
                  <a:gd name="T71" fmla="*/ 80 h 248"/>
                  <a:gd name="T72" fmla="*/ 198 w 300"/>
                  <a:gd name="T73" fmla="*/ 58 h 248"/>
                  <a:gd name="T74" fmla="*/ 194 w 300"/>
                  <a:gd name="T75" fmla="*/ 56 h 248"/>
                  <a:gd name="T76" fmla="*/ 184 w 300"/>
                  <a:gd name="T77" fmla="*/ 50 h 248"/>
                  <a:gd name="T78" fmla="*/ 172 w 300"/>
                  <a:gd name="T79" fmla="*/ 46 h 248"/>
                  <a:gd name="T80" fmla="*/ 146 w 300"/>
                  <a:gd name="T81" fmla="*/ 46 h 248"/>
                  <a:gd name="T82" fmla="*/ 132 w 300"/>
                  <a:gd name="T83" fmla="*/ 38 h 248"/>
                  <a:gd name="T84" fmla="*/ 126 w 300"/>
                  <a:gd name="T85" fmla="*/ 34 h 248"/>
                  <a:gd name="T86" fmla="*/ 118 w 300"/>
                  <a:gd name="T87" fmla="*/ 22 h 248"/>
                  <a:gd name="T88" fmla="*/ 86 w 300"/>
                  <a:gd name="T89" fmla="*/ 4 h 248"/>
                  <a:gd name="T90" fmla="*/ 68 w 300"/>
                  <a:gd name="T9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248">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3" name="Freeform 866"/>
              <p:cNvSpPr>
                <a:spLocks/>
              </p:cNvSpPr>
              <p:nvPr/>
            </p:nvSpPr>
            <p:spPr bwMode="auto">
              <a:xfrm>
                <a:off x="3355" y="2049"/>
                <a:ext cx="16" cy="14"/>
              </a:xfrm>
              <a:custGeom>
                <a:avLst/>
                <a:gdLst>
                  <a:gd name="T0" fmla="*/ 6 w 16"/>
                  <a:gd name="T1" fmla="*/ 14 h 14"/>
                  <a:gd name="T2" fmla="*/ 6 w 16"/>
                  <a:gd name="T3" fmla="*/ 14 h 14"/>
                  <a:gd name="T4" fmla="*/ 4 w 16"/>
                  <a:gd name="T5" fmla="*/ 14 h 14"/>
                  <a:gd name="T6" fmla="*/ 0 w 16"/>
                  <a:gd name="T7" fmla="*/ 10 h 14"/>
                  <a:gd name="T8" fmla="*/ 0 w 16"/>
                  <a:gd name="T9" fmla="*/ 10 h 14"/>
                  <a:gd name="T10" fmla="*/ 0 w 16"/>
                  <a:gd name="T11" fmla="*/ 8 h 14"/>
                  <a:gd name="T12" fmla="*/ 0 w 16"/>
                  <a:gd name="T13" fmla="*/ 4 h 14"/>
                  <a:gd name="T14" fmla="*/ 0 w 16"/>
                  <a:gd name="T15" fmla="*/ 4 h 14"/>
                  <a:gd name="T16" fmla="*/ 2 w 16"/>
                  <a:gd name="T17" fmla="*/ 2 h 14"/>
                  <a:gd name="T18" fmla="*/ 4 w 16"/>
                  <a:gd name="T19" fmla="*/ 0 h 14"/>
                  <a:gd name="T20" fmla="*/ 4 w 16"/>
                  <a:gd name="T21" fmla="*/ 0 h 14"/>
                  <a:gd name="T22" fmla="*/ 6 w 16"/>
                  <a:gd name="T23" fmla="*/ 0 h 14"/>
                  <a:gd name="T24" fmla="*/ 14 w 16"/>
                  <a:gd name="T25" fmla="*/ 0 h 14"/>
                  <a:gd name="T26" fmla="*/ 14 w 16"/>
                  <a:gd name="T27" fmla="*/ 0 h 14"/>
                  <a:gd name="T28" fmla="*/ 16 w 16"/>
                  <a:gd name="T29" fmla="*/ 2 h 14"/>
                  <a:gd name="T30" fmla="*/ 16 w 16"/>
                  <a:gd name="T31" fmla="*/ 8 h 14"/>
                  <a:gd name="T32" fmla="*/ 16 w 16"/>
                  <a:gd name="T33" fmla="*/ 8 h 14"/>
                  <a:gd name="T34" fmla="*/ 16 w 16"/>
                  <a:gd name="T35" fmla="*/ 8 h 14"/>
                  <a:gd name="T36" fmla="*/ 12 w 16"/>
                  <a:gd name="T37" fmla="*/ 14 h 14"/>
                  <a:gd name="T38" fmla="*/ 12 w 16"/>
                  <a:gd name="T39" fmla="*/ 14 h 14"/>
                  <a:gd name="T40" fmla="*/ 10 w 16"/>
                  <a:gd name="T41" fmla="*/ 14 h 14"/>
                  <a:gd name="T42" fmla="*/ 6 w 16"/>
                  <a:gd name="T4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6" y="14"/>
                    </a:moveTo>
                    <a:lnTo>
                      <a:pt x="6" y="14"/>
                    </a:lnTo>
                    <a:lnTo>
                      <a:pt x="4" y="14"/>
                    </a:lnTo>
                    <a:lnTo>
                      <a:pt x="0" y="10"/>
                    </a:lnTo>
                    <a:lnTo>
                      <a:pt x="0" y="10"/>
                    </a:lnTo>
                    <a:lnTo>
                      <a:pt x="0" y="8"/>
                    </a:lnTo>
                    <a:lnTo>
                      <a:pt x="0" y="4"/>
                    </a:lnTo>
                    <a:lnTo>
                      <a:pt x="0" y="4"/>
                    </a:lnTo>
                    <a:lnTo>
                      <a:pt x="2" y="2"/>
                    </a:lnTo>
                    <a:lnTo>
                      <a:pt x="4" y="0"/>
                    </a:lnTo>
                    <a:lnTo>
                      <a:pt x="4" y="0"/>
                    </a:lnTo>
                    <a:lnTo>
                      <a:pt x="6" y="0"/>
                    </a:lnTo>
                    <a:lnTo>
                      <a:pt x="14" y="0"/>
                    </a:lnTo>
                    <a:lnTo>
                      <a:pt x="14" y="0"/>
                    </a:lnTo>
                    <a:lnTo>
                      <a:pt x="16" y="2"/>
                    </a:lnTo>
                    <a:lnTo>
                      <a:pt x="16" y="8"/>
                    </a:lnTo>
                    <a:lnTo>
                      <a:pt x="16" y="8"/>
                    </a:lnTo>
                    <a:lnTo>
                      <a:pt x="16" y="8"/>
                    </a:lnTo>
                    <a:lnTo>
                      <a:pt x="12" y="14"/>
                    </a:lnTo>
                    <a:lnTo>
                      <a:pt x="12" y="14"/>
                    </a:lnTo>
                    <a:lnTo>
                      <a:pt x="10"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4" name="Freeform 867"/>
              <p:cNvSpPr>
                <a:spLocks noEditPoints="1"/>
              </p:cNvSpPr>
              <p:nvPr/>
            </p:nvSpPr>
            <p:spPr bwMode="auto">
              <a:xfrm>
                <a:off x="3353" y="2047"/>
                <a:ext cx="20" cy="18"/>
              </a:xfrm>
              <a:custGeom>
                <a:avLst/>
                <a:gdLst>
                  <a:gd name="T0" fmla="*/ 16 w 20"/>
                  <a:gd name="T1" fmla="*/ 4 h 18"/>
                  <a:gd name="T2" fmla="*/ 16 w 20"/>
                  <a:gd name="T3" fmla="*/ 4 h 18"/>
                  <a:gd name="T4" fmla="*/ 16 w 20"/>
                  <a:gd name="T5" fmla="*/ 10 h 18"/>
                  <a:gd name="T6" fmla="*/ 12 w 20"/>
                  <a:gd name="T7" fmla="*/ 14 h 18"/>
                  <a:gd name="T8" fmla="*/ 8 w 20"/>
                  <a:gd name="T9" fmla="*/ 14 h 18"/>
                  <a:gd name="T10" fmla="*/ 4 w 20"/>
                  <a:gd name="T11" fmla="*/ 10 h 18"/>
                  <a:gd name="T12" fmla="*/ 4 w 20"/>
                  <a:gd name="T13" fmla="*/ 6 h 18"/>
                  <a:gd name="T14" fmla="*/ 8 w 20"/>
                  <a:gd name="T15" fmla="*/ 4 h 18"/>
                  <a:gd name="T16" fmla="*/ 16 w 20"/>
                  <a:gd name="T17" fmla="*/ 4 h 18"/>
                  <a:gd name="T18" fmla="*/ 16 w 20"/>
                  <a:gd name="T19" fmla="*/ 0 h 18"/>
                  <a:gd name="T20" fmla="*/ 8 w 20"/>
                  <a:gd name="T21" fmla="*/ 0 h 18"/>
                  <a:gd name="T22" fmla="*/ 8 w 20"/>
                  <a:gd name="T23" fmla="*/ 0 h 18"/>
                  <a:gd name="T24" fmla="*/ 4 w 20"/>
                  <a:gd name="T25" fmla="*/ 0 h 18"/>
                  <a:gd name="T26" fmla="*/ 2 w 20"/>
                  <a:gd name="T27" fmla="*/ 4 h 18"/>
                  <a:gd name="T28" fmla="*/ 2 w 20"/>
                  <a:gd name="T29" fmla="*/ 4 h 18"/>
                  <a:gd name="T30" fmla="*/ 0 w 20"/>
                  <a:gd name="T31" fmla="*/ 6 h 18"/>
                  <a:gd name="T32" fmla="*/ 0 w 20"/>
                  <a:gd name="T33" fmla="*/ 10 h 18"/>
                  <a:gd name="T34" fmla="*/ 0 w 20"/>
                  <a:gd name="T35" fmla="*/ 10 h 18"/>
                  <a:gd name="T36" fmla="*/ 2 w 20"/>
                  <a:gd name="T37" fmla="*/ 12 h 18"/>
                  <a:gd name="T38" fmla="*/ 4 w 20"/>
                  <a:gd name="T39" fmla="*/ 16 h 18"/>
                  <a:gd name="T40" fmla="*/ 4 w 20"/>
                  <a:gd name="T41" fmla="*/ 16 h 18"/>
                  <a:gd name="T42" fmla="*/ 8 w 20"/>
                  <a:gd name="T43" fmla="*/ 18 h 18"/>
                  <a:gd name="T44" fmla="*/ 12 w 20"/>
                  <a:gd name="T45" fmla="*/ 18 h 18"/>
                  <a:gd name="T46" fmla="*/ 12 w 20"/>
                  <a:gd name="T47" fmla="*/ 18 h 18"/>
                  <a:gd name="T48" fmla="*/ 16 w 20"/>
                  <a:gd name="T49" fmla="*/ 16 h 18"/>
                  <a:gd name="T50" fmla="*/ 20 w 20"/>
                  <a:gd name="T51" fmla="*/ 10 h 18"/>
                  <a:gd name="T52" fmla="*/ 20 w 20"/>
                  <a:gd name="T53" fmla="*/ 10 h 18"/>
                  <a:gd name="T54" fmla="*/ 20 w 20"/>
                  <a:gd name="T55" fmla="*/ 10 h 18"/>
                  <a:gd name="T56" fmla="*/ 20 w 20"/>
                  <a:gd name="T57" fmla="*/ 4 h 18"/>
                  <a:gd name="T58" fmla="*/ 20 w 20"/>
                  <a:gd name="T59" fmla="*/ 4 h 18"/>
                  <a:gd name="T60" fmla="*/ 20 w 20"/>
                  <a:gd name="T61" fmla="*/ 4 h 18"/>
                  <a:gd name="T62" fmla="*/ 18 w 20"/>
                  <a:gd name="T63" fmla="*/ 0 h 18"/>
                  <a:gd name="T64" fmla="*/ 16 w 20"/>
                  <a:gd name="T65" fmla="*/ 0 h 18"/>
                  <a:gd name="T66" fmla="*/ 16 w 20"/>
                  <a:gd name="T6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8">
                    <a:moveTo>
                      <a:pt x="16" y="4"/>
                    </a:moveTo>
                    <a:lnTo>
                      <a:pt x="16" y="4"/>
                    </a:lnTo>
                    <a:lnTo>
                      <a:pt x="16" y="10"/>
                    </a:lnTo>
                    <a:lnTo>
                      <a:pt x="12" y="14"/>
                    </a:lnTo>
                    <a:lnTo>
                      <a:pt x="8" y="14"/>
                    </a:lnTo>
                    <a:lnTo>
                      <a:pt x="4" y="10"/>
                    </a:lnTo>
                    <a:lnTo>
                      <a:pt x="4" y="6"/>
                    </a:lnTo>
                    <a:lnTo>
                      <a:pt x="8" y="4"/>
                    </a:lnTo>
                    <a:lnTo>
                      <a:pt x="16" y="4"/>
                    </a:lnTo>
                    <a:close/>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5" name="Freeform 868"/>
              <p:cNvSpPr>
                <a:spLocks/>
              </p:cNvSpPr>
              <p:nvPr/>
            </p:nvSpPr>
            <p:spPr bwMode="auto">
              <a:xfrm>
                <a:off x="3357" y="2051"/>
                <a:ext cx="12" cy="10"/>
              </a:xfrm>
              <a:custGeom>
                <a:avLst/>
                <a:gdLst>
                  <a:gd name="T0" fmla="*/ 12 w 12"/>
                  <a:gd name="T1" fmla="*/ 0 h 10"/>
                  <a:gd name="T2" fmla="*/ 12 w 12"/>
                  <a:gd name="T3" fmla="*/ 0 h 10"/>
                  <a:gd name="T4" fmla="*/ 12 w 12"/>
                  <a:gd name="T5" fmla="*/ 6 h 10"/>
                  <a:gd name="T6" fmla="*/ 8 w 12"/>
                  <a:gd name="T7" fmla="*/ 10 h 10"/>
                  <a:gd name="T8" fmla="*/ 4 w 12"/>
                  <a:gd name="T9" fmla="*/ 10 h 10"/>
                  <a:gd name="T10" fmla="*/ 0 w 12"/>
                  <a:gd name="T11" fmla="*/ 6 h 10"/>
                  <a:gd name="T12" fmla="*/ 0 w 12"/>
                  <a:gd name="T13" fmla="*/ 2 h 10"/>
                  <a:gd name="T14" fmla="*/ 4 w 12"/>
                  <a:gd name="T15" fmla="*/ 0 h 10"/>
                  <a:gd name="T16" fmla="*/ 12 w 1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12" y="0"/>
                    </a:moveTo>
                    <a:lnTo>
                      <a:pt x="12" y="0"/>
                    </a:lnTo>
                    <a:lnTo>
                      <a:pt x="12" y="6"/>
                    </a:lnTo>
                    <a:lnTo>
                      <a:pt x="8" y="10"/>
                    </a:lnTo>
                    <a:lnTo>
                      <a:pt x="4" y="10"/>
                    </a:lnTo>
                    <a:lnTo>
                      <a:pt x="0" y="6"/>
                    </a:lnTo>
                    <a:lnTo>
                      <a:pt x="0" y="2"/>
                    </a:lnTo>
                    <a:lnTo>
                      <a:pt x="4"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6" name="Freeform 869"/>
              <p:cNvSpPr>
                <a:spLocks/>
              </p:cNvSpPr>
              <p:nvPr/>
            </p:nvSpPr>
            <p:spPr bwMode="auto">
              <a:xfrm>
                <a:off x="3353" y="2047"/>
                <a:ext cx="20" cy="18"/>
              </a:xfrm>
              <a:custGeom>
                <a:avLst/>
                <a:gdLst>
                  <a:gd name="T0" fmla="*/ 16 w 20"/>
                  <a:gd name="T1" fmla="*/ 0 h 18"/>
                  <a:gd name="T2" fmla="*/ 8 w 20"/>
                  <a:gd name="T3" fmla="*/ 0 h 18"/>
                  <a:gd name="T4" fmla="*/ 8 w 20"/>
                  <a:gd name="T5" fmla="*/ 0 h 18"/>
                  <a:gd name="T6" fmla="*/ 4 w 20"/>
                  <a:gd name="T7" fmla="*/ 0 h 18"/>
                  <a:gd name="T8" fmla="*/ 2 w 20"/>
                  <a:gd name="T9" fmla="*/ 4 h 18"/>
                  <a:gd name="T10" fmla="*/ 2 w 20"/>
                  <a:gd name="T11" fmla="*/ 4 h 18"/>
                  <a:gd name="T12" fmla="*/ 0 w 20"/>
                  <a:gd name="T13" fmla="*/ 6 h 18"/>
                  <a:gd name="T14" fmla="*/ 0 w 20"/>
                  <a:gd name="T15" fmla="*/ 10 h 18"/>
                  <a:gd name="T16" fmla="*/ 0 w 20"/>
                  <a:gd name="T17" fmla="*/ 10 h 18"/>
                  <a:gd name="T18" fmla="*/ 2 w 20"/>
                  <a:gd name="T19" fmla="*/ 12 h 18"/>
                  <a:gd name="T20" fmla="*/ 4 w 20"/>
                  <a:gd name="T21" fmla="*/ 16 h 18"/>
                  <a:gd name="T22" fmla="*/ 4 w 20"/>
                  <a:gd name="T23" fmla="*/ 16 h 18"/>
                  <a:gd name="T24" fmla="*/ 8 w 20"/>
                  <a:gd name="T25" fmla="*/ 18 h 18"/>
                  <a:gd name="T26" fmla="*/ 12 w 20"/>
                  <a:gd name="T27" fmla="*/ 18 h 18"/>
                  <a:gd name="T28" fmla="*/ 12 w 20"/>
                  <a:gd name="T29" fmla="*/ 18 h 18"/>
                  <a:gd name="T30" fmla="*/ 16 w 20"/>
                  <a:gd name="T31" fmla="*/ 16 h 18"/>
                  <a:gd name="T32" fmla="*/ 20 w 20"/>
                  <a:gd name="T33" fmla="*/ 10 h 18"/>
                  <a:gd name="T34" fmla="*/ 20 w 20"/>
                  <a:gd name="T35" fmla="*/ 10 h 18"/>
                  <a:gd name="T36" fmla="*/ 20 w 20"/>
                  <a:gd name="T37" fmla="*/ 10 h 18"/>
                  <a:gd name="T38" fmla="*/ 20 w 20"/>
                  <a:gd name="T39" fmla="*/ 4 h 18"/>
                  <a:gd name="T40" fmla="*/ 20 w 20"/>
                  <a:gd name="T41" fmla="*/ 4 h 18"/>
                  <a:gd name="T42" fmla="*/ 20 w 20"/>
                  <a:gd name="T43" fmla="*/ 4 h 18"/>
                  <a:gd name="T44" fmla="*/ 18 w 20"/>
                  <a:gd name="T45" fmla="*/ 0 h 18"/>
                  <a:gd name="T46" fmla="*/ 16 w 20"/>
                  <a:gd name="T47" fmla="*/ 0 h 18"/>
                  <a:gd name="T48" fmla="*/ 16 w 2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7" name="Freeform 870"/>
              <p:cNvSpPr>
                <a:spLocks/>
              </p:cNvSpPr>
              <p:nvPr/>
            </p:nvSpPr>
            <p:spPr bwMode="auto">
              <a:xfrm>
                <a:off x="3585" y="2143"/>
                <a:ext cx="10" cy="28"/>
              </a:xfrm>
              <a:custGeom>
                <a:avLst/>
                <a:gdLst>
                  <a:gd name="T0" fmla="*/ 4 w 10"/>
                  <a:gd name="T1" fmla="*/ 28 h 28"/>
                  <a:gd name="T2" fmla="*/ 4 w 10"/>
                  <a:gd name="T3" fmla="*/ 28 h 28"/>
                  <a:gd name="T4" fmla="*/ 2 w 10"/>
                  <a:gd name="T5" fmla="*/ 26 h 28"/>
                  <a:gd name="T6" fmla="*/ 0 w 10"/>
                  <a:gd name="T7" fmla="*/ 22 h 28"/>
                  <a:gd name="T8" fmla="*/ 0 w 10"/>
                  <a:gd name="T9" fmla="*/ 22 h 28"/>
                  <a:gd name="T10" fmla="*/ 0 w 10"/>
                  <a:gd name="T11" fmla="*/ 22 h 28"/>
                  <a:gd name="T12" fmla="*/ 0 w 10"/>
                  <a:gd name="T13" fmla="*/ 12 h 28"/>
                  <a:gd name="T14" fmla="*/ 2 w 10"/>
                  <a:gd name="T15" fmla="*/ 2 h 28"/>
                  <a:gd name="T16" fmla="*/ 2 w 10"/>
                  <a:gd name="T17" fmla="*/ 2 h 28"/>
                  <a:gd name="T18" fmla="*/ 4 w 10"/>
                  <a:gd name="T19" fmla="*/ 0 h 28"/>
                  <a:gd name="T20" fmla="*/ 6 w 10"/>
                  <a:gd name="T21" fmla="*/ 0 h 28"/>
                  <a:gd name="T22" fmla="*/ 6 w 10"/>
                  <a:gd name="T23" fmla="*/ 0 h 28"/>
                  <a:gd name="T24" fmla="*/ 8 w 10"/>
                  <a:gd name="T25" fmla="*/ 2 h 28"/>
                  <a:gd name="T26" fmla="*/ 10 w 10"/>
                  <a:gd name="T27" fmla="*/ 10 h 28"/>
                  <a:gd name="T28" fmla="*/ 10 w 10"/>
                  <a:gd name="T29" fmla="*/ 14 h 28"/>
                  <a:gd name="T30" fmla="*/ 8 w 10"/>
                  <a:gd name="T31" fmla="*/ 22 h 28"/>
                  <a:gd name="T32" fmla="*/ 8 w 10"/>
                  <a:gd name="T33" fmla="*/ 22 h 28"/>
                  <a:gd name="T34" fmla="*/ 8 w 10"/>
                  <a:gd name="T35" fmla="*/ 22 h 28"/>
                  <a:gd name="T36" fmla="*/ 6 w 10"/>
                  <a:gd name="T37" fmla="*/ 26 h 28"/>
                  <a:gd name="T38" fmla="*/ 6 w 10"/>
                  <a:gd name="T39" fmla="*/ 26 h 28"/>
                  <a:gd name="T40" fmla="*/ 4 w 10"/>
                  <a:gd name="T41" fmla="*/ 28 h 28"/>
                  <a:gd name="T42" fmla="*/ 4 w 10"/>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8">
                    <a:moveTo>
                      <a:pt x="4" y="28"/>
                    </a:moveTo>
                    <a:lnTo>
                      <a:pt x="4" y="28"/>
                    </a:lnTo>
                    <a:lnTo>
                      <a:pt x="2" y="26"/>
                    </a:lnTo>
                    <a:lnTo>
                      <a:pt x="0" y="22"/>
                    </a:lnTo>
                    <a:lnTo>
                      <a:pt x="0" y="22"/>
                    </a:lnTo>
                    <a:lnTo>
                      <a:pt x="0" y="22"/>
                    </a:lnTo>
                    <a:lnTo>
                      <a:pt x="0" y="12"/>
                    </a:lnTo>
                    <a:lnTo>
                      <a:pt x="2" y="2"/>
                    </a:lnTo>
                    <a:lnTo>
                      <a:pt x="2" y="2"/>
                    </a:lnTo>
                    <a:lnTo>
                      <a:pt x="4" y="0"/>
                    </a:lnTo>
                    <a:lnTo>
                      <a:pt x="6" y="0"/>
                    </a:lnTo>
                    <a:lnTo>
                      <a:pt x="6" y="0"/>
                    </a:lnTo>
                    <a:lnTo>
                      <a:pt x="8" y="2"/>
                    </a:lnTo>
                    <a:lnTo>
                      <a:pt x="10" y="10"/>
                    </a:lnTo>
                    <a:lnTo>
                      <a:pt x="10" y="14"/>
                    </a:lnTo>
                    <a:lnTo>
                      <a:pt x="8" y="22"/>
                    </a:lnTo>
                    <a:lnTo>
                      <a:pt x="8" y="22"/>
                    </a:lnTo>
                    <a:lnTo>
                      <a:pt x="8" y="22"/>
                    </a:lnTo>
                    <a:lnTo>
                      <a:pt x="6" y="26"/>
                    </a:lnTo>
                    <a:lnTo>
                      <a:pt x="6"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8" name="Freeform 871"/>
              <p:cNvSpPr>
                <a:spLocks noEditPoints="1"/>
              </p:cNvSpPr>
              <p:nvPr/>
            </p:nvSpPr>
            <p:spPr bwMode="auto">
              <a:xfrm>
                <a:off x="3583" y="2141"/>
                <a:ext cx="14" cy="32"/>
              </a:xfrm>
              <a:custGeom>
                <a:avLst/>
                <a:gdLst>
                  <a:gd name="T0" fmla="*/ 8 w 14"/>
                  <a:gd name="T1" fmla="*/ 4 h 32"/>
                  <a:gd name="T2" fmla="*/ 10 w 14"/>
                  <a:gd name="T3" fmla="*/ 12 h 32"/>
                  <a:gd name="T4" fmla="*/ 10 w 14"/>
                  <a:gd name="T5" fmla="*/ 16 h 32"/>
                  <a:gd name="T6" fmla="*/ 8 w 14"/>
                  <a:gd name="T7" fmla="*/ 24 h 32"/>
                  <a:gd name="T8" fmla="*/ 6 w 14"/>
                  <a:gd name="T9" fmla="*/ 28 h 32"/>
                  <a:gd name="T10" fmla="*/ 4 w 14"/>
                  <a:gd name="T11" fmla="*/ 24 h 32"/>
                  <a:gd name="T12" fmla="*/ 4 w 14"/>
                  <a:gd name="T13" fmla="*/ 14 h 32"/>
                  <a:gd name="T14" fmla="*/ 6 w 14"/>
                  <a:gd name="T15" fmla="*/ 4 h 32"/>
                  <a:gd name="T16" fmla="*/ 8 w 14"/>
                  <a:gd name="T17" fmla="*/ 4 h 32"/>
                  <a:gd name="T18" fmla="*/ 8 w 14"/>
                  <a:gd name="T19" fmla="*/ 0 h 32"/>
                  <a:gd name="T20" fmla="*/ 6 w 14"/>
                  <a:gd name="T21" fmla="*/ 0 h 32"/>
                  <a:gd name="T22" fmla="*/ 6 w 14"/>
                  <a:gd name="T23" fmla="*/ 0 h 32"/>
                  <a:gd name="T24" fmla="*/ 4 w 14"/>
                  <a:gd name="T25" fmla="*/ 2 h 32"/>
                  <a:gd name="T26" fmla="*/ 2 w 14"/>
                  <a:gd name="T27" fmla="*/ 4 h 32"/>
                  <a:gd name="T28" fmla="*/ 0 w 14"/>
                  <a:gd name="T29" fmla="*/ 12 h 32"/>
                  <a:gd name="T30" fmla="*/ 0 w 14"/>
                  <a:gd name="T31" fmla="*/ 12 h 32"/>
                  <a:gd name="T32" fmla="*/ 0 w 14"/>
                  <a:gd name="T33" fmla="*/ 14 h 32"/>
                  <a:gd name="T34" fmla="*/ 0 w 14"/>
                  <a:gd name="T35" fmla="*/ 24 h 32"/>
                  <a:gd name="T36" fmla="*/ 0 w 14"/>
                  <a:gd name="T37" fmla="*/ 24 h 32"/>
                  <a:gd name="T38" fmla="*/ 0 w 14"/>
                  <a:gd name="T39" fmla="*/ 26 h 32"/>
                  <a:gd name="T40" fmla="*/ 2 w 14"/>
                  <a:gd name="T41" fmla="*/ 30 h 32"/>
                  <a:gd name="T42" fmla="*/ 2 w 14"/>
                  <a:gd name="T43" fmla="*/ 30 h 32"/>
                  <a:gd name="T44" fmla="*/ 6 w 14"/>
                  <a:gd name="T45" fmla="*/ 32 h 32"/>
                  <a:gd name="T46" fmla="*/ 6 w 14"/>
                  <a:gd name="T47" fmla="*/ 32 h 32"/>
                  <a:gd name="T48" fmla="*/ 6 w 14"/>
                  <a:gd name="T49" fmla="*/ 32 h 32"/>
                  <a:gd name="T50" fmla="*/ 10 w 14"/>
                  <a:gd name="T51" fmla="*/ 30 h 32"/>
                  <a:gd name="T52" fmla="*/ 12 w 14"/>
                  <a:gd name="T53" fmla="*/ 26 h 32"/>
                  <a:gd name="T54" fmla="*/ 12 w 14"/>
                  <a:gd name="T55" fmla="*/ 26 h 32"/>
                  <a:gd name="T56" fmla="*/ 12 w 14"/>
                  <a:gd name="T57" fmla="*/ 24 h 32"/>
                  <a:gd name="T58" fmla="*/ 14 w 14"/>
                  <a:gd name="T59" fmla="*/ 18 h 32"/>
                  <a:gd name="T60" fmla="*/ 14 w 14"/>
                  <a:gd name="T61" fmla="*/ 18 h 32"/>
                  <a:gd name="T62" fmla="*/ 14 w 14"/>
                  <a:gd name="T63" fmla="*/ 16 h 32"/>
                  <a:gd name="T64" fmla="*/ 14 w 14"/>
                  <a:gd name="T65" fmla="*/ 12 h 32"/>
                  <a:gd name="T66" fmla="*/ 14 w 14"/>
                  <a:gd name="T67" fmla="*/ 12 h 32"/>
                  <a:gd name="T68" fmla="*/ 14 w 14"/>
                  <a:gd name="T69" fmla="*/ 12 h 32"/>
                  <a:gd name="T70" fmla="*/ 12 w 14"/>
                  <a:gd name="T71" fmla="*/ 4 h 32"/>
                  <a:gd name="T72" fmla="*/ 12 w 14"/>
                  <a:gd name="T73" fmla="*/ 4 h 32"/>
                  <a:gd name="T74" fmla="*/ 10 w 14"/>
                  <a:gd name="T75" fmla="*/ 2 h 32"/>
                  <a:gd name="T76" fmla="*/ 8 w 14"/>
                  <a:gd name="T77" fmla="*/ 0 h 32"/>
                  <a:gd name="T78" fmla="*/ 8 w 14"/>
                  <a:gd name="T7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32">
                    <a:moveTo>
                      <a:pt x="8" y="4"/>
                    </a:moveTo>
                    <a:lnTo>
                      <a:pt x="10" y="12"/>
                    </a:lnTo>
                    <a:lnTo>
                      <a:pt x="10" y="16"/>
                    </a:lnTo>
                    <a:lnTo>
                      <a:pt x="8" y="24"/>
                    </a:lnTo>
                    <a:lnTo>
                      <a:pt x="6" y="28"/>
                    </a:lnTo>
                    <a:lnTo>
                      <a:pt x="4" y="24"/>
                    </a:lnTo>
                    <a:lnTo>
                      <a:pt x="4" y="14"/>
                    </a:lnTo>
                    <a:lnTo>
                      <a:pt x="6" y="4"/>
                    </a:lnTo>
                    <a:lnTo>
                      <a:pt x="8" y="4"/>
                    </a:lnTo>
                    <a:close/>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9" name="Freeform 872"/>
              <p:cNvSpPr>
                <a:spLocks/>
              </p:cNvSpPr>
              <p:nvPr/>
            </p:nvSpPr>
            <p:spPr bwMode="auto">
              <a:xfrm>
                <a:off x="3587" y="2145"/>
                <a:ext cx="6" cy="24"/>
              </a:xfrm>
              <a:custGeom>
                <a:avLst/>
                <a:gdLst>
                  <a:gd name="T0" fmla="*/ 4 w 6"/>
                  <a:gd name="T1" fmla="*/ 0 h 24"/>
                  <a:gd name="T2" fmla="*/ 6 w 6"/>
                  <a:gd name="T3" fmla="*/ 8 h 24"/>
                  <a:gd name="T4" fmla="*/ 6 w 6"/>
                  <a:gd name="T5" fmla="*/ 12 h 24"/>
                  <a:gd name="T6" fmla="*/ 4 w 6"/>
                  <a:gd name="T7" fmla="*/ 20 h 24"/>
                  <a:gd name="T8" fmla="*/ 2 w 6"/>
                  <a:gd name="T9" fmla="*/ 24 h 24"/>
                  <a:gd name="T10" fmla="*/ 0 w 6"/>
                  <a:gd name="T11" fmla="*/ 20 h 24"/>
                  <a:gd name="T12" fmla="*/ 0 w 6"/>
                  <a:gd name="T13" fmla="*/ 10 h 24"/>
                  <a:gd name="T14" fmla="*/ 2 w 6"/>
                  <a:gd name="T15" fmla="*/ 0 h 24"/>
                  <a:gd name="T16" fmla="*/ 4 w 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4">
                    <a:moveTo>
                      <a:pt x="4" y="0"/>
                    </a:moveTo>
                    <a:lnTo>
                      <a:pt x="6" y="8"/>
                    </a:lnTo>
                    <a:lnTo>
                      <a:pt x="6" y="12"/>
                    </a:lnTo>
                    <a:lnTo>
                      <a:pt x="4" y="20"/>
                    </a:lnTo>
                    <a:lnTo>
                      <a:pt x="2" y="24"/>
                    </a:lnTo>
                    <a:lnTo>
                      <a:pt x="0" y="20"/>
                    </a:lnTo>
                    <a:lnTo>
                      <a:pt x="0" y="10"/>
                    </a:lnTo>
                    <a:lnTo>
                      <a:pt x="2"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0" name="Freeform 873"/>
              <p:cNvSpPr>
                <a:spLocks/>
              </p:cNvSpPr>
              <p:nvPr/>
            </p:nvSpPr>
            <p:spPr bwMode="auto">
              <a:xfrm>
                <a:off x="3583" y="2141"/>
                <a:ext cx="14" cy="32"/>
              </a:xfrm>
              <a:custGeom>
                <a:avLst/>
                <a:gdLst>
                  <a:gd name="T0" fmla="*/ 8 w 14"/>
                  <a:gd name="T1" fmla="*/ 0 h 32"/>
                  <a:gd name="T2" fmla="*/ 6 w 14"/>
                  <a:gd name="T3" fmla="*/ 0 h 32"/>
                  <a:gd name="T4" fmla="*/ 6 w 14"/>
                  <a:gd name="T5" fmla="*/ 0 h 32"/>
                  <a:gd name="T6" fmla="*/ 4 w 14"/>
                  <a:gd name="T7" fmla="*/ 2 h 32"/>
                  <a:gd name="T8" fmla="*/ 2 w 14"/>
                  <a:gd name="T9" fmla="*/ 4 h 32"/>
                  <a:gd name="T10" fmla="*/ 0 w 14"/>
                  <a:gd name="T11" fmla="*/ 12 h 32"/>
                  <a:gd name="T12" fmla="*/ 0 w 14"/>
                  <a:gd name="T13" fmla="*/ 12 h 32"/>
                  <a:gd name="T14" fmla="*/ 0 w 14"/>
                  <a:gd name="T15" fmla="*/ 14 h 32"/>
                  <a:gd name="T16" fmla="*/ 0 w 14"/>
                  <a:gd name="T17" fmla="*/ 24 h 32"/>
                  <a:gd name="T18" fmla="*/ 0 w 14"/>
                  <a:gd name="T19" fmla="*/ 24 h 32"/>
                  <a:gd name="T20" fmla="*/ 0 w 14"/>
                  <a:gd name="T21" fmla="*/ 26 h 32"/>
                  <a:gd name="T22" fmla="*/ 2 w 14"/>
                  <a:gd name="T23" fmla="*/ 30 h 32"/>
                  <a:gd name="T24" fmla="*/ 2 w 14"/>
                  <a:gd name="T25" fmla="*/ 30 h 32"/>
                  <a:gd name="T26" fmla="*/ 6 w 14"/>
                  <a:gd name="T27" fmla="*/ 32 h 32"/>
                  <a:gd name="T28" fmla="*/ 6 w 14"/>
                  <a:gd name="T29" fmla="*/ 32 h 32"/>
                  <a:gd name="T30" fmla="*/ 6 w 14"/>
                  <a:gd name="T31" fmla="*/ 32 h 32"/>
                  <a:gd name="T32" fmla="*/ 10 w 14"/>
                  <a:gd name="T33" fmla="*/ 30 h 32"/>
                  <a:gd name="T34" fmla="*/ 12 w 14"/>
                  <a:gd name="T35" fmla="*/ 26 h 32"/>
                  <a:gd name="T36" fmla="*/ 12 w 14"/>
                  <a:gd name="T37" fmla="*/ 26 h 32"/>
                  <a:gd name="T38" fmla="*/ 12 w 14"/>
                  <a:gd name="T39" fmla="*/ 24 h 32"/>
                  <a:gd name="T40" fmla="*/ 14 w 14"/>
                  <a:gd name="T41" fmla="*/ 18 h 32"/>
                  <a:gd name="T42" fmla="*/ 14 w 14"/>
                  <a:gd name="T43" fmla="*/ 18 h 32"/>
                  <a:gd name="T44" fmla="*/ 14 w 14"/>
                  <a:gd name="T45" fmla="*/ 16 h 32"/>
                  <a:gd name="T46" fmla="*/ 14 w 14"/>
                  <a:gd name="T47" fmla="*/ 12 h 32"/>
                  <a:gd name="T48" fmla="*/ 14 w 14"/>
                  <a:gd name="T49" fmla="*/ 12 h 32"/>
                  <a:gd name="T50" fmla="*/ 14 w 14"/>
                  <a:gd name="T51" fmla="*/ 12 h 32"/>
                  <a:gd name="T52" fmla="*/ 12 w 14"/>
                  <a:gd name="T53" fmla="*/ 4 h 32"/>
                  <a:gd name="T54" fmla="*/ 12 w 14"/>
                  <a:gd name="T55" fmla="*/ 4 h 32"/>
                  <a:gd name="T56" fmla="*/ 10 w 14"/>
                  <a:gd name="T57" fmla="*/ 2 h 32"/>
                  <a:gd name="T58" fmla="*/ 8 w 14"/>
                  <a:gd name="T59" fmla="*/ 0 h 32"/>
                  <a:gd name="T60" fmla="*/ 8 w 14"/>
                  <a:gd name="T6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32">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1" name="Freeform 874"/>
              <p:cNvSpPr>
                <a:spLocks/>
              </p:cNvSpPr>
              <p:nvPr/>
            </p:nvSpPr>
            <p:spPr bwMode="auto">
              <a:xfrm>
                <a:off x="3573" y="2139"/>
                <a:ext cx="16" cy="14"/>
              </a:xfrm>
              <a:custGeom>
                <a:avLst/>
                <a:gdLst>
                  <a:gd name="T0" fmla="*/ 8 w 16"/>
                  <a:gd name="T1" fmla="*/ 14 h 14"/>
                  <a:gd name="T2" fmla="*/ 8 w 16"/>
                  <a:gd name="T3" fmla="*/ 14 h 14"/>
                  <a:gd name="T4" fmla="*/ 6 w 16"/>
                  <a:gd name="T5" fmla="*/ 14 h 14"/>
                  <a:gd name="T6" fmla="*/ 0 w 16"/>
                  <a:gd name="T7" fmla="*/ 2 h 14"/>
                  <a:gd name="T8" fmla="*/ 0 w 16"/>
                  <a:gd name="T9" fmla="*/ 2 h 14"/>
                  <a:gd name="T10" fmla="*/ 2 w 16"/>
                  <a:gd name="T11" fmla="*/ 0 h 14"/>
                  <a:gd name="T12" fmla="*/ 2 w 16"/>
                  <a:gd name="T13" fmla="*/ 0 h 14"/>
                  <a:gd name="T14" fmla="*/ 2 w 16"/>
                  <a:gd name="T15" fmla="*/ 0 h 14"/>
                  <a:gd name="T16" fmla="*/ 2 w 16"/>
                  <a:gd name="T17" fmla="*/ 0 h 14"/>
                  <a:gd name="T18" fmla="*/ 4 w 16"/>
                  <a:gd name="T19" fmla="*/ 0 h 14"/>
                  <a:gd name="T20" fmla="*/ 14 w 16"/>
                  <a:gd name="T21" fmla="*/ 2 h 14"/>
                  <a:gd name="T22" fmla="*/ 14 w 16"/>
                  <a:gd name="T23" fmla="*/ 2 h 14"/>
                  <a:gd name="T24" fmla="*/ 16 w 16"/>
                  <a:gd name="T25" fmla="*/ 2 h 14"/>
                  <a:gd name="T26" fmla="*/ 16 w 16"/>
                  <a:gd name="T27" fmla="*/ 2 h 14"/>
                  <a:gd name="T28" fmla="*/ 16 w 16"/>
                  <a:gd name="T29" fmla="*/ 4 h 14"/>
                  <a:gd name="T30" fmla="*/ 10 w 16"/>
                  <a:gd name="T31" fmla="*/ 14 h 14"/>
                  <a:gd name="T32" fmla="*/ 10 w 16"/>
                  <a:gd name="T33" fmla="*/ 14 h 14"/>
                  <a:gd name="T34" fmla="*/ 8 w 16"/>
                  <a:gd name="T35" fmla="*/ 14 h 14"/>
                  <a:gd name="T36" fmla="*/ 8 w 16"/>
                  <a:gd name="T37" fmla="*/ 14 h 14"/>
                  <a:gd name="T38" fmla="*/ 8 w 16"/>
                  <a:gd name="T39" fmla="*/ 14 h 14"/>
                  <a:gd name="T40" fmla="*/ 8 w 16"/>
                  <a:gd name="T4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8" y="14"/>
                    </a:moveTo>
                    <a:lnTo>
                      <a:pt x="8" y="14"/>
                    </a:lnTo>
                    <a:lnTo>
                      <a:pt x="6" y="14"/>
                    </a:lnTo>
                    <a:lnTo>
                      <a:pt x="0" y="2"/>
                    </a:lnTo>
                    <a:lnTo>
                      <a:pt x="0" y="2"/>
                    </a:lnTo>
                    <a:lnTo>
                      <a:pt x="2" y="0"/>
                    </a:lnTo>
                    <a:lnTo>
                      <a:pt x="2" y="0"/>
                    </a:lnTo>
                    <a:lnTo>
                      <a:pt x="2" y="0"/>
                    </a:lnTo>
                    <a:lnTo>
                      <a:pt x="2" y="0"/>
                    </a:lnTo>
                    <a:lnTo>
                      <a:pt x="4" y="0"/>
                    </a:lnTo>
                    <a:lnTo>
                      <a:pt x="14" y="2"/>
                    </a:lnTo>
                    <a:lnTo>
                      <a:pt x="14" y="2"/>
                    </a:lnTo>
                    <a:lnTo>
                      <a:pt x="16" y="2"/>
                    </a:lnTo>
                    <a:lnTo>
                      <a:pt x="16" y="2"/>
                    </a:lnTo>
                    <a:lnTo>
                      <a:pt x="16" y="4"/>
                    </a:lnTo>
                    <a:lnTo>
                      <a:pt x="10" y="14"/>
                    </a:lnTo>
                    <a:lnTo>
                      <a:pt x="10" y="14"/>
                    </a:lnTo>
                    <a:lnTo>
                      <a:pt x="8" y="14"/>
                    </a:lnTo>
                    <a:lnTo>
                      <a:pt x="8" y="14"/>
                    </a:lnTo>
                    <a:lnTo>
                      <a:pt x="8" y="14"/>
                    </a:lnTo>
                    <a:lnTo>
                      <a:pt x="8"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2" name="Freeform 875"/>
              <p:cNvSpPr>
                <a:spLocks noEditPoints="1"/>
              </p:cNvSpPr>
              <p:nvPr/>
            </p:nvSpPr>
            <p:spPr bwMode="auto">
              <a:xfrm>
                <a:off x="3573" y="2137"/>
                <a:ext cx="18" cy="18"/>
              </a:xfrm>
              <a:custGeom>
                <a:avLst/>
                <a:gdLst>
                  <a:gd name="T0" fmla="*/ 2 w 18"/>
                  <a:gd name="T1" fmla="*/ 4 h 18"/>
                  <a:gd name="T2" fmla="*/ 14 w 18"/>
                  <a:gd name="T3" fmla="*/ 6 h 18"/>
                  <a:gd name="T4" fmla="*/ 8 w 18"/>
                  <a:gd name="T5" fmla="*/ 14 h 18"/>
                  <a:gd name="T6" fmla="*/ 2 w 18"/>
                  <a:gd name="T7" fmla="*/ 4 h 18"/>
                  <a:gd name="T8" fmla="*/ 2 w 18"/>
                  <a:gd name="T9" fmla="*/ 0 h 18"/>
                  <a:gd name="T10" fmla="*/ 2 w 18"/>
                  <a:gd name="T11" fmla="*/ 0 h 18"/>
                  <a:gd name="T12" fmla="*/ 0 w 18"/>
                  <a:gd name="T13" fmla="*/ 0 h 18"/>
                  <a:gd name="T14" fmla="*/ 0 w 18"/>
                  <a:gd name="T15" fmla="*/ 0 h 18"/>
                  <a:gd name="T16" fmla="*/ 0 w 18"/>
                  <a:gd name="T17" fmla="*/ 4 h 18"/>
                  <a:gd name="T18" fmla="*/ 4 w 18"/>
                  <a:gd name="T19" fmla="*/ 16 h 18"/>
                  <a:gd name="T20" fmla="*/ 4 w 18"/>
                  <a:gd name="T21" fmla="*/ 16 h 18"/>
                  <a:gd name="T22" fmla="*/ 8 w 18"/>
                  <a:gd name="T23" fmla="*/ 18 h 18"/>
                  <a:gd name="T24" fmla="*/ 8 w 18"/>
                  <a:gd name="T25" fmla="*/ 18 h 18"/>
                  <a:gd name="T26" fmla="*/ 8 w 18"/>
                  <a:gd name="T27" fmla="*/ 18 h 18"/>
                  <a:gd name="T28" fmla="*/ 8 w 18"/>
                  <a:gd name="T29" fmla="*/ 18 h 18"/>
                  <a:gd name="T30" fmla="*/ 12 w 18"/>
                  <a:gd name="T31" fmla="*/ 16 h 18"/>
                  <a:gd name="T32" fmla="*/ 18 w 18"/>
                  <a:gd name="T33" fmla="*/ 8 h 18"/>
                  <a:gd name="T34" fmla="*/ 18 w 18"/>
                  <a:gd name="T35" fmla="*/ 8 h 18"/>
                  <a:gd name="T36" fmla="*/ 18 w 18"/>
                  <a:gd name="T37" fmla="*/ 4 h 18"/>
                  <a:gd name="T38" fmla="*/ 18 w 18"/>
                  <a:gd name="T39" fmla="*/ 4 h 18"/>
                  <a:gd name="T40" fmla="*/ 14 w 18"/>
                  <a:gd name="T41" fmla="*/ 2 h 18"/>
                  <a:gd name="T42" fmla="*/ 4 w 18"/>
                  <a:gd name="T43" fmla="*/ 0 h 18"/>
                  <a:gd name="T44" fmla="*/ 4 w 18"/>
                  <a:gd name="T45" fmla="*/ 0 h 18"/>
                  <a:gd name="T46" fmla="*/ 2 w 18"/>
                  <a:gd name="T47" fmla="*/ 0 h 18"/>
                  <a:gd name="T48" fmla="*/ 2 w 18"/>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8">
                    <a:moveTo>
                      <a:pt x="2" y="4"/>
                    </a:moveTo>
                    <a:lnTo>
                      <a:pt x="14" y="6"/>
                    </a:lnTo>
                    <a:lnTo>
                      <a:pt x="8" y="14"/>
                    </a:lnTo>
                    <a:lnTo>
                      <a:pt x="2" y="4"/>
                    </a:lnTo>
                    <a:close/>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3" name="Freeform 876"/>
              <p:cNvSpPr>
                <a:spLocks/>
              </p:cNvSpPr>
              <p:nvPr/>
            </p:nvSpPr>
            <p:spPr bwMode="auto">
              <a:xfrm>
                <a:off x="3575" y="2141"/>
                <a:ext cx="12" cy="10"/>
              </a:xfrm>
              <a:custGeom>
                <a:avLst/>
                <a:gdLst>
                  <a:gd name="T0" fmla="*/ 0 w 12"/>
                  <a:gd name="T1" fmla="*/ 0 h 10"/>
                  <a:gd name="T2" fmla="*/ 12 w 12"/>
                  <a:gd name="T3" fmla="*/ 2 h 10"/>
                  <a:gd name="T4" fmla="*/ 6 w 12"/>
                  <a:gd name="T5" fmla="*/ 10 h 10"/>
                  <a:gd name="T6" fmla="*/ 0 w 12"/>
                  <a:gd name="T7" fmla="*/ 0 h 10"/>
                </a:gdLst>
                <a:ahLst/>
                <a:cxnLst>
                  <a:cxn ang="0">
                    <a:pos x="T0" y="T1"/>
                  </a:cxn>
                  <a:cxn ang="0">
                    <a:pos x="T2" y="T3"/>
                  </a:cxn>
                  <a:cxn ang="0">
                    <a:pos x="T4" y="T5"/>
                  </a:cxn>
                  <a:cxn ang="0">
                    <a:pos x="T6" y="T7"/>
                  </a:cxn>
                </a:cxnLst>
                <a:rect l="0" t="0" r="r" b="b"/>
                <a:pathLst>
                  <a:path w="12" h="10">
                    <a:moveTo>
                      <a:pt x="0" y="0"/>
                    </a:moveTo>
                    <a:lnTo>
                      <a:pt x="12" y="2"/>
                    </a:lnTo>
                    <a:lnTo>
                      <a:pt x="6"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4" name="Freeform 877"/>
              <p:cNvSpPr>
                <a:spLocks/>
              </p:cNvSpPr>
              <p:nvPr/>
            </p:nvSpPr>
            <p:spPr bwMode="auto">
              <a:xfrm>
                <a:off x="3573" y="2137"/>
                <a:ext cx="18" cy="18"/>
              </a:xfrm>
              <a:custGeom>
                <a:avLst/>
                <a:gdLst>
                  <a:gd name="T0" fmla="*/ 2 w 18"/>
                  <a:gd name="T1" fmla="*/ 0 h 18"/>
                  <a:gd name="T2" fmla="*/ 2 w 18"/>
                  <a:gd name="T3" fmla="*/ 0 h 18"/>
                  <a:gd name="T4" fmla="*/ 0 w 18"/>
                  <a:gd name="T5" fmla="*/ 0 h 18"/>
                  <a:gd name="T6" fmla="*/ 0 w 18"/>
                  <a:gd name="T7" fmla="*/ 0 h 18"/>
                  <a:gd name="T8" fmla="*/ 0 w 18"/>
                  <a:gd name="T9" fmla="*/ 4 h 18"/>
                  <a:gd name="T10" fmla="*/ 4 w 18"/>
                  <a:gd name="T11" fmla="*/ 16 h 18"/>
                  <a:gd name="T12" fmla="*/ 4 w 18"/>
                  <a:gd name="T13" fmla="*/ 16 h 18"/>
                  <a:gd name="T14" fmla="*/ 8 w 18"/>
                  <a:gd name="T15" fmla="*/ 18 h 18"/>
                  <a:gd name="T16" fmla="*/ 8 w 18"/>
                  <a:gd name="T17" fmla="*/ 18 h 18"/>
                  <a:gd name="T18" fmla="*/ 8 w 18"/>
                  <a:gd name="T19" fmla="*/ 18 h 18"/>
                  <a:gd name="T20" fmla="*/ 8 w 18"/>
                  <a:gd name="T21" fmla="*/ 18 h 18"/>
                  <a:gd name="T22" fmla="*/ 12 w 18"/>
                  <a:gd name="T23" fmla="*/ 16 h 18"/>
                  <a:gd name="T24" fmla="*/ 18 w 18"/>
                  <a:gd name="T25" fmla="*/ 8 h 18"/>
                  <a:gd name="T26" fmla="*/ 18 w 18"/>
                  <a:gd name="T27" fmla="*/ 8 h 18"/>
                  <a:gd name="T28" fmla="*/ 18 w 18"/>
                  <a:gd name="T29" fmla="*/ 4 h 18"/>
                  <a:gd name="T30" fmla="*/ 18 w 18"/>
                  <a:gd name="T31" fmla="*/ 4 h 18"/>
                  <a:gd name="T32" fmla="*/ 14 w 18"/>
                  <a:gd name="T33" fmla="*/ 2 h 18"/>
                  <a:gd name="T34" fmla="*/ 4 w 18"/>
                  <a:gd name="T35" fmla="*/ 0 h 18"/>
                  <a:gd name="T36" fmla="*/ 4 w 18"/>
                  <a:gd name="T37" fmla="*/ 0 h 18"/>
                  <a:gd name="T38" fmla="*/ 2 w 18"/>
                  <a:gd name="T39" fmla="*/ 0 h 18"/>
                  <a:gd name="T40" fmla="*/ 2 w 18"/>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8">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5" name="Freeform 878"/>
              <p:cNvSpPr>
                <a:spLocks/>
              </p:cNvSpPr>
              <p:nvPr/>
            </p:nvSpPr>
            <p:spPr bwMode="auto">
              <a:xfrm>
                <a:off x="4313" y="2313"/>
                <a:ext cx="76" cy="64"/>
              </a:xfrm>
              <a:custGeom>
                <a:avLst/>
                <a:gdLst>
                  <a:gd name="T0" fmla="*/ 30 w 76"/>
                  <a:gd name="T1" fmla="*/ 64 h 64"/>
                  <a:gd name="T2" fmla="*/ 30 w 76"/>
                  <a:gd name="T3" fmla="*/ 64 h 64"/>
                  <a:gd name="T4" fmla="*/ 30 w 76"/>
                  <a:gd name="T5" fmla="*/ 64 h 64"/>
                  <a:gd name="T6" fmla="*/ 16 w 76"/>
                  <a:gd name="T7" fmla="*/ 62 h 64"/>
                  <a:gd name="T8" fmla="*/ 16 w 76"/>
                  <a:gd name="T9" fmla="*/ 62 h 64"/>
                  <a:gd name="T10" fmla="*/ 16 w 76"/>
                  <a:gd name="T11" fmla="*/ 60 h 64"/>
                  <a:gd name="T12" fmla="*/ 10 w 76"/>
                  <a:gd name="T13" fmla="*/ 52 h 64"/>
                  <a:gd name="T14" fmla="*/ 0 w 76"/>
                  <a:gd name="T15" fmla="*/ 24 h 64"/>
                  <a:gd name="T16" fmla="*/ 0 w 76"/>
                  <a:gd name="T17" fmla="*/ 18 h 64"/>
                  <a:gd name="T18" fmla="*/ 0 w 76"/>
                  <a:gd name="T19" fmla="*/ 18 h 64"/>
                  <a:gd name="T20" fmla="*/ 0 w 76"/>
                  <a:gd name="T21" fmla="*/ 16 h 64"/>
                  <a:gd name="T22" fmla="*/ 6 w 76"/>
                  <a:gd name="T23" fmla="*/ 4 h 64"/>
                  <a:gd name="T24" fmla="*/ 6 w 76"/>
                  <a:gd name="T25" fmla="*/ 4 h 64"/>
                  <a:gd name="T26" fmla="*/ 8 w 76"/>
                  <a:gd name="T27" fmla="*/ 2 h 64"/>
                  <a:gd name="T28" fmla="*/ 8 w 76"/>
                  <a:gd name="T29" fmla="*/ 2 h 64"/>
                  <a:gd name="T30" fmla="*/ 44 w 76"/>
                  <a:gd name="T31" fmla="*/ 0 h 64"/>
                  <a:gd name="T32" fmla="*/ 44 w 76"/>
                  <a:gd name="T33" fmla="*/ 0 h 64"/>
                  <a:gd name="T34" fmla="*/ 46 w 76"/>
                  <a:gd name="T35" fmla="*/ 2 h 64"/>
                  <a:gd name="T36" fmla="*/ 46 w 76"/>
                  <a:gd name="T37" fmla="*/ 2 h 64"/>
                  <a:gd name="T38" fmla="*/ 46 w 76"/>
                  <a:gd name="T39" fmla="*/ 2 h 64"/>
                  <a:gd name="T40" fmla="*/ 46 w 76"/>
                  <a:gd name="T41" fmla="*/ 6 h 64"/>
                  <a:gd name="T42" fmla="*/ 52 w 76"/>
                  <a:gd name="T43" fmla="*/ 6 h 64"/>
                  <a:gd name="T44" fmla="*/ 56 w 76"/>
                  <a:gd name="T45" fmla="*/ 0 h 64"/>
                  <a:gd name="T46" fmla="*/ 56 w 76"/>
                  <a:gd name="T47" fmla="*/ 0 h 64"/>
                  <a:gd name="T48" fmla="*/ 58 w 76"/>
                  <a:gd name="T49" fmla="*/ 0 h 64"/>
                  <a:gd name="T50" fmla="*/ 58 w 76"/>
                  <a:gd name="T51" fmla="*/ 0 h 64"/>
                  <a:gd name="T52" fmla="*/ 58 w 76"/>
                  <a:gd name="T53" fmla="*/ 0 h 64"/>
                  <a:gd name="T54" fmla="*/ 62 w 76"/>
                  <a:gd name="T55" fmla="*/ 2 h 64"/>
                  <a:gd name="T56" fmla="*/ 62 w 76"/>
                  <a:gd name="T57" fmla="*/ 2 h 64"/>
                  <a:gd name="T58" fmla="*/ 62 w 76"/>
                  <a:gd name="T59" fmla="*/ 2 h 64"/>
                  <a:gd name="T60" fmla="*/ 64 w 76"/>
                  <a:gd name="T61" fmla="*/ 4 h 64"/>
                  <a:gd name="T62" fmla="*/ 74 w 76"/>
                  <a:gd name="T63" fmla="*/ 4 h 64"/>
                  <a:gd name="T64" fmla="*/ 74 w 76"/>
                  <a:gd name="T65" fmla="*/ 4 h 64"/>
                  <a:gd name="T66" fmla="*/ 76 w 76"/>
                  <a:gd name="T67" fmla="*/ 6 h 64"/>
                  <a:gd name="T68" fmla="*/ 76 w 76"/>
                  <a:gd name="T69" fmla="*/ 16 h 64"/>
                  <a:gd name="T70" fmla="*/ 72 w 76"/>
                  <a:gd name="T71" fmla="*/ 26 h 64"/>
                  <a:gd name="T72" fmla="*/ 66 w 76"/>
                  <a:gd name="T73" fmla="*/ 36 h 64"/>
                  <a:gd name="T74" fmla="*/ 60 w 76"/>
                  <a:gd name="T75" fmla="*/ 44 h 64"/>
                  <a:gd name="T76" fmla="*/ 60 w 76"/>
                  <a:gd name="T77" fmla="*/ 44 h 64"/>
                  <a:gd name="T78" fmla="*/ 60 w 76"/>
                  <a:gd name="T79" fmla="*/ 44 h 64"/>
                  <a:gd name="T80" fmla="*/ 52 w 76"/>
                  <a:gd name="T81" fmla="*/ 48 h 64"/>
                  <a:gd name="T82" fmla="*/ 52 w 76"/>
                  <a:gd name="T83" fmla="*/ 54 h 64"/>
                  <a:gd name="T84" fmla="*/ 52 w 76"/>
                  <a:gd name="T85" fmla="*/ 54 h 64"/>
                  <a:gd name="T86" fmla="*/ 52 w 76"/>
                  <a:gd name="T87" fmla="*/ 56 h 64"/>
                  <a:gd name="T88" fmla="*/ 42 w 76"/>
                  <a:gd name="T89" fmla="*/ 60 h 64"/>
                  <a:gd name="T90" fmla="*/ 38 w 76"/>
                  <a:gd name="T91" fmla="*/ 62 h 64"/>
                  <a:gd name="T92" fmla="*/ 38 w 76"/>
                  <a:gd name="T93" fmla="*/ 62 h 64"/>
                  <a:gd name="T94" fmla="*/ 38 w 76"/>
                  <a:gd name="T95" fmla="*/ 62 h 64"/>
                  <a:gd name="T96" fmla="*/ 32 w 76"/>
                  <a:gd name="T97" fmla="*/ 62 h 64"/>
                  <a:gd name="T98" fmla="*/ 32 w 76"/>
                  <a:gd name="T99" fmla="*/ 64 h 64"/>
                  <a:gd name="T100" fmla="*/ 32 w 76"/>
                  <a:gd name="T101" fmla="*/ 64 h 64"/>
                  <a:gd name="T102" fmla="*/ 30 w 76"/>
                  <a:gd name="T103" fmla="*/ 64 h 64"/>
                  <a:gd name="T104" fmla="*/ 30 w 76"/>
                  <a:gd name="T10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64">
                    <a:moveTo>
                      <a:pt x="30" y="64"/>
                    </a:moveTo>
                    <a:lnTo>
                      <a:pt x="30" y="64"/>
                    </a:lnTo>
                    <a:lnTo>
                      <a:pt x="30" y="64"/>
                    </a:lnTo>
                    <a:lnTo>
                      <a:pt x="16" y="62"/>
                    </a:lnTo>
                    <a:lnTo>
                      <a:pt x="16" y="62"/>
                    </a:lnTo>
                    <a:lnTo>
                      <a:pt x="16" y="60"/>
                    </a:lnTo>
                    <a:lnTo>
                      <a:pt x="10" y="52"/>
                    </a:lnTo>
                    <a:lnTo>
                      <a:pt x="0" y="24"/>
                    </a:lnTo>
                    <a:lnTo>
                      <a:pt x="0" y="18"/>
                    </a:lnTo>
                    <a:lnTo>
                      <a:pt x="0" y="18"/>
                    </a:lnTo>
                    <a:lnTo>
                      <a:pt x="0" y="16"/>
                    </a:lnTo>
                    <a:lnTo>
                      <a:pt x="6" y="4"/>
                    </a:lnTo>
                    <a:lnTo>
                      <a:pt x="6" y="4"/>
                    </a:lnTo>
                    <a:lnTo>
                      <a:pt x="8" y="2"/>
                    </a:lnTo>
                    <a:lnTo>
                      <a:pt x="8" y="2"/>
                    </a:lnTo>
                    <a:lnTo>
                      <a:pt x="44" y="0"/>
                    </a:lnTo>
                    <a:lnTo>
                      <a:pt x="44" y="0"/>
                    </a:lnTo>
                    <a:lnTo>
                      <a:pt x="46" y="2"/>
                    </a:lnTo>
                    <a:lnTo>
                      <a:pt x="46" y="2"/>
                    </a:lnTo>
                    <a:lnTo>
                      <a:pt x="46" y="2"/>
                    </a:lnTo>
                    <a:lnTo>
                      <a:pt x="46" y="6"/>
                    </a:lnTo>
                    <a:lnTo>
                      <a:pt x="52" y="6"/>
                    </a:lnTo>
                    <a:lnTo>
                      <a:pt x="56" y="0"/>
                    </a:lnTo>
                    <a:lnTo>
                      <a:pt x="56" y="0"/>
                    </a:lnTo>
                    <a:lnTo>
                      <a:pt x="58" y="0"/>
                    </a:lnTo>
                    <a:lnTo>
                      <a:pt x="58" y="0"/>
                    </a:lnTo>
                    <a:lnTo>
                      <a:pt x="58" y="0"/>
                    </a:lnTo>
                    <a:lnTo>
                      <a:pt x="62" y="2"/>
                    </a:lnTo>
                    <a:lnTo>
                      <a:pt x="62" y="2"/>
                    </a:lnTo>
                    <a:lnTo>
                      <a:pt x="62" y="2"/>
                    </a:lnTo>
                    <a:lnTo>
                      <a:pt x="64" y="4"/>
                    </a:lnTo>
                    <a:lnTo>
                      <a:pt x="74" y="4"/>
                    </a:lnTo>
                    <a:lnTo>
                      <a:pt x="74" y="4"/>
                    </a:lnTo>
                    <a:lnTo>
                      <a:pt x="76" y="6"/>
                    </a:lnTo>
                    <a:lnTo>
                      <a:pt x="76" y="16"/>
                    </a:lnTo>
                    <a:lnTo>
                      <a:pt x="72" y="26"/>
                    </a:lnTo>
                    <a:lnTo>
                      <a:pt x="66" y="36"/>
                    </a:lnTo>
                    <a:lnTo>
                      <a:pt x="60" y="44"/>
                    </a:lnTo>
                    <a:lnTo>
                      <a:pt x="60" y="44"/>
                    </a:lnTo>
                    <a:lnTo>
                      <a:pt x="60" y="44"/>
                    </a:lnTo>
                    <a:lnTo>
                      <a:pt x="52" y="48"/>
                    </a:lnTo>
                    <a:lnTo>
                      <a:pt x="52" y="54"/>
                    </a:lnTo>
                    <a:lnTo>
                      <a:pt x="52" y="54"/>
                    </a:lnTo>
                    <a:lnTo>
                      <a:pt x="52" y="56"/>
                    </a:lnTo>
                    <a:lnTo>
                      <a:pt x="42" y="60"/>
                    </a:lnTo>
                    <a:lnTo>
                      <a:pt x="38" y="62"/>
                    </a:lnTo>
                    <a:lnTo>
                      <a:pt x="38" y="62"/>
                    </a:lnTo>
                    <a:lnTo>
                      <a:pt x="38" y="62"/>
                    </a:lnTo>
                    <a:lnTo>
                      <a:pt x="32" y="62"/>
                    </a:lnTo>
                    <a:lnTo>
                      <a:pt x="32" y="64"/>
                    </a:lnTo>
                    <a:lnTo>
                      <a:pt x="32" y="64"/>
                    </a:lnTo>
                    <a:lnTo>
                      <a:pt x="30" y="64"/>
                    </a:lnTo>
                    <a:lnTo>
                      <a:pt x="3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6" name="Freeform 879"/>
              <p:cNvSpPr>
                <a:spLocks noEditPoints="1"/>
              </p:cNvSpPr>
              <p:nvPr/>
            </p:nvSpPr>
            <p:spPr bwMode="auto">
              <a:xfrm>
                <a:off x="4311" y="2311"/>
                <a:ext cx="80" cy="68"/>
              </a:xfrm>
              <a:custGeom>
                <a:avLst/>
                <a:gdLst>
                  <a:gd name="T0" fmla="*/ 64 w 80"/>
                  <a:gd name="T1" fmla="*/ 4 h 68"/>
                  <a:gd name="T2" fmla="*/ 76 w 80"/>
                  <a:gd name="T3" fmla="*/ 8 h 68"/>
                  <a:gd name="T4" fmla="*/ 72 w 80"/>
                  <a:gd name="T5" fmla="*/ 26 h 68"/>
                  <a:gd name="T6" fmla="*/ 62 w 80"/>
                  <a:gd name="T7" fmla="*/ 44 h 68"/>
                  <a:gd name="T8" fmla="*/ 52 w 80"/>
                  <a:gd name="T9" fmla="*/ 56 h 68"/>
                  <a:gd name="T10" fmla="*/ 40 w 80"/>
                  <a:gd name="T11" fmla="*/ 62 h 68"/>
                  <a:gd name="T12" fmla="*/ 32 w 80"/>
                  <a:gd name="T13" fmla="*/ 64 h 68"/>
                  <a:gd name="T14" fmla="*/ 14 w 80"/>
                  <a:gd name="T15" fmla="*/ 52 h 68"/>
                  <a:gd name="T16" fmla="*/ 4 w 80"/>
                  <a:gd name="T17" fmla="*/ 24 h 68"/>
                  <a:gd name="T18" fmla="*/ 10 w 80"/>
                  <a:gd name="T19" fmla="*/ 6 h 68"/>
                  <a:gd name="T20" fmla="*/ 46 w 80"/>
                  <a:gd name="T21" fmla="*/ 10 h 68"/>
                  <a:gd name="T22" fmla="*/ 60 w 80"/>
                  <a:gd name="T23" fmla="*/ 4 h 68"/>
                  <a:gd name="T24" fmla="*/ 60 w 80"/>
                  <a:gd name="T25" fmla="*/ 0 h 68"/>
                  <a:gd name="T26" fmla="*/ 56 w 80"/>
                  <a:gd name="T27" fmla="*/ 2 h 68"/>
                  <a:gd name="T28" fmla="*/ 50 w 80"/>
                  <a:gd name="T29" fmla="*/ 6 h 68"/>
                  <a:gd name="T30" fmla="*/ 50 w 80"/>
                  <a:gd name="T31" fmla="*/ 4 h 68"/>
                  <a:gd name="T32" fmla="*/ 50 w 80"/>
                  <a:gd name="T33" fmla="*/ 2 h 68"/>
                  <a:gd name="T34" fmla="*/ 46 w 80"/>
                  <a:gd name="T35" fmla="*/ 0 h 68"/>
                  <a:gd name="T36" fmla="*/ 10 w 80"/>
                  <a:gd name="T37" fmla="*/ 2 h 68"/>
                  <a:gd name="T38" fmla="*/ 6 w 80"/>
                  <a:gd name="T39" fmla="*/ 4 h 68"/>
                  <a:gd name="T40" fmla="*/ 0 w 80"/>
                  <a:gd name="T41" fmla="*/ 18 h 68"/>
                  <a:gd name="T42" fmla="*/ 0 w 80"/>
                  <a:gd name="T43" fmla="*/ 24 h 68"/>
                  <a:gd name="T44" fmla="*/ 0 w 80"/>
                  <a:gd name="T45" fmla="*/ 26 h 68"/>
                  <a:gd name="T46" fmla="*/ 10 w 80"/>
                  <a:gd name="T47" fmla="*/ 54 h 68"/>
                  <a:gd name="T48" fmla="*/ 10 w 80"/>
                  <a:gd name="T49" fmla="*/ 54 h 68"/>
                  <a:gd name="T50" fmla="*/ 16 w 80"/>
                  <a:gd name="T51" fmla="*/ 64 h 68"/>
                  <a:gd name="T52" fmla="*/ 32 w 80"/>
                  <a:gd name="T53" fmla="*/ 68 h 68"/>
                  <a:gd name="T54" fmla="*/ 32 w 80"/>
                  <a:gd name="T55" fmla="*/ 68 h 68"/>
                  <a:gd name="T56" fmla="*/ 36 w 80"/>
                  <a:gd name="T57" fmla="*/ 68 h 68"/>
                  <a:gd name="T58" fmla="*/ 40 w 80"/>
                  <a:gd name="T59" fmla="*/ 66 h 68"/>
                  <a:gd name="T60" fmla="*/ 42 w 80"/>
                  <a:gd name="T61" fmla="*/ 66 h 68"/>
                  <a:gd name="T62" fmla="*/ 54 w 80"/>
                  <a:gd name="T63" fmla="*/ 60 h 68"/>
                  <a:gd name="T64" fmla="*/ 56 w 80"/>
                  <a:gd name="T65" fmla="*/ 58 h 68"/>
                  <a:gd name="T66" fmla="*/ 56 w 80"/>
                  <a:gd name="T67" fmla="*/ 52 h 68"/>
                  <a:gd name="T68" fmla="*/ 62 w 80"/>
                  <a:gd name="T69" fmla="*/ 48 h 68"/>
                  <a:gd name="T70" fmla="*/ 70 w 80"/>
                  <a:gd name="T71" fmla="*/ 40 h 68"/>
                  <a:gd name="T72" fmla="*/ 70 w 80"/>
                  <a:gd name="T73" fmla="*/ 40 h 68"/>
                  <a:gd name="T74" fmla="*/ 80 w 80"/>
                  <a:gd name="T75" fmla="*/ 20 h 68"/>
                  <a:gd name="T76" fmla="*/ 80 w 80"/>
                  <a:gd name="T77" fmla="*/ 18 h 68"/>
                  <a:gd name="T78" fmla="*/ 80 w 80"/>
                  <a:gd name="T79" fmla="*/ 8 h 68"/>
                  <a:gd name="T80" fmla="*/ 76 w 80"/>
                  <a:gd name="T81" fmla="*/ 4 h 68"/>
                  <a:gd name="T82" fmla="*/ 66 w 80"/>
                  <a:gd name="T83" fmla="*/ 4 h 68"/>
                  <a:gd name="T84" fmla="*/ 64 w 80"/>
                  <a:gd name="T85" fmla="*/ 2 h 68"/>
                  <a:gd name="T86" fmla="*/ 62 w 80"/>
                  <a:gd name="T87" fmla="*/ 0 h 68"/>
                  <a:gd name="T88" fmla="*/ 60 w 80"/>
                  <a:gd name="T8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68">
                    <a:moveTo>
                      <a:pt x="60" y="4"/>
                    </a:moveTo>
                    <a:lnTo>
                      <a:pt x="64" y="4"/>
                    </a:lnTo>
                    <a:lnTo>
                      <a:pt x="64" y="8"/>
                    </a:lnTo>
                    <a:lnTo>
                      <a:pt x="76" y="8"/>
                    </a:lnTo>
                    <a:lnTo>
                      <a:pt x="76" y="18"/>
                    </a:lnTo>
                    <a:lnTo>
                      <a:pt x="72" y="26"/>
                    </a:lnTo>
                    <a:lnTo>
                      <a:pt x="66" y="38"/>
                    </a:lnTo>
                    <a:lnTo>
                      <a:pt x="62" y="44"/>
                    </a:lnTo>
                    <a:lnTo>
                      <a:pt x="52" y="48"/>
                    </a:lnTo>
                    <a:lnTo>
                      <a:pt x="52" y="56"/>
                    </a:lnTo>
                    <a:lnTo>
                      <a:pt x="44" y="60"/>
                    </a:lnTo>
                    <a:lnTo>
                      <a:pt x="40" y="62"/>
                    </a:lnTo>
                    <a:lnTo>
                      <a:pt x="34" y="62"/>
                    </a:lnTo>
                    <a:lnTo>
                      <a:pt x="32" y="64"/>
                    </a:lnTo>
                    <a:lnTo>
                      <a:pt x="20" y="62"/>
                    </a:lnTo>
                    <a:lnTo>
                      <a:pt x="14" y="52"/>
                    </a:lnTo>
                    <a:lnTo>
                      <a:pt x="10" y="44"/>
                    </a:lnTo>
                    <a:lnTo>
                      <a:pt x="4" y="24"/>
                    </a:lnTo>
                    <a:lnTo>
                      <a:pt x="4" y="20"/>
                    </a:lnTo>
                    <a:lnTo>
                      <a:pt x="10" y="6"/>
                    </a:lnTo>
                    <a:lnTo>
                      <a:pt x="46" y="4"/>
                    </a:lnTo>
                    <a:lnTo>
                      <a:pt x="46" y="10"/>
                    </a:lnTo>
                    <a:lnTo>
                      <a:pt x="56" y="10"/>
                    </a:lnTo>
                    <a:lnTo>
                      <a:pt x="60" y="4"/>
                    </a:lnTo>
                    <a:close/>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7" name="Freeform 880"/>
              <p:cNvSpPr>
                <a:spLocks/>
              </p:cNvSpPr>
              <p:nvPr/>
            </p:nvSpPr>
            <p:spPr bwMode="auto">
              <a:xfrm>
                <a:off x="4315" y="2315"/>
                <a:ext cx="72" cy="60"/>
              </a:xfrm>
              <a:custGeom>
                <a:avLst/>
                <a:gdLst>
                  <a:gd name="T0" fmla="*/ 56 w 72"/>
                  <a:gd name="T1" fmla="*/ 0 h 60"/>
                  <a:gd name="T2" fmla="*/ 60 w 72"/>
                  <a:gd name="T3" fmla="*/ 0 h 60"/>
                  <a:gd name="T4" fmla="*/ 60 w 72"/>
                  <a:gd name="T5" fmla="*/ 4 h 60"/>
                  <a:gd name="T6" fmla="*/ 72 w 72"/>
                  <a:gd name="T7" fmla="*/ 4 h 60"/>
                  <a:gd name="T8" fmla="*/ 72 w 72"/>
                  <a:gd name="T9" fmla="*/ 14 h 60"/>
                  <a:gd name="T10" fmla="*/ 68 w 72"/>
                  <a:gd name="T11" fmla="*/ 22 h 60"/>
                  <a:gd name="T12" fmla="*/ 62 w 72"/>
                  <a:gd name="T13" fmla="*/ 34 h 60"/>
                  <a:gd name="T14" fmla="*/ 58 w 72"/>
                  <a:gd name="T15" fmla="*/ 40 h 60"/>
                  <a:gd name="T16" fmla="*/ 48 w 72"/>
                  <a:gd name="T17" fmla="*/ 44 h 60"/>
                  <a:gd name="T18" fmla="*/ 48 w 72"/>
                  <a:gd name="T19" fmla="*/ 52 h 60"/>
                  <a:gd name="T20" fmla="*/ 40 w 72"/>
                  <a:gd name="T21" fmla="*/ 56 h 60"/>
                  <a:gd name="T22" fmla="*/ 36 w 72"/>
                  <a:gd name="T23" fmla="*/ 58 h 60"/>
                  <a:gd name="T24" fmla="*/ 30 w 72"/>
                  <a:gd name="T25" fmla="*/ 58 h 60"/>
                  <a:gd name="T26" fmla="*/ 28 w 72"/>
                  <a:gd name="T27" fmla="*/ 60 h 60"/>
                  <a:gd name="T28" fmla="*/ 16 w 72"/>
                  <a:gd name="T29" fmla="*/ 58 h 60"/>
                  <a:gd name="T30" fmla="*/ 10 w 72"/>
                  <a:gd name="T31" fmla="*/ 48 h 60"/>
                  <a:gd name="T32" fmla="*/ 6 w 72"/>
                  <a:gd name="T33" fmla="*/ 40 h 60"/>
                  <a:gd name="T34" fmla="*/ 0 w 72"/>
                  <a:gd name="T35" fmla="*/ 20 h 60"/>
                  <a:gd name="T36" fmla="*/ 0 w 72"/>
                  <a:gd name="T37" fmla="*/ 16 h 60"/>
                  <a:gd name="T38" fmla="*/ 6 w 72"/>
                  <a:gd name="T39" fmla="*/ 2 h 60"/>
                  <a:gd name="T40" fmla="*/ 42 w 72"/>
                  <a:gd name="T41" fmla="*/ 0 h 60"/>
                  <a:gd name="T42" fmla="*/ 42 w 72"/>
                  <a:gd name="T43" fmla="*/ 6 h 60"/>
                  <a:gd name="T44" fmla="*/ 52 w 72"/>
                  <a:gd name="T45" fmla="*/ 6 h 60"/>
                  <a:gd name="T46" fmla="*/ 56 w 72"/>
                  <a:gd name="T4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60">
                    <a:moveTo>
                      <a:pt x="56" y="0"/>
                    </a:moveTo>
                    <a:lnTo>
                      <a:pt x="60" y="0"/>
                    </a:lnTo>
                    <a:lnTo>
                      <a:pt x="60" y="4"/>
                    </a:lnTo>
                    <a:lnTo>
                      <a:pt x="72" y="4"/>
                    </a:lnTo>
                    <a:lnTo>
                      <a:pt x="72" y="14"/>
                    </a:lnTo>
                    <a:lnTo>
                      <a:pt x="68" y="22"/>
                    </a:lnTo>
                    <a:lnTo>
                      <a:pt x="62" y="34"/>
                    </a:lnTo>
                    <a:lnTo>
                      <a:pt x="58" y="40"/>
                    </a:lnTo>
                    <a:lnTo>
                      <a:pt x="48" y="44"/>
                    </a:lnTo>
                    <a:lnTo>
                      <a:pt x="48" y="52"/>
                    </a:lnTo>
                    <a:lnTo>
                      <a:pt x="40" y="56"/>
                    </a:lnTo>
                    <a:lnTo>
                      <a:pt x="36" y="58"/>
                    </a:lnTo>
                    <a:lnTo>
                      <a:pt x="30" y="58"/>
                    </a:lnTo>
                    <a:lnTo>
                      <a:pt x="28" y="60"/>
                    </a:lnTo>
                    <a:lnTo>
                      <a:pt x="16" y="58"/>
                    </a:lnTo>
                    <a:lnTo>
                      <a:pt x="10" y="48"/>
                    </a:lnTo>
                    <a:lnTo>
                      <a:pt x="6" y="40"/>
                    </a:lnTo>
                    <a:lnTo>
                      <a:pt x="0" y="20"/>
                    </a:lnTo>
                    <a:lnTo>
                      <a:pt x="0" y="16"/>
                    </a:lnTo>
                    <a:lnTo>
                      <a:pt x="6" y="2"/>
                    </a:lnTo>
                    <a:lnTo>
                      <a:pt x="42" y="0"/>
                    </a:lnTo>
                    <a:lnTo>
                      <a:pt x="42" y="6"/>
                    </a:lnTo>
                    <a:lnTo>
                      <a:pt x="52"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8" name="Freeform 881"/>
              <p:cNvSpPr>
                <a:spLocks/>
              </p:cNvSpPr>
              <p:nvPr/>
            </p:nvSpPr>
            <p:spPr bwMode="auto">
              <a:xfrm>
                <a:off x="4311" y="2311"/>
                <a:ext cx="80" cy="68"/>
              </a:xfrm>
              <a:custGeom>
                <a:avLst/>
                <a:gdLst>
                  <a:gd name="T0" fmla="*/ 60 w 80"/>
                  <a:gd name="T1" fmla="*/ 0 h 68"/>
                  <a:gd name="T2" fmla="*/ 56 w 80"/>
                  <a:gd name="T3" fmla="*/ 2 h 68"/>
                  <a:gd name="T4" fmla="*/ 50 w 80"/>
                  <a:gd name="T5" fmla="*/ 6 h 68"/>
                  <a:gd name="T6" fmla="*/ 50 w 80"/>
                  <a:gd name="T7" fmla="*/ 4 h 68"/>
                  <a:gd name="T8" fmla="*/ 50 w 80"/>
                  <a:gd name="T9" fmla="*/ 2 h 68"/>
                  <a:gd name="T10" fmla="*/ 46 w 80"/>
                  <a:gd name="T11" fmla="*/ 0 h 68"/>
                  <a:gd name="T12" fmla="*/ 10 w 80"/>
                  <a:gd name="T13" fmla="*/ 2 h 68"/>
                  <a:gd name="T14" fmla="*/ 6 w 80"/>
                  <a:gd name="T15" fmla="*/ 4 h 68"/>
                  <a:gd name="T16" fmla="*/ 0 w 80"/>
                  <a:gd name="T17" fmla="*/ 18 h 68"/>
                  <a:gd name="T18" fmla="*/ 0 w 80"/>
                  <a:gd name="T19" fmla="*/ 24 h 68"/>
                  <a:gd name="T20" fmla="*/ 0 w 80"/>
                  <a:gd name="T21" fmla="*/ 26 h 68"/>
                  <a:gd name="T22" fmla="*/ 10 w 80"/>
                  <a:gd name="T23" fmla="*/ 54 h 68"/>
                  <a:gd name="T24" fmla="*/ 10 w 80"/>
                  <a:gd name="T25" fmla="*/ 54 h 68"/>
                  <a:gd name="T26" fmla="*/ 16 w 80"/>
                  <a:gd name="T27" fmla="*/ 64 h 68"/>
                  <a:gd name="T28" fmla="*/ 32 w 80"/>
                  <a:gd name="T29" fmla="*/ 68 h 68"/>
                  <a:gd name="T30" fmla="*/ 32 w 80"/>
                  <a:gd name="T31" fmla="*/ 68 h 68"/>
                  <a:gd name="T32" fmla="*/ 36 w 80"/>
                  <a:gd name="T33" fmla="*/ 68 h 68"/>
                  <a:gd name="T34" fmla="*/ 40 w 80"/>
                  <a:gd name="T35" fmla="*/ 66 h 68"/>
                  <a:gd name="T36" fmla="*/ 42 w 80"/>
                  <a:gd name="T37" fmla="*/ 66 h 68"/>
                  <a:gd name="T38" fmla="*/ 54 w 80"/>
                  <a:gd name="T39" fmla="*/ 60 h 68"/>
                  <a:gd name="T40" fmla="*/ 56 w 80"/>
                  <a:gd name="T41" fmla="*/ 58 h 68"/>
                  <a:gd name="T42" fmla="*/ 56 w 80"/>
                  <a:gd name="T43" fmla="*/ 52 h 68"/>
                  <a:gd name="T44" fmla="*/ 62 w 80"/>
                  <a:gd name="T45" fmla="*/ 48 h 68"/>
                  <a:gd name="T46" fmla="*/ 70 w 80"/>
                  <a:gd name="T47" fmla="*/ 40 h 68"/>
                  <a:gd name="T48" fmla="*/ 70 w 80"/>
                  <a:gd name="T49" fmla="*/ 40 h 68"/>
                  <a:gd name="T50" fmla="*/ 80 w 80"/>
                  <a:gd name="T51" fmla="*/ 20 h 68"/>
                  <a:gd name="T52" fmla="*/ 80 w 80"/>
                  <a:gd name="T53" fmla="*/ 18 h 68"/>
                  <a:gd name="T54" fmla="*/ 80 w 80"/>
                  <a:gd name="T55" fmla="*/ 8 h 68"/>
                  <a:gd name="T56" fmla="*/ 76 w 80"/>
                  <a:gd name="T57" fmla="*/ 4 h 68"/>
                  <a:gd name="T58" fmla="*/ 66 w 80"/>
                  <a:gd name="T59" fmla="*/ 4 h 68"/>
                  <a:gd name="T60" fmla="*/ 64 w 80"/>
                  <a:gd name="T61" fmla="*/ 2 h 68"/>
                  <a:gd name="T62" fmla="*/ 62 w 80"/>
                  <a:gd name="T63" fmla="*/ 0 h 68"/>
                  <a:gd name="T64" fmla="*/ 60 w 80"/>
                  <a:gd name="T6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68">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9" name="Freeform 882"/>
              <p:cNvSpPr>
                <a:spLocks/>
              </p:cNvSpPr>
              <p:nvPr/>
            </p:nvSpPr>
            <p:spPr bwMode="auto">
              <a:xfrm>
                <a:off x="4313" y="2189"/>
                <a:ext cx="98" cy="216"/>
              </a:xfrm>
              <a:custGeom>
                <a:avLst/>
                <a:gdLst>
                  <a:gd name="T0" fmla="*/ 36 w 98"/>
                  <a:gd name="T1" fmla="*/ 216 h 216"/>
                  <a:gd name="T2" fmla="*/ 34 w 98"/>
                  <a:gd name="T3" fmla="*/ 216 h 216"/>
                  <a:gd name="T4" fmla="*/ 34 w 98"/>
                  <a:gd name="T5" fmla="*/ 196 h 216"/>
                  <a:gd name="T6" fmla="*/ 36 w 98"/>
                  <a:gd name="T7" fmla="*/ 194 h 216"/>
                  <a:gd name="T8" fmla="*/ 36 w 98"/>
                  <a:gd name="T9" fmla="*/ 188 h 216"/>
                  <a:gd name="T10" fmla="*/ 36 w 98"/>
                  <a:gd name="T11" fmla="*/ 186 h 216"/>
                  <a:gd name="T12" fmla="*/ 38 w 98"/>
                  <a:gd name="T13" fmla="*/ 182 h 216"/>
                  <a:gd name="T14" fmla="*/ 46 w 98"/>
                  <a:gd name="T15" fmla="*/ 178 h 216"/>
                  <a:gd name="T16" fmla="*/ 46 w 98"/>
                  <a:gd name="T17" fmla="*/ 172 h 216"/>
                  <a:gd name="T18" fmla="*/ 56 w 98"/>
                  <a:gd name="T19" fmla="*/ 168 h 216"/>
                  <a:gd name="T20" fmla="*/ 66 w 98"/>
                  <a:gd name="T21" fmla="*/ 150 h 216"/>
                  <a:gd name="T22" fmla="*/ 68 w 98"/>
                  <a:gd name="T23" fmla="*/ 132 h 216"/>
                  <a:gd name="T24" fmla="*/ 68 w 98"/>
                  <a:gd name="T25" fmla="*/ 108 h 216"/>
                  <a:gd name="T26" fmla="*/ 28 w 98"/>
                  <a:gd name="T27" fmla="*/ 66 h 216"/>
                  <a:gd name="T28" fmla="*/ 22 w 98"/>
                  <a:gd name="T29" fmla="*/ 64 h 216"/>
                  <a:gd name="T30" fmla="*/ 22 w 98"/>
                  <a:gd name="T31" fmla="*/ 52 h 216"/>
                  <a:gd name="T32" fmla="*/ 24 w 98"/>
                  <a:gd name="T33" fmla="*/ 50 h 216"/>
                  <a:gd name="T34" fmla="*/ 34 w 98"/>
                  <a:gd name="T35" fmla="*/ 44 h 216"/>
                  <a:gd name="T36" fmla="*/ 28 w 98"/>
                  <a:gd name="T37" fmla="*/ 36 h 216"/>
                  <a:gd name="T38" fmla="*/ 12 w 98"/>
                  <a:gd name="T39" fmla="*/ 38 h 216"/>
                  <a:gd name="T40" fmla="*/ 8 w 98"/>
                  <a:gd name="T41" fmla="*/ 24 h 216"/>
                  <a:gd name="T42" fmla="*/ 0 w 98"/>
                  <a:gd name="T43" fmla="*/ 16 h 216"/>
                  <a:gd name="T44" fmla="*/ 0 w 98"/>
                  <a:gd name="T45" fmla="*/ 8 h 216"/>
                  <a:gd name="T46" fmla="*/ 2 w 98"/>
                  <a:gd name="T47" fmla="*/ 6 h 216"/>
                  <a:gd name="T48" fmla="*/ 38 w 98"/>
                  <a:gd name="T49" fmla="*/ 0 h 216"/>
                  <a:gd name="T50" fmla="*/ 38 w 98"/>
                  <a:gd name="T51" fmla="*/ 0 h 216"/>
                  <a:gd name="T52" fmla="*/ 44 w 98"/>
                  <a:gd name="T53" fmla="*/ 0 h 216"/>
                  <a:gd name="T54" fmla="*/ 52 w 98"/>
                  <a:gd name="T55" fmla="*/ 4 h 216"/>
                  <a:gd name="T56" fmla="*/ 60 w 98"/>
                  <a:gd name="T57" fmla="*/ 6 h 216"/>
                  <a:gd name="T58" fmla="*/ 62 w 98"/>
                  <a:gd name="T59" fmla="*/ 18 h 216"/>
                  <a:gd name="T60" fmla="*/ 70 w 98"/>
                  <a:gd name="T61" fmla="*/ 22 h 216"/>
                  <a:gd name="T62" fmla="*/ 72 w 98"/>
                  <a:gd name="T63" fmla="*/ 30 h 216"/>
                  <a:gd name="T64" fmla="*/ 72 w 98"/>
                  <a:gd name="T65" fmla="*/ 32 h 216"/>
                  <a:gd name="T66" fmla="*/ 56 w 98"/>
                  <a:gd name="T67" fmla="*/ 48 h 216"/>
                  <a:gd name="T68" fmla="*/ 54 w 98"/>
                  <a:gd name="T69" fmla="*/ 72 h 216"/>
                  <a:gd name="T70" fmla="*/ 88 w 98"/>
                  <a:gd name="T71" fmla="*/ 112 h 216"/>
                  <a:gd name="T72" fmla="*/ 92 w 98"/>
                  <a:gd name="T73" fmla="*/ 126 h 216"/>
                  <a:gd name="T74" fmla="*/ 98 w 98"/>
                  <a:gd name="T75" fmla="*/ 158 h 216"/>
                  <a:gd name="T76" fmla="*/ 94 w 98"/>
                  <a:gd name="T77" fmla="*/ 176 h 216"/>
                  <a:gd name="T78" fmla="*/ 82 w 98"/>
                  <a:gd name="T79" fmla="*/ 188 h 216"/>
                  <a:gd name="T80" fmla="*/ 72 w 98"/>
                  <a:gd name="T81" fmla="*/ 192 h 216"/>
                  <a:gd name="T82" fmla="*/ 70 w 98"/>
                  <a:gd name="T83" fmla="*/ 192 h 216"/>
                  <a:gd name="T84" fmla="*/ 62 w 98"/>
                  <a:gd name="T85" fmla="*/ 190 h 216"/>
                  <a:gd name="T86" fmla="*/ 60 w 98"/>
                  <a:gd name="T87" fmla="*/ 200 h 216"/>
                  <a:gd name="T88" fmla="*/ 58 w 98"/>
                  <a:gd name="T89" fmla="*/ 202 h 216"/>
                  <a:gd name="T90" fmla="*/ 36 w 98"/>
                  <a:gd name="T91" fmla="*/ 216 h 216"/>
                  <a:gd name="T92" fmla="*/ 36 w 98"/>
                  <a:gd name="T9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216">
                    <a:moveTo>
                      <a:pt x="36" y="216"/>
                    </a:moveTo>
                    <a:lnTo>
                      <a:pt x="36" y="216"/>
                    </a:lnTo>
                    <a:lnTo>
                      <a:pt x="34" y="216"/>
                    </a:lnTo>
                    <a:lnTo>
                      <a:pt x="34" y="216"/>
                    </a:lnTo>
                    <a:lnTo>
                      <a:pt x="34" y="214"/>
                    </a:lnTo>
                    <a:lnTo>
                      <a:pt x="34" y="196"/>
                    </a:lnTo>
                    <a:lnTo>
                      <a:pt x="34" y="196"/>
                    </a:lnTo>
                    <a:lnTo>
                      <a:pt x="36" y="194"/>
                    </a:lnTo>
                    <a:lnTo>
                      <a:pt x="36" y="190"/>
                    </a:lnTo>
                    <a:lnTo>
                      <a:pt x="36" y="188"/>
                    </a:lnTo>
                    <a:lnTo>
                      <a:pt x="36" y="188"/>
                    </a:lnTo>
                    <a:lnTo>
                      <a:pt x="36" y="186"/>
                    </a:lnTo>
                    <a:lnTo>
                      <a:pt x="38" y="182"/>
                    </a:lnTo>
                    <a:lnTo>
                      <a:pt x="38" y="182"/>
                    </a:lnTo>
                    <a:lnTo>
                      <a:pt x="40" y="182"/>
                    </a:lnTo>
                    <a:lnTo>
                      <a:pt x="46" y="178"/>
                    </a:lnTo>
                    <a:lnTo>
                      <a:pt x="46" y="172"/>
                    </a:lnTo>
                    <a:lnTo>
                      <a:pt x="46" y="172"/>
                    </a:lnTo>
                    <a:lnTo>
                      <a:pt x="48" y="172"/>
                    </a:lnTo>
                    <a:lnTo>
                      <a:pt x="56" y="168"/>
                    </a:lnTo>
                    <a:lnTo>
                      <a:pt x="60" y="160"/>
                    </a:lnTo>
                    <a:lnTo>
                      <a:pt x="66" y="150"/>
                    </a:lnTo>
                    <a:lnTo>
                      <a:pt x="68" y="140"/>
                    </a:lnTo>
                    <a:lnTo>
                      <a:pt x="68" y="132"/>
                    </a:lnTo>
                    <a:lnTo>
                      <a:pt x="70" y="120"/>
                    </a:lnTo>
                    <a:lnTo>
                      <a:pt x="68" y="108"/>
                    </a:lnTo>
                    <a:lnTo>
                      <a:pt x="52" y="90"/>
                    </a:lnTo>
                    <a:lnTo>
                      <a:pt x="28" y="66"/>
                    </a:lnTo>
                    <a:lnTo>
                      <a:pt x="22" y="64"/>
                    </a:lnTo>
                    <a:lnTo>
                      <a:pt x="22" y="64"/>
                    </a:lnTo>
                    <a:lnTo>
                      <a:pt x="22" y="62"/>
                    </a:lnTo>
                    <a:lnTo>
                      <a:pt x="22" y="52"/>
                    </a:lnTo>
                    <a:lnTo>
                      <a:pt x="22" y="52"/>
                    </a:lnTo>
                    <a:lnTo>
                      <a:pt x="24" y="50"/>
                    </a:lnTo>
                    <a:lnTo>
                      <a:pt x="34" y="50"/>
                    </a:lnTo>
                    <a:lnTo>
                      <a:pt x="34" y="44"/>
                    </a:lnTo>
                    <a:lnTo>
                      <a:pt x="28" y="36"/>
                    </a:lnTo>
                    <a:lnTo>
                      <a:pt x="28" y="36"/>
                    </a:lnTo>
                    <a:lnTo>
                      <a:pt x="12" y="38"/>
                    </a:lnTo>
                    <a:lnTo>
                      <a:pt x="12" y="38"/>
                    </a:lnTo>
                    <a:lnTo>
                      <a:pt x="10" y="36"/>
                    </a:lnTo>
                    <a:lnTo>
                      <a:pt x="8" y="24"/>
                    </a:lnTo>
                    <a:lnTo>
                      <a:pt x="0" y="16"/>
                    </a:lnTo>
                    <a:lnTo>
                      <a:pt x="0" y="16"/>
                    </a:lnTo>
                    <a:lnTo>
                      <a:pt x="0" y="14"/>
                    </a:lnTo>
                    <a:lnTo>
                      <a:pt x="0" y="8"/>
                    </a:lnTo>
                    <a:lnTo>
                      <a:pt x="0" y="8"/>
                    </a:lnTo>
                    <a:lnTo>
                      <a:pt x="2" y="6"/>
                    </a:lnTo>
                    <a:lnTo>
                      <a:pt x="30" y="6"/>
                    </a:lnTo>
                    <a:lnTo>
                      <a:pt x="38" y="0"/>
                    </a:lnTo>
                    <a:lnTo>
                      <a:pt x="38" y="0"/>
                    </a:lnTo>
                    <a:lnTo>
                      <a:pt x="38" y="0"/>
                    </a:lnTo>
                    <a:lnTo>
                      <a:pt x="44" y="0"/>
                    </a:lnTo>
                    <a:lnTo>
                      <a:pt x="44" y="0"/>
                    </a:lnTo>
                    <a:lnTo>
                      <a:pt x="44" y="0"/>
                    </a:lnTo>
                    <a:lnTo>
                      <a:pt x="52" y="4"/>
                    </a:lnTo>
                    <a:lnTo>
                      <a:pt x="60" y="6"/>
                    </a:lnTo>
                    <a:lnTo>
                      <a:pt x="60" y="6"/>
                    </a:lnTo>
                    <a:lnTo>
                      <a:pt x="60" y="6"/>
                    </a:lnTo>
                    <a:lnTo>
                      <a:pt x="62" y="18"/>
                    </a:lnTo>
                    <a:lnTo>
                      <a:pt x="70" y="22"/>
                    </a:lnTo>
                    <a:lnTo>
                      <a:pt x="70" y="22"/>
                    </a:lnTo>
                    <a:lnTo>
                      <a:pt x="72" y="24"/>
                    </a:lnTo>
                    <a:lnTo>
                      <a:pt x="72" y="30"/>
                    </a:lnTo>
                    <a:lnTo>
                      <a:pt x="72" y="30"/>
                    </a:lnTo>
                    <a:lnTo>
                      <a:pt x="72" y="32"/>
                    </a:lnTo>
                    <a:lnTo>
                      <a:pt x="66" y="34"/>
                    </a:lnTo>
                    <a:lnTo>
                      <a:pt x="56" y="48"/>
                    </a:lnTo>
                    <a:lnTo>
                      <a:pt x="50" y="66"/>
                    </a:lnTo>
                    <a:lnTo>
                      <a:pt x="54" y="72"/>
                    </a:lnTo>
                    <a:lnTo>
                      <a:pt x="88" y="112"/>
                    </a:lnTo>
                    <a:lnTo>
                      <a:pt x="88" y="112"/>
                    </a:lnTo>
                    <a:lnTo>
                      <a:pt x="88" y="112"/>
                    </a:lnTo>
                    <a:lnTo>
                      <a:pt x="92" y="126"/>
                    </a:lnTo>
                    <a:lnTo>
                      <a:pt x="94" y="140"/>
                    </a:lnTo>
                    <a:lnTo>
                      <a:pt x="98" y="158"/>
                    </a:lnTo>
                    <a:lnTo>
                      <a:pt x="94" y="176"/>
                    </a:lnTo>
                    <a:lnTo>
                      <a:pt x="94" y="176"/>
                    </a:lnTo>
                    <a:lnTo>
                      <a:pt x="94" y="176"/>
                    </a:lnTo>
                    <a:lnTo>
                      <a:pt x="82" y="188"/>
                    </a:lnTo>
                    <a:lnTo>
                      <a:pt x="72" y="192"/>
                    </a:lnTo>
                    <a:lnTo>
                      <a:pt x="72" y="192"/>
                    </a:lnTo>
                    <a:lnTo>
                      <a:pt x="70" y="192"/>
                    </a:lnTo>
                    <a:lnTo>
                      <a:pt x="70" y="192"/>
                    </a:lnTo>
                    <a:lnTo>
                      <a:pt x="70" y="192"/>
                    </a:lnTo>
                    <a:lnTo>
                      <a:pt x="62" y="190"/>
                    </a:lnTo>
                    <a:lnTo>
                      <a:pt x="60" y="194"/>
                    </a:lnTo>
                    <a:lnTo>
                      <a:pt x="60" y="200"/>
                    </a:lnTo>
                    <a:lnTo>
                      <a:pt x="60" y="200"/>
                    </a:lnTo>
                    <a:lnTo>
                      <a:pt x="58" y="202"/>
                    </a:lnTo>
                    <a:lnTo>
                      <a:pt x="46" y="210"/>
                    </a:lnTo>
                    <a:lnTo>
                      <a:pt x="36" y="216"/>
                    </a:lnTo>
                    <a:lnTo>
                      <a:pt x="36" y="216"/>
                    </a:lnTo>
                    <a:lnTo>
                      <a:pt x="36" y="216"/>
                    </a:lnTo>
                    <a:lnTo>
                      <a:pt x="36"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0" name="Freeform 883"/>
              <p:cNvSpPr>
                <a:spLocks noEditPoints="1"/>
              </p:cNvSpPr>
              <p:nvPr/>
            </p:nvSpPr>
            <p:spPr bwMode="auto">
              <a:xfrm>
                <a:off x="4311" y="2187"/>
                <a:ext cx="102" cy="220"/>
              </a:xfrm>
              <a:custGeom>
                <a:avLst/>
                <a:gdLst>
                  <a:gd name="T0" fmla="*/ 60 w 102"/>
                  <a:gd name="T1" fmla="*/ 10 h 220"/>
                  <a:gd name="T2" fmla="*/ 72 w 102"/>
                  <a:gd name="T3" fmla="*/ 32 h 220"/>
                  <a:gd name="T4" fmla="*/ 50 w 102"/>
                  <a:gd name="T5" fmla="*/ 68 h 220"/>
                  <a:gd name="T6" fmla="*/ 92 w 102"/>
                  <a:gd name="T7" fmla="*/ 130 h 220"/>
                  <a:gd name="T8" fmla="*/ 94 w 102"/>
                  <a:gd name="T9" fmla="*/ 176 h 220"/>
                  <a:gd name="T10" fmla="*/ 62 w 102"/>
                  <a:gd name="T11" fmla="*/ 190 h 220"/>
                  <a:gd name="T12" fmla="*/ 48 w 102"/>
                  <a:gd name="T13" fmla="*/ 210 h 220"/>
                  <a:gd name="T14" fmla="*/ 40 w 102"/>
                  <a:gd name="T15" fmla="*/ 198 h 220"/>
                  <a:gd name="T16" fmla="*/ 38 w 102"/>
                  <a:gd name="T17" fmla="*/ 190 h 220"/>
                  <a:gd name="T18" fmla="*/ 50 w 102"/>
                  <a:gd name="T19" fmla="*/ 174 h 220"/>
                  <a:gd name="T20" fmla="*/ 70 w 102"/>
                  <a:gd name="T21" fmla="*/ 154 h 220"/>
                  <a:gd name="T22" fmla="*/ 74 w 102"/>
                  <a:gd name="T23" fmla="*/ 122 h 220"/>
                  <a:gd name="T24" fmla="*/ 32 w 102"/>
                  <a:gd name="T25" fmla="*/ 68 h 220"/>
                  <a:gd name="T26" fmla="*/ 38 w 102"/>
                  <a:gd name="T27" fmla="*/ 54 h 220"/>
                  <a:gd name="T28" fmla="*/ 14 w 102"/>
                  <a:gd name="T29" fmla="*/ 38 h 220"/>
                  <a:gd name="T30" fmla="*/ 4 w 102"/>
                  <a:gd name="T31" fmla="*/ 10 h 220"/>
                  <a:gd name="T32" fmla="*/ 46 w 102"/>
                  <a:gd name="T33" fmla="*/ 4 h 220"/>
                  <a:gd name="T34" fmla="*/ 40 w 102"/>
                  <a:gd name="T35" fmla="*/ 0 h 220"/>
                  <a:gd name="T36" fmla="*/ 4 w 102"/>
                  <a:gd name="T37" fmla="*/ 6 h 220"/>
                  <a:gd name="T38" fmla="*/ 2 w 102"/>
                  <a:gd name="T39" fmla="*/ 10 h 220"/>
                  <a:gd name="T40" fmla="*/ 0 w 102"/>
                  <a:gd name="T41" fmla="*/ 20 h 220"/>
                  <a:gd name="T42" fmla="*/ 10 w 102"/>
                  <a:gd name="T43" fmla="*/ 38 h 220"/>
                  <a:gd name="T44" fmla="*/ 14 w 102"/>
                  <a:gd name="T45" fmla="*/ 42 h 220"/>
                  <a:gd name="T46" fmla="*/ 34 w 102"/>
                  <a:gd name="T47" fmla="*/ 46 h 220"/>
                  <a:gd name="T48" fmla="*/ 26 w 102"/>
                  <a:gd name="T49" fmla="*/ 50 h 220"/>
                  <a:gd name="T50" fmla="*/ 22 w 102"/>
                  <a:gd name="T51" fmla="*/ 64 h 220"/>
                  <a:gd name="T52" fmla="*/ 24 w 102"/>
                  <a:gd name="T53" fmla="*/ 68 h 220"/>
                  <a:gd name="T54" fmla="*/ 68 w 102"/>
                  <a:gd name="T55" fmla="*/ 112 h 220"/>
                  <a:gd name="T56" fmla="*/ 68 w 102"/>
                  <a:gd name="T57" fmla="*/ 134 h 220"/>
                  <a:gd name="T58" fmla="*/ 66 w 102"/>
                  <a:gd name="T59" fmla="*/ 152 h 220"/>
                  <a:gd name="T60" fmla="*/ 50 w 102"/>
                  <a:gd name="T61" fmla="*/ 172 h 220"/>
                  <a:gd name="T62" fmla="*/ 46 w 102"/>
                  <a:gd name="T63" fmla="*/ 174 h 220"/>
                  <a:gd name="T64" fmla="*/ 40 w 102"/>
                  <a:gd name="T65" fmla="*/ 182 h 220"/>
                  <a:gd name="T66" fmla="*/ 36 w 102"/>
                  <a:gd name="T67" fmla="*/ 186 h 220"/>
                  <a:gd name="T68" fmla="*/ 36 w 102"/>
                  <a:gd name="T69" fmla="*/ 192 h 220"/>
                  <a:gd name="T70" fmla="*/ 36 w 102"/>
                  <a:gd name="T71" fmla="*/ 196 h 220"/>
                  <a:gd name="T72" fmla="*/ 34 w 102"/>
                  <a:gd name="T73" fmla="*/ 216 h 220"/>
                  <a:gd name="T74" fmla="*/ 36 w 102"/>
                  <a:gd name="T75" fmla="*/ 220 h 220"/>
                  <a:gd name="T76" fmla="*/ 40 w 102"/>
                  <a:gd name="T77" fmla="*/ 220 h 220"/>
                  <a:gd name="T78" fmla="*/ 62 w 102"/>
                  <a:gd name="T79" fmla="*/ 206 h 220"/>
                  <a:gd name="T80" fmla="*/ 64 w 102"/>
                  <a:gd name="T81" fmla="*/ 194 h 220"/>
                  <a:gd name="T82" fmla="*/ 72 w 102"/>
                  <a:gd name="T83" fmla="*/ 196 h 220"/>
                  <a:gd name="T84" fmla="*/ 84 w 102"/>
                  <a:gd name="T85" fmla="*/ 192 h 220"/>
                  <a:gd name="T86" fmla="*/ 98 w 102"/>
                  <a:gd name="T87" fmla="*/ 180 h 220"/>
                  <a:gd name="T88" fmla="*/ 102 w 102"/>
                  <a:gd name="T89" fmla="*/ 162 h 220"/>
                  <a:gd name="T90" fmla="*/ 98 w 102"/>
                  <a:gd name="T91" fmla="*/ 142 h 220"/>
                  <a:gd name="T92" fmla="*/ 92 w 102"/>
                  <a:gd name="T93" fmla="*/ 114 h 220"/>
                  <a:gd name="T94" fmla="*/ 54 w 102"/>
                  <a:gd name="T95" fmla="*/ 66 h 220"/>
                  <a:gd name="T96" fmla="*/ 74 w 102"/>
                  <a:gd name="T97" fmla="*/ 36 h 220"/>
                  <a:gd name="T98" fmla="*/ 76 w 102"/>
                  <a:gd name="T99" fmla="*/ 32 h 220"/>
                  <a:gd name="T100" fmla="*/ 72 w 102"/>
                  <a:gd name="T101" fmla="*/ 22 h 220"/>
                  <a:gd name="T102" fmla="*/ 64 w 102"/>
                  <a:gd name="T103" fmla="*/ 8 h 220"/>
                  <a:gd name="T104" fmla="*/ 54 w 102"/>
                  <a:gd name="T105" fmla="*/ 4 h 220"/>
                  <a:gd name="T106" fmla="*/ 46 w 102"/>
                  <a:gd name="T10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220">
                    <a:moveTo>
                      <a:pt x="46" y="4"/>
                    </a:moveTo>
                    <a:lnTo>
                      <a:pt x="52" y="8"/>
                    </a:lnTo>
                    <a:lnTo>
                      <a:pt x="60" y="10"/>
                    </a:lnTo>
                    <a:lnTo>
                      <a:pt x="62" y="22"/>
                    </a:lnTo>
                    <a:lnTo>
                      <a:pt x="72" y="26"/>
                    </a:lnTo>
                    <a:lnTo>
                      <a:pt x="72" y="32"/>
                    </a:lnTo>
                    <a:lnTo>
                      <a:pt x="66" y="34"/>
                    </a:lnTo>
                    <a:lnTo>
                      <a:pt x="56" y="50"/>
                    </a:lnTo>
                    <a:lnTo>
                      <a:pt x="50" y="68"/>
                    </a:lnTo>
                    <a:lnTo>
                      <a:pt x="54" y="74"/>
                    </a:lnTo>
                    <a:lnTo>
                      <a:pt x="88" y="114"/>
                    </a:lnTo>
                    <a:lnTo>
                      <a:pt x="92" y="130"/>
                    </a:lnTo>
                    <a:lnTo>
                      <a:pt x="94" y="142"/>
                    </a:lnTo>
                    <a:lnTo>
                      <a:pt x="98" y="160"/>
                    </a:lnTo>
                    <a:lnTo>
                      <a:pt x="94" y="176"/>
                    </a:lnTo>
                    <a:lnTo>
                      <a:pt x="84" y="188"/>
                    </a:lnTo>
                    <a:lnTo>
                      <a:pt x="72" y="192"/>
                    </a:lnTo>
                    <a:lnTo>
                      <a:pt x="62" y="190"/>
                    </a:lnTo>
                    <a:lnTo>
                      <a:pt x="60" y="194"/>
                    </a:lnTo>
                    <a:lnTo>
                      <a:pt x="60" y="202"/>
                    </a:lnTo>
                    <a:lnTo>
                      <a:pt x="48" y="210"/>
                    </a:lnTo>
                    <a:lnTo>
                      <a:pt x="38" y="216"/>
                    </a:lnTo>
                    <a:lnTo>
                      <a:pt x="38" y="198"/>
                    </a:lnTo>
                    <a:lnTo>
                      <a:pt x="40" y="198"/>
                    </a:lnTo>
                    <a:lnTo>
                      <a:pt x="40" y="194"/>
                    </a:lnTo>
                    <a:lnTo>
                      <a:pt x="40" y="192"/>
                    </a:lnTo>
                    <a:lnTo>
                      <a:pt x="38" y="190"/>
                    </a:lnTo>
                    <a:lnTo>
                      <a:pt x="42" y="186"/>
                    </a:lnTo>
                    <a:lnTo>
                      <a:pt x="50" y="182"/>
                    </a:lnTo>
                    <a:lnTo>
                      <a:pt x="50" y="174"/>
                    </a:lnTo>
                    <a:lnTo>
                      <a:pt x="60" y="172"/>
                    </a:lnTo>
                    <a:lnTo>
                      <a:pt x="64" y="164"/>
                    </a:lnTo>
                    <a:lnTo>
                      <a:pt x="70" y="154"/>
                    </a:lnTo>
                    <a:lnTo>
                      <a:pt x="72" y="142"/>
                    </a:lnTo>
                    <a:lnTo>
                      <a:pt x="72" y="134"/>
                    </a:lnTo>
                    <a:lnTo>
                      <a:pt x="74" y="122"/>
                    </a:lnTo>
                    <a:lnTo>
                      <a:pt x="72" y="110"/>
                    </a:lnTo>
                    <a:lnTo>
                      <a:pt x="56" y="92"/>
                    </a:lnTo>
                    <a:lnTo>
                      <a:pt x="32" y="68"/>
                    </a:lnTo>
                    <a:lnTo>
                      <a:pt x="26" y="64"/>
                    </a:lnTo>
                    <a:lnTo>
                      <a:pt x="26" y="54"/>
                    </a:lnTo>
                    <a:lnTo>
                      <a:pt x="38" y="54"/>
                    </a:lnTo>
                    <a:lnTo>
                      <a:pt x="38" y="46"/>
                    </a:lnTo>
                    <a:lnTo>
                      <a:pt x="32" y="36"/>
                    </a:lnTo>
                    <a:lnTo>
                      <a:pt x="14" y="38"/>
                    </a:lnTo>
                    <a:lnTo>
                      <a:pt x="12" y="26"/>
                    </a:lnTo>
                    <a:lnTo>
                      <a:pt x="4" y="16"/>
                    </a:lnTo>
                    <a:lnTo>
                      <a:pt x="4" y="10"/>
                    </a:lnTo>
                    <a:lnTo>
                      <a:pt x="32" y="10"/>
                    </a:lnTo>
                    <a:lnTo>
                      <a:pt x="40" y="4"/>
                    </a:lnTo>
                    <a:lnTo>
                      <a:pt x="46" y="4"/>
                    </a:lnTo>
                    <a:close/>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1" name="Freeform 884"/>
              <p:cNvSpPr>
                <a:spLocks/>
              </p:cNvSpPr>
              <p:nvPr/>
            </p:nvSpPr>
            <p:spPr bwMode="auto">
              <a:xfrm>
                <a:off x="4315" y="2191"/>
                <a:ext cx="94" cy="212"/>
              </a:xfrm>
              <a:custGeom>
                <a:avLst/>
                <a:gdLst>
                  <a:gd name="T0" fmla="*/ 42 w 94"/>
                  <a:gd name="T1" fmla="*/ 0 h 212"/>
                  <a:gd name="T2" fmla="*/ 48 w 94"/>
                  <a:gd name="T3" fmla="*/ 4 h 212"/>
                  <a:gd name="T4" fmla="*/ 56 w 94"/>
                  <a:gd name="T5" fmla="*/ 6 h 212"/>
                  <a:gd name="T6" fmla="*/ 58 w 94"/>
                  <a:gd name="T7" fmla="*/ 18 h 212"/>
                  <a:gd name="T8" fmla="*/ 68 w 94"/>
                  <a:gd name="T9" fmla="*/ 22 h 212"/>
                  <a:gd name="T10" fmla="*/ 68 w 94"/>
                  <a:gd name="T11" fmla="*/ 28 h 212"/>
                  <a:gd name="T12" fmla="*/ 62 w 94"/>
                  <a:gd name="T13" fmla="*/ 30 h 212"/>
                  <a:gd name="T14" fmla="*/ 52 w 94"/>
                  <a:gd name="T15" fmla="*/ 46 h 212"/>
                  <a:gd name="T16" fmla="*/ 46 w 94"/>
                  <a:gd name="T17" fmla="*/ 64 h 212"/>
                  <a:gd name="T18" fmla="*/ 50 w 94"/>
                  <a:gd name="T19" fmla="*/ 70 h 212"/>
                  <a:gd name="T20" fmla="*/ 84 w 94"/>
                  <a:gd name="T21" fmla="*/ 110 h 212"/>
                  <a:gd name="T22" fmla="*/ 88 w 94"/>
                  <a:gd name="T23" fmla="*/ 126 h 212"/>
                  <a:gd name="T24" fmla="*/ 90 w 94"/>
                  <a:gd name="T25" fmla="*/ 138 h 212"/>
                  <a:gd name="T26" fmla="*/ 94 w 94"/>
                  <a:gd name="T27" fmla="*/ 156 h 212"/>
                  <a:gd name="T28" fmla="*/ 90 w 94"/>
                  <a:gd name="T29" fmla="*/ 172 h 212"/>
                  <a:gd name="T30" fmla="*/ 80 w 94"/>
                  <a:gd name="T31" fmla="*/ 184 h 212"/>
                  <a:gd name="T32" fmla="*/ 68 w 94"/>
                  <a:gd name="T33" fmla="*/ 188 h 212"/>
                  <a:gd name="T34" fmla="*/ 58 w 94"/>
                  <a:gd name="T35" fmla="*/ 186 h 212"/>
                  <a:gd name="T36" fmla="*/ 56 w 94"/>
                  <a:gd name="T37" fmla="*/ 190 h 212"/>
                  <a:gd name="T38" fmla="*/ 56 w 94"/>
                  <a:gd name="T39" fmla="*/ 198 h 212"/>
                  <a:gd name="T40" fmla="*/ 44 w 94"/>
                  <a:gd name="T41" fmla="*/ 206 h 212"/>
                  <a:gd name="T42" fmla="*/ 34 w 94"/>
                  <a:gd name="T43" fmla="*/ 212 h 212"/>
                  <a:gd name="T44" fmla="*/ 34 w 94"/>
                  <a:gd name="T45" fmla="*/ 194 h 212"/>
                  <a:gd name="T46" fmla="*/ 36 w 94"/>
                  <a:gd name="T47" fmla="*/ 194 h 212"/>
                  <a:gd name="T48" fmla="*/ 36 w 94"/>
                  <a:gd name="T49" fmla="*/ 190 h 212"/>
                  <a:gd name="T50" fmla="*/ 36 w 94"/>
                  <a:gd name="T51" fmla="*/ 188 h 212"/>
                  <a:gd name="T52" fmla="*/ 34 w 94"/>
                  <a:gd name="T53" fmla="*/ 186 h 212"/>
                  <a:gd name="T54" fmla="*/ 38 w 94"/>
                  <a:gd name="T55" fmla="*/ 182 h 212"/>
                  <a:gd name="T56" fmla="*/ 46 w 94"/>
                  <a:gd name="T57" fmla="*/ 178 h 212"/>
                  <a:gd name="T58" fmla="*/ 46 w 94"/>
                  <a:gd name="T59" fmla="*/ 170 h 212"/>
                  <a:gd name="T60" fmla="*/ 56 w 94"/>
                  <a:gd name="T61" fmla="*/ 168 h 212"/>
                  <a:gd name="T62" fmla="*/ 60 w 94"/>
                  <a:gd name="T63" fmla="*/ 160 h 212"/>
                  <a:gd name="T64" fmla="*/ 66 w 94"/>
                  <a:gd name="T65" fmla="*/ 150 h 212"/>
                  <a:gd name="T66" fmla="*/ 68 w 94"/>
                  <a:gd name="T67" fmla="*/ 138 h 212"/>
                  <a:gd name="T68" fmla="*/ 68 w 94"/>
                  <a:gd name="T69" fmla="*/ 130 h 212"/>
                  <a:gd name="T70" fmla="*/ 70 w 94"/>
                  <a:gd name="T71" fmla="*/ 118 h 212"/>
                  <a:gd name="T72" fmla="*/ 68 w 94"/>
                  <a:gd name="T73" fmla="*/ 106 h 212"/>
                  <a:gd name="T74" fmla="*/ 52 w 94"/>
                  <a:gd name="T75" fmla="*/ 88 h 212"/>
                  <a:gd name="T76" fmla="*/ 28 w 94"/>
                  <a:gd name="T77" fmla="*/ 64 h 212"/>
                  <a:gd name="T78" fmla="*/ 22 w 94"/>
                  <a:gd name="T79" fmla="*/ 60 h 212"/>
                  <a:gd name="T80" fmla="*/ 22 w 94"/>
                  <a:gd name="T81" fmla="*/ 50 h 212"/>
                  <a:gd name="T82" fmla="*/ 34 w 94"/>
                  <a:gd name="T83" fmla="*/ 50 h 212"/>
                  <a:gd name="T84" fmla="*/ 34 w 94"/>
                  <a:gd name="T85" fmla="*/ 42 h 212"/>
                  <a:gd name="T86" fmla="*/ 28 w 94"/>
                  <a:gd name="T87" fmla="*/ 32 h 212"/>
                  <a:gd name="T88" fmla="*/ 10 w 94"/>
                  <a:gd name="T89" fmla="*/ 34 h 212"/>
                  <a:gd name="T90" fmla="*/ 8 w 94"/>
                  <a:gd name="T91" fmla="*/ 22 h 212"/>
                  <a:gd name="T92" fmla="*/ 0 w 94"/>
                  <a:gd name="T93" fmla="*/ 12 h 212"/>
                  <a:gd name="T94" fmla="*/ 0 w 94"/>
                  <a:gd name="T95" fmla="*/ 6 h 212"/>
                  <a:gd name="T96" fmla="*/ 28 w 94"/>
                  <a:gd name="T97" fmla="*/ 6 h 212"/>
                  <a:gd name="T98" fmla="*/ 36 w 94"/>
                  <a:gd name="T99" fmla="*/ 0 h 212"/>
                  <a:gd name="T100" fmla="*/ 42 w 94"/>
                  <a:gd name="T10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212">
                    <a:moveTo>
                      <a:pt x="42" y="0"/>
                    </a:moveTo>
                    <a:lnTo>
                      <a:pt x="48" y="4"/>
                    </a:lnTo>
                    <a:lnTo>
                      <a:pt x="56" y="6"/>
                    </a:lnTo>
                    <a:lnTo>
                      <a:pt x="58" y="18"/>
                    </a:lnTo>
                    <a:lnTo>
                      <a:pt x="68" y="22"/>
                    </a:lnTo>
                    <a:lnTo>
                      <a:pt x="68" y="28"/>
                    </a:lnTo>
                    <a:lnTo>
                      <a:pt x="62" y="30"/>
                    </a:lnTo>
                    <a:lnTo>
                      <a:pt x="52" y="46"/>
                    </a:lnTo>
                    <a:lnTo>
                      <a:pt x="46" y="64"/>
                    </a:lnTo>
                    <a:lnTo>
                      <a:pt x="50" y="70"/>
                    </a:lnTo>
                    <a:lnTo>
                      <a:pt x="84" y="110"/>
                    </a:lnTo>
                    <a:lnTo>
                      <a:pt x="88" y="126"/>
                    </a:lnTo>
                    <a:lnTo>
                      <a:pt x="90" y="138"/>
                    </a:lnTo>
                    <a:lnTo>
                      <a:pt x="94" y="156"/>
                    </a:lnTo>
                    <a:lnTo>
                      <a:pt x="90" y="172"/>
                    </a:lnTo>
                    <a:lnTo>
                      <a:pt x="80" y="184"/>
                    </a:lnTo>
                    <a:lnTo>
                      <a:pt x="68" y="188"/>
                    </a:lnTo>
                    <a:lnTo>
                      <a:pt x="58" y="186"/>
                    </a:lnTo>
                    <a:lnTo>
                      <a:pt x="56" y="190"/>
                    </a:lnTo>
                    <a:lnTo>
                      <a:pt x="56" y="198"/>
                    </a:lnTo>
                    <a:lnTo>
                      <a:pt x="44" y="206"/>
                    </a:lnTo>
                    <a:lnTo>
                      <a:pt x="34" y="212"/>
                    </a:lnTo>
                    <a:lnTo>
                      <a:pt x="34" y="194"/>
                    </a:lnTo>
                    <a:lnTo>
                      <a:pt x="36" y="194"/>
                    </a:lnTo>
                    <a:lnTo>
                      <a:pt x="36" y="190"/>
                    </a:lnTo>
                    <a:lnTo>
                      <a:pt x="36" y="188"/>
                    </a:lnTo>
                    <a:lnTo>
                      <a:pt x="34" y="186"/>
                    </a:lnTo>
                    <a:lnTo>
                      <a:pt x="38" y="182"/>
                    </a:lnTo>
                    <a:lnTo>
                      <a:pt x="46" y="178"/>
                    </a:lnTo>
                    <a:lnTo>
                      <a:pt x="46" y="170"/>
                    </a:lnTo>
                    <a:lnTo>
                      <a:pt x="56" y="168"/>
                    </a:lnTo>
                    <a:lnTo>
                      <a:pt x="60" y="160"/>
                    </a:lnTo>
                    <a:lnTo>
                      <a:pt x="66" y="150"/>
                    </a:lnTo>
                    <a:lnTo>
                      <a:pt x="68" y="138"/>
                    </a:lnTo>
                    <a:lnTo>
                      <a:pt x="68" y="130"/>
                    </a:lnTo>
                    <a:lnTo>
                      <a:pt x="70" y="118"/>
                    </a:lnTo>
                    <a:lnTo>
                      <a:pt x="68" y="106"/>
                    </a:lnTo>
                    <a:lnTo>
                      <a:pt x="52" y="88"/>
                    </a:lnTo>
                    <a:lnTo>
                      <a:pt x="28" y="64"/>
                    </a:lnTo>
                    <a:lnTo>
                      <a:pt x="22" y="60"/>
                    </a:lnTo>
                    <a:lnTo>
                      <a:pt x="22" y="50"/>
                    </a:lnTo>
                    <a:lnTo>
                      <a:pt x="34" y="50"/>
                    </a:lnTo>
                    <a:lnTo>
                      <a:pt x="34" y="42"/>
                    </a:lnTo>
                    <a:lnTo>
                      <a:pt x="28" y="32"/>
                    </a:lnTo>
                    <a:lnTo>
                      <a:pt x="10" y="34"/>
                    </a:lnTo>
                    <a:lnTo>
                      <a:pt x="8" y="22"/>
                    </a:lnTo>
                    <a:lnTo>
                      <a:pt x="0" y="12"/>
                    </a:lnTo>
                    <a:lnTo>
                      <a:pt x="0" y="6"/>
                    </a:lnTo>
                    <a:lnTo>
                      <a:pt x="28" y="6"/>
                    </a:lnTo>
                    <a:lnTo>
                      <a:pt x="36"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2" name="Freeform 885"/>
              <p:cNvSpPr>
                <a:spLocks/>
              </p:cNvSpPr>
              <p:nvPr/>
            </p:nvSpPr>
            <p:spPr bwMode="auto">
              <a:xfrm>
                <a:off x="4311" y="2187"/>
                <a:ext cx="102" cy="220"/>
              </a:xfrm>
              <a:custGeom>
                <a:avLst/>
                <a:gdLst>
                  <a:gd name="T0" fmla="*/ 40 w 102"/>
                  <a:gd name="T1" fmla="*/ 0 h 220"/>
                  <a:gd name="T2" fmla="*/ 38 w 102"/>
                  <a:gd name="T3" fmla="*/ 0 h 220"/>
                  <a:gd name="T4" fmla="*/ 4 w 102"/>
                  <a:gd name="T5" fmla="*/ 6 h 220"/>
                  <a:gd name="T6" fmla="*/ 2 w 102"/>
                  <a:gd name="T7" fmla="*/ 8 h 220"/>
                  <a:gd name="T8" fmla="*/ 0 w 102"/>
                  <a:gd name="T9" fmla="*/ 16 h 220"/>
                  <a:gd name="T10" fmla="*/ 0 w 102"/>
                  <a:gd name="T11" fmla="*/ 20 h 220"/>
                  <a:gd name="T12" fmla="*/ 10 w 102"/>
                  <a:gd name="T13" fmla="*/ 38 h 220"/>
                  <a:gd name="T14" fmla="*/ 10 w 102"/>
                  <a:gd name="T15" fmla="*/ 42 h 220"/>
                  <a:gd name="T16" fmla="*/ 14 w 102"/>
                  <a:gd name="T17" fmla="*/ 42 h 220"/>
                  <a:gd name="T18" fmla="*/ 30 w 102"/>
                  <a:gd name="T19" fmla="*/ 40 h 220"/>
                  <a:gd name="T20" fmla="*/ 34 w 102"/>
                  <a:gd name="T21" fmla="*/ 50 h 220"/>
                  <a:gd name="T22" fmla="*/ 26 w 102"/>
                  <a:gd name="T23" fmla="*/ 50 h 220"/>
                  <a:gd name="T24" fmla="*/ 24 w 102"/>
                  <a:gd name="T25" fmla="*/ 54 h 220"/>
                  <a:gd name="T26" fmla="*/ 22 w 102"/>
                  <a:gd name="T27" fmla="*/ 64 h 220"/>
                  <a:gd name="T28" fmla="*/ 24 w 102"/>
                  <a:gd name="T29" fmla="*/ 68 h 220"/>
                  <a:gd name="T30" fmla="*/ 52 w 102"/>
                  <a:gd name="T31" fmla="*/ 94 h 220"/>
                  <a:gd name="T32" fmla="*/ 70 w 102"/>
                  <a:gd name="T33" fmla="*/ 122 h 220"/>
                  <a:gd name="T34" fmla="*/ 68 w 102"/>
                  <a:gd name="T35" fmla="*/ 134 h 220"/>
                  <a:gd name="T36" fmla="*/ 68 w 102"/>
                  <a:gd name="T37" fmla="*/ 142 h 220"/>
                  <a:gd name="T38" fmla="*/ 60 w 102"/>
                  <a:gd name="T39" fmla="*/ 162 h 220"/>
                  <a:gd name="T40" fmla="*/ 50 w 102"/>
                  <a:gd name="T41" fmla="*/ 172 h 220"/>
                  <a:gd name="T42" fmla="*/ 48 w 102"/>
                  <a:gd name="T43" fmla="*/ 172 h 220"/>
                  <a:gd name="T44" fmla="*/ 46 w 102"/>
                  <a:gd name="T45" fmla="*/ 180 h 220"/>
                  <a:gd name="T46" fmla="*/ 40 w 102"/>
                  <a:gd name="T47" fmla="*/ 182 h 220"/>
                  <a:gd name="T48" fmla="*/ 36 w 102"/>
                  <a:gd name="T49" fmla="*/ 186 h 220"/>
                  <a:gd name="T50" fmla="*/ 34 w 102"/>
                  <a:gd name="T51" fmla="*/ 190 h 220"/>
                  <a:gd name="T52" fmla="*/ 36 w 102"/>
                  <a:gd name="T53" fmla="*/ 192 h 220"/>
                  <a:gd name="T54" fmla="*/ 36 w 102"/>
                  <a:gd name="T55" fmla="*/ 196 h 220"/>
                  <a:gd name="T56" fmla="*/ 34 w 102"/>
                  <a:gd name="T57" fmla="*/ 198 h 220"/>
                  <a:gd name="T58" fmla="*/ 34 w 102"/>
                  <a:gd name="T59" fmla="*/ 216 h 220"/>
                  <a:gd name="T60" fmla="*/ 36 w 102"/>
                  <a:gd name="T61" fmla="*/ 220 h 220"/>
                  <a:gd name="T62" fmla="*/ 38 w 102"/>
                  <a:gd name="T63" fmla="*/ 220 h 220"/>
                  <a:gd name="T64" fmla="*/ 40 w 102"/>
                  <a:gd name="T65" fmla="*/ 220 h 220"/>
                  <a:gd name="T66" fmla="*/ 62 w 102"/>
                  <a:gd name="T67" fmla="*/ 206 h 220"/>
                  <a:gd name="T68" fmla="*/ 64 w 102"/>
                  <a:gd name="T69" fmla="*/ 202 h 220"/>
                  <a:gd name="T70" fmla="*/ 64 w 102"/>
                  <a:gd name="T71" fmla="*/ 194 h 220"/>
                  <a:gd name="T72" fmla="*/ 72 w 102"/>
                  <a:gd name="T73" fmla="*/ 196 h 220"/>
                  <a:gd name="T74" fmla="*/ 72 w 102"/>
                  <a:gd name="T75" fmla="*/ 196 h 220"/>
                  <a:gd name="T76" fmla="*/ 84 w 102"/>
                  <a:gd name="T77" fmla="*/ 192 h 220"/>
                  <a:gd name="T78" fmla="*/ 86 w 102"/>
                  <a:gd name="T79" fmla="*/ 190 h 220"/>
                  <a:gd name="T80" fmla="*/ 98 w 102"/>
                  <a:gd name="T81" fmla="*/ 180 h 220"/>
                  <a:gd name="T82" fmla="*/ 102 w 102"/>
                  <a:gd name="T83" fmla="*/ 162 h 220"/>
                  <a:gd name="T84" fmla="*/ 102 w 102"/>
                  <a:gd name="T85" fmla="*/ 160 h 220"/>
                  <a:gd name="T86" fmla="*/ 96 w 102"/>
                  <a:gd name="T87" fmla="*/ 128 h 220"/>
                  <a:gd name="T88" fmla="*/ 92 w 102"/>
                  <a:gd name="T89" fmla="*/ 114 h 220"/>
                  <a:gd name="T90" fmla="*/ 58 w 102"/>
                  <a:gd name="T91" fmla="*/ 72 h 220"/>
                  <a:gd name="T92" fmla="*/ 60 w 102"/>
                  <a:gd name="T93" fmla="*/ 52 h 220"/>
                  <a:gd name="T94" fmla="*/ 74 w 102"/>
                  <a:gd name="T95" fmla="*/ 36 h 220"/>
                  <a:gd name="T96" fmla="*/ 76 w 102"/>
                  <a:gd name="T97" fmla="*/ 34 h 220"/>
                  <a:gd name="T98" fmla="*/ 76 w 102"/>
                  <a:gd name="T99" fmla="*/ 24 h 220"/>
                  <a:gd name="T100" fmla="*/ 72 w 102"/>
                  <a:gd name="T101" fmla="*/ 22 h 220"/>
                  <a:gd name="T102" fmla="*/ 64 w 102"/>
                  <a:gd name="T103" fmla="*/ 8 h 220"/>
                  <a:gd name="T104" fmla="*/ 64 w 102"/>
                  <a:gd name="T105" fmla="*/ 6 h 220"/>
                  <a:gd name="T106" fmla="*/ 54 w 102"/>
                  <a:gd name="T107" fmla="*/ 4 h 220"/>
                  <a:gd name="T108" fmla="*/ 48 w 102"/>
                  <a:gd name="T109" fmla="*/ 0 h 220"/>
                  <a:gd name="T110" fmla="*/ 46 w 102"/>
                  <a:gd name="T11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220">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3" name="Freeform 886"/>
              <p:cNvSpPr>
                <a:spLocks/>
              </p:cNvSpPr>
              <p:nvPr/>
            </p:nvSpPr>
            <p:spPr bwMode="auto">
              <a:xfrm>
                <a:off x="3965" y="1987"/>
                <a:ext cx="38" cy="38"/>
              </a:xfrm>
              <a:custGeom>
                <a:avLst/>
                <a:gdLst>
                  <a:gd name="T0" fmla="*/ 14 w 38"/>
                  <a:gd name="T1" fmla="*/ 38 h 38"/>
                  <a:gd name="T2" fmla="*/ 14 w 38"/>
                  <a:gd name="T3" fmla="*/ 38 h 38"/>
                  <a:gd name="T4" fmla="*/ 14 w 38"/>
                  <a:gd name="T5" fmla="*/ 38 h 38"/>
                  <a:gd name="T6" fmla="*/ 14 w 38"/>
                  <a:gd name="T7" fmla="*/ 38 h 38"/>
                  <a:gd name="T8" fmla="*/ 12 w 38"/>
                  <a:gd name="T9" fmla="*/ 36 h 38"/>
                  <a:gd name="T10" fmla="*/ 12 w 38"/>
                  <a:gd name="T11" fmla="*/ 30 h 38"/>
                  <a:gd name="T12" fmla="*/ 4 w 38"/>
                  <a:gd name="T13" fmla="*/ 24 h 38"/>
                  <a:gd name="T14" fmla="*/ 4 w 38"/>
                  <a:gd name="T15" fmla="*/ 24 h 38"/>
                  <a:gd name="T16" fmla="*/ 2 w 38"/>
                  <a:gd name="T17" fmla="*/ 22 h 38"/>
                  <a:gd name="T18" fmla="*/ 0 w 38"/>
                  <a:gd name="T19" fmla="*/ 10 h 38"/>
                  <a:gd name="T20" fmla="*/ 0 w 38"/>
                  <a:gd name="T21" fmla="*/ 10 h 38"/>
                  <a:gd name="T22" fmla="*/ 2 w 38"/>
                  <a:gd name="T23" fmla="*/ 8 h 38"/>
                  <a:gd name="T24" fmla="*/ 6 w 38"/>
                  <a:gd name="T25" fmla="*/ 4 h 38"/>
                  <a:gd name="T26" fmla="*/ 20 w 38"/>
                  <a:gd name="T27" fmla="*/ 0 h 38"/>
                  <a:gd name="T28" fmla="*/ 20 w 38"/>
                  <a:gd name="T29" fmla="*/ 0 h 38"/>
                  <a:gd name="T30" fmla="*/ 20 w 38"/>
                  <a:gd name="T31" fmla="*/ 0 h 38"/>
                  <a:gd name="T32" fmla="*/ 20 w 38"/>
                  <a:gd name="T33" fmla="*/ 0 h 38"/>
                  <a:gd name="T34" fmla="*/ 22 w 38"/>
                  <a:gd name="T35" fmla="*/ 0 h 38"/>
                  <a:gd name="T36" fmla="*/ 28 w 38"/>
                  <a:gd name="T37" fmla="*/ 6 h 38"/>
                  <a:gd name="T38" fmla="*/ 36 w 38"/>
                  <a:gd name="T39" fmla="*/ 12 h 38"/>
                  <a:gd name="T40" fmla="*/ 36 w 38"/>
                  <a:gd name="T41" fmla="*/ 12 h 38"/>
                  <a:gd name="T42" fmla="*/ 38 w 38"/>
                  <a:gd name="T43" fmla="*/ 12 h 38"/>
                  <a:gd name="T44" fmla="*/ 38 w 38"/>
                  <a:gd name="T45" fmla="*/ 20 h 38"/>
                  <a:gd name="T46" fmla="*/ 38 w 38"/>
                  <a:gd name="T47" fmla="*/ 20 h 38"/>
                  <a:gd name="T48" fmla="*/ 38 w 38"/>
                  <a:gd name="T49" fmla="*/ 22 h 38"/>
                  <a:gd name="T50" fmla="*/ 32 w 38"/>
                  <a:gd name="T51" fmla="*/ 28 h 38"/>
                  <a:gd name="T52" fmla="*/ 24 w 38"/>
                  <a:gd name="T53" fmla="*/ 32 h 38"/>
                  <a:gd name="T54" fmla="*/ 16 w 38"/>
                  <a:gd name="T55" fmla="*/ 38 h 38"/>
                  <a:gd name="T56" fmla="*/ 16 w 38"/>
                  <a:gd name="T57" fmla="*/ 38 h 38"/>
                  <a:gd name="T58" fmla="*/ 14 w 38"/>
                  <a:gd name="T59" fmla="*/ 38 h 38"/>
                  <a:gd name="T60" fmla="*/ 14 w 38"/>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8">
                    <a:moveTo>
                      <a:pt x="14" y="38"/>
                    </a:moveTo>
                    <a:lnTo>
                      <a:pt x="14" y="38"/>
                    </a:lnTo>
                    <a:lnTo>
                      <a:pt x="14" y="38"/>
                    </a:lnTo>
                    <a:lnTo>
                      <a:pt x="14" y="38"/>
                    </a:lnTo>
                    <a:lnTo>
                      <a:pt x="12" y="36"/>
                    </a:lnTo>
                    <a:lnTo>
                      <a:pt x="12" y="30"/>
                    </a:lnTo>
                    <a:lnTo>
                      <a:pt x="4" y="24"/>
                    </a:lnTo>
                    <a:lnTo>
                      <a:pt x="4" y="24"/>
                    </a:lnTo>
                    <a:lnTo>
                      <a:pt x="2" y="22"/>
                    </a:lnTo>
                    <a:lnTo>
                      <a:pt x="0" y="10"/>
                    </a:lnTo>
                    <a:lnTo>
                      <a:pt x="0" y="10"/>
                    </a:lnTo>
                    <a:lnTo>
                      <a:pt x="2" y="8"/>
                    </a:lnTo>
                    <a:lnTo>
                      <a:pt x="6" y="4"/>
                    </a:lnTo>
                    <a:lnTo>
                      <a:pt x="20" y="0"/>
                    </a:lnTo>
                    <a:lnTo>
                      <a:pt x="20" y="0"/>
                    </a:lnTo>
                    <a:lnTo>
                      <a:pt x="20" y="0"/>
                    </a:lnTo>
                    <a:lnTo>
                      <a:pt x="20" y="0"/>
                    </a:lnTo>
                    <a:lnTo>
                      <a:pt x="22" y="0"/>
                    </a:lnTo>
                    <a:lnTo>
                      <a:pt x="28" y="6"/>
                    </a:lnTo>
                    <a:lnTo>
                      <a:pt x="36" y="12"/>
                    </a:lnTo>
                    <a:lnTo>
                      <a:pt x="36" y="12"/>
                    </a:lnTo>
                    <a:lnTo>
                      <a:pt x="38" y="12"/>
                    </a:lnTo>
                    <a:lnTo>
                      <a:pt x="38" y="20"/>
                    </a:lnTo>
                    <a:lnTo>
                      <a:pt x="38" y="20"/>
                    </a:lnTo>
                    <a:lnTo>
                      <a:pt x="38" y="22"/>
                    </a:lnTo>
                    <a:lnTo>
                      <a:pt x="32" y="28"/>
                    </a:lnTo>
                    <a:lnTo>
                      <a:pt x="24" y="32"/>
                    </a:lnTo>
                    <a:lnTo>
                      <a:pt x="16" y="38"/>
                    </a:lnTo>
                    <a:lnTo>
                      <a:pt x="16"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4" name="Freeform 887"/>
              <p:cNvSpPr>
                <a:spLocks noEditPoints="1"/>
              </p:cNvSpPr>
              <p:nvPr/>
            </p:nvSpPr>
            <p:spPr bwMode="auto">
              <a:xfrm>
                <a:off x="3963" y="1985"/>
                <a:ext cx="42" cy="42"/>
              </a:xfrm>
              <a:custGeom>
                <a:avLst/>
                <a:gdLst>
                  <a:gd name="T0" fmla="*/ 22 w 42"/>
                  <a:gd name="T1" fmla="*/ 4 h 42"/>
                  <a:gd name="T2" fmla="*/ 30 w 42"/>
                  <a:gd name="T3" fmla="*/ 10 h 42"/>
                  <a:gd name="T4" fmla="*/ 38 w 42"/>
                  <a:gd name="T5" fmla="*/ 14 h 42"/>
                  <a:gd name="T6" fmla="*/ 38 w 42"/>
                  <a:gd name="T7" fmla="*/ 22 h 42"/>
                  <a:gd name="T8" fmla="*/ 32 w 42"/>
                  <a:gd name="T9" fmla="*/ 28 h 42"/>
                  <a:gd name="T10" fmla="*/ 26 w 42"/>
                  <a:gd name="T11" fmla="*/ 32 h 42"/>
                  <a:gd name="T12" fmla="*/ 16 w 42"/>
                  <a:gd name="T13" fmla="*/ 38 h 42"/>
                  <a:gd name="T14" fmla="*/ 14 w 42"/>
                  <a:gd name="T15" fmla="*/ 30 h 42"/>
                  <a:gd name="T16" fmla="*/ 6 w 42"/>
                  <a:gd name="T17" fmla="*/ 24 h 42"/>
                  <a:gd name="T18" fmla="*/ 4 w 42"/>
                  <a:gd name="T19" fmla="*/ 12 h 42"/>
                  <a:gd name="T20" fmla="*/ 10 w 42"/>
                  <a:gd name="T21" fmla="*/ 8 h 42"/>
                  <a:gd name="T22" fmla="*/ 22 w 42"/>
                  <a:gd name="T23" fmla="*/ 4 h 42"/>
                  <a:gd name="T24" fmla="*/ 22 w 42"/>
                  <a:gd name="T25" fmla="*/ 0 h 42"/>
                  <a:gd name="T26" fmla="*/ 22 w 42"/>
                  <a:gd name="T27" fmla="*/ 0 h 42"/>
                  <a:gd name="T28" fmla="*/ 20 w 42"/>
                  <a:gd name="T29" fmla="*/ 0 h 42"/>
                  <a:gd name="T30" fmla="*/ 8 w 42"/>
                  <a:gd name="T31" fmla="*/ 4 h 42"/>
                  <a:gd name="T32" fmla="*/ 8 w 42"/>
                  <a:gd name="T33" fmla="*/ 4 h 42"/>
                  <a:gd name="T34" fmla="*/ 8 w 42"/>
                  <a:gd name="T35" fmla="*/ 4 h 42"/>
                  <a:gd name="T36" fmla="*/ 2 w 42"/>
                  <a:gd name="T37" fmla="*/ 8 h 42"/>
                  <a:gd name="T38" fmla="*/ 2 w 42"/>
                  <a:gd name="T39" fmla="*/ 8 h 42"/>
                  <a:gd name="T40" fmla="*/ 0 w 42"/>
                  <a:gd name="T41" fmla="*/ 12 h 42"/>
                  <a:gd name="T42" fmla="*/ 2 w 42"/>
                  <a:gd name="T43" fmla="*/ 24 h 42"/>
                  <a:gd name="T44" fmla="*/ 2 w 42"/>
                  <a:gd name="T45" fmla="*/ 24 h 42"/>
                  <a:gd name="T46" fmla="*/ 4 w 42"/>
                  <a:gd name="T47" fmla="*/ 28 h 42"/>
                  <a:gd name="T48" fmla="*/ 12 w 42"/>
                  <a:gd name="T49" fmla="*/ 32 h 42"/>
                  <a:gd name="T50" fmla="*/ 12 w 42"/>
                  <a:gd name="T51" fmla="*/ 38 h 42"/>
                  <a:gd name="T52" fmla="*/ 12 w 42"/>
                  <a:gd name="T53" fmla="*/ 38 h 42"/>
                  <a:gd name="T54" fmla="*/ 16 w 42"/>
                  <a:gd name="T55" fmla="*/ 42 h 42"/>
                  <a:gd name="T56" fmla="*/ 16 w 42"/>
                  <a:gd name="T57" fmla="*/ 42 h 42"/>
                  <a:gd name="T58" fmla="*/ 16 w 42"/>
                  <a:gd name="T59" fmla="*/ 42 h 42"/>
                  <a:gd name="T60" fmla="*/ 16 w 42"/>
                  <a:gd name="T61" fmla="*/ 42 h 42"/>
                  <a:gd name="T62" fmla="*/ 18 w 42"/>
                  <a:gd name="T63" fmla="*/ 40 h 42"/>
                  <a:gd name="T64" fmla="*/ 28 w 42"/>
                  <a:gd name="T65" fmla="*/ 36 h 42"/>
                  <a:gd name="T66" fmla="*/ 34 w 42"/>
                  <a:gd name="T67" fmla="*/ 32 h 42"/>
                  <a:gd name="T68" fmla="*/ 34 w 42"/>
                  <a:gd name="T69" fmla="*/ 32 h 42"/>
                  <a:gd name="T70" fmla="*/ 36 w 42"/>
                  <a:gd name="T71" fmla="*/ 30 h 42"/>
                  <a:gd name="T72" fmla="*/ 40 w 42"/>
                  <a:gd name="T73" fmla="*/ 26 h 42"/>
                  <a:gd name="T74" fmla="*/ 40 w 42"/>
                  <a:gd name="T75" fmla="*/ 26 h 42"/>
                  <a:gd name="T76" fmla="*/ 42 w 42"/>
                  <a:gd name="T77" fmla="*/ 22 h 42"/>
                  <a:gd name="T78" fmla="*/ 42 w 42"/>
                  <a:gd name="T79" fmla="*/ 14 h 42"/>
                  <a:gd name="T80" fmla="*/ 42 w 42"/>
                  <a:gd name="T81" fmla="*/ 14 h 42"/>
                  <a:gd name="T82" fmla="*/ 40 w 42"/>
                  <a:gd name="T83" fmla="*/ 12 h 42"/>
                  <a:gd name="T84" fmla="*/ 32 w 42"/>
                  <a:gd name="T85" fmla="*/ 6 h 42"/>
                  <a:gd name="T86" fmla="*/ 24 w 42"/>
                  <a:gd name="T87" fmla="*/ 0 h 42"/>
                  <a:gd name="T88" fmla="*/ 24 w 42"/>
                  <a:gd name="T89" fmla="*/ 0 h 42"/>
                  <a:gd name="T90" fmla="*/ 22 w 42"/>
                  <a:gd name="T91" fmla="*/ 0 h 42"/>
                  <a:gd name="T92" fmla="*/ 22 w 4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42">
                    <a:moveTo>
                      <a:pt x="22" y="4"/>
                    </a:moveTo>
                    <a:lnTo>
                      <a:pt x="30" y="10"/>
                    </a:lnTo>
                    <a:lnTo>
                      <a:pt x="38" y="14"/>
                    </a:lnTo>
                    <a:lnTo>
                      <a:pt x="38" y="22"/>
                    </a:lnTo>
                    <a:lnTo>
                      <a:pt x="32" y="28"/>
                    </a:lnTo>
                    <a:lnTo>
                      <a:pt x="26" y="32"/>
                    </a:lnTo>
                    <a:lnTo>
                      <a:pt x="16" y="38"/>
                    </a:lnTo>
                    <a:lnTo>
                      <a:pt x="14" y="30"/>
                    </a:lnTo>
                    <a:lnTo>
                      <a:pt x="6" y="24"/>
                    </a:lnTo>
                    <a:lnTo>
                      <a:pt x="4" y="12"/>
                    </a:lnTo>
                    <a:lnTo>
                      <a:pt x="10" y="8"/>
                    </a:lnTo>
                    <a:lnTo>
                      <a:pt x="22" y="4"/>
                    </a:lnTo>
                    <a:close/>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5" name="Freeform 888"/>
              <p:cNvSpPr>
                <a:spLocks/>
              </p:cNvSpPr>
              <p:nvPr/>
            </p:nvSpPr>
            <p:spPr bwMode="auto">
              <a:xfrm>
                <a:off x="3967" y="1989"/>
                <a:ext cx="34" cy="34"/>
              </a:xfrm>
              <a:custGeom>
                <a:avLst/>
                <a:gdLst>
                  <a:gd name="T0" fmla="*/ 18 w 34"/>
                  <a:gd name="T1" fmla="*/ 0 h 34"/>
                  <a:gd name="T2" fmla="*/ 26 w 34"/>
                  <a:gd name="T3" fmla="*/ 6 h 34"/>
                  <a:gd name="T4" fmla="*/ 34 w 34"/>
                  <a:gd name="T5" fmla="*/ 10 h 34"/>
                  <a:gd name="T6" fmla="*/ 34 w 34"/>
                  <a:gd name="T7" fmla="*/ 18 h 34"/>
                  <a:gd name="T8" fmla="*/ 28 w 34"/>
                  <a:gd name="T9" fmla="*/ 24 h 34"/>
                  <a:gd name="T10" fmla="*/ 22 w 34"/>
                  <a:gd name="T11" fmla="*/ 28 h 34"/>
                  <a:gd name="T12" fmla="*/ 12 w 34"/>
                  <a:gd name="T13" fmla="*/ 34 h 34"/>
                  <a:gd name="T14" fmla="*/ 10 w 34"/>
                  <a:gd name="T15" fmla="*/ 26 h 34"/>
                  <a:gd name="T16" fmla="*/ 2 w 34"/>
                  <a:gd name="T17" fmla="*/ 20 h 34"/>
                  <a:gd name="T18" fmla="*/ 0 w 34"/>
                  <a:gd name="T19" fmla="*/ 8 h 34"/>
                  <a:gd name="T20" fmla="*/ 6 w 34"/>
                  <a:gd name="T21" fmla="*/ 4 h 34"/>
                  <a:gd name="T22" fmla="*/ 18 w 3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8" y="0"/>
                    </a:moveTo>
                    <a:lnTo>
                      <a:pt x="26" y="6"/>
                    </a:lnTo>
                    <a:lnTo>
                      <a:pt x="34" y="10"/>
                    </a:lnTo>
                    <a:lnTo>
                      <a:pt x="34" y="18"/>
                    </a:lnTo>
                    <a:lnTo>
                      <a:pt x="28" y="24"/>
                    </a:lnTo>
                    <a:lnTo>
                      <a:pt x="22" y="28"/>
                    </a:lnTo>
                    <a:lnTo>
                      <a:pt x="12" y="34"/>
                    </a:lnTo>
                    <a:lnTo>
                      <a:pt x="10" y="26"/>
                    </a:lnTo>
                    <a:lnTo>
                      <a:pt x="2" y="20"/>
                    </a:lnTo>
                    <a:lnTo>
                      <a:pt x="0" y="8"/>
                    </a:lnTo>
                    <a:lnTo>
                      <a:pt x="6" y="4"/>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6" name="Freeform 889"/>
              <p:cNvSpPr>
                <a:spLocks/>
              </p:cNvSpPr>
              <p:nvPr/>
            </p:nvSpPr>
            <p:spPr bwMode="auto">
              <a:xfrm>
                <a:off x="3963" y="1985"/>
                <a:ext cx="42" cy="42"/>
              </a:xfrm>
              <a:custGeom>
                <a:avLst/>
                <a:gdLst>
                  <a:gd name="T0" fmla="*/ 22 w 42"/>
                  <a:gd name="T1" fmla="*/ 0 h 42"/>
                  <a:gd name="T2" fmla="*/ 22 w 42"/>
                  <a:gd name="T3" fmla="*/ 0 h 42"/>
                  <a:gd name="T4" fmla="*/ 20 w 42"/>
                  <a:gd name="T5" fmla="*/ 0 h 42"/>
                  <a:gd name="T6" fmla="*/ 8 w 42"/>
                  <a:gd name="T7" fmla="*/ 4 h 42"/>
                  <a:gd name="T8" fmla="*/ 8 w 42"/>
                  <a:gd name="T9" fmla="*/ 4 h 42"/>
                  <a:gd name="T10" fmla="*/ 8 w 42"/>
                  <a:gd name="T11" fmla="*/ 4 h 42"/>
                  <a:gd name="T12" fmla="*/ 2 w 42"/>
                  <a:gd name="T13" fmla="*/ 8 h 42"/>
                  <a:gd name="T14" fmla="*/ 2 w 42"/>
                  <a:gd name="T15" fmla="*/ 8 h 42"/>
                  <a:gd name="T16" fmla="*/ 0 w 42"/>
                  <a:gd name="T17" fmla="*/ 12 h 42"/>
                  <a:gd name="T18" fmla="*/ 2 w 42"/>
                  <a:gd name="T19" fmla="*/ 24 h 42"/>
                  <a:gd name="T20" fmla="*/ 2 w 42"/>
                  <a:gd name="T21" fmla="*/ 24 h 42"/>
                  <a:gd name="T22" fmla="*/ 4 w 42"/>
                  <a:gd name="T23" fmla="*/ 28 h 42"/>
                  <a:gd name="T24" fmla="*/ 12 w 42"/>
                  <a:gd name="T25" fmla="*/ 32 h 42"/>
                  <a:gd name="T26" fmla="*/ 12 w 42"/>
                  <a:gd name="T27" fmla="*/ 38 h 42"/>
                  <a:gd name="T28" fmla="*/ 12 w 42"/>
                  <a:gd name="T29" fmla="*/ 38 h 42"/>
                  <a:gd name="T30" fmla="*/ 16 w 42"/>
                  <a:gd name="T31" fmla="*/ 42 h 42"/>
                  <a:gd name="T32" fmla="*/ 16 w 42"/>
                  <a:gd name="T33" fmla="*/ 42 h 42"/>
                  <a:gd name="T34" fmla="*/ 16 w 42"/>
                  <a:gd name="T35" fmla="*/ 42 h 42"/>
                  <a:gd name="T36" fmla="*/ 16 w 42"/>
                  <a:gd name="T37" fmla="*/ 42 h 42"/>
                  <a:gd name="T38" fmla="*/ 18 w 42"/>
                  <a:gd name="T39" fmla="*/ 40 h 42"/>
                  <a:gd name="T40" fmla="*/ 28 w 42"/>
                  <a:gd name="T41" fmla="*/ 36 h 42"/>
                  <a:gd name="T42" fmla="*/ 34 w 42"/>
                  <a:gd name="T43" fmla="*/ 32 h 42"/>
                  <a:gd name="T44" fmla="*/ 34 w 42"/>
                  <a:gd name="T45" fmla="*/ 32 h 42"/>
                  <a:gd name="T46" fmla="*/ 36 w 42"/>
                  <a:gd name="T47" fmla="*/ 30 h 42"/>
                  <a:gd name="T48" fmla="*/ 40 w 42"/>
                  <a:gd name="T49" fmla="*/ 26 h 42"/>
                  <a:gd name="T50" fmla="*/ 40 w 42"/>
                  <a:gd name="T51" fmla="*/ 26 h 42"/>
                  <a:gd name="T52" fmla="*/ 42 w 42"/>
                  <a:gd name="T53" fmla="*/ 22 h 42"/>
                  <a:gd name="T54" fmla="*/ 42 w 42"/>
                  <a:gd name="T55" fmla="*/ 14 h 42"/>
                  <a:gd name="T56" fmla="*/ 42 w 42"/>
                  <a:gd name="T57" fmla="*/ 14 h 42"/>
                  <a:gd name="T58" fmla="*/ 40 w 42"/>
                  <a:gd name="T59" fmla="*/ 12 h 42"/>
                  <a:gd name="T60" fmla="*/ 32 w 42"/>
                  <a:gd name="T61" fmla="*/ 6 h 42"/>
                  <a:gd name="T62" fmla="*/ 24 w 42"/>
                  <a:gd name="T63" fmla="*/ 0 h 42"/>
                  <a:gd name="T64" fmla="*/ 24 w 42"/>
                  <a:gd name="T65" fmla="*/ 0 h 42"/>
                  <a:gd name="T66" fmla="*/ 22 w 42"/>
                  <a:gd name="T67" fmla="*/ 0 h 42"/>
                  <a:gd name="T68" fmla="*/ 22 w 4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42">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7" name="Freeform 890"/>
              <p:cNvSpPr>
                <a:spLocks/>
              </p:cNvSpPr>
              <p:nvPr/>
            </p:nvSpPr>
            <p:spPr bwMode="auto">
              <a:xfrm>
                <a:off x="3993" y="2077"/>
                <a:ext cx="122" cy="66"/>
              </a:xfrm>
              <a:custGeom>
                <a:avLst/>
                <a:gdLst>
                  <a:gd name="T0" fmla="*/ 94 w 122"/>
                  <a:gd name="T1" fmla="*/ 66 h 66"/>
                  <a:gd name="T2" fmla="*/ 94 w 122"/>
                  <a:gd name="T3" fmla="*/ 66 h 66"/>
                  <a:gd name="T4" fmla="*/ 94 w 122"/>
                  <a:gd name="T5" fmla="*/ 66 h 66"/>
                  <a:gd name="T6" fmla="*/ 82 w 122"/>
                  <a:gd name="T7" fmla="*/ 60 h 66"/>
                  <a:gd name="T8" fmla="*/ 66 w 122"/>
                  <a:gd name="T9" fmla="*/ 50 h 66"/>
                  <a:gd name="T10" fmla="*/ 46 w 122"/>
                  <a:gd name="T11" fmla="*/ 48 h 66"/>
                  <a:gd name="T12" fmla="*/ 32 w 122"/>
                  <a:gd name="T13" fmla="*/ 42 h 66"/>
                  <a:gd name="T14" fmla="*/ 20 w 122"/>
                  <a:gd name="T15" fmla="*/ 34 h 66"/>
                  <a:gd name="T16" fmla="*/ 2 w 122"/>
                  <a:gd name="T17" fmla="*/ 30 h 66"/>
                  <a:gd name="T18" fmla="*/ 2 w 122"/>
                  <a:gd name="T19" fmla="*/ 30 h 66"/>
                  <a:gd name="T20" fmla="*/ 0 w 122"/>
                  <a:gd name="T21" fmla="*/ 26 h 66"/>
                  <a:gd name="T22" fmla="*/ 4 w 122"/>
                  <a:gd name="T23" fmla="*/ 12 h 66"/>
                  <a:gd name="T24" fmla="*/ 4 w 122"/>
                  <a:gd name="T25" fmla="*/ 12 h 66"/>
                  <a:gd name="T26" fmla="*/ 4 w 122"/>
                  <a:gd name="T27" fmla="*/ 12 h 66"/>
                  <a:gd name="T28" fmla="*/ 16 w 122"/>
                  <a:gd name="T29" fmla="*/ 4 h 66"/>
                  <a:gd name="T30" fmla="*/ 28 w 122"/>
                  <a:gd name="T31" fmla="*/ 0 h 66"/>
                  <a:gd name="T32" fmla="*/ 28 w 122"/>
                  <a:gd name="T33" fmla="*/ 0 h 66"/>
                  <a:gd name="T34" fmla="*/ 30 w 122"/>
                  <a:gd name="T35" fmla="*/ 0 h 66"/>
                  <a:gd name="T36" fmla="*/ 30 w 122"/>
                  <a:gd name="T37" fmla="*/ 0 h 66"/>
                  <a:gd name="T38" fmla="*/ 30 w 122"/>
                  <a:gd name="T39" fmla="*/ 0 h 66"/>
                  <a:gd name="T40" fmla="*/ 44 w 122"/>
                  <a:gd name="T41" fmla="*/ 12 h 66"/>
                  <a:gd name="T42" fmla="*/ 58 w 122"/>
                  <a:gd name="T43" fmla="*/ 18 h 66"/>
                  <a:gd name="T44" fmla="*/ 68 w 122"/>
                  <a:gd name="T45" fmla="*/ 26 h 66"/>
                  <a:gd name="T46" fmla="*/ 82 w 122"/>
                  <a:gd name="T47" fmla="*/ 34 h 66"/>
                  <a:gd name="T48" fmla="*/ 96 w 122"/>
                  <a:gd name="T49" fmla="*/ 38 h 66"/>
                  <a:gd name="T50" fmla="*/ 118 w 122"/>
                  <a:gd name="T51" fmla="*/ 38 h 66"/>
                  <a:gd name="T52" fmla="*/ 118 w 122"/>
                  <a:gd name="T53" fmla="*/ 38 h 66"/>
                  <a:gd name="T54" fmla="*/ 120 w 122"/>
                  <a:gd name="T55" fmla="*/ 40 h 66"/>
                  <a:gd name="T56" fmla="*/ 120 w 122"/>
                  <a:gd name="T57" fmla="*/ 52 h 66"/>
                  <a:gd name="T58" fmla="*/ 122 w 122"/>
                  <a:gd name="T59" fmla="*/ 62 h 66"/>
                  <a:gd name="T60" fmla="*/ 122 w 122"/>
                  <a:gd name="T61" fmla="*/ 62 h 66"/>
                  <a:gd name="T62" fmla="*/ 122 w 122"/>
                  <a:gd name="T63" fmla="*/ 62 h 66"/>
                  <a:gd name="T64" fmla="*/ 122 w 122"/>
                  <a:gd name="T65" fmla="*/ 62 h 66"/>
                  <a:gd name="T66" fmla="*/ 120 w 122"/>
                  <a:gd name="T67" fmla="*/ 64 h 66"/>
                  <a:gd name="T68" fmla="*/ 120 w 122"/>
                  <a:gd name="T69" fmla="*/ 64 h 66"/>
                  <a:gd name="T70" fmla="*/ 94 w 122"/>
                  <a:gd name="T71" fmla="*/ 66 h 66"/>
                  <a:gd name="T72" fmla="*/ 94 w 122"/>
                  <a:gd name="T7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66">
                    <a:moveTo>
                      <a:pt x="94" y="66"/>
                    </a:moveTo>
                    <a:lnTo>
                      <a:pt x="94" y="66"/>
                    </a:lnTo>
                    <a:lnTo>
                      <a:pt x="94" y="66"/>
                    </a:lnTo>
                    <a:lnTo>
                      <a:pt x="82" y="60"/>
                    </a:lnTo>
                    <a:lnTo>
                      <a:pt x="66" y="50"/>
                    </a:lnTo>
                    <a:lnTo>
                      <a:pt x="46" y="48"/>
                    </a:lnTo>
                    <a:lnTo>
                      <a:pt x="32" y="42"/>
                    </a:lnTo>
                    <a:lnTo>
                      <a:pt x="20" y="34"/>
                    </a:lnTo>
                    <a:lnTo>
                      <a:pt x="2" y="30"/>
                    </a:lnTo>
                    <a:lnTo>
                      <a:pt x="2" y="30"/>
                    </a:lnTo>
                    <a:lnTo>
                      <a:pt x="0" y="26"/>
                    </a:lnTo>
                    <a:lnTo>
                      <a:pt x="4" y="12"/>
                    </a:lnTo>
                    <a:lnTo>
                      <a:pt x="4" y="12"/>
                    </a:lnTo>
                    <a:lnTo>
                      <a:pt x="4" y="12"/>
                    </a:lnTo>
                    <a:lnTo>
                      <a:pt x="16" y="4"/>
                    </a:lnTo>
                    <a:lnTo>
                      <a:pt x="28" y="0"/>
                    </a:lnTo>
                    <a:lnTo>
                      <a:pt x="28" y="0"/>
                    </a:lnTo>
                    <a:lnTo>
                      <a:pt x="30" y="0"/>
                    </a:lnTo>
                    <a:lnTo>
                      <a:pt x="30" y="0"/>
                    </a:lnTo>
                    <a:lnTo>
                      <a:pt x="30" y="0"/>
                    </a:lnTo>
                    <a:lnTo>
                      <a:pt x="44" y="12"/>
                    </a:lnTo>
                    <a:lnTo>
                      <a:pt x="58" y="18"/>
                    </a:lnTo>
                    <a:lnTo>
                      <a:pt x="68" y="26"/>
                    </a:lnTo>
                    <a:lnTo>
                      <a:pt x="82" y="34"/>
                    </a:lnTo>
                    <a:lnTo>
                      <a:pt x="96" y="38"/>
                    </a:lnTo>
                    <a:lnTo>
                      <a:pt x="118" y="38"/>
                    </a:lnTo>
                    <a:lnTo>
                      <a:pt x="118" y="38"/>
                    </a:lnTo>
                    <a:lnTo>
                      <a:pt x="120" y="40"/>
                    </a:lnTo>
                    <a:lnTo>
                      <a:pt x="120" y="52"/>
                    </a:lnTo>
                    <a:lnTo>
                      <a:pt x="122" y="62"/>
                    </a:lnTo>
                    <a:lnTo>
                      <a:pt x="122" y="62"/>
                    </a:lnTo>
                    <a:lnTo>
                      <a:pt x="122" y="62"/>
                    </a:lnTo>
                    <a:lnTo>
                      <a:pt x="122" y="62"/>
                    </a:lnTo>
                    <a:lnTo>
                      <a:pt x="120" y="64"/>
                    </a:lnTo>
                    <a:lnTo>
                      <a:pt x="120" y="64"/>
                    </a:lnTo>
                    <a:lnTo>
                      <a:pt x="94" y="66"/>
                    </a:lnTo>
                    <a:lnTo>
                      <a:pt x="9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8" name="Freeform 891"/>
              <p:cNvSpPr>
                <a:spLocks noEditPoints="1"/>
              </p:cNvSpPr>
              <p:nvPr/>
            </p:nvSpPr>
            <p:spPr bwMode="auto">
              <a:xfrm>
                <a:off x="3991" y="2075"/>
                <a:ext cx="126" cy="70"/>
              </a:xfrm>
              <a:custGeom>
                <a:avLst/>
                <a:gdLst>
                  <a:gd name="T0" fmla="*/ 44 w 126"/>
                  <a:gd name="T1" fmla="*/ 16 h 70"/>
                  <a:gd name="T2" fmla="*/ 70 w 126"/>
                  <a:gd name="T3" fmla="*/ 30 h 70"/>
                  <a:gd name="T4" fmla="*/ 98 w 126"/>
                  <a:gd name="T5" fmla="*/ 42 h 70"/>
                  <a:gd name="T6" fmla="*/ 120 w 126"/>
                  <a:gd name="T7" fmla="*/ 54 h 70"/>
                  <a:gd name="T8" fmla="*/ 96 w 126"/>
                  <a:gd name="T9" fmla="*/ 66 h 70"/>
                  <a:gd name="T10" fmla="*/ 70 w 126"/>
                  <a:gd name="T11" fmla="*/ 50 h 70"/>
                  <a:gd name="T12" fmla="*/ 36 w 126"/>
                  <a:gd name="T13" fmla="*/ 42 h 70"/>
                  <a:gd name="T14" fmla="*/ 4 w 126"/>
                  <a:gd name="T15" fmla="*/ 30 h 70"/>
                  <a:gd name="T16" fmla="*/ 18 w 126"/>
                  <a:gd name="T17" fmla="*/ 8 h 70"/>
                  <a:gd name="T18" fmla="*/ 32 w 126"/>
                  <a:gd name="T19" fmla="*/ 0 h 70"/>
                  <a:gd name="T20" fmla="*/ 30 w 126"/>
                  <a:gd name="T21" fmla="*/ 0 h 70"/>
                  <a:gd name="T22" fmla="*/ 18 w 126"/>
                  <a:gd name="T23" fmla="*/ 4 h 70"/>
                  <a:gd name="T24" fmla="*/ 6 w 126"/>
                  <a:gd name="T25" fmla="*/ 12 h 70"/>
                  <a:gd name="T26" fmla="*/ 4 w 126"/>
                  <a:gd name="T27" fmla="*/ 14 h 70"/>
                  <a:gd name="T28" fmla="*/ 0 w 126"/>
                  <a:gd name="T29" fmla="*/ 28 h 70"/>
                  <a:gd name="T30" fmla="*/ 4 w 126"/>
                  <a:gd name="T31" fmla="*/ 34 h 70"/>
                  <a:gd name="T32" fmla="*/ 32 w 126"/>
                  <a:gd name="T33" fmla="*/ 46 h 70"/>
                  <a:gd name="T34" fmla="*/ 34 w 126"/>
                  <a:gd name="T35" fmla="*/ 46 h 70"/>
                  <a:gd name="T36" fmla="*/ 46 w 126"/>
                  <a:gd name="T37" fmla="*/ 52 h 70"/>
                  <a:gd name="T38" fmla="*/ 68 w 126"/>
                  <a:gd name="T39" fmla="*/ 54 h 70"/>
                  <a:gd name="T40" fmla="*/ 82 w 126"/>
                  <a:gd name="T41" fmla="*/ 64 h 70"/>
                  <a:gd name="T42" fmla="*/ 94 w 126"/>
                  <a:gd name="T43" fmla="*/ 68 h 70"/>
                  <a:gd name="T44" fmla="*/ 96 w 126"/>
                  <a:gd name="T45" fmla="*/ 70 h 70"/>
                  <a:gd name="T46" fmla="*/ 96 w 126"/>
                  <a:gd name="T47" fmla="*/ 70 h 70"/>
                  <a:gd name="T48" fmla="*/ 122 w 126"/>
                  <a:gd name="T49" fmla="*/ 68 h 70"/>
                  <a:gd name="T50" fmla="*/ 124 w 126"/>
                  <a:gd name="T51" fmla="*/ 66 h 70"/>
                  <a:gd name="T52" fmla="*/ 124 w 126"/>
                  <a:gd name="T53" fmla="*/ 52 h 70"/>
                  <a:gd name="T54" fmla="*/ 124 w 126"/>
                  <a:gd name="T55" fmla="*/ 42 h 70"/>
                  <a:gd name="T56" fmla="*/ 120 w 126"/>
                  <a:gd name="T57" fmla="*/ 38 h 70"/>
                  <a:gd name="T58" fmla="*/ 86 w 126"/>
                  <a:gd name="T59" fmla="*/ 34 h 70"/>
                  <a:gd name="T60" fmla="*/ 60 w 126"/>
                  <a:gd name="T61" fmla="*/ 18 h 70"/>
                  <a:gd name="T62" fmla="*/ 60 w 126"/>
                  <a:gd name="T63" fmla="*/ 18 h 70"/>
                  <a:gd name="T64" fmla="*/ 34 w 126"/>
                  <a:gd name="T65" fmla="*/ 0 h 70"/>
                  <a:gd name="T66" fmla="*/ 32 w 126"/>
                  <a:gd name="T6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70">
                    <a:moveTo>
                      <a:pt x="32" y="4"/>
                    </a:moveTo>
                    <a:lnTo>
                      <a:pt x="44" y="16"/>
                    </a:lnTo>
                    <a:lnTo>
                      <a:pt x="58" y="22"/>
                    </a:lnTo>
                    <a:lnTo>
                      <a:pt x="70" y="30"/>
                    </a:lnTo>
                    <a:lnTo>
                      <a:pt x="84" y="38"/>
                    </a:lnTo>
                    <a:lnTo>
                      <a:pt x="98" y="42"/>
                    </a:lnTo>
                    <a:lnTo>
                      <a:pt x="120" y="42"/>
                    </a:lnTo>
                    <a:lnTo>
                      <a:pt x="120" y="54"/>
                    </a:lnTo>
                    <a:lnTo>
                      <a:pt x="122" y="64"/>
                    </a:lnTo>
                    <a:lnTo>
                      <a:pt x="96" y="66"/>
                    </a:lnTo>
                    <a:lnTo>
                      <a:pt x="84" y="60"/>
                    </a:lnTo>
                    <a:lnTo>
                      <a:pt x="70" y="50"/>
                    </a:lnTo>
                    <a:lnTo>
                      <a:pt x="48" y="48"/>
                    </a:lnTo>
                    <a:lnTo>
                      <a:pt x="36" y="42"/>
                    </a:lnTo>
                    <a:lnTo>
                      <a:pt x="22" y="34"/>
                    </a:lnTo>
                    <a:lnTo>
                      <a:pt x="4" y="30"/>
                    </a:lnTo>
                    <a:lnTo>
                      <a:pt x="8" y="16"/>
                    </a:lnTo>
                    <a:lnTo>
                      <a:pt x="18" y="8"/>
                    </a:lnTo>
                    <a:lnTo>
                      <a:pt x="32" y="4"/>
                    </a:lnTo>
                    <a:close/>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9" name="Freeform 892"/>
              <p:cNvSpPr>
                <a:spLocks/>
              </p:cNvSpPr>
              <p:nvPr/>
            </p:nvSpPr>
            <p:spPr bwMode="auto">
              <a:xfrm>
                <a:off x="3995" y="2079"/>
                <a:ext cx="118" cy="62"/>
              </a:xfrm>
              <a:custGeom>
                <a:avLst/>
                <a:gdLst>
                  <a:gd name="T0" fmla="*/ 28 w 118"/>
                  <a:gd name="T1" fmla="*/ 0 h 62"/>
                  <a:gd name="T2" fmla="*/ 40 w 118"/>
                  <a:gd name="T3" fmla="*/ 12 h 62"/>
                  <a:gd name="T4" fmla="*/ 54 w 118"/>
                  <a:gd name="T5" fmla="*/ 18 h 62"/>
                  <a:gd name="T6" fmla="*/ 66 w 118"/>
                  <a:gd name="T7" fmla="*/ 26 h 62"/>
                  <a:gd name="T8" fmla="*/ 80 w 118"/>
                  <a:gd name="T9" fmla="*/ 34 h 62"/>
                  <a:gd name="T10" fmla="*/ 94 w 118"/>
                  <a:gd name="T11" fmla="*/ 38 h 62"/>
                  <a:gd name="T12" fmla="*/ 116 w 118"/>
                  <a:gd name="T13" fmla="*/ 38 h 62"/>
                  <a:gd name="T14" fmla="*/ 116 w 118"/>
                  <a:gd name="T15" fmla="*/ 50 h 62"/>
                  <a:gd name="T16" fmla="*/ 118 w 118"/>
                  <a:gd name="T17" fmla="*/ 60 h 62"/>
                  <a:gd name="T18" fmla="*/ 92 w 118"/>
                  <a:gd name="T19" fmla="*/ 62 h 62"/>
                  <a:gd name="T20" fmla="*/ 80 w 118"/>
                  <a:gd name="T21" fmla="*/ 56 h 62"/>
                  <a:gd name="T22" fmla="*/ 66 w 118"/>
                  <a:gd name="T23" fmla="*/ 46 h 62"/>
                  <a:gd name="T24" fmla="*/ 44 w 118"/>
                  <a:gd name="T25" fmla="*/ 44 h 62"/>
                  <a:gd name="T26" fmla="*/ 32 w 118"/>
                  <a:gd name="T27" fmla="*/ 38 h 62"/>
                  <a:gd name="T28" fmla="*/ 18 w 118"/>
                  <a:gd name="T29" fmla="*/ 30 h 62"/>
                  <a:gd name="T30" fmla="*/ 0 w 118"/>
                  <a:gd name="T31" fmla="*/ 26 h 62"/>
                  <a:gd name="T32" fmla="*/ 4 w 118"/>
                  <a:gd name="T33" fmla="*/ 12 h 62"/>
                  <a:gd name="T34" fmla="*/ 14 w 118"/>
                  <a:gd name="T35" fmla="*/ 4 h 62"/>
                  <a:gd name="T36" fmla="*/ 28 w 118"/>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62">
                    <a:moveTo>
                      <a:pt x="28" y="0"/>
                    </a:moveTo>
                    <a:lnTo>
                      <a:pt x="40" y="12"/>
                    </a:lnTo>
                    <a:lnTo>
                      <a:pt x="54" y="18"/>
                    </a:lnTo>
                    <a:lnTo>
                      <a:pt x="66" y="26"/>
                    </a:lnTo>
                    <a:lnTo>
                      <a:pt x="80" y="34"/>
                    </a:lnTo>
                    <a:lnTo>
                      <a:pt x="94" y="38"/>
                    </a:lnTo>
                    <a:lnTo>
                      <a:pt x="116" y="38"/>
                    </a:lnTo>
                    <a:lnTo>
                      <a:pt x="116" y="50"/>
                    </a:lnTo>
                    <a:lnTo>
                      <a:pt x="118" y="60"/>
                    </a:lnTo>
                    <a:lnTo>
                      <a:pt x="92" y="62"/>
                    </a:lnTo>
                    <a:lnTo>
                      <a:pt x="80" y="56"/>
                    </a:lnTo>
                    <a:lnTo>
                      <a:pt x="66" y="46"/>
                    </a:lnTo>
                    <a:lnTo>
                      <a:pt x="44" y="44"/>
                    </a:lnTo>
                    <a:lnTo>
                      <a:pt x="32" y="38"/>
                    </a:lnTo>
                    <a:lnTo>
                      <a:pt x="18" y="30"/>
                    </a:lnTo>
                    <a:lnTo>
                      <a:pt x="0" y="26"/>
                    </a:lnTo>
                    <a:lnTo>
                      <a:pt x="4" y="12"/>
                    </a:lnTo>
                    <a:lnTo>
                      <a:pt x="1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0" name="Freeform 893"/>
              <p:cNvSpPr>
                <a:spLocks/>
              </p:cNvSpPr>
              <p:nvPr/>
            </p:nvSpPr>
            <p:spPr bwMode="auto">
              <a:xfrm>
                <a:off x="3991" y="2075"/>
                <a:ext cx="126" cy="70"/>
              </a:xfrm>
              <a:custGeom>
                <a:avLst/>
                <a:gdLst>
                  <a:gd name="T0" fmla="*/ 32 w 126"/>
                  <a:gd name="T1" fmla="*/ 0 h 70"/>
                  <a:gd name="T2" fmla="*/ 32 w 126"/>
                  <a:gd name="T3" fmla="*/ 0 h 70"/>
                  <a:gd name="T4" fmla="*/ 30 w 126"/>
                  <a:gd name="T5" fmla="*/ 0 h 70"/>
                  <a:gd name="T6" fmla="*/ 18 w 126"/>
                  <a:gd name="T7" fmla="*/ 4 h 70"/>
                  <a:gd name="T8" fmla="*/ 18 w 126"/>
                  <a:gd name="T9" fmla="*/ 4 h 70"/>
                  <a:gd name="T10" fmla="*/ 16 w 126"/>
                  <a:gd name="T11" fmla="*/ 6 h 70"/>
                  <a:gd name="T12" fmla="*/ 6 w 126"/>
                  <a:gd name="T13" fmla="*/ 12 h 70"/>
                  <a:gd name="T14" fmla="*/ 6 w 126"/>
                  <a:gd name="T15" fmla="*/ 12 h 70"/>
                  <a:gd name="T16" fmla="*/ 4 w 126"/>
                  <a:gd name="T17" fmla="*/ 14 h 70"/>
                  <a:gd name="T18" fmla="*/ 0 w 126"/>
                  <a:gd name="T19" fmla="*/ 28 h 70"/>
                  <a:gd name="T20" fmla="*/ 0 w 126"/>
                  <a:gd name="T21" fmla="*/ 28 h 70"/>
                  <a:gd name="T22" fmla="*/ 0 w 126"/>
                  <a:gd name="T23" fmla="*/ 32 h 70"/>
                  <a:gd name="T24" fmla="*/ 4 w 126"/>
                  <a:gd name="T25" fmla="*/ 34 h 70"/>
                  <a:gd name="T26" fmla="*/ 20 w 126"/>
                  <a:gd name="T27" fmla="*/ 38 h 70"/>
                  <a:gd name="T28" fmla="*/ 32 w 126"/>
                  <a:gd name="T29" fmla="*/ 46 h 70"/>
                  <a:gd name="T30" fmla="*/ 32 w 126"/>
                  <a:gd name="T31" fmla="*/ 46 h 70"/>
                  <a:gd name="T32" fmla="*/ 34 w 126"/>
                  <a:gd name="T33" fmla="*/ 46 h 70"/>
                  <a:gd name="T34" fmla="*/ 46 w 126"/>
                  <a:gd name="T35" fmla="*/ 52 h 70"/>
                  <a:gd name="T36" fmla="*/ 46 w 126"/>
                  <a:gd name="T37" fmla="*/ 52 h 70"/>
                  <a:gd name="T38" fmla="*/ 48 w 126"/>
                  <a:gd name="T39" fmla="*/ 52 h 70"/>
                  <a:gd name="T40" fmla="*/ 68 w 126"/>
                  <a:gd name="T41" fmla="*/ 54 h 70"/>
                  <a:gd name="T42" fmla="*/ 82 w 126"/>
                  <a:gd name="T43" fmla="*/ 64 h 70"/>
                  <a:gd name="T44" fmla="*/ 82 w 126"/>
                  <a:gd name="T45" fmla="*/ 64 h 70"/>
                  <a:gd name="T46" fmla="*/ 82 w 126"/>
                  <a:gd name="T47" fmla="*/ 64 h 70"/>
                  <a:gd name="T48" fmla="*/ 94 w 126"/>
                  <a:gd name="T49" fmla="*/ 68 h 70"/>
                  <a:gd name="T50" fmla="*/ 94 w 126"/>
                  <a:gd name="T51" fmla="*/ 68 h 70"/>
                  <a:gd name="T52" fmla="*/ 96 w 126"/>
                  <a:gd name="T53" fmla="*/ 70 h 70"/>
                  <a:gd name="T54" fmla="*/ 96 w 126"/>
                  <a:gd name="T55" fmla="*/ 70 h 70"/>
                  <a:gd name="T56" fmla="*/ 96 w 126"/>
                  <a:gd name="T57" fmla="*/ 70 h 70"/>
                  <a:gd name="T58" fmla="*/ 122 w 126"/>
                  <a:gd name="T59" fmla="*/ 68 h 70"/>
                  <a:gd name="T60" fmla="*/ 122 w 126"/>
                  <a:gd name="T61" fmla="*/ 68 h 70"/>
                  <a:gd name="T62" fmla="*/ 124 w 126"/>
                  <a:gd name="T63" fmla="*/ 66 h 70"/>
                  <a:gd name="T64" fmla="*/ 124 w 126"/>
                  <a:gd name="T65" fmla="*/ 66 h 70"/>
                  <a:gd name="T66" fmla="*/ 126 w 126"/>
                  <a:gd name="T67" fmla="*/ 62 h 70"/>
                  <a:gd name="T68" fmla="*/ 124 w 126"/>
                  <a:gd name="T69" fmla="*/ 52 h 70"/>
                  <a:gd name="T70" fmla="*/ 124 w 126"/>
                  <a:gd name="T71" fmla="*/ 42 h 70"/>
                  <a:gd name="T72" fmla="*/ 124 w 126"/>
                  <a:gd name="T73" fmla="*/ 42 h 70"/>
                  <a:gd name="T74" fmla="*/ 122 w 126"/>
                  <a:gd name="T75" fmla="*/ 40 h 70"/>
                  <a:gd name="T76" fmla="*/ 120 w 126"/>
                  <a:gd name="T77" fmla="*/ 38 h 70"/>
                  <a:gd name="T78" fmla="*/ 98 w 126"/>
                  <a:gd name="T79" fmla="*/ 38 h 70"/>
                  <a:gd name="T80" fmla="*/ 86 w 126"/>
                  <a:gd name="T81" fmla="*/ 34 h 70"/>
                  <a:gd name="T82" fmla="*/ 72 w 126"/>
                  <a:gd name="T83" fmla="*/ 26 h 70"/>
                  <a:gd name="T84" fmla="*/ 60 w 126"/>
                  <a:gd name="T85" fmla="*/ 18 h 70"/>
                  <a:gd name="T86" fmla="*/ 60 w 126"/>
                  <a:gd name="T87" fmla="*/ 18 h 70"/>
                  <a:gd name="T88" fmla="*/ 60 w 126"/>
                  <a:gd name="T89" fmla="*/ 18 h 70"/>
                  <a:gd name="T90" fmla="*/ 46 w 126"/>
                  <a:gd name="T91" fmla="*/ 12 h 70"/>
                  <a:gd name="T92" fmla="*/ 34 w 126"/>
                  <a:gd name="T93" fmla="*/ 0 h 70"/>
                  <a:gd name="T94" fmla="*/ 34 w 126"/>
                  <a:gd name="T95" fmla="*/ 0 h 70"/>
                  <a:gd name="T96" fmla="*/ 32 w 126"/>
                  <a:gd name="T97" fmla="*/ 0 h 70"/>
                  <a:gd name="T98" fmla="*/ 32 w 126"/>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70">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1" name="Freeform 894"/>
              <p:cNvSpPr>
                <a:spLocks/>
              </p:cNvSpPr>
              <p:nvPr/>
            </p:nvSpPr>
            <p:spPr bwMode="auto">
              <a:xfrm>
                <a:off x="4123" y="2111"/>
                <a:ext cx="48" cy="26"/>
              </a:xfrm>
              <a:custGeom>
                <a:avLst/>
                <a:gdLst>
                  <a:gd name="T0" fmla="*/ 14 w 48"/>
                  <a:gd name="T1" fmla="*/ 26 h 26"/>
                  <a:gd name="T2" fmla="*/ 8 w 48"/>
                  <a:gd name="T3" fmla="*/ 24 h 26"/>
                  <a:gd name="T4" fmla="*/ 2 w 48"/>
                  <a:gd name="T5" fmla="*/ 20 h 26"/>
                  <a:gd name="T6" fmla="*/ 2 w 48"/>
                  <a:gd name="T7" fmla="*/ 20 h 26"/>
                  <a:gd name="T8" fmla="*/ 0 w 48"/>
                  <a:gd name="T9" fmla="*/ 20 h 26"/>
                  <a:gd name="T10" fmla="*/ 0 w 48"/>
                  <a:gd name="T11" fmla="*/ 14 h 26"/>
                  <a:gd name="T12" fmla="*/ 0 w 48"/>
                  <a:gd name="T13" fmla="*/ 14 h 26"/>
                  <a:gd name="T14" fmla="*/ 0 w 48"/>
                  <a:gd name="T15" fmla="*/ 12 h 26"/>
                  <a:gd name="T16" fmla="*/ 0 w 48"/>
                  <a:gd name="T17" fmla="*/ 6 h 26"/>
                  <a:gd name="T18" fmla="*/ 0 w 48"/>
                  <a:gd name="T19" fmla="*/ 6 h 26"/>
                  <a:gd name="T20" fmla="*/ 2 w 48"/>
                  <a:gd name="T21" fmla="*/ 4 h 26"/>
                  <a:gd name="T22" fmla="*/ 4 w 48"/>
                  <a:gd name="T23" fmla="*/ 4 h 26"/>
                  <a:gd name="T24" fmla="*/ 8 w 48"/>
                  <a:gd name="T25" fmla="*/ 0 h 26"/>
                  <a:gd name="T26" fmla="*/ 8 w 48"/>
                  <a:gd name="T27" fmla="*/ 0 h 26"/>
                  <a:gd name="T28" fmla="*/ 10 w 48"/>
                  <a:gd name="T29" fmla="*/ 0 h 26"/>
                  <a:gd name="T30" fmla="*/ 18 w 48"/>
                  <a:gd name="T31" fmla="*/ 0 h 26"/>
                  <a:gd name="T32" fmla="*/ 30 w 48"/>
                  <a:gd name="T33" fmla="*/ 2 h 26"/>
                  <a:gd name="T34" fmla="*/ 42 w 48"/>
                  <a:gd name="T35" fmla="*/ 4 h 26"/>
                  <a:gd name="T36" fmla="*/ 42 w 48"/>
                  <a:gd name="T37" fmla="*/ 4 h 26"/>
                  <a:gd name="T38" fmla="*/ 44 w 48"/>
                  <a:gd name="T39" fmla="*/ 6 h 26"/>
                  <a:gd name="T40" fmla="*/ 48 w 48"/>
                  <a:gd name="T41" fmla="*/ 14 h 26"/>
                  <a:gd name="T42" fmla="*/ 48 w 48"/>
                  <a:gd name="T43" fmla="*/ 14 h 26"/>
                  <a:gd name="T44" fmla="*/ 48 w 48"/>
                  <a:gd name="T45" fmla="*/ 16 h 26"/>
                  <a:gd name="T46" fmla="*/ 44 w 48"/>
                  <a:gd name="T47" fmla="*/ 22 h 26"/>
                  <a:gd name="T48" fmla="*/ 44 w 48"/>
                  <a:gd name="T49" fmla="*/ 22 h 26"/>
                  <a:gd name="T50" fmla="*/ 42 w 48"/>
                  <a:gd name="T51" fmla="*/ 22 h 26"/>
                  <a:gd name="T52" fmla="*/ 30 w 48"/>
                  <a:gd name="T53" fmla="*/ 24 h 26"/>
                  <a:gd name="T54" fmla="*/ 30 w 48"/>
                  <a:gd name="T55" fmla="*/ 24 h 26"/>
                  <a:gd name="T56" fmla="*/ 16 w 48"/>
                  <a:gd name="T57" fmla="*/ 26 h 26"/>
                  <a:gd name="T58" fmla="*/ 16 w 48"/>
                  <a:gd name="T59" fmla="*/ 26 h 26"/>
                  <a:gd name="T60" fmla="*/ 14 w 48"/>
                  <a:gd name="T61" fmla="*/ 26 h 26"/>
                  <a:gd name="T62" fmla="*/ 14 w 48"/>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26">
                    <a:moveTo>
                      <a:pt x="14" y="26"/>
                    </a:moveTo>
                    <a:lnTo>
                      <a:pt x="8" y="24"/>
                    </a:lnTo>
                    <a:lnTo>
                      <a:pt x="2" y="20"/>
                    </a:lnTo>
                    <a:lnTo>
                      <a:pt x="2" y="20"/>
                    </a:lnTo>
                    <a:lnTo>
                      <a:pt x="0" y="20"/>
                    </a:lnTo>
                    <a:lnTo>
                      <a:pt x="0" y="14"/>
                    </a:lnTo>
                    <a:lnTo>
                      <a:pt x="0" y="14"/>
                    </a:lnTo>
                    <a:lnTo>
                      <a:pt x="0" y="12"/>
                    </a:lnTo>
                    <a:lnTo>
                      <a:pt x="0" y="6"/>
                    </a:lnTo>
                    <a:lnTo>
                      <a:pt x="0" y="6"/>
                    </a:lnTo>
                    <a:lnTo>
                      <a:pt x="2" y="4"/>
                    </a:lnTo>
                    <a:lnTo>
                      <a:pt x="4" y="4"/>
                    </a:lnTo>
                    <a:lnTo>
                      <a:pt x="8" y="0"/>
                    </a:lnTo>
                    <a:lnTo>
                      <a:pt x="8" y="0"/>
                    </a:lnTo>
                    <a:lnTo>
                      <a:pt x="10" y="0"/>
                    </a:lnTo>
                    <a:lnTo>
                      <a:pt x="18" y="0"/>
                    </a:lnTo>
                    <a:lnTo>
                      <a:pt x="30" y="2"/>
                    </a:lnTo>
                    <a:lnTo>
                      <a:pt x="42" y="4"/>
                    </a:lnTo>
                    <a:lnTo>
                      <a:pt x="42" y="4"/>
                    </a:lnTo>
                    <a:lnTo>
                      <a:pt x="44" y="6"/>
                    </a:lnTo>
                    <a:lnTo>
                      <a:pt x="48" y="14"/>
                    </a:lnTo>
                    <a:lnTo>
                      <a:pt x="48" y="14"/>
                    </a:lnTo>
                    <a:lnTo>
                      <a:pt x="48" y="16"/>
                    </a:lnTo>
                    <a:lnTo>
                      <a:pt x="44" y="22"/>
                    </a:lnTo>
                    <a:lnTo>
                      <a:pt x="44" y="22"/>
                    </a:lnTo>
                    <a:lnTo>
                      <a:pt x="42" y="22"/>
                    </a:lnTo>
                    <a:lnTo>
                      <a:pt x="30" y="24"/>
                    </a:lnTo>
                    <a:lnTo>
                      <a:pt x="30" y="24"/>
                    </a:lnTo>
                    <a:lnTo>
                      <a:pt x="16" y="26"/>
                    </a:lnTo>
                    <a:lnTo>
                      <a:pt x="16"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2" name="Freeform 895"/>
              <p:cNvSpPr>
                <a:spLocks noEditPoints="1"/>
              </p:cNvSpPr>
              <p:nvPr/>
            </p:nvSpPr>
            <p:spPr bwMode="auto">
              <a:xfrm>
                <a:off x="4121" y="2109"/>
                <a:ext cx="52" cy="30"/>
              </a:xfrm>
              <a:custGeom>
                <a:avLst/>
                <a:gdLst>
                  <a:gd name="T0" fmla="*/ 20 w 52"/>
                  <a:gd name="T1" fmla="*/ 4 h 30"/>
                  <a:gd name="T2" fmla="*/ 32 w 52"/>
                  <a:gd name="T3" fmla="*/ 6 h 30"/>
                  <a:gd name="T4" fmla="*/ 44 w 52"/>
                  <a:gd name="T5" fmla="*/ 8 h 30"/>
                  <a:gd name="T6" fmla="*/ 48 w 52"/>
                  <a:gd name="T7" fmla="*/ 16 h 30"/>
                  <a:gd name="T8" fmla="*/ 44 w 52"/>
                  <a:gd name="T9" fmla="*/ 22 h 30"/>
                  <a:gd name="T10" fmla="*/ 32 w 52"/>
                  <a:gd name="T11" fmla="*/ 24 h 30"/>
                  <a:gd name="T12" fmla="*/ 18 w 52"/>
                  <a:gd name="T13" fmla="*/ 26 h 30"/>
                  <a:gd name="T14" fmla="*/ 10 w 52"/>
                  <a:gd name="T15" fmla="*/ 24 h 30"/>
                  <a:gd name="T16" fmla="*/ 4 w 52"/>
                  <a:gd name="T17" fmla="*/ 20 h 30"/>
                  <a:gd name="T18" fmla="*/ 2 w 52"/>
                  <a:gd name="T19" fmla="*/ 16 h 30"/>
                  <a:gd name="T20" fmla="*/ 4 w 52"/>
                  <a:gd name="T21" fmla="*/ 8 h 30"/>
                  <a:gd name="T22" fmla="*/ 6 w 52"/>
                  <a:gd name="T23" fmla="*/ 8 h 30"/>
                  <a:gd name="T24" fmla="*/ 12 w 52"/>
                  <a:gd name="T25" fmla="*/ 4 h 30"/>
                  <a:gd name="T26" fmla="*/ 20 w 52"/>
                  <a:gd name="T27" fmla="*/ 4 h 30"/>
                  <a:gd name="T28" fmla="*/ 20 w 52"/>
                  <a:gd name="T29" fmla="*/ 0 h 30"/>
                  <a:gd name="T30" fmla="*/ 12 w 52"/>
                  <a:gd name="T31" fmla="*/ 0 h 30"/>
                  <a:gd name="T32" fmla="*/ 12 w 52"/>
                  <a:gd name="T33" fmla="*/ 0 h 30"/>
                  <a:gd name="T34" fmla="*/ 10 w 52"/>
                  <a:gd name="T35" fmla="*/ 0 h 30"/>
                  <a:gd name="T36" fmla="*/ 4 w 52"/>
                  <a:gd name="T37" fmla="*/ 4 h 30"/>
                  <a:gd name="T38" fmla="*/ 4 w 52"/>
                  <a:gd name="T39" fmla="*/ 4 h 30"/>
                  <a:gd name="T40" fmla="*/ 4 w 52"/>
                  <a:gd name="T41" fmla="*/ 4 h 30"/>
                  <a:gd name="T42" fmla="*/ 2 w 52"/>
                  <a:gd name="T43" fmla="*/ 6 h 30"/>
                  <a:gd name="T44" fmla="*/ 0 w 52"/>
                  <a:gd name="T45" fmla="*/ 8 h 30"/>
                  <a:gd name="T46" fmla="*/ 0 w 52"/>
                  <a:gd name="T47" fmla="*/ 14 h 30"/>
                  <a:gd name="T48" fmla="*/ 0 w 52"/>
                  <a:gd name="T49" fmla="*/ 14 h 30"/>
                  <a:gd name="T50" fmla="*/ 0 w 52"/>
                  <a:gd name="T51" fmla="*/ 16 h 30"/>
                  <a:gd name="T52" fmla="*/ 0 w 52"/>
                  <a:gd name="T53" fmla="*/ 22 h 30"/>
                  <a:gd name="T54" fmla="*/ 0 w 52"/>
                  <a:gd name="T55" fmla="*/ 22 h 30"/>
                  <a:gd name="T56" fmla="*/ 2 w 52"/>
                  <a:gd name="T57" fmla="*/ 24 h 30"/>
                  <a:gd name="T58" fmla="*/ 8 w 52"/>
                  <a:gd name="T59" fmla="*/ 28 h 30"/>
                  <a:gd name="T60" fmla="*/ 8 w 52"/>
                  <a:gd name="T61" fmla="*/ 28 h 30"/>
                  <a:gd name="T62" fmla="*/ 10 w 52"/>
                  <a:gd name="T63" fmla="*/ 28 h 30"/>
                  <a:gd name="T64" fmla="*/ 16 w 52"/>
                  <a:gd name="T65" fmla="*/ 30 h 30"/>
                  <a:gd name="T66" fmla="*/ 16 w 52"/>
                  <a:gd name="T67" fmla="*/ 30 h 30"/>
                  <a:gd name="T68" fmla="*/ 18 w 52"/>
                  <a:gd name="T69" fmla="*/ 30 h 30"/>
                  <a:gd name="T70" fmla="*/ 18 w 52"/>
                  <a:gd name="T71" fmla="*/ 30 h 30"/>
                  <a:gd name="T72" fmla="*/ 18 w 52"/>
                  <a:gd name="T73" fmla="*/ 30 h 30"/>
                  <a:gd name="T74" fmla="*/ 32 w 52"/>
                  <a:gd name="T75" fmla="*/ 28 h 30"/>
                  <a:gd name="T76" fmla="*/ 44 w 52"/>
                  <a:gd name="T77" fmla="*/ 26 h 30"/>
                  <a:gd name="T78" fmla="*/ 44 w 52"/>
                  <a:gd name="T79" fmla="*/ 26 h 30"/>
                  <a:gd name="T80" fmla="*/ 48 w 52"/>
                  <a:gd name="T81" fmla="*/ 24 h 30"/>
                  <a:gd name="T82" fmla="*/ 52 w 52"/>
                  <a:gd name="T83" fmla="*/ 20 h 30"/>
                  <a:gd name="T84" fmla="*/ 52 w 52"/>
                  <a:gd name="T85" fmla="*/ 20 h 30"/>
                  <a:gd name="T86" fmla="*/ 52 w 52"/>
                  <a:gd name="T87" fmla="*/ 16 h 30"/>
                  <a:gd name="T88" fmla="*/ 48 w 52"/>
                  <a:gd name="T89" fmla="*/ 6 h 30"/>
                  <a:gd name="T90" fmla="*/ 48 w 52"/>
                  <a:gd name="T91" fmla="*/ 6 h 30"/>
                  <a:gd name="T92" fmla="*/ 44 w 52"/>
                  <a:gd name="T93" fmla="*/ 4 h 30"/>
                  <a:gd name="T94" fmla="*/ 32 w 52"/>
                  <a:gd name="T95" fmla="*/ 2 h 30"/>
                  <a:gd name="T96" fmla="*/ 22 w 52"/>
                  <a:gd name="T97" fmla="*/ 0 h 30"/>
                  <a:gd name="T98" fmla="*/ 22 w 52"/>
                  <a:gd name="T99" fmla="*/ 0 h 30"/>
                  <a:gd name="T100" fmla="*/ 20 w 52"/>
                  <a:gd name="T101" fmla="*/ 0 h 30"/>
                  <a:gd name="T102" fmla="*/ 20 w 5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30">
                    <a:moveTo>
                      <a:pt x="20" y="4"/>
                    </a:moveTo>
                    <a:lnTo>
                      <a:pt x="32" y="6"/>
                    </a:lnTo>
                    <a:lnTo>
                      <a:pt x="44" y="8"/>
                    </a:lnTo>
                    <a:lnTo>
                      <a:pt x="48" y="16"/>
                    </a:lnTo>
                    <a:lnTo>
                      <a:pt x="44" y="22"/>
                    </a:lnTo>
                    <a:lnTo>
                      <a:pt x="32" y="24"/>
                    </a:lnTo>
                    <a:lnTo>
                      <a:pt x="18" y="26"/>
                    </a:lnTo>
                    <a:lnTo>
                      <a:pt x="10" y="24"/>
                    </a:lnTo>
                    <a:lnTo>
                      <a:pt x="4" y="20"/>
                    </a:lnTo>
                    <a:lnTo>
                      <a:pt x="2" y="16"/>
                    </a:lnTo>
                    <a:lnTo>
                      <a:pt x="4" y="8"/>
                    </a:lnTo>
                    <a:lnTo>
                      <a:pt x="6" y="8"/>
                    </a:lnTo>
                    <a:lnTo>
                      <a:pt x="12" y="4"/>
                    </a:lnTo>
                    <a:lnTo>
                      <a:pt x="20" y="4"/>
                    </a:lnTo>
                    <a:close/>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3" name="Freeform 896"/>
              <p:cNvSpPr>
                <a:spLocks/>
              </p:cNvSpPr>
              <p:nvPr/>
            </p:nvSpPr>
            <p:spPr bwMode="auto">
              <a:xfrm>
                <a:off x="4123" y="2113"/>
                <a:ext cx="46" cy="22"/>
              </a:xfrm>
              <a:custGeom>
                <a:avLst/>
                <a:gdLst>
                  <a:gd name="T0" fmla="*/ 18 w 46"/>
                  <a:gd name="T1" fmla="*/ 0 h 22"/>
                  <a:gd name="T2" fmla="*/ 30 w 46"/>
                  <a:gd name="T3" fmla="*/ 2 h 22"/>
                  <a:gd name="T4" fmla="*/ 42 w 46"/>
                  <a:gd name="T5" fmla="*/ 4 h 22"/>
                  <a:gd name="T6" fmla="*/ 46 w 46"/>
                  <a:gd name="T7" fmla="*/ 12 h 22"/>
                  <a:gd name="T8" fmla="*/ 42 w 46"/>
                  <a:gd name="T9" fmla="*/ 18 h 22"/>
                  <a:gd name="T10" fmla="*/ 30 w 46"/>
                  <a:gd name="T11" fmla="*/ 20 h 22"/>
                  <a:gd name="T12" fmla="*/ 16 w 46"/>
                  <a:gd name="T13" fmla="*/ 22 h 22"/>
                  <a:gd name="T14" fmla="*/ 8 w 46"/>
                  <a:gd name="T15" fmla="*/ 20 h 22"/>
                  <a:gd name="T16" fmla="*/ 2 w 46"/>
                  <a:gd name="T17" fmla="*/ 16 h 22"/>
                  <a:gd name="T18" fmla="*/ 0 w 46"/>
                  <a:gd name="T19" fmla="*/ 12 h 22"/>
                  <a:gd name="T20" fmla="*/ 2 w 46"/>
                  <a:gd name="T21" fmla="*/ 4 h 22"/>
                  <a:gd name="T22" fmla="*/ 4 w 46"/>
                  <a:gd name="T23" fmla="*/ 4 h 22"/>
                  <a:gd name="T24" fmla="*/ 10 w 46"/>
                  <a:gd name="T25" fmla="*/ 0 h 22"/>
                  <a:gd name="T26" fmla="*/ 18 w 46"/>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2">
                    <a:moveTo>
                      <a:pt x="18" y="0"/>
                    </a:moveTo>
                    <a:lnTo>
                      <a:pt x="30" y="2"/>
                    </a:lnTo>
                    <a:lnTo>
                      <a:pt x="42" y="4"/>
                    </a:lnTo>
                    <a:lnTo>
                      <a:pt x="46" y="12"/>
                    </a:lnTo>
                    <a:lnTo>
                      <a:pt x="42" y="18"/>
                    </a:lnTo>
                    <a:lnTo>
                      <a:pt x="30" y="20"/>
                    </a:lnTo>
                    <a:lnTo>
                      <a:pt x="16" y="22"/>
                    </a:lnTo>
                    <a:lnTo>
                      <a:pt x="8" y="20"/>
                    </a:lnTo>
                    <a:lnTo>
                      <a:pt x="2" y="16"/>
                    </a:lnTo>
                    <a:lnTo>
                      <a:pt x="0" y="12"/>
                    </a:lnTo>
                    <a:lnTo>
                      <a:pt x="2" y="4"/>
                    </a:lnTo>
                    <a:lnTo>
                      <a:pt x="4" y="4"/>
                    </a:lnTo>
                    <a:lnTo>
                      <a:pt x="10"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4" name="Freeform 897"/>
              <p:cNvSpPr>
                <a:spLocks/>
              </p:cNvSpPr>
              <p:nvPr/>
            </p:nvSpPr>
            <p:spPr bwMode="auto">
              <a:xfrm>
                <a:off x="4121" y="2109"/>
                <a:ext cx="52" cy="30"/>
              </a:xfrm>
              <a:custGeom>
                <a:avLst/>
                <a:gdLst>
                  <a:gd name="T0" fmla="*/ 20 w 52"/>
                  <a:gd name="T1" fmla="*/ 0 h 30"/>
                  <a:gd name="T2" fmla="*/ 12 w 52"/>
                  <a:gd name="T3" fmla="*/ 0 h 30"/>
                  <a:gd name="T4" fmla="*/ 12 w 52"/>
                  <a:gd name="T5" fmla="*/ 0 h 30"/>
                  <a:gd name="T6" fmla="*/ 10 w 52"/>
                  <a:gd name="T7" fmla="*/ 0 h 30"/>
                  <a:gd name="T8" fmla="*/ 4 w 52"/>
                  <a:gd name="T9" fmla="*/ 4 h 30"/>
                  <a:gd name="T10" fmla="*/ 4 w 52"/>
                  <a:gd name="T11" fmla="*/ 4 h 30"/>
                  <a:gd name="T12" fmla="*/ 4 w 52"/>
                  <a:gd name="T13" fmla="*/ 4 h 30"/>
                  <a:gd name="T14" fmla="*/ 2 w 52"/>
                  <a:gd name="T15" fmla="*/ 6 h 30"/>
                  <a:gd name="T16" fmla="*/ 0 w 52"/>
                  <a:gd name="T17" fmla="*/ 8 h 30"/>
                  <a:gd name="T18" fmla="*/ 0 w 52"/>
                  <a:gd name="T19" fmla="*/ 14 h 30"/>
                  <a:gd name="T20" fmla="*/ 0 w 52"/>
                  <a:gd name="T21" fmla="*/ 14 h 30"/>
                  <a:gd name="T22" fmla="*/ 0 w 52"/>
                  <a:gd name="T23" fmla="*/ 16 h 30"/>
                  <a:gd name="T24" fmla="*/ 0 w 52"/>
                  <a:gd name="T25" fmla="*/ 22 h 30"/>
                  <a:gd name="T26" fmla="*/ 0 w 52"/>
                  <a:gd name="T27" fmla="*/ 22 h 30"/>
                  <a:gd name="T28" fmla="*/ 2 w 52"/>
                  <a:gd name="T29" fmla="*/ 24 h 30"/>
                  <a:gd name="T30" fmla="*/ 8 w 52"/>
                  <a:gd name="T31" fmla="*/ 28 h 30"/>
                  <a:gd name="T32" fmla="*/ 8 w 52"/>
                  <a:gd name="T33" fmla="*/ 28 h 30"/>
                  <a:gd name="T34" fmla="*/ 10 w 52"/>
                  <a:gd name="T35" fmla="*/ 28 h 30"/>
                  <a:gd name="T36" fmla="*/ 16 w 52"/>
                  <a:gd name="T37" fmla="*/ 30 h 30"/>
                  <a:gd name="T38" fmla="*/ 16 w 52"/>
                  <a:gd name="T39" fmla="*/ 30 h 30"/>
                  <a:gd name="T40" fmla="*/ 18 w 52"/>
                  <a:gd name="T41" fmla="*/ 30 h 30"/>
                  <a:gd name="T42" fmla="*/ 18 w 52"/>
                  <a:gd name="T43" fmla="*/ 30 h 30"/>
                  <a:gd name="T44" fmla="*/ 18 w 52"/>
                  <a:gd name="T45" fmla="*/ 30 h 30"/>
                  <a:gd name="T46" fmla="*/ 32 w 52"/>
                  <a:gd name="T47" fmla="*/ 28 h 30"/>
                  <a:gd name="T48" fmla="*/ 44 w 52"/>
                  <a:gd name="T49" fmla="*/ 26 h 30"/>
                  <a:gd name="T50" fmla="*/ 44 w 52"/>
                  <a:gd name="T51" fmla="*/ 26 h 30"/>
                  <a:gd name="T52" fmla="*/ 48 w 52"/>
                  <a:gd name="T53" fmla="*/ 24 h 30"/>
                  <a:gd name="T54" fmla="*/ 52 w 52"/>
                  <a:gd name="T55" fmla="*/ 20 h 30"/>
                  <a:gd name="T56" fmla="*/ 52 w 52"/>
                  <a:gd name="T57" fmla="*/ 20 h 30"/>
                  <a:gd name="T58" fmla="*/ 52 w 52"/>
                  <a:gd name="T59" fmla="*/ 16 h 30"/>
                  <a:gd name="T60" fmla="*/ 48 w 52"/>
                  <a:gd name="T61" fmla="*/ 6 h 30"/>
                  <a:gd name="T62" fmla="*/ 48 w 52"/>
                  <a:gd name="T63" fmla="*/ 6 h 30"/>
                  <a:gd name="T64" fmla="*/ 44 w 52"/>
                  <a:gd name="T65" fmla="*/ 4 h 30"/>
                  <a:gd name="T66" fmla="*/ 32 w 52"/>
                  <a:gd name="T67" fmla="*/ 2 h 30"/>
                  <a:gd name="T68" fmla="*/ 22 w 52"/>
                  <a:gd name="T69" fmla="*/ 0 h 30"/>
                  <a:gd name="T70" fmla="*/ 22 w 52"/>
                  <a:gd name="T71" fmla="*/ 0 h 30"/>
                  <a:gd name="T72" fmla="*/ 20 w 52"/>
                  <a:gd name="T73" fmla="*/ 0 h 30"/>
                  <a:gd name="T74" fmla="*/ 20 w 52"/>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30">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5" name="Freeform 898"/>
              <p:cNvSpPr>
                <a:spLocks/>
              </p:cNvSpPr>
              <p:nvPr/>
            </p:nvSpPr>
            <p:spPr bwMode="auto">
              <a:xfrm>
                <a:off x="4111" y="2139"/>
                <a:ext cx="66" cy="82"/>
              </a:xfrm>
              <a:custGeom>
                <a:avLst/>
                <a:gdLst>
                  <a:gd name="T0" fmla="*/ 58 w 66"/>
                  <a:gd name="T1" fmla="*/ 82 h 82"/>
                  <a:gd name="T2" fmla="*/ 52 w 66"/>
                  <a:gd name="T3" fmla="*/ 74 h 82"/>
                  <a:gd name="T4" fmla="*/ 48 w 66"/>
                  <a:gd name="T5" fmla="*/ 58 h 82"/>
                  <a:gd name="T6" fmla="*/ 38 w 66"/>
                  <a:gd name="T7" fmla="*/ 52 h 82"/>
                  <a:gd name="T8" fmla="*/ 36 w 66"/>
                  <a:gd name="T9" fmla="*/ 66 h 82"/>
                  <a:gd name="T10" fmla="*/ 34 w 66"/>
                  <a:gd name="T11" fmla="*/ 68 h 82"/>
                  <a:gd name="T12" fmla="*/ 14 w 66"/>
                  <a:gd name="T13" fmla="*/ 68 h 82"/>
                  <a:gd name="T14" fmla="*/ 6 w 66"/>
                  <a:gd name="T15" fmla="*/ 36 h 82"/>
                  <a:gd name="T16" fmla="*/ 2 w 66"/>
                  <a:gd name="T17" fmla="*/ 32 h 82"/>
                  <a:gd name="T18" fmla="*/ 0 w 66"/>
                  <a:gd name="T19" fmla="*/ 24 h 82"/>
                  <a:gd name="T20" fmla="*/ 0 w 66"/>
                  <a:gd name="T21" fmla="*/ 22 h 82"/>
                  <a:gd name="T22" fmla="*/ 4 w 66"/>
                  <a:gd name="T23" fmla="*/ 14 h 82"/>
                  <a:gd name="T24" fmla="*/ 4 w 66"/>
                  <a:gd name="T25" fmla="*/ 12 h 82"/>
                  <a:gd name="T26" fmla="*/ 4 w 66"/>
                  <a:gd name="T27" fmla="*/ 6 h 82"/>
                  <a:gd name="T28" fmla="*/ 10 w 66"/>
                  <a:gd name="T29" fmla="*/ 0 h 82"/>
                  <a:gd name="T30" fmla="*/ 10 w 66"/>
                  <a:gd name="T31" fmla="*/ 0 h 82"/>
                  <a:gd name="T32" fmla="*/ 10 w 66"/>
                  <a:gd name="T33" fmla="*/ 0 h 82"/>
                  <a:gd name="T34" fmla="*/ 12 w 66"/>
                  <a:gd name="T35" fmla="*/ 0 h 82"/>
                  <a:gd name="T36" fmla="*/ 24 w 66"/>
                  <a:gd name="T37" fmla="*/ 8 h 82"/>
                  <a:gd name="T38" fmla="*/ 24 w 66"/>
                  <a:gd name="T39" fmla="*/ 8 h 82"/>
                  <a:gd name="T40" fmla="*/ 58 w 66"/>
                  <a:gd name="T41" fmla="*/ 18 h 82"/>
                  <a:gd name="T42" fmla="*/ 60 w 66"/>
                  <a:gd name="T43" fmla="*/ 20 h 82"/>
                  <a:gd name="T44" fmla="*/ 60 w 66"/>
                  <a:gd name="T45" fmla="*/ 30 h 82"/>
                  <a:gd name="T46" fmla="*/ 48 w 66"/>
                  <a:gd name="T47" fmla="*/ 38 h 82"/>
                  <a:gd name="T48" fmla="*/ 46 w 66"/>
                  <a:gd name="T49" fmla="*/ 48 h 82"/>
                  <a:gd name="T50" fmla="*/ 52 w 66"/>
                  <a:gd name="T51" fmla="*/ 40 h 82"/>
                  <a:gd name="T52" fmla="*/ 54 w 66"/>
                  <a:gd name="T53" fmla="*/ 40 h 82"/>
                  <a:gd name="T54" fmla="*/ 54 w 66"/>
                  <a:gd name="T55" fmla="*/ 40 h 82"/>
                  <a:gd name="T56" fmla="*/ 64 w 66"/>
                  <a:gd name="T57" fmla="*/ 42 h 82"/>
                  <a:gd name="T58" fmla="*/ 64 w 66"/>
                  <a:gd name="T59" fmla="*/ 54 h 82"/>
                  <a:gd name="T60" fmla="*/ 66 w 66"/>
                  <a:gd name="T61" fmla="*/ 66 h 82"/>
                  <a:gd name="T62" fmla="*/ 66 w 66"/>
                  <a:gd name="T63" fmla="*/ 76 h 82"/>
                  <a:gd name="T64" fmla="*/ 60 w 66"/>
                  <a:gd name="T65" fmla="*/ 82 h 82"/>
                  <a:gd name="T66" fmla="*/ 58 w 66"/>
                  <a:gd name="T67" fmla="*/ 82 h 82"/>
                  <a:gd name="T68" fmla="*/ 58 w 66"/>
                  <a:gd name="T6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58" y="82"/>
                    </a:moveTo>
                    <a:lnTo>
                      <a:pt x="58" y="82"/>
                    </a:lnTo>
                    <a:lnTo>
                      <a:pt x="56" y="80"/>
                    </a:lnTo>
                    <a:lnTo>
                      <a:pt x="52" y="74"/>
                    </a:lnTo>
                    <a:lnTo>
                      <a:pt x="50" y="62"/>
                    </a:lnTo>
                    <a:lnTo>
                      <a:pt x="48" y="58"/>
                    </a:lnTo>
                    <a:lnTo>
                      <a:pt x="44" y="58"/>
                    </a:lnTo>
                    <a:lnTo>
                      <a:pt x="38" y="52"/>
                    </a:lnTo>
                    <a:lnTo>
                      <a:pt x="36" y="56"/>
                    </a:lnTo>
                    <a:lnTo>
                      <a:pt x="36" y="66"/>
                    </a:lnTo>
                    <a:lnTo>
                      <a:pt x="36" y="66"/>
                    </a:lnTo>
                    <a:lnTo>
                      <a:pt x="34" y="68"/>
                    </a:lnTo>
                    <a:lnTo>
                      <a:pt x="14" y="68"/>
                    </a:lnTo>
                    <a:lnTo>
                      <a:pt x="14" y="68"/>
                    </a:lnTo>
                    <a:lnTo>
                      <a:pt x="12" y="66"/>
                    </a:lnTo>
                    <a:lnTo>
                      <a:pt x="6" y="36"/>
                    </a:lnTo>
                    <a:lnTo>
                      <a:pt x="2" y="32"/>
                    </a:lnTo>
                    <a:lnTo>
                      <a:pt x="2" y="32"/>
                    </a:lnTo>
                    <a:lnTo>
                      <a:pt x="2" y="32"/>
                    </a:lnTo>
                    <a:lnTo>
                      <a:pt x="0" y="24"/>
                    </a:lnTo>
                    <a:lnTo>
                      <a:pt x="0" y="24"/>
                    </a:lnTo>
                    <a:lnTo>
                      <a:pt x="0" y="22"/>
                    </a:lnTo>
                    <a:lnTo>
                      <a:pt x="8" y="18"/>
                    </a:lnTo>
                    <a:lnTo>
                      <a:pt x="4" y="14"/>
                    </a:lnTo>
                    <a:lnTo>
                      <a:pt x="4" y="14"/>
                    </a:lnTo>
                    <a:lnTo>
                      <a:pt x="4" y="12"/>
                    </a:lnTo>
                    <a:lnTo>
                      <a:pt x="4" y="6"/>
                    </a:lnTo>
                    <a:lnTo>
                      <a:pt x="4" y="6"/>
                    </a:lnTo>
                    <a:lnTo>
                      <a:pt x="4" y="4"/>
                    </a:lnTo>
                    <a:lnTo>
                      <a:pt x="10" y="0"/>
                    </a:lnTo>
                    <a:lnTo>
                      <a:pt x="10" y="0"/>
                    </a:lnTo>
                    <a:lnTo>
                      <a:pt x="10" y="0"/>
                    </a:lnTo>
                    <a:lnTo>
                      <a:pt x="10" y="0"/>
                    </a:lnTo>
                    <a:lnTo>
                      <a:pt x="10" y="0"/>
                    </a:lnTo>
                    <a:lnTo>
                      <a:pt x="10" y="0"/>
                    </a:lnTo>
                    <a:lnTo>
                      <a:pt x="12" y="0"/>
                    </a:lnTo>
                    <a:lnTo>
                      <a:pt x="16" y="4"/>
                    </a:lnTo>
                    <a:lnTo>
                      <a:pt x="24" y="8"/>
                    </a:lnTo>
                    <a:lnTo>
                      <a:pt x="24" y="8"/>
                    </a:lnTo>
                    <a:lnTo>
                      <a:pt x="24" y="8"/>
                    </a:lnTo>
                    <a:lnTo>
                      <a:pt x="30" y="18"/>
                    </a:lnTo>
                    <a:lnTo>
                      <a:pt x="58" y="18"/>
                    </a:lnTo>
                    <a:lnTo>
                      <a:pt x="58" y="18"/>
                    </a:lnTo>
                    <a:lnTo>
                      <a:pt x="60" y="20"/>
                    </a:lnTo>
                    <a:lnTo>
                      <a:pt x="60" y="30"/>
                    </a:lnTo>
                    <a:lnTo>
                      <a:pt x="60" y="30"/>
                    </a:lnTo>
                    <a:lnTo>
                      <a:pt x="58" y="32"/>
                    </a:lnTo>
                    <a:lnTo>
                      <a:pt x="48" y="38"/>
                    </a:lnTo>
                    <a:lnTo>
                      <a:pt x="46" y="42"/>
                    </a:lnTo>
                    <a:lnTo>
                      <a:pt x="46" y="48"/>
                    </a:lnTo>
                    <a:lnTo>
                      <a:pt x="50" y="48"/>
                    </a:lnTo>
                    <a:lnTo>
                      <a:pt x="52" y="40"/>
                    </a:lnTo>
                    <a:lnTo>
                      <a:pt x="52" y="40"/>
                    </a:lnTo>
                    <a:lnTo>
                      <a:pt x="54" y="40"/>
                    </a:lnTo>
                    <a:lnTo>
                      <a:pt x="54" y="40"/>
                    </a:lnTo>
                    <a:lnTo>
                      <a:pt x="54" y="40"/>
                    </a:lnTo>
                    <a:lnTo>
                      <a:pt x="64" y="42"/>
                    </a:lnTo>
                    <a:lnTo>
                      <a:pt x="64" y="42"/>
                    </a:lnTo>
                    <a:lnTo>
                      <a:pt x="66" y="44"/>
                    </a:lnTo>
                    <a:lnTo>
                      <a:pt x="64" y="54"/>
                    </a:lnTo>
                    <a:lnTo>
                      <a:pt x="64" y="62"/>
                    </a:lnTo>
                    <a:lnTo>
                      <a:pt x="66" y="66"/>
                    </a:lnTo>
                    <a:lnTo>
                      <a:pt x="66" y="76"/>
                    </a:lnTo>
                    <a:lnTo>
                      <a:pt x="66" y="76"/>
                    </a:lnTo>
                    <a:lnTo>
                      <a:pt x="64" y="78"/>
                    </a:lnTo>
                    <a:lnTo>
                      <a:pt x="60" y="82"/>
                    </a:lnTo>
                    <a:lnTo>
                      <a:pt x="60" y="82"/>
                    </a:lnTo>
                    <a:lnTo>
                      <a:pt x="58" y="82"/>
                    </a:lnTo>
                    <a:lnTo>
                      <a:pt x="58" y="82"/>
                    </a:lnTo>
                    <a:lnTo>
                      <a:pt x="58" y="82"/>
                    </a:lnTo>
                    <a:lnTo>
                      <a:pt x="5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6" name="Freeform 899"/>
              <p:cNvSpPr>
                <a:spLocks noEditPoints="1"/>
              </p:cNvSpPr>
              <p:nvPr/>
            </p:nvSpPr>
            <p:spPr bwMode="auto">
              <a:xfrm>
                <a:off x="4109" y="2137"/>
                <a:ext cx="70" cy="86"/>
              </a:xfrm>
              <a:custGeom>
                <a:avLst/>
                <a:gdLst>
                  <a:gd name="T0" fmla="*/ 16 w 70"/>
                  <a:gd name="T1" fmla="*/ 8 h 86"/>
                  <a:gd name="T2" fmla="*/ 30 w 70"/>
                  <a:gd name="T3" fmla="*/ 22 h 86"/>
                  <a:gd name="T4" fmla="*/ 60 w 70"/>
                  <a:gd name="T5" fmla="*/ 32 h 86"/>
                  <a:gd name="T6" fmla="*/ 50 w 70"/>
                  <a:gd name="T7" fmla="*/ 38 h 86"/>
                  <a:gd name="T8" fmla="*/ 46 w 70"/>
                  <a:gd name="T9" fmla="*/ 46 h 86"/>
                  <a:gd name="T10" fmla="*/ 54 w 70"/>
                  <a:gd name="T11" fmla="*/ 54 h 86"/>
                  <a:gd name="T12" fmla="*/ 66 w 70"/>
                  <a:gd name="T13" fmla="*/ 46 h 86"/>
                  <a:gd name="T14" fmla="*/ 64 w 70"/>
                  <a:gd name="T15" fmla="*/ 64 h 86"/>
                  <a:gd name="T16" fmla="*/ 66 w 70"/>
                  <a:gd name="T17" fmla="*/ 78 h 86"/>
                  <a:gd name="T18" fmla="*/ 56 w 70"/>
                  <a:gd name="T19" fmla="*/ 74 h 86"/>
                  <a:gd name="T20" fmla="*/ 52 w 70"/>
                  <a:gd name="T21" fmla="*/ 60 h 86"/>
                  <a:gd name="T22" fmla="*/ 38 w 70"/>
                  <a:gd name="T23" fmla="*/ 52 h 86"/>
                  <a:gd name="T24" fmla="*/ 36 w 70"/>
                  <a:gd name="T25" fmla="*/ 68 h 86"/>
                  <a:gd name="T26" fmla="*/ 16 w 70"/>
                  <a:gd name="T27" fmla="*/ 68 h 86"/>
                  <a:gd name="T28" fmla="*/ 10 w 70"/>
                  <a:gd name="T29" fmla="*/ 36 h 86"/>
                  <a:gd name="T30" fmla="*/ 4 w 70"/>
                  <a:gd name="T31" fmla="*/ 26 h 86"/>
                  <a:gd name="T32" fmla="*/ 8 w 70"/>
                  <a:gd name="T33" fmla="*/ 14 h 86"/>
                  <a:gd name="T34" fmla="*/ 12 w 70"/>
                  <a:gd name="T35" fmla="*/ 4 h 86"/>
                  <a:gd name="T36" fmla="*/ 12 w 70"/>
                  <a:gd name="T37" fmla="*/ 0 h 86"/>
                  <a:gd name="T38" fmla="*/ 4 w 70"/>
                  <a:gd name="T39" fmla="*/ 6 h 86"/>
                  <a:gd name="T40" fmla="*/ 4 w 70"/>
                  <a:gd name="T41" fmla="*/ 8 h 86"/>
                  <a:gd name="T42" fmla="*/ 4 w 70"/>
                  <a:gd name="T43" fmla="*/ 14 h 86"/>
                  <a:gd name="T44" fmla="*/ 8 w 70"/>
                  <a:gd name="T45" fmla="*/ 20 h 86"/>
                  <a:gd name="T46" fmla="*/ 2 w 70"/>
                  <a:gd name="T47" fmla="*/ 22 h 86"/>
                  <a:gd name="T48" fmla="*/ 0 w 70"/>
                  <a:gd name="T49" fmla="*/ 26 h 86"/>
                  <a:gd name="T50" fmla="*/ 2 w 70"/>
                  <a:gd name="T51" fmla="*/ 34 h 86"/>
                  <a:gd name="T52" fmla="*/ 8 w 70"/>
                  <a:gd name="T53" fmla="*/ 38 h 86"/>
                  <a:gd name="T54" fmla="*/ 12 w 70"/>
                  <a:gd name="T55" fmla="*/ 68 h 86"/>
                  <a:gd name="T56" fmla="*/ 14 w 70"/>
                  <a:gd name="T57" fmla="*/ 70 h 86"/>
                  <a:gd name="T58" fmla="*/ 26 w 70"/>
                  <a:gd name="T59" fmla="*/ 72 h 86"/>
                  <a:gd name="T60" fmla="*/ 36 w 70"/>
                  <a:gd name="T61" fmla="*/ 72 h 86"/>
                  <a:gd name="T62" fmla="*/ 40 w 70"/>
                  <a:gd name="T63" fmla="*/ 68 h 86"/>
                  <a:gd name="T64" fmla="*/ 40 w 70"/>
                  <a:gd name="T65" fmla="*/ 58 h 86"/>
                  <a:gd name="T66" fmla="*/ 44 w 70"/>
                  <a:gd name="T67" fmla="*/ 60 h 86"/>
                  <a:gd name="T68" fmla="*/ 50 w 70"/>
                  <a:gd name="T69" fmla="*/ 62 h 86"/>
                  <a:gd name="T70" fmla="*/ 52 w 70"/>
                  <a:gd name="T71" fmla="*/ 76 h 86"/>
                  <a:gd name="T72" fmla="*/ 52 w 70"/>
                  <a:gd name="T73" fmla="*/ 76 h 86"/>
                  <a:gd name="T74" fmla="*/ 56 w 70"/>
                  <a:gd name="T75" fmla="*/ 84 h 86"/>
                  <a:gd name="T76" fmla="*/ 60 w 70"/>
                  <a:gd name="T77" fmla="*/ 86 h 86"/>
                  <a:gd name="T78" fmla="*/ 60 w 70"/>
                  <a:gd name="T79" fmla="*/ 86 h 86"/>
                  <a:gd name="T80" fmla="*/ 68 w 70"/>
                  <a:gd name="T81" fmla="*/ 82 h 86"/>
                  <a:gd name="T82" fmla="*/ 70 w 70"/>
                  <a:gd name="T83" fmla="*/ 78 h 86"/>
                  <a:gd name="T84" fmla="*/ 70 w 70"/>
                  <a:gd name="T85" fmla="*/ 70 h 86"/>
                  <a:gd name="T86" fmla="*/ 68 w 70"/>
                  <a:gd name="T87" fmla="*/ 64 h 86"/>
                  <a:gd name="T88" fmla="*/ 70 w 70"/>
                  <a:gd name="T89" fmla="*/ 46 h 86"/>
                  <a:gd name="T90" fmla="*/ 68 w 70"/>
                  <a:gd name="T91" fmla="*/ 42 h 86"/>
                  <a:gd name="T92" fmla="*/ 58 w 70"/>
                  <a:gd name="T93" fmla="*/ 40 h 86"/>
                  <a:gd name="T94" fmla="*/ 56 w 70"/>
                  <a:gd name="T95" fmla="*/ 40 h 86"/>
                  <a:gd name="T96" fmla="*/ 56 w 70"/>
                  <a:gd name="T97" fmla="*/ 40 h 86"/>
                  <a:gd name="T98" fmla="*/ 62 w 70"/>
                  <a:gd name="T99" fmla="*/ 36 h 86"/>
                  <a:gd name="T100" fmla="*/ 64 w 70"/>
                  <a:gd name="T101" fmla="*/ 32 h 86"/>
                  <a:gd name="T102" fmla="*/ 64 w 70"/>
                  <a:gd name="T103" fmla="*/ 22 h 86"/>
                  <a:gd name="T104" fmla="*/ 60 w 70"/>
                  <a:gd name="T105" fmla="*/ 18 h 86"/>
                  <a:gd name="T106" fmla="*/ 28 w 70"/>
                  <a:gd name="T107" fmla="*/ 10 h 86"/>
                  <a:gd name="T108" fmla="*/ 26 w 70"/>
                  <a:gd name="T109" fmla="*/ 8 h 86"/>
                  <a:gd name="T110" fmla="*/ 16 w 70"/>
                  <a:gd name="T111" fmla="*/ 0 h 86"/>
                  <a:gd name="T112" fmla="*/ 12 w 70"/>
                  <a:gd name="T113" fmla="*/ 0 h 86"/>
                  <a:gd name="T114" fmla="*/ 12 w 70"/>
                  <a:gd name="T115" fmla="*/ 0 h 86"/>
                  <a:gd name="T116" fmla="*/ 52 w 70"/>
                  <a:gd name="T117" fmla="*/ 42 h 86"/>
                  <a:gd name="T118" fmla="*/ 54 w 70"/>
                  <a:gd name="T119" fmla="*/ 40 h 86"/>
                  <a:gd name="T120" fmla="*/ 50 w 70"/>
                  <a:gd name="T121" fmla="*/ 48 h 86"/>
                  <a:gd name="T122" fmla="*/ 50 w 70"/>
                  <a:gd name="T123" fmla="*/ 46 h 86"/>
                  <a:gd name="T124" fmla="*/ 52 w 70"/>
                  <a:gd name="T12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86">
                    <a:moveTo>
                      <a:pt x="12" y="4"/>
                    </a:moveTo>
                    <a:lnTo>
                      <a:pt x="16" y="8"/>
                    </a:lnTo>
                    <a:lnTo>
                      <a:pt x="24" y="12"/>
                    </a:lnTo>
                    <a:lnTo>
                      <a:pt x="30" y="22"/>
                    </a:lnTo>
                    <a:lnTo>
                      <a:pt x="60" y="22"/>
                    </a:lnTo>
                    <a:lnTo>
                      <a:pt x="60" y="32"/>
                    </a:lnTo>
                    <a:lnTo>
                      <a:pt x="54" y="36"/>
                    </a:lnTo>
                    <a:lnTo>
                      <a:pt x="50" y="38"/>
                    </a:lnTo>
                    <a:lnTo>
                      <a:pt x="46" y="44"/>
                    </a:lnTo>
                    <a:lnTo>
                      <a:pt x="46" y="46"/>
                    </a:lnTo>
                    <a:lnTo>
                      <a:pt x="46" y="50"/>
                    </a:lnTo>
                    <a:lnTo>
                      <a:pt x="54" y="54"/>
                    </a:lnTo>
                    <a:lnTo>
                      <a:pt x="56" y="44"/>
                    </a:lnTo>
                    <a:lnTo>
                      <a:pt x="66" y="46"/>
                    </a:lnTo>
                    <a:lnTo>
                      <a:pt x="64" y="56"/>
                    </a:lnTo>
                    <a:lnTo>
                      <a:pt x="64" y="64"/>
                    </a:lnTo>
                    <a:lnTo>
                      <a:pt x="66" y="70"/>
                    </a:lnTo>
                    <a:lnTo>
                      <a:pt x="66" y="78"/>
                    </a:lnTo>
                    <a:lnTo>
                      <a:pt x="60" y="82"/>
                    </a:lnTo>
                    <a:lnTo>
                      <a:pt x="56" y="74"/>
                    </a:lnTo>
                    <a:lnTo>
                      <a:pt x="54" y="62"/>
                    </a:lnTo>
                    <a:lnTo>
                      <a:pt x="52" y="60"/>
                    </a:lnTo>
                    <a:lnTo>
                      <a:pt x="46" y="58"/>
                    </a:lnTo>
                    <a:lnTo>
                      <a:pt x="38" y="52"/>
                    </a:lnTo>
                    <a:lnTo>
                      <a:pt x="36" y="58"/>
                    </a:lnTo>
                    <a:lnTo>
                      <a:pt x="36" y="68"/>
                    </a:lnTo>
                    <a:lnTo>
                      <a:pt x="26" y="68"/>
                    </a:lnTo>
                    <a:lnTo>
                      <a:pt x="16" y="68"/>
                    </a:lnTo>
                    <a:lnTo>
                      <a:pt x="12" y="46"/>
                    </a:lnTo>
                    <a:lnTo>
                      <a:pt x="10" y="36"/>
                    </a:lnTo>
                    <a:lnTo>
                      <a:pt x="6" y="32"/>
                    </a:lnTo>
                    <a:lnTo>
                      <a:pt x="4" y="26"/>
                    </a:lnTo>
                    <a:lnTo>
                      <a:pt x="14" y="20"/>
                    </a:lnTo>
                    <a:lnTo>
                      <a:pt x="8" y="14"/>
                    </a:lnTo>
                    <a:lnTo>
                      <a:pt x="8" y="8"/>
                    </a:lnTo>
                    <a:lnTo>
                      <a:pt x="12" y="4"/>
                    </a:lnTo>
                    <a:close/>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close/>
                    <a:moveTo>
                      <a:pt x="52" y="42"/>
                    </a:moveTo>
                    <a:lnTo>
                      <a:pt x="54" y="40"/>
                    </a:lnTo>
                    <a:lnTo>
                      <a:pt x="54" y="40"/>
                    </a:lnTo>
                    <a:lnTo>
                      <a:pt x="52" y="42"/>
                    </a:lnTo>
                    <a:lnTo>
                      <a:pt x="50" y="48"/>
                    </a:lnTo>
                    <a:lnTo>
                      <a:pt x="50" y="48"/>
                    </a:lnTo>
                    <a:lnTo>
                      <a:pt x="50" y="46"/>
                    </a:lnTo>
                    <a:lnTo>
                      <a:pt x="50" y="44"/>
                    </a:lnTo>
                    <a:lnTo>
                      <a:pt x="52" y="42"/>
                    </a:lnTo>
                    <a:lnTo>
                      <a:pt x="5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7" name="Freeform 900"/>
              <p:cNvSpPr>
                <a:spLocks/>
              </p:cNvSpPr>
              <p:nvPr/>
            </p:nvSpPr>
            <p:spPr bwMode="auto">
              <a:xfrm>
                <a:off x="4113" y="2141"/>
                <a:ext cx="62" cy="78"/>
              </a:xfrm>
              <a:custGeom>
                <a:avLst/>
                <a:gdLst>
                  <a:gd name="T0" fmla="*/ 8 w 62"/>
                  <a:gd name="T1" fmla="*/ 0 h 78"/>
                  <a:gd name="T2" fmla="*/ 12 w 62"/>
                  <a:gd name="T3" fmla="*/ 4 h 78"/>
                  <a:gd name="T4" fmla="*/ 20 w 62"/>
                  <a:gd name="T5" fmla="*/ 8 h 78"/>
                  <a:gd name="T6" fmla="*/ 26 w 62"/>
                  <a:gd name="T7" fmla="*/ 18 h 78"/>
                  <a:gd name="T8" fmla="*/ 56 w 62"/>
                  <a:gd name="T9" fmla="*/ 18 h 78"/>
                  <a:gd name="T10" fmla="*/ 56 w 62"/>
                  <a:gd name="T11" fmla="*/ 28 h 78"/>
                  <a:gd name="T12" fmla="*/ 50 w 62"/>
                  <a:gd name="T13" fmla="*/ 32 h 78"/>
                  <a:gd name="T14" fmla="*/ 46 w 62"/>
                  <a:gd name="T15" fmla="*/ 34 h 78"/>
                  <a:gd name="T16" fmla="*/ 42 w 62"/>
                  <a:gd name="T17" fmla="*/ 40 h 78"/>
                  <a:gd name="T18" fmla="*/ 42 w 62"/>
                  <a:gd name="T19" fmla="*/ 42 h 78"/>
                  <a:gd name="T20" fmla="*/ 42 w 62"/>
                  <a:gd name="T21" fmla="*/ 46 h 78"/>
                  <a:gd name="T22" fmla="*/ 50 w 62"/>
                  <a:gd name="T23" fmla="*/ 50 h 78"/>
                  <a:gd name="T24" fmla="*/ 52 w 62"/>
                  <a:gd name="T25" fmla="*/ 40 h 78"/>
                  <a:gd name="T26" fmla="*/ 62 w 62"/>
                  <a:gd name="T27" fmla="*/ 42 h 78"/>
                  <a:gd name="T28" fmla="*/ 60 w 62"/>
                  <a:gd name="T29" fmla="*/ 52 h 78"/>
                  <a:gd name="T30" fmla="*/ 60 w 62"/>
                  <a:gd name="T31" fmla="*/ 60 h 78"/>
                  <a:gd name="T32" fmla="*/ 62 w 62"/>
                  <a:gd name="T33" fmla="*/ 66 h 78"/>
                  <a:gd name="T34" fmla="*/ 62 w 62"/>
                  <a:gd name="T35" fmla="*/ 74 h 78"/>
                  <a:gd name="T36" fmla="*/ 56 w 62"/>
                  <a:gd name="T37" fmla="*/ 78 h 78"/>
                  <a:gd name="T38" fmla="*/ 52 w 62"/>
                  <a:gd name="T39" fmla="*/ 70 h 78"/>
                  <a:gd name="T40" fmla="*/ 50 w 62"/>
                  <a:gd name="T41" fmla="*/ 58 h 78"/>
                  <a:gd name="T42" fmla="*/ 48 w 62"/>
                  <a:gd name="T43" fmla="*/ 56 h 78"/>
                  <a:gd name="T44" fmla="*/ 42 w 62"/>
                  <a:gd name="T45" fmla="*/ 54 h 78"/>
                  <a:gd name="T46" fmla="*/ 34 w 62"/>
                  <a:gd name="T47" fmla="*/ 48 h 78"/>
                  <a:gd name="T48" fmla="*/ 32 w 62"/>
                  <a:gd name="T49" fmla="*/ 54 h 78"/>
                  <a:gd name="T50" fmla="*/ 32 w 62"/>
                  <a:gd name="T51" fmla="*/ 64 h 78"/>
                  <a:gd name="T52" fmla="*/ 22 w 62"/>
                  <a:gd name="T53" fmla="*/ 64 h 78"/>
                  <a:gd name="T54" fmla="*/ 12 w 62"/>
                  <a:gd name="T55" fmla="*/ 64 h 78"/>
                  <a:gd name="T56" fmla="*/ 8 w 62"/>
                  <a:gd name="T57" fmla="*/ 42 h 78"/>
                  <a:gd name="T58" fmla="*/ 6 w 62"/>
                  <a:gd name="T59" fmla="*/ 32 h 78"/>
                  <a:gd name="T60" fmla="*/ 2 w 62"/>
                  <a:gd name="T61" fmla="*/ 28 h 78"/>
                  <a:gd name="T62" fmla="*/ 0 w 62"/>
                  <a:gd name="T63" fmla="*/ 22 h 78"/>
                  <a:gd name="T64" fmla="*/ 10 w 62"/>
                  <a:gd name="T65" fmla="*/ 16 h 78"/>
                  <a:gd name="T66" fmla="*/ 4 w 62"/>
                  <a:gd name="T67" fmla="*/ 10 h 78"/>
                  <a:gd name="T68" fmla="*/ 4 w 62"/>
                  <a:gd name="T69" fmla="*/ 4 h 78"/>
                  <a:gd name="T70" fmla="*/ 8 w 62"/>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78">
                    <a:moveTo>
                      <a:pt x="8" y="0"/>
                    </a:moveTo>
                    <a:lnTo>
                      <a:pt x="12" y="4"/>
                    </a:lnTo>
                    <a:lnTo>
                      <a:pt x="20" y="8"/>
                    </a:lnTo>
                    <a:lnTo>
                      <a:pt x="26" y="18"/>
                    </a:lnTo>
                    <a:lnTo>
                      <a:pt x="56" y="18"/>
                    </a:lnTo>
                    <a:lnTo>
                      <a:pt x="56" y="28"/>
                    </a:lnTo>
                    <a:lnTo>
                      <a:pt x="50" y="32"/>
                    </a:lnTo>
                    <a:lnTo>
                      <a:pt x="46" y="34"/>
                    </a:lnTo>
                    <a:lnTo>
                      <a:pt x="42" y="40"/>
                    </a:lnTo>
                    <a:lnTo>
                      <a:pt x="42" y="42"/>
                    </a:lnTo>
                    <a:lnTo>
                      <a:pt x="42" y="46"/>
                    </a:lnTo>
                    <a:lnTo>
                      <a:pt x="50" y="50"/>
                    </a:lnTo>
                    <a:lnTo>
                      <a:pt x="52" y="40"/>
                    </a:lnTo>
                    <a:lnTo>
                      <a:pt x="62" y="42"/>
                    </a:lnTo>
                    <a:lnTo>
                      <a:pt x="60" y="52"/>
                    </a:lnTo>
                    <a:lnTo>
                      <a:pt x="60" y="60"/>
                    </a:lnTo>
                    <a:lnTo>
                      <a:pt x="62" y="66"/>
                    </a:lnTo>
                    <a:lnTo>
                      <a:pt x="62" y="74"/>
                    </a:lnTo>
                    <a:lnTo>
                      <a:pt x="56" y="78"/>
                    </a:lnTo>
                    <a:lnTo>
                      <a:pt x="52" y="70"/>
                    </a:lnTo>
                    <a:lnTo>
                      <a:pt x="50" y="58"/>
                    </a:lnTo>
                    <a:lnTo>
                      <a:pt x="48" y="56"/>
                    </a:lnTo>
                    <a:lnTo>
                      <a:pt x="42" y="54"/>
                    </a:lnTo>
                    <a:lnTo>
                      <a:pt x="34" y="48"/>
                    </a:lnTo>
                    <a:lnTo>
                      <a:pt x="32" y="54"/>
                    </a:lnTo>
                    <a:lnTo>
                      <a:pt x="32" y="64"/>
                    </a:lnTo>
                    <a:lnTo>
                      <a:pt x="22" y="64"/>
                    </a:lnTo>
                    <a:lnTo>
                      <a:pt x="12" y="64"/>
                    </a:lnTo>
                    <a:lnTo>
                      <a:pt x="8" y="42"/>
                    </a:lnTo>
                    <a:lnTo>
                      <a:pt x="6" y="32"/>
                    </a:lnTo>
                    <a:lnTo>
                      <a:pt x="2" y="28"/>
                    </a:lnTo>
                    <a:lnTo>
                      <a:pt x="0" y="22"/>
                    </a:lnTo>
                    <a:lnTo>
                      <a:pt x="10" y="16"/>
                    </a:lnTo>
                    <a:lnTo>
                      <a:pt x="4" y="10"/>
                    </a:lnTo>
                    <a:lnTo>
                      <a:pt x="4"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8" name="Freeform 901"/>
              <p:cNvSpPr>
                <a:spLocks/>
              </p:cNvSpPr>
              <p:nvPr/>
            </p:nvSpPr>
            <p:spPr bwMode="auto">
              <a:xfrm>
                <a:off x="4109" y="2137"/>
                <a:ext cx="70" cy="86"/>
              </a:xfrm>
              <a:custGeom>
                <a:avLst/>
                <a:gdLst>
                  <a:gd name="T0" fmla="*/ 12 w 70"/>
                  <a:gd name="T1" fmla="*/ 0 h 86"/>
                  <a:gd name="T2" fmla="*/ 4 w 70"/>
                  <a:gd name="T3" fmla="*/ 6 h 86"/>
                  <a:gd name="T4" fmla="*/ 4 w 70"/>
                  <a:gd name="T5" fmla="*/ 8 h 86"/>
                  <a:gd name="T6" fmla="*/ 4 w 70"/>
                  <a:gd name="T7" fmla="*/ 14 h 86"/>
                  <a:gd name="T8" fmla="*/ 8 w 70"/>
                  <a:gd name="T9" fmla="*/ 20 h 86"/>
                  <a:gd name="T10" fmla="*/ 2 w 70"/>
                  <a:gd name="T11" fmla="*/ 22 h 86"/>
                  <a:gd name="T12" fmla="*/ 0 w 70"/>
                  <a:gd name="T13" fmla="*/ 26 h 86"/>
                  <a:gd name="T14" fmla="*/ 2 w 70"/>
                  <a:gd name="T15" fmla="*/ 34 h 86"/>
                  <a:gd name="T16" fmla="*/ 8 w 70"/>
                  <a:gd name="T17" fmla="*/ 38 h 86"/>
                  <a:gd name="T18" fmla="*/ 12 w 70"/>
                  <a:gd name="T19" fmla="*/ 68 h 86"/>
                  <a:gd name="T20" fmla="*/ 14 w 70"/>
                  <a:gd name="T21" fmla="*/ 70 h 86"/>
                  <a:gd name="T22" fmla="*/ 26 w 70"/>
                  <a:gd name="T23" fmla="*/ 72 h 86"/>
                  <a:gd name="T24" fmla="*/ 36 w 70"/>
                  <a:gd name="T25" fmla="*/ 72 h 86"/>
                  <a:gd name="T26" fmla="*/ 40 w 70"/>
                  <a:gd name="T27" fmla="*/ 68 h 86"/>
                  <a:gd name="T28" fmla="*/ 40 w 70"/>
                  <a:gd name="T29" fmla="*/ 58 h 86"/>
                  <a:gd name="T30" fmla="*/ 44 w 70"/>
                  <a:gd name="T31" fmla="*/ 60 h 86"/>
                  <a:gd name="T32" fmla="*/ 50 w 70"/>
                  <a:gd name="T33" fmla="*/ 62 h 86"/>
                  <a:gd name="T34" fmla="*/ 52 w 70"/>
                  <a:gd name="T35" fmla="*/ 76 h 86"/>
                  <a:gd name="T36" fmla="*/ 52 w 70"/>
                  <a:gd name="T37" fmla="*/ 76 h 86"/>
                  <a:gd name="T38" fmla="*/ 56 w 70"/>
                  <a:gd name="T39" fmla="*/ 84 h 86"/>
                  <a:gd name="T40" fmla="*/ 60 w 70"/>
                  <a:gd name="T41" fmla="*/ 86 h 86"/>
                  <a:gd name="T42" fmla="*/ 60 w 70"/>
                  <a:gd name="T43" fmla="*/ 86 h 86"/>
                  <a:gd name="T44" fmla="*/ 68 w 70"/>
                  <a:gd name="T45" fmla="*/ 82 h 86"/>
                  <a:gd name="T46" fmla="*/ 70 w 70"/>
                  <a:gd name="T47" fmla="*/ 78 h 86"/>
                  <a:gd name="T48" fmla="*/ 70 w 70"/>
                  <a:gd name="T49" fmla="*/ 70 h 86"/>
                  <a:gd name="T50" fmla="*/ 68 w 70"/>
                  <a:gd name="T51" fmla="*/ 64 h 86"/>
                  <a:gd name="T52" fmla="*/ 70 w 70"/>
                  <a:gd name="T53" fmla="*/ 46 h 86"/>
                  <a:gd name="T54" fmla="*/ 68 w 70"/>
                  <a:gd name="T55" fmla="*/ 42 h 86"/>
                  <a:gd name="T56" fmla="*/ 58 w 70"/>
                  <a:gd name="T57" fmla="*/ 40 h 86"/>
                  <a:gd name="T58" fmla="*/ 56 w 70"/>
                  <a:gd name="T59" fmla="*/ 40 h 86"/>
                  <a:gd name="T60" fmla="*/ 56 w 70"/>
                  <a:gd name="T61" fmla="*/ 40 h 86"/>
                  <a:gd name="T62" fmla="*/ 62 w 70"/>
                  <a:gd name="T63" fmla="*/ 36 h 86"/>
                  <a:gd name="T64" fmla="*/ 64 w 70"/>
                  <a:gd name="T65" fmla="*/ 32 h 86"/>
                  <a:gd name="T66" fmla="*/ 64 w 70"/>
                  <a:gd name="T67" fmla="*/ 22 h 86"/>
                  <a:gd name="T68" fmla="*/ 60 w 70"/>
                  <a:gd name="T69" fmla="*/ 18 h 86"/>
                  <a:gd name="T70" fmla="*/ 28 w 70"/>
                  <a:gd name="T71" fmla="*/ 10 h 86"/>
                  <a:gd name="T72" fmla="*/ 26 w 70"/>
                  <a:gd name="T73" fmla="*/ 8 h 86"/>
                  <a:gd name="T74" fmla="*/ 16 w 70"/>
                  <a:gd name="T75" fmla="*/ 0 h 86"/>
                  <a:gd name="T76" fmla="*/ 12 w 70"/>
                  <a:gd name="T77" fmla="*/ 0 h 86"/>
                  <a:gd name="T78" fmla="*/ 12 w 70"/>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86">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9" name="Freeform 902"/>
              <p:cNvSpPr>
                <a:spLocks/>
              </p:cNvSpPr>
              <p:nvPr/>
            </p:nvSpPr>
            <p:spPr bwMode="auto">
              <a:xfrm>
                <a:off x="4159" y="2177"/>
                <a:ext cx="4" cy="8"/>
              </a:xfrm>
              <a:custGeom>
                <a:avLst/>
                <a:gdLst>
                  <a:gd name="T0" fmla="*/ 2 w 4"/>
                  <a:gd name="T1" fmla="*/ 2 h 8"/>
                  <a:gd name="T2" fmla="*/ 4 w 4"/>
                  <a:gd name="T3" fmla="*/ 0 h 8"/>
                  <a:gd name="T4" fmla="*/ 4 w 4"/>
                  <a:gd name="T5" fmla="*/ 0 h 8"/>
                  <a:gd name="T6" fmla="*/ 2 w 4"/>
                  <a:gd name="T7" fmla="*/ 2 h 8"/>
                  <a:gd name="T8" fmla="*/ 0 w 4"/>
                  <a:gd name="T9" fmla="*/ 8 h 8"/>
                  <a:gd name="T10" fmla="*/ 0 w 4"/>
                  <a:gd name="T11" fmla="*/ 8 h 8"/>
                  <a:gd name="T12" fmla="*/ 0 w 4"/>
                  <a:gd name="T13" fmla="*/ 6 h 8"/>
                  <a:gd name="T14" fmla="*/ 0 w 4"/>
                  <a:gd name="T15" fmla="*/ 4 h 8"/>
                  <a:gd name="T16" fmla="*/ 2 w 4"/>
                  <a:gd name="T17" fmla="*/ 2 h 8"/>
                  <a:gd name="T18" fmla="*/ 2 w 4"/>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2"/>
                    </a:moveTo>
                    <a:lnTo>
                      <a:pt x="4" y="0"/>
                    </a:lnTo>
                    <a:lnTo>
                      <a:pt x="4" y="0"/>
                    </a:lnTo>
                    <a:lnTo>
                      <a:pt x="2" y="2"/>
                    </a:lnTo>
                    <a:lnTo>
                      <a:pt x="0" y="8"/>
                    </a:lnTo>
                    <a:lnTo>
                      <a:pt x="0" y="8"/>
                    </a:lnTo>
                    <a:lnTo>
                      <a:pt x="0" y="6"/>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0" name="Freeform 903"/>
              <p:cNvSpPr>
                <a:spLocks/>
              </p:cNvSpPr>
              <p:nvPr/>
            </p:nvSpPr>
            <p:spPr bwMode="auto">
              <a:xfrm>
                <a:off x="3993" y="2385"/>
                <a:ext cx="32" cy="54"/>
              </a:xfrm>
              <a:custGeom>
                <a:avLst/>
                <a:gdLst>
                  <a:gd name="T0" fmla="*/ 16 w 32"/>
                  <a:gd name="T1" fmla="*/ 54 h 54"/>
                  <a:gd name="T2" fmla="*/ 8 w 32"/>
                  <a:gd name="T3" fmla="*/ 52 h 54"/>
                  <a:gd name="T4" fmla="*/ 8 w 32"/>
                  <a:gd name="T5" fmla="*/ 52 h 54"/>
                  <a:gd name="T6" fmla="*/ 6 w 32"/>
                  <a:gd name="T7" fmla="*/ 52 h 54"/>
                  <a:gd name="T8" fmla="*/ 0 w 32"/>
                  <a:gd name="T9" fmla="*/ 42 h 54"/>
                  <a:gd name="T10" fmla="*/ 0 w 32"/>
                  <a:gd name="T11" fmla="*/ 42 h 54"/>
                  <a:gd name="T12" fmla="*/ 0 w 32"/>
                  <a:gd name="T13" fmla="*/ 40 h 54"/>
                  <a:gd name="T14" fmla="*/ 0 w 32"/>
                  <a:gd name="T15" fmla="*/ 24 h 54"/>
                  <a:gd name="T16" fmla="*/ 4 w 32"/>
                  <a:gd name="T17" fmla="*/ 12 h 54"/>
                  <a:gd name="T18" fmla="*/ 6 w 32"/>
                  <a:gd name="T19" fmla="*/ 2 h 54"/>
                  <a:gd name="T20" fmla="*/ 6 w 32"/>
                  <a:gd name="T21" fmla="*/ 2 h 54"/>
                  <a:gd name="T22" fmla="*/ 8 w 32"/>
                  <a:gd name="T23" fmla="*/ 0 h 54"/>
                  <a:gd name="T24" fmla="*/ 8 w 32"/>
                  <a:gd name="T25" fmla="*/ 0 h 54"/>
                  <a:gd name="T26" fmla="*/ 8 w 32"/>
                  <a:gd name="T27" fmla="*/ 0 h 54"/>
                  <a:gd name="T28" fmla="*/ 8 w 32"/>
                  <a:gd name="T29" fmla="*/ 0 h 54"/>
                  <a:gd name="T30" fmla="*/ 10 w 32"/>
                  <a:gd name="T31" fmla="*/ 0 h 54"/>
                  <a:gd name="T32" fmla="*/ 18 w 32"/>
                  <a:gd name="T33" fmla="*/ 12 h 54"/>
                  <a:gd name="T34" fmla="*/ 26 w 32"/>
                  <a:gd name="T35" fmla="*/ 24 h 54"/>
                  <a:gd name="T36" fmla="*/ 32 w 32"/>
                  <a:gd name="T37" fmla="*/ 36 h 54"/>
                  <a:gd name="T38" fmla="*/ 32 w 32"/>
                  <a:gd name="T39" fmla="*/ 36 h 54"/>
                  <a:gd name="T40" fmla="*/ 32 w 32"/>
                  <a:gd name="T41" fmla="*/ 38 h 54"/>
                  <a:gd name="T42" fmla="*/ 26 w 32"/>
                  <a:gd name="T43" fmla="*/ 52 h 54"/>
                  <a:gd name="T44" fmla="*/ 26 w 32"/>
                  <a:gd name="T45" fmla="*/ 52 h 54"/>
                  <a:gd name="T46" fmla="*/ 26 w 32"/>
                  <a:gd name="T47" fmla="*/ 52 h 54"/>
                  <a:gd name="T48" fmla="*/ 16 w 32"/>
                  <a:gd name="T49" fmla="*/ 54 h 54"/>
                  <a:gd name="T50" fmla="*/ 16 w 32"/>
                  <a:gd name="T51" fmla="*/ 54 h 54"/>
                  <a:gd name="T52" fmla="*/ 16 w 32"/>
                  <a:gd name="T53" fmla="*/ 54 h 54"/>
                  <a:gd name="T54" fmla="*/ 16 w 32"/>
                  <a:gd name="T55" fmla="*/ 54 h 54"/>
                  <a:gd name="T56" fmla="*/ 16 w 32"/>
                  <a:gd name="T57" fmla="*/ 54 h 54"/>
                  <a:gd name="T58" fmla="*/ 16 w 32"/>
                  <a:gd name="T5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54">
                    <a:moveTo>
                      <a:pt x="16" y="54"/>
                    </a:moveTo>
                    <a:lnTo>
                      <a:pt x="8" y="52"/>
                    </a:lnTo>
                    <a:lnTo>
                      <a:pt x="8" y="52"/>
                    </a:lnTo>
                    <a:lnTo>
                      <a:pt x="6" y="52"/>
                    </a:lnTo>
                    <a:lnTo>
                      <a:pt x="0" y="42"/>
                    </a:lnTo>
                    <a:lnTo>
                      <a:pt x="0" y="42"/>
                    </a:lnTo>
                    <a:lnTo>
                      <a:pt x="0" y="40"/>
                    </a:lnTo>
                    <a:lnTo>
                      <a:pt x="0" y="24"/>
                    </a:lnTo>
                    <a:lnTo>
                      <a:pt x="4" y="12"/>
                    </a:lnTo>
                    <a:lnTo>
                      <a:pt x="6" y="2"/>
                    </a:lnTo>
                    <a:lnTo>
                      <a:pt x="6" y="2"/>
                    </a:lnTo>
                    <a:lnTo>
                      <a:pt x="8" y="0"/>
                    </a:lnTo>
                    <a:lnTo>
                      <a:pt x="8" y="0"/>
                    </a:lnTo>
                    <a:lnTo>
                      <a:pt x="8" y="0"/>
                    </a:lnTo>
                    <a:lnTo>
                      <a:pt x="8" y="0"/>
                    </a:lnTo>
                    <a:lnTo>
                      <a:pt x="10" y="0"/>
                    </a:lnTo>
                    <a:lnTo>
                      <a:pt x="18" y="12"/>
                    </a:lnTo>
                    <a:lnTo>
                      <a:pt x="26" y="24"/>
                    </a:lnTo>
                    <a:lnTo>
                      <a:pt x="32" y="36"/>
                    </a:lnTo>
                    <a:lnTo>
                      <a:pt x="32" y="36"/>
                    </a:lnTo>
                    <a:lnTo>
                      <a:pt x="32" y="38"/>
                    </a:lnTo>
                    <a:lnTo>
                      <a:pt x="26" y="52"/>
                    </a:lnTo>
                    <a:lnTo>
                      <a:pt x="26" y="52"/>
                    </a:lnTo>
                    <a:lnTo>
                      <a:pt x="26" y="52"/>
                    </a:lnTo>
                    <a:lnTo>
                      <a:pt x="16" y="54"/>
                    </a:lnTo>
                    <a:lnTo>
                      <a:pt x="16" y="54"/>
                    </a:lnTo>
                    <a:lnTo>
                      <a:pt x="16" y="54"/>
                    </a:lnTo>
                    <a:lnTo>
                      <a:pt x="16" y="54"/>
                    </a:lnTo>
                    <a:lnTo>
                      <a:pt x="16" y="54"/>
                    </a:lnTo>
                    <a:lnTo>
                      <a:pt x="1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1" name="Freeform 904"/>
              <p:cNvSpPr>
                <a:spLocks noEditPoints="1"/>
              </p:cNvSpPr>
              <p:nvPr/>
            </p:nvSpPr>
            <p:spPr bwMode="auto">
              <a:xfrm>
                <a:off x="3991" y="2383"/>
                <a:ext cx="36" cy="58"/>
              </a:xfrm>
              <a:custGeom>
                <a:avLst/>
                <a:gdLst>
                  <a:gd name="T0" fmla="*/ 10 w 36"/>
                  <a:gd name="T1" fmla="*/ 4 h 58"/>
                  <a:gd name="T2" fmla="*/ 18 w 36"/>
                  <a:gd name="T3" fmla="*/ 14 h 58"/>
                  <a:gd name="T4" fmla="*/ 28 w 36"/>
                  <a:gd name="T5" fmla="*/ 26 h 58"/>
                  <a:gd name="T6" fmla="*/ 32 w 36"/>
                  <a:gd name="T7" fmla="*/ 38 h 58"/>
                  <a:gd name="T8" fmla="*/ 28 w 36"/>
                  <a:gd name="T9" fmla="*/ 52 h 58"/>
                  <a:gd name="T10" fmla="*/ 18 w 36"/>
                  <a:gd name="T11" fmla="*/ 54 h 58"/>
                  <a:gd name="T12" fmla="*/ 10 w 36"/>
                  <a:gd name="T13" fmla="*/ 52 h 58"/>
                  <a:gd name="T14" fmla="*/ 4 w 36"/>
                  <a:gd name="T15" fmla="*/ 42 h 58"/>
                  <a:gd name="T16" fmla="*/ 4 w 36"/>
                  <a:gd name="T17" fmla="*/ 26 h 58"/>
                  <a:gd name="T18" fmla="*/ 8 w 36"/>
                  <a:gd name="T19" fmla="*/ 14 h 58"/>
                  <a:gd name="T20" fmla="*/ 10 w 36"/>
                  <a:gd name="T21" fmla="*/ 4 h 58"/>
                  <a:gd name="T22" fmla="*/ 10 w 36"/>
                  <a:gd name="T23" fmla="*/ 0 h 58"/>
                  <a:gd name="T24" fmla="*/ 10 w 36"/>
                  <a:gd name="T25" fmla="*/ 0 h 58"/>
                  <a:gd name="T26" fmla="*/ 8 w 36"/>
                  <a:gd name="T27" fmla="*/ 0 h 58"/>
                  <a:gd name="T28" fmla="*/ 8 w 36"/>
                  <a:gd name="T29" fmla="*/ 0 h 58"/>
                  <a:gd name="T30" fmla="*/ 6 w 36"/>
                  <a:gd name="T31" fmla="*/ 2 h 58"/>
                  <a:gd name="T32" fmla="*/ 6 w 36"/>
                  <a:gd name="T33" fmla="*/ 4 h 58"/>
                  <a:gd name="T34" fmla="*/ 4 w 36"/>
                  <a:gd name="T35" fmla="*/ 14 h 58"/>
                  <a:gd name="T36" fmla="*/ 0 w 36"/>
                  <a:gd name="T37" fmla="*/ 26 h 58"/>
                  <a:gd name="T38" fmla="*/ 0 w 36"/>
                  <a:gd name="T39" fmla="*/ 26 h 58"/>
                  <a:gd name="T40" fmla="*/ 0 w 36"/>
                  <a:gd name="T41" fmla="*/ 26 h 58"/>
                  <a:gd name="T42" fmla="*/ 0 w 36"/>
                  <a:gd name="T43" fmla="*/ 42 h 58"/>
                  <a:gd name="T44" fmla="*/ 0 w 36"/>
                  <a:gd name="T45" fmla="*/ 42 h 58"/>
                  <a:gd name="T46" fmla="*/ 0 w 36"/>
                  <a:gd name="T47" fmla="*/ 44 h 58"/>
                  <a:gd name="T48" fmla="*/ 6 w 36"/>
                  <a:gd name="T49" fmla="*/ 54 h 58"/>
                  <a:gd name="T50" fmla="*/ 6 w 36"/>
                  <a:gd name="T51" fmla="*/ 54 h 58"/>
                  <a:gd name="T52" fmla="*/ 8 w 36"/>
                  <a:gd name="T53" fmla="*/ 56 h 58"/>
                  <a:gd name="T54" fmla="*/ 18 w 36"/>
                  <a:gd name="T55" fmla="*/ 58 h 58"/>
                  <a:gd name="T56" fmla="*/ 18 w 36"/>
                  <a:gd name="T57" fmla="*/ 58 h 58"/>
                  <a:gd name="T58" fmla="*/ 18 w 36"/>
                  <a:gd name="T59" fmla="*/ 58 h 58"/>
                  <a:gd name="T60" fmla="*/ 18 w 36"/>
                  <a:gd name="T61" fmla="*/ 58 h 58"/>
                  <a:gd name="T62" fmla="*/ 20 w 36"/>
                  <a:gd name="T63" fmla="*/ 58 h 58"/>
                  <a:gd name="T64" fmla="*/ 28 w 36"/>
                  <a:gd name="T65" fmla="*/ 56 h 58"/>
                  <a:gd name="T66" fmla="*/ 28 w 36"/>
                  <a:gd name="T67" fmla="*/ 56 h 58"/>
                  <a:gd name="T68" fmla="*/ 30 w 36"/>
                  <a:gd name="T69" fmla="*/ 54 h 58"/>
                  <a:gd name="T70" fmla="*/ 36 w 36"/>
                  <a:gd name="T71" fmla="*/ 40 h 58"/>
                  <a:gd name="T72" fmla="*/ 36 w 36"/>
                  <a:gd name="T73" fmla="*/ 40 h 58"/>
                  <a:gd name="T74" fmla="*/ 36 w 36"/>
                  <a:gd name="T75" fmla="*/ 38 h 58"/>
                  <a:gd name="T76" fmla="*/ 30 w 36"/>
                  <a:gd name="T77" fmla="*/ 26 h 58"/>
                  <a:gd name="T78" fmla="*/ 30 w 36"/>
                  <a:gd name="T79" fmla="*/ 26 h 58"/>
                  <a:gd name="T80" fmla="*/ 30 w 36"/>
                  <a:gd name="T81" fmla="*/ 24 h 58"/>
                  <a:gd name="T82" fmla="*/ 22 w 36"/>
                  <a:gd name="T83" fmla="*/ 12 h 58"/>
                  <a:gd name="T84" fmla="*/ 12 w 36"/>
                  <a:gd name="T85" fmla="*/ 2 h 58"/>
                  <a:gd name="T86" fmla="*/ 12 w 36"/>
                  <a:gd name="T87" fmla="*/ 2 h 58"/>
                  <a:gd name="T88" fmla="*/ 10 w 36"/>
                  <a:gd name="T89" fmla="*/ 0 h 58"/>
                  <a:gd name="T90" fmla="*/ 10 w 36"/>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58">
                    <a:moveTo>
                      <a:pt x="10" y="4"/>
                    </a:moveTo>
                    <a:lnTo>
                      <a:pt x="18" y="14"/>
                    </a:lnTo>
                    <a:lnTo>
                      <a:pt x="28" y="26"/>
                    </a:lnTo>
                    <a:lnTo>
                      <a:pt x="32" y="38"/>
                    </a:lnTo>
                    <a:lnTo>
                      <a:pt x="28" y="52"/>
                    </a:lnTo>
                    <a:lnTo>
                      <a:pt x="18" y="54"/>
                    </a:lnTo>
                    <a:lnTo>
                      <a:pt x="10" y="52"/>
                    </a:lnTo>
                    <a:lnTo>
                      <a:pt x="4" y="42"/>
                    </a:lnTo>
                    <a:lnTo>
                      <a:pt x="4" y="26"/>
                    </a:lnTo>
                    <a:lnTo>
                      <a:pt x="8" y="14"/>
                    </a:lnTo>
                    <a:lnTo>
                      <a:pt x="10" y="4"/>
                    </a:lnTo>
                    <a:close/>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2" name="Freeform 905"/>
              <p:cNvSpPr>
                <a:spLocks/>
              </p:cNvSpPr>
              <p:nvPr/>
            </p:nvSpPr>
            <p:spPr bwMode="auto">
              <a:xfrm>
                <a:off x="3995" y="2387"/>
                <a:ext cx="28" cy="50"/>
              </a:xfrm>
              <a:custGeom>
                <a:avLst/>
                <a:gdLst>
                  <a:gd name="T0" fmla="*/ 6 w 28"/>
                  <a:gd name="T1" fmla="*/ 0 h 50"/>
                  <a:gd name="T2" fmla="*/ 14 w 28"/>
                  <a:gd name="T3" fmla="*/ 10 h 50"/>
                  <a:gd name="T4" fmla="*/ 24 w 28"/>
                  <a:gd name="T5" fmla="*/ 22 h 50"/>
                  <a:gd name="T6" fmla="*/ 28 w 28"/>
                  <a:gd name="T7" fmla="*/ 34 h 50"/>
                  <a:gd name="T8" fmla="*/ 24 w 28"/>
                  <a:gd name="T9" fmla="*/ 48 h 50"/>
                  <a:gd name="T10" fmla="*/ 14 w 28"/>
                  <a:gd name="T11" fmla="*/ 50 h 50"/>
                  <a:gd name="T12" fmla="*/ 6 w 28"/>
                  <a:gd name="T13" fmla="*/ 48 h 50"/>
                  <a:gd name="T14" fmla="*/ 0 w 28"/>
                  <a:gd name="T15" fmla="*/ 38 h 50"/>
                  <a:gd name="T16" fmla="*/ 0 w 28"/>
                  <a:gd name="T17" fmla="*/ 22 h 50"/>
                  <a:gd name="T18" fmla="*/ 4 w 28"/>
                  <a:gd name="T19" fmla="*/ 10 h 50"/>
                  <a:gd name="T20" fmla="*/ 6 w 28"/>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0">
                    <a:moveTo>
                      <a:pt x="6" y="0"/>
                    </a:moveTo>
                    <a:lnTo>
                      <a:pt x="14" y="10"/>
                    </a:lnTo>
                    <a:lnTo>
                      <a:pt x="24" y="22"/>
                    </a:lnTo>
                    <a:lnTo>
                      <a:pt x="28" y="34"/>
                    </a:lnTo>
                    <a:lnTo>
                      <a:pt x="24" y="48"/>
                    </a:lnTo>
                    <a:lnTo>
                      <a:pt x="14" y="50"/>
                    </a:lnTo>
                    <a:lnTo>
                      <a:pt x="6" y="48"/>
                    </a:lnTo>
                    <a:lnTo>
                      <a:pt x="0" y="38"/>
                    </a:lnTo>
                    <a:lnTo>
                      <a:pt x="0" y="22"/>
                    </a:lnTo>
                    <a:lnTo>
                      <a:pt x="4"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3" name="Freeform 906"/>
              <p:cNvSpPr>
                <a:spLocks/>
              </p:cNvSpPr>
              <p:nvPr/>
            </p:nvSpPr>
            <p:spPr bwMode="auto">
              <a:xfrm>
                <a:off x="3991" y="2383"/>
                <a:ext cx="36" cy="58"/>
              </a:xfrm>
              <a:custGeom>
                <a:avLst/>
                <a:gdLst>
                  <a:gd name="T0" fmla="*/ 10 w 36"/>
                  <a:gd name="T1" fmla="*/ 0 h 58"/>
                  <a:gd name="T2" fmla="*/ 10 w 36"/>
                  <a:gd name="T3" fmla="*/ 0 h 58"/>
                  <a:gd name="T4" fmla="*/ 8 w 36"/>
                  <a:gd name="T5" fmla="*/ 0 h 58"/>
                  <a:gd name="T6" fmla="*/ 8 w 36"/>
                  <a:gd name="T7" fmla="*/ 0 h 58"/>
                  <a:gd name="T8" fmla="*/ 6 w 36"/>
                  <a:gd name="T9" fmla="*/ 2 h 58"/>
                  <a:gd name="T10" fmla="*/ 6 w 36"/>
                  <a:gd name="T11" fmla="*/ 4 h 58"/>
                  <a:gd name="T12" fmla="*/ 4 w 36"/>
                  <a:gd name="T13" fmla="*/ 14 h 58"/>
                  <a:gd name="T14" fmla="*/ 0 w 36"/>
                  <a:gd name="T15" fmla="*/ 26 h 58"/>
                  <a:gd name="T16" fmla="*/ 0 w 36"/>
                  <a:gd name="T17" fmla="*/ 26 h 58"/>
                  <a:gd name="T18" fmla="*/ 0 w 36"/>
                  <a:gd name="T19" fmla="*/ 26 h 58"/>
                  <a:gd name="T20" fmla="*/ 0 w 36"/>
                  <a:gd name="T21" fmla="*/ 42 h 58"/>
                  <a:gd name="T22" fmla="*/ 0 w 36"/>
                  <a:gd name="T23" fmla="*/ 42 h 58"/>
                  <a:gd name="T24" fmla="*/ 0 w 36"/>
                  <a:gd name="T25" fmla="*/ 44 h 58"/>
                  <a:gd name="T26" fmla="*/ 6 w 36"/>
                  <a:gd name="T27" fmla="*/ 54 h 58"/>
                  <a:gd name="T28" fmla="*/ 6 w 36"/>
                  <a:gd name="T29" fmla="*/ 54 h 58"/>
                  <a:gd name="T30" fmla="*/ 8 w 36"/>
                  <a:gd name="T31" fmla="*/ 56 h 58"/>
                  <a:gd name="T32" fmla="*/ 18 w 36"/>
                  <a:gd name="T33" fmla="*/ 58 h 58"/>
                  <a:gd name="T34" fmla="*/ 18 w 36"/>
                  <a:gd name="T35" fmla="*/ 58 h 58"/>
                  <a:gd name="T36" fmla="*/ 18 w 36"/>
                  <a:gd name="T37" fmla="*/ 58 h 58"/>
                  <a:gd name="T38" fmla="*/ 18 w 36"/>
                  <a:gd name="T39" fmla="*/ 58 h 58"/>
                  <a:gd name="T40" fmla="*/ 20 w 36"/>
                  <a:gd name="T41" fmla="*/ 58 h 58"/>
                  <a:gd name="T42" fmla="*/ 28 w 36"/>
                  <a:gd name="T43" fmla="*/ 56 h 58"/>
                  <a:gd name="T44" fmla="*/ 28 w 36"/>
                  <a:gd name="T45" fmla="*/ 56 h 58"/>
                  <a:gd name="T46" fmla="*/ 30 w 36"/>
                  <a:gd name="T47" fmla="*/ 54 h 58"/>
                  <a:gd name="T48" fmla="*/ 36 w 36"/>
                  <a:gd name="T49" fmla="*/ 40 h 58"/>
                  <a:gd name="T50" fmla="*/ 36 w 36"/>
                  <a:gd name="T51" fmla="*/ 40 h 58"/>
                  <a:gd name="T52" fmla="*/ 36 w 36"/>
                  <a:gd name="T53" fmla="*/ 38 h 58"/>
                  <a:gd name="T54" fmla="*/ 30 w 36"/>
                  <a:gd name="T55" fmla="*/ 26 h 58"/>
                  <a:gd name="T56" fmla="*/ 30 w 36"/>
                  <a:gd name="T57" fmla="*/ 26 h 58"/>
                  <a:gd name="T58" fmla="*/ 30 w 36"/>
                  <a:gd name="T59" fmla="*/ 24 h 58"/>
                  <a:gd name="T60" fmla="*/ 22 w 36"/>
                  <a:gd name="T61" fmla="*/ 12 h 58"/>
                  <a:gd name="T62" fmla="*/ 12 w 36"/>
                  <a:gd name="T63" fmla="*/ 2 h 58"/>
                  <a:gd name="T64" fmla="*/ 12 w 36"/>
                  <a:gd name="T65" fmla="*/ 2 h 58"/>
                  <a:gd name="T66" fmla="*/ 10 w 36"/>
                  <a:gd name="T67" fmla="*/ 0 h 58"/>
                  <a:gd name="T68" fmla="*/ 10 w 3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8">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4" name="Freeform 907"/>
              <p:cNvSpPr>
                <a:spLocks/>
              </p:cNvSpPr>
              <p:nvPr/>
            </p:nvSpPr>
            <p:spPr bwMode="auto">
              <a:xfrm>
                <a:off x="3831" y="1993"/>
                <a:ext cx="412" cy="418"/>
              </a:xfrm>
              <a:custGeom>
                <a:avLst/>
                <a:gdLst>
                  <a:gd name="T0" fmla="*/ 122 w 412"/>
                  <a:gd name="T1" fmla="*/ 414 h 418"/>
                  <a:gd name="T2" fmla="*/ 112 w 412"/>
                  <a:gd name="T3" fmla="*/ 384 h 418"/>
                  <a:gd name="T4" fmla="*/ 60 w 412"/>
                  <a:gd name="T5" fmla="*/ 236 h 418"/>
                  <a:gd name="T6" fmla="*/ 60 w 412"/>
                  <a:gd name="T7" fmla="*/ 212 h 418"/>
                  <a:gd name="T8" fmla="*/ 44 w 412"/>
                  <a:gd name="T9" fmla="*/ 234 h 418"/>
                  <a:gd name="T10" fmla="*/ 36 w 412"/>
                  <a:gd name="T11" fmla="*/ 236 h 418"/>
                  <a:gd name="T12" fmla="*/ 22 w 412"/>
                  <a:gd name="T13" fmla="*/ 228 h 418"/>
                  <a:gd name="T14" fmla="*/ 10 w 412"/>
                  <a:gd name="T15" fmla="*/ 208 h 418"/>
                  <a:gd name="T16" fmla="*/ 10 w 412"/>
                  <a:gd name="T17" fmla="*/ 202 h 418"/>
                  <a:gd name="T18" fmla="*/ 0 w 412"/>
                  <a:gd name="T19" fmla="*/ 188 h 418"/>
                  <a:gd name="T20" fmla="*/ 14 w 412"/>
                  <a:gd name="T21" fmla="*/ 174 h 418"/>
                  <a:gd name="T22" fmla="*/ 24 w 412"/>
                  <a:gd name="T23" fmla="*/ 176 h 418"/>
                  <a:gd name="T24" fmla="*/ 26 w 412"/>
                  <a:gd name="T25" fmla="*/ 156 h 418"/>
                  <a:gd name="T26" fmla="*/ 14 w 412"/>
                  <a:gd name="T27" fmla="*/ 142 h 418"/>
                  <a:gd name="T28" fmla="*/ 24 w 412"/>
                  <a:gd name="T29" fmla="*/ 122 h 418"/>
                  <a:gd name="T30" fmla="*/ 40 w 412"/>
                  <a:gd name="T31" fmla="*/ 124 h 418"/>
                  <a:gd name="T32" fmla="*/ 90 w 412"/>
                  <a:gd name="T33" fmla="*/ 60 h 418"/>
                  <a:gd name="T34" fmla="*/ 78 w 412"/>
                  <a:gd name="T35" fmla="*/ 18 h 418"/>
                  <a:gd name="T36" fmla="*/ 80 w 412"/>
                  <a:gd name="T37" fmla="*/ 16 h 418"/>
                  <a:gd name="T38" fmla="*/ 126 w 412"/>
                  <a:gd name="T39" fmla="*/ 0 h 418"/>
                  <a:gd name="T40" fmla="*/ 138 w 412"/>
                  <a:gd name="T41" fmla="*/ 2 h 418"/>
                  <a:gd name="T42" fmla="*/ 152 w 412"/>
                  <a:gd name="T43" fmla="*/ 28 h 418"/>
                  <a:gd name="T44" fmla="*/ 160 w 412"/>
                  <a:gd name="T45" fmla="*/ 52 h 418"/>
                  <a:gd name="T46" fmla="*/ 148 w 412"/>
                  <a:gd name="T47" fmla="*/ 68 h 418"/>
                  <a:gd name="T48" fmla="*/ 182 w 412"/>
                  <a:gd name="T49" fmla="*/ 90 h 418"/>
                  <a:gd name="T50" fmla="*/ 208 w 412"/>
                  <a:gd name="T51" fmla="*/ 128 h 418"/>
                  <a:gd name="T52" fmla="*/ 256 w 412"/>
                  <a:gd name="T53" fmla="*/ 146 h 418"/>
                  <a:gd name="T54" fmla="*/ 278 w 412"/>
                  <a:gd name="T55" fmla="*/ 124 h 418"/>
                  <a:gd name="T56" fmla="*/ 296 w 412"/>
                  <a:gd name="T57" fmla="*/ 132 h 418"/>
                  <a:gd name="T58" fmla="*/ 336 w 412"/>
                  <a:gd name="T59" fmla="*/ 134 h 418"/>
                  <a:gd name="T60" fmla="*/ 334 w 412"/>
                  <a:gd name="T61" fmla="*/ 122 h 418"/>
                  <a:gd name="T62" fmla="*/ 362 w 412"/>
                  <a:gd name="T63" fmla="*/ 108 h 418"/>
                  <a:gd name="T64" fmla="*/ 396 w 412"/>
                  <a:gd name="T65" fmla="*/ 100 h 418"/>
                  <a:gd name="T66" fmla="*/ 398 w 412"/>
                  <a:gd name="T67" fmla="*/ 100 h 418"/>
                  <a:gd name="T68" fmla="*/ 412 w 412"/>
                  <a:gd name="T69" fmla="*/ 114 h 418"/>
                  <a:gd name="T70" fmla="*/ 408 w 412"/>
                  <a:gd name="T71" fmla="*/ 134 h 418"/>
                  <a:gd name="T72" fmla="*/ 378 w 412"/>
                  <a:gd name="T73" fmla="*/ 158 h 418"/>
                  <a:gd name="T74" fmla="*/ 366 w 412"/>
                  <a:gd name="T75" fmla="*/ 184 h 418"/>
                  <a:gd name="T76" fmla="*/ 344 w 412"/>
                  <a:gd name="T77" fmla="*/ 216 h 418"/>
                  <a:gd name="T78" fmla="*/ 342 w 412"/>
                  <a:gd name="T79" fmla="*/ 216 h 418"/>
                  <a:gd name="T80" fmla="*/ 336 w 412"/>
                  <a:gd name="T81" fmla="*/ 190 h 418"/>
                  <a:gd name="T82" fmla="*/ 330 w 412"/>
                  <a:gd name="T83" fmla="*/ 200 h 418"/>
                  <a:gd name="T84" fmla="*/ 322 w 412"/>
                  <a:gd name="T85" fmla="*/ 194 h 418"/>
                  <a:gd name="T86" fmla="*/ 326 w 412"/>
                  <a:gd name="T87" fmla="*/ 180 h 418"/>
                  <a:gd name="T88" fmla="*/ 308 w 412"/>
                  <a:gd name="T89" fmla="*/ 168 h 418"/>
                  <a:gd name="T90" fmla="*/ 292 w 412"/>
                  <a:gd name="T91" fmla="*/ 152 h 418"/>
                  <a:gd name="T92" fmla="*/ 292 w 412"/>
                  <a:gd name="T93" fmla="*/ 162 h 418"/>
                  <a:gd name="T94" fmla="*/ 284 w 412"/>
                  <a:gd name="T95" fmla="*/ 176 h 418"/>
                  <a:gd name="T96" fmla="*/ 296 w 412"/>
                  <a:gd name="T97" fmla="*/ 212 h 418"/>
                  <a:gd name="T98" fmla="*/ 262 w 412"/>
                  <a:gd name="T99" fmla="*/ 236 h 418"/>
                  <a:gd name="T100" fmla="*/ 248 w 412"/>
                  <a:gd name="T101" fmla="*/ 248 h 418"/>
                  <a:gd name="T102" fmla="*/ 212 w 412"/>
                  <a:gd name="T103" fmla="*/ 282 h 418"/>
                  <a:gd name="T104" fmla="*/ 196 w 412"/>
                  <a:gd name="T105" fmla="*/ 296 h 418"/>
                  <a:gd name="T106" fmla="*/ 184 w 412"/>
                  <a:gd name="T107" fmla="*/ 306 h 418"/>
                  <a:gd name="T108" fmla="*/ 170 w 412"/>
                  <a:gd name="T109" fmla="*/ 330 h 418"/>
                  <a:gd name="T110" fmla="*/ 170 w 412"/>
                  <a:gd name="T111" fmla="*/ 350 h 418"/>
                  <a:gd name="T112" fmla="*/ 152 w 412"/>
                  <a:gd name="T113" fmla="*/ 392 h 418"/>
                  <a:gd name="T114" fmla="*/ 152 w 412"/>
                  <a:gd name="T115" fmla="*/ 402 h 418"/>
                  <a:gd name="T116" fmla="*/ 134 w 412"/>
                  <a:gd name="T117"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418">
                    <a:moveTo>
                      <a:pt x="134" y="418"/>
                    </a:moveTo>
                    <a:lnTo>
                      <a:pt x="134" y="418"/>
                    </a:lnTo>
                    <a:lnTo>
                      <a:pt x="132" y="418"/>
                    </a:lnTo>
                    <a:lnTo>
                      <a:pt x="122" y="414"/>
                    </a:lnTo>
                    <a:lnTo>
                      <a:pt x="122" y="414"/>
                    </a:lnTo>
                    <a:lnTo>
                      <a:pt x="122" y="414"/>
                    </a:lnTo>
                    <a:lnTo>
                      <a:pt x="110" y="396"/>
                    </a:lnTo>
                    <a:lnTo>
                      <a:pt x="110" y="396"/>
                    </a:lnTo>
                    <a:lnTo>
                      <a:pt x="110" y="394"/>
                    </a:lnTo>
                    <a:lnTo>
                      <a:pt x="112" y="384"/>
                    </a:lnTo>
                    <a:lnTo>
                      <a:pt x="92" y="352"/>
                    </a:lnTo>
                    <a:lnTo>
                      <a:pt x="90" y="336"/>
                    </a:lnTo>
                    <a:lnTo>
                      <a:pt x="72" y="298"/>
                    </a:lnTo>
                    <a:lnTo>
                      <a:pt x="66" y="250"/>
                    </a:lnTo>
                    <a:lnTo>
                      <a:pt x="60" y="236"/>
                    </a:lnTo>
                    <a:lnTo>
                      <a:pt x="60" y="236"/>
                    </a:lnTo>
                    <a:lnTo>
                      <a:pt x="60" y="234"/>
                    </a:lnTo>
                    <a:lnTo>
                      <a:pt x="66" y="228"/>
                    </a:lnTo>
                    <a:lnTo>
                      <a:pt x="64" y="222"/>
                    </a:lnTo>
                    <a:lnTo>
                      <a:pt x="60" y="212"/>
                    </a:lnTo>
                    <a:lnTo>
                      <a:pt x="58" y="212"/>
                    </a:lnTo>
                    <a:lnTo>
                      <a:pt x="56" y="222"/>
                    </a:lnTo>
                    <a:lnTo>
                      <a:pt x="56" y="222"/>
                    </a:lnTo>
                    <a:lnTo>
                      <a:pt x="54" y="222"/>
                    </a:lnTo>
                    <a:lnTo>
                      <a:pt x="44" y="234"/>
                    </a:lnTo>
                    <a:lnTo>
                      <a:pt x="44" y="234"/>
                    </a:lnTo>
                    <a:lnTo>
                      <a:pt x="44" y="234"/>
                    </a:lnTo>
                    <a:lnTo>
                      <a:pt x="36" y="236"/>
                    </a:lnTo>
                    <a:lnTo>
                      <a:pt x="36" y="236"/>
                    </a:lnTo>
                    <a:lnTo>
                      <a:pt x="36" y="236"/>
                    </a:lnTo>
                    <a:lnTo>
                      <a:pt x="36" y="236"/>
                    </a:lnTo>
                    <a:lnTo>
                      <a:pt x="34" y="236"/>
                    </a:lnTo>
                    <a:lnTo>
                      <a:pt x="22" y="228"/>
                    </a:lnTo>
                    <a:lnTo>
                      <a:pt x="22" y="228"/>
                    </a:lnTo>
                    <a:lnTo>
                      <a:pt x="22" y="228"/>
                    </a:lnTo>
                    <a:lnTo>
                      <a:pt x="18" y="220"/>
                    </a:lnTo>
                    <a:lnTo>
                      <a:pt x="10" y="210"/>
                    </a:lnTo>
                    <a:lnTo>
                      <a:pt x="10" y="210"/>
                    </a:lnTo>
                    <a:lnTo>
                      <a:pt x="10" y="208"/>
                    </a:lnTo>
                    <a:lnTo>
                      <a:pt x="10" y="208"/>
                    </a:lnTo>
                    <a:lnTo>
                      <a:pt x="10" y="206"/>
                    </a:lnTo>
                    <a:lnTo>
                      <a:pt x="24" y="206"/>
                    </a:lnTo>
                    <a:lnTo>
                      <a:pt x="28" y="202"/>
                    </a:lnTo>
                    <a:lnTo>
                      <a:pt x="22" y="202"/>
                    </a:lnTo>
                    <a:lnTo>
                      <a:pt x="10" y="202"/>
                    </a:lnTo>
                    <a:lnTo>
                      <a:pt x="10" y="202"/>
                    </a:lnTo>
                    <a:lnTo>
                      <a:pt x="10" y="202"/>
                    </a:lnTo>
                    <a:lnTo>
                      <a:pt x="4" y="196"/>
                    </a:lnTo>
                    <a:lnTo>
                      <a:pt x="0" y="188"/>
                    </a:lnTo>
                    <a:lnTo>
                      <a:pt x="0" y="188"/>
                    </a:lnTo>
                    <a:lnTo>
                      <a:pt x="0" y="186"/>
                    </a:lnTo>
                    <a:lnTo>
                      <a:pt x="6" y="176"/>
                    </a:lnTo>
                    <a:lnTo>
                      <a:pt x="6" y="176"/>
                    </a:lnTo>
                    <a:lnTo>
                      <a:pt x="8" y="174"/>
                    </a:lnTo>
                    <a:lnTo>
                      <a:pt x="14" y="174"/>
                    </a:lnTo>
                    <a:lnTo>
                      <a:pt x="14" y="174"/>
                    </a:lnTo>
                    <a:lnTo>
                      <a:pt x="16" y="176"/>
                    </a:lnTo>
                    <a:lnTo>
                      <a:pt x="22" y="180"/>
                    </a:lnTo>
                    <a:lnTo>
                      <a:pt x="24" y="176"/>
                    </a:lnTo>
                    <a:lnTo>
                      <a:pt x="24" y="176"/>
                    </a:lnTo>
                    <a:lnTo>
                      <a:pt x="26" y="174"/>
                    </a:lnTo>
                    <a:lnTo>
                      <a:pt x="36" y="174"/>
                    </a:lnTo>
                    <a:lnTo>
                      <a:pt x="36" y="168"/>
                    </a:lnTo>
                    <a:lnTo>
                      <a:pt x="26" y="156"/>
                    </a:lnTo>
                    <a:lnTo>
                      <a:pt x="26" y="156"/>
                    </a:lnTo>
                    <a:lnTo>
                      <a:pt x="24" y="156"/>
                    </a:lnTo>
                    <a:lnTo>
                      <a:pt x="22" y="144"/>
                    </a:lnTo>
                    <a:lnTo>
                      <a:pt x="16" y="144"/>
                    </a:lnTo>
                    <a:lnTo>
                      <a:pt x="16" y="144"/>
                    </a:lnTo>
                    <a:lnTo>
                      <a:pt x="14" y="142"/>
                    </a:lnTo>
                    <a:lnTo>
                      <a:pt x="14" y="134"/>
                    </a:lnTo>
                    <a:lnTo>
                      <a:pt x="14" y="134"/>
                    </a:lnTo>
                    <a:lnTo>
                      <a:pt x="14" y="132"/>
                    </a:lnTo>
                    <a:lnTo>
                      <a:pt x="24" y="122"/>
                    </a:lnTo>
                    <a:lnTo>
                      <a:pt x="24" y="122"/>
                    </a:lnTo>
                    <a:lnTo>
                      <a:pt x="26" y="120"/>
                    </a:lnTo>
                    <a:lnTo>
                      <a:pt x="32" y="120"/>
                    </a:lnTo>
                    <a:lnTo>
                      <a:pt x="32" y="120"/>
                    </a:lnTo>
                    <a:lnTo>
                      <a:pt x="34" y="122"/>
                    </a:lnTo>
                    <a:lnTo>
                      <a:pt x="40" y="124"/>
                    </a:lnTo>
                    <a:lnTo>
                      <a:pt x="48" y="122"/>
                    </a:lnTo>
                    <a:lnTo>
                      <a:pt x="88" y="74"/>
                    </a:lnTo>
                    <a:lnTo>
                      <a:pt x="88" y="62"/>
                    </a:lnTo>
                    <a:lnTo>
                      <a:pt x="88" y="62"/>
                    </a:lnTo>
                    <a:lnTo>
                      <a:pt x="90" y="60"/>
                    </a:lnTo>
                    <a:lnTo>
                      <a:pt x="94" y="56"/>
                    </a:lnTo>
                    <a:lnTo>
                      <a:pt x="80" y="46"/>
                    </a:lnTo>
                    <a:lnTo>
                      <a:pt x="80" y="46"/>
                    </a:lnTo>
                    <a:lnTo>
                      <a:pt x="80" y="44"/>
                    </a:lnTo>
                    <a:lnTo>
                      <a:pt x="78" y="18"/>
                    </a:lnTo>
                    <a:lnTo>
                      <a:pt x="78" y="18"/>
                    </a:lnTo>
                    <a:lnTo>
                      <a:pt x="78" y="16"/>
                    </a:lnTo>
                    <a:lnTo>
                      <a:pt x="78" y="16"/>
                    </a:lnTo>
                    <a:lnTo>
                      <a:pt x="80" y="16"/>
                    </a:lnTo>
                    <a:lnTo>
                      <a:pt x="80" y="16"/>
                    </a:lnTo>
                    <a:lnTo>
                      <a:pt x="108" y="18"/>
                    </a:lnTo>
                    <a:lnTo>
                      <a:pt x="120" y="16"/>
                    </a:lnTo>
                    <a:lnTo>
                      <a:pt x="124" y="0"/>
                    </a:lnTo>
                    <a:lnTo>
                      <a:pt x="124" y="0"/>
                    </a:lnTo>
                    <a:lnTo>
                      <a:pt x="126" y="0"/>
                    </a:lnTo>
                    <a:lnTo>
                      <a:pt x="126" y="0"/>
                    </a:lnTo>
                    <a:lnTo>
                      <a:pt x="126" y="0"/>
                    </a:lnTo>
                    <a:lnTo>
                      <a:pt x="138" y="2"/>
                    </a:lnTo>
                    <a:lnTo>
                      <a:pt x="138" y="2"/>
                    </a:lnTo>
                    <a:lnTo>
                      <a:pt x="138" y="2"/>
                    </a:lnTo>
                    <a:lnTo>
                      <a:pt x="140" y="14"/>
                    </a:lnTo>
                    <a:lnTo>
                      <a:pt x="148" y="20"/>
                    </a:lnTo>
                    <a:lnTo>
                      <a:pt x="148" y="20"/>
                    </a:lnTo>
                    <a:lnTo>
                      <a:pt x="150" y="20"/>
                    </a:lnTo>
                    <a:lnTo>
                      <a:pt x="152" y="28"/>
                    </a:lnTo>
                    <a:lnTo>
                      <a:pt x="152" y="36"/>
                    </a:lnTo>
                    <a:lnTo>
                      <a:pt x="162" y="42"/>
                    </a:lnTo>
                    <a:lnTo>
                      <a:pt x="162" y="42"/>
                    </a:lnTo>
                    <a:lnTo>
                      <a:pt x="162" y="44"/>
                    </a:lnTo>
                    <a:lnTo>
                      <a:pt x="160" y="52"/>
                    </a:lnTo>
                    <a:lnTo>
                      <a:pt x="160" y="52"/>
                    </a:lnTo>
                    <a:lnTo>
                      <a:pt x="158" y="54"/>
                    </a:lnTo>
                    <a:lnTo>
                      <a:pt x="150" y="54"/>
                    </a:lnTo>
                    <a:lnTo>
                      <a:pt x="148" y="62"/>
                    </a:lnTo>
                    <a:lnTo>
                      <a:pt x="148" y="68"/>
                    </a:lnTo>
                    <a:lnTo>
                      <a:pt x="170" y="78"/>
                    </a:lnTo>
                    <a:lnTo>
                      <a:pt x="180" y="88"/>
                    </a:lnTo>
                    <a:lnTo>
                      <a:pt x="180" y="88"/>
                    </a:lnTo>
                    <a:lnTo>
                      <a:pt x="182" y="90"/>
                    </a:lnTo>
                    <a:lnTo>
                      <a:pt x="182" y="90"/>
                    </a:lnTo>
                    <a:lnTo>
                      <a:pt x="180" y="90"/>
                    </a:lnTo>
                    <a:lnTo>
                      <a:pt x="170" y="98"/>
                    </a:lnTo>
                    <a:lnTo>
                      <a:pt x="168" y="110"/>
                    </a:lnTo>
                    <a:lnTo>
                      <a:pt x="184" y="114"/>
                    </a:lnTo>
                    <a:lnTo>
                      <a:pt x="208" y="128"/>
                    </a:lnTo>
                    <a:lnTo>
                      <a:pt x="230" y="130"/>
                    </a:lnTo>
                    <a:lnTo>
                      <a:pt x="230" y="130"/>
                    </a:lnTo>
                    <a:lnTo>
                      <a:pt x="230" y="130"/>
                    </a:lnTo>
                    <a:lnTo>
                      <a:pt x="244" y="142"/>
                    </a:lnTo>
                    <a:lnTo>
                      <a:pt x="256" y="146"/>
                    </a:lnTo>
                    <a:lnTo>
                      <a:pt x="278" y="144"/>
                    </a:lnTo>
                    <a:lnTo>
                      <a:pt x="278" y="124"/>
                    </a:lnTo>
                    <a:lnTo>
                      <a:pt x="278" y="124"/>
                    </a:lnTo>
                    <a:lnTo>
                      <a:pt x="278" y="124"/>
                    </a:lnTo>
                    <a:lnTo>
                      <a:pt x="278" y="124"/>
                    </a:lnTo>
                    <a:lnTo>
                      <a:pt x="280" y="122"/>
                    </a:lnTo>
                    <a:lnTo>
                      <a:pt x="294" y="122"/>
                    </a:lnTo>
                    <a:lnTo>
                      <a:pt x="294" y="122"/>
                    </a:lnTo>
                    <a:lnTo>
                      <a:pt x="296" y="124"/>
                    </a:lnTo>
                    <a:lnTo>
                      <a:pt x="296" y="132"/>
                    </a:lnTo>
                    <a:lnTo>
                      <a:pt x="296" y="136"/>
                    </a:lnTo>
                    <a:lnTo>
                      <a:pt x="302" y="140"/>
                    </a:lnTo>
                    <a:lnTo>
                      <a:pt x="308" y="140"/>
                    </a:lnTo>
                    <a:lnTo>
                      <a:pt x="332" y="138"/>
                    </a:lnTo>
                    <a:lnTo>
                      <a:pt x="336" y="134"/>
                    </a:lnTo>
                    <a:lnTo>
                      <a:pt x="332" y="126"/>
                    </a:lnTo>
                    <a:lnTo>
                      <a:pt x="332" y="126"/>
                    </a:lnTo>
                    <a:lnTo>
                      <a:pt x="332" y="124"/>
                    </a:lnTo>
                    <a:lnTo>
                      <a:pt x="332" y="124"/>
                    </a:lnTo>
                    <a:lnTo>
                      <a:pt x="334" y="122"/>
                    </a:lnTo>
                    <a:lnTo>
                      <a:pt x="342" y="122"/>
                    </a:lnTo>
                    <a:lnTo>
                      <a:pt x="350" y="110"/>
                    </a:lnTo>
                    <a:lnTo>
                      <a:pt x="350" y="110"/>
                    </a:lnTo>
                    <a:lnTo>
                      <a:pt x="352" y="108"/>
                    </a:lnTo>
                    <a:lnTo>
                      <a:pt x="362" y="108"/>
                    </a:lnTo>
                    <a:lnTo>
                      <a:pt x="366" y="102"/>
                    </a:lnTo>
                    <a:lnTo>
                      <a:pt x="366" y="102"/>
                    </a:lnTo>
                    <a:lnTo>
                      <a:pt x="368" y="102"/>
                    </a:lnTo>
                    <a:lnTo>
                      <a:pt x="388" y="102"/>
                    </a:lnTo>
                    <a:lnTo>
                      <a:pt x="396" y="100"/>
                    </a:lnTo>
                    <a:lnTo>
                      <a:pt x="396" y="100"/>
                    </a:lnTo>
                    <a:lnTo>
                      <a:pt x="396" y="100"/>
                    </a:lnTo>
                    <a:lnTo>
                      <a:pt x="396" y="100"/>
                    </a:lnTo>
                    <a:lnTo>
                      <a:pt x="398" y="100"/>
                    </a:lnTo>
                    <a:lnTo>
                      <a:pt x="398" y="100"/>
                    </a:lnTo>
                    <a:lnTo>
                      <a:pt x="398" y="102"/>
                    </a:lnTo>
                    <a:lnTo>
                      <a:pt x="398" y="112"/>
                    </a:lnTo>
                    <a:lnTo>
                      <a:pt x="410" y="114"/>
                    </a:lnTo>
                    <a:lnTo>
                      <a:pt x="410" y="114"/>
                    </a:lnTo>
                    <a:lnTo>
                      <a:pt x="412" y="114"/>
                    </a:lnTo>
                    <a:lnTo>
                      <a:pt x="412" y="114"/>
                    </a:lnTo>
                    <a:lnTo>
                      <a:pt x="412" y="116"/>
                    </a:lnTo>
                    <a:lnTo>
                      <a:pt x="408" y="126"/>
                    </a:lnTo>
                    <a:lnTo>
                      <a:pt x="408" y="134"/>
                    </a:lnTo>
                    <a:lnTo>
                      <a:pt x="408" y="134"/>
                    </a:lnTo>
                    <a:lnTo>
                      <a:pt x="406" y="136"/>
                    </a:lnTo>
                    <a:lnTo>
                      <a:pt x="394" y="136"/>
                    </a:lnTo>
                    <a:lnTo>
                      <a:pt x="380" y="148"/>
                    </a:lnTo>
                    <a:lnTo>
                      <a:pt x="378" y="158"/>
                    </a:lnTo>
                    <a:lnTo>
                      <a:pt x="378" y="158"/>
                    </a:lnTo>
                    <a:lnTo>
                      <a:pt x="378" y="158"/>
                    </a:lnTo>
                    <a:lnTo>
                      <a:pt x="372" y="166"/>
                    </a:lnTo>
                    <a:lnTo>
                      <a:pt x="368" y="182"/>
                    </a:lnTo>
                    <a:lnTo>
                      <a:pt x="368" y="182"/>
                    </a:lnTo>
                    <a:lnTo>
                      <a:pt x="366" y="184"/>
                    </a:lnTo>
                    <a:lnTo>
                      <a:pt x="356" y="186"/>
                    </a:lnTo>
                    <a:lnTo>
                      <a:pt x="350" y="210"/>
                    </a:lnTo>
                    <a:lnTo>
                      <a:pt x="350" y="210"/>
                    </a:lnTo>
                    <a:lnTo>
                      <a:pt x="350" y="210"/>
                    </a:lnTo>
                    <a:lnTo>
                      <a:pt x="344" y="216"/>
                    </a:lnTo>
                    <a:lnTo>
                      <a:pt x="344" y="216"/>
                    </a:lnTo>
                    <a:lnTo>
                      <a:pt x="342" y="216"/>
                    </a:lnTo>
                    <a:lnTo>
                      <a:pt x="342" y="216"/>
                    </a:lnTo>
                    <a:lnTo>
                      <a:pt x="342" y="216"/>
                    </a:lnTo>
                    <a:lnTo>
                      <a:pt x="342" y="216"/>
                    </a:lnTo>
                    <a:lnTo>
                      <a:pt x="342" y="214"/>
                    </a:lnTo>
                    <a:lnTo>
                      <a:pt x="340" y="210"/>
                    </a:lnTo>
                    <a:lnTo>
                      <a:pt x="340" y="200"/>
                    </a:lnTo>
                    <a:lnTo>
                      <a:pt x="340" y="190"/>
                    </a:lnTo>
                    <a:lnTo>
                      <a:pt x="336" y="190"/>
                    </a:lnTo>
                    <a:lnTo>
                      <a:pt x="332" y="198"/>
                    </a:lnTo>
                    <a:lnTo>
                      <a:pt x="332" y="198"/>
                    </a:lnTo>
                    <a:lnTo>
                      <a:pt x="332" y="200"/>
                    </a:lnTo>
                    <a:lnTo>
                      <a:pt x="332" y="200"/>
                    </a:lnTo>
                    <a:lnTo>
                      <a:pt x="330" y="200"/>
                    </a:lnTo>
                    <a:lnTo>
                      <a:pt x="330" y="200"/>
                    </a:lnTo>
                    <a:lnTo>
                      <a:pt x="330" y="200"/>
                    </a:lnTo>
                    <a:lnTo>
                      <a:pt x="322" y="196"/>
                    </a:lnTo>
                    <a:lnTo>
                      <a:pt x="322" y="196"/>
                    </a:lnTo>
                    <a:lnTo>
                      <a:pt x="322" y="194"/>
                    </a:lnTo>
                    <a:lnTo>
                      <a:pt x="322" y="188"/>
                    </a:lnTo>
                    <a:lnTo>
                      <a:pt x="322" y="188"/>
                    </a:lnTo>
                    <a:lnTo>
                      <a:pt x="322" y="186"/>
                    </a:lnTo>
                    <a:lnTo>
                      <a:pt x="326" y="180"/>
                    </a:lnTo>
                    <a:lnTo>
                      <a:pt x="326" y="180"/>
                    </a:lnTo>
                    <a:lnTo>
                      <a:pt x="326" y="180"/>
                    </a:lnTo>
                    <a:lnTo>
                      <a:pt x="336" y="176"/>
                    </a:lnTo>
                    <a:lnTo>
                      <a:pt x="336" y="168"/>
                    </a:lnTo>
                    <a:lnTo>
                      <a:pt x="308" y="168"/>
                    </a:lnTo>
                    <a:lnTo>
                      <a:pt x="308" y="168"/>
                    </a:lnTo>
                    <a:lnTo>
                      <a:pt x="306" y="166"/>
                    </a:lnTo>
                    <a:lnTo>
                      <a:pt x="300" y="156"/>
                    </a:lnTo>
                    <a:lnTo>
                      <a:pt x="292" y="154"/>
                    </a:lnTo>
                    <a:lnTo>
                      <a:pt x="292" y="154"/>
                    </a:lnTo>
                    <a:lnTo>
                      <a:pt x="292" y="152"/>
                    </a:lnTo>
                    <a:lnTo>
                      <a:pt x="290" y="150"/>
                    </a:lnTo>
                    <a:lnTo>
                      <a:pt x="286" y="152"/>
                    </a:lnTo>
                    <a:lnTo>
                      <a:pt x="286" y="156"/>
                    </a:lnTo>
                    <a:lnTo>
                      <a:pt x="292" y="162"/>
                    </a:lnTo>
                    <a:lnTo>
                      <a:pt x="292" y="162"/>
                    </a:lnTo>
                    <a:lnTo>
                      <a:pt x="294" y="164"/>
                    </a:lnTo>
                    <a:lnTo>
                      <a:pt x="294" y="164"/>
                    </a:lnTo>
                    <a:lnTo>
                      <a:pt x="292" y="166"/>
                    </a:lnTo>
                    <a:lnTo>
                      <a:pt x="284" y="170"/>
                    </a:lnTo>
                    <a:lnTo>
                      <a:pt x="284" y="176"/>
                    </a:lnTo>
                    <a:lnTo>
                      <a:pt x="290" y="178"/>
                    </a:lnTo>
                    <a:lnTo>
                      <a:pt x="290" y="178"/>
                    </a:lnTo>
                    <a:lnTo>
                      <a:pt x="290" y="180"/>
                    </a:lnTo>
                    <a:lnTo>
                      <a:pt x="292" y="192"/>
                    </a:lnTo>
                    <a:lnTo>
                      <a:pt x="296" y="212"/>
                    </a:lnTo>
                    <a:lnTo>
                      <a:pt x="296" y="212"/>
                    </a:lnTo>
                    <a:lnTo>
                      <a:pt x="294" y="214"/>
                    </a:lnTo>
                    <a:lnTo>
                      <a:pt x="286" y="220"/>
                    </a:lnTo>
                    <a:lnTo>
                      <a:pt x="266" y="224"/>
                    </a:lnTo>
                    <a:lnTo>
                      <a:pt x="262" y="236"/>
                    </a:lnTo>
                    <a:lnTo>
                      <a:pt x="262" y="236"/>
                    </a:lnTo>
                    <a:lnTo>
                      <a:pt x="260" y="238"/>
                    </a:lnTo>
                    <a:lnTo>
                      <a:pt x="248" y="248"/>
                    </a:lnTo>
                    <a:lnTo>
                      <a:pt x="248" y="248"/>
                    </a:lnTo>
                    <a:lnTo>
                      <a:pt x="248" y="248"/>
                    </a:lnTo>
                    <a:lnTo>
                      <a:pt x="236" y="252"/>
                    </a:lnTo>
                    <a:lnTo>
                      <a:pt x="232" y="262"/>
                    </a:lnTo>
                    <a:lnTo>
                      <a:pt x="232" y="262"/>
                    </a:lnTo>
                    <a:lnTo>
                      <a:pt x="232" y="262"/>
                    </a:lnTo>
                    <a:lnTo>
                      <a:pt x="212" y="282"/>
                    </a:lnTo>
                    <a:lnTo>
                      <a:pt x="212" y="282"/>
                    </a:lnTo>
                    <a:lnTo>
                      <a:pt x="210" y="282"/>
                    </a:lnTo>
                    <a:lnTo>
                      <a:pt x="200" y="284"/>
                    </a:lnTo>
                    <a:lnTo>
                      <a:pt x="198" y="288"/>
                    </a:lnTo>
                    <a:lnTo>
                      <a:pt x="196" y="296"/>
                    </a:lnTo>
                    <a:lnTo>
                      <a:pt x="196" y="296"/>
                    </a:lnTo>
                    <a:lnTo>
                      <a:pt x="194" y="296"/>
                    </a:lnTo>
                    <a:lnTo>
                      <a:pt x="184" y="300"/>
                    </a:lnTo>
                    <a:lnTo>
                      <a:pt x="184" y="306"/>
                    </a:lnTo>
                    <a:lnTo>
                      <a:pt x="184" y="306"/>
                    </a:lnTo>
                    <a:lnTo>
                      <a:pt x="182" y="308"/>
                    </a:lnTo>
                    <a:lnTo>
                      <a:pt x="172" y="310"/>
                    </a:lnTo>
                    <a:lnTo>
                      <a:pt x="166" y="314"/>
                    </a:lnTo>
                    <a:lnTo>
                      <a:pt x="170" y="330"/>
                    </a:lnTo>
                    <a:lnTo>
                      <a:pt x="170" y="330"/>
                    </a:lnTo>
                    <a:lnTo>
                      <a:pt x="170" y="332"/>
                    </a:lnTo>
                    <a:lnTo>
                      <a:pt x="170" y="338"/>
                    </a:lnTo>
                    <a:lnTo>
                      <a:pt x="170" y="348"/>
                    </a:lnTo>
                    <a:lnTo>
                      <a:pt x="170" y="348"/>
                    </a:lnTo>
                    <a:lnTo>
                      <a:pt x="170" y="350"/>
                    </a:lnTo>
                    <a:lnTo>
                      <a:pt x="164" y="364"/>
                    </a:lnTo>
                    <a:lnTo>
                      <a:pt x="164" y="380"/>
                    </a:lnTo>
                    <a:lnTo>
                      <a:pt x="164" y="380"/>
                    </a:lnTo>
                    <a:lnTo>
                      <a:pt x="164" y="382"/>
                    </a:lnTo>
                    <a:lnTo>
                      <a:pt x="152" y="392"/>
                    </a:lnTo>
                    <a:lnTo>
                      <a:pt x="154" y="400"/>
                    </a:lnTo>
                    <a:lnTo>
                      <a:pt x="154" y="400"/>
                    </a:lnTo>
                    <a:lnTo>
                      <a:pt x="154" y="402"/>
                    </a:lnTo>
                    <a:lnTo>
                      <a:pt x="154" y="402"/>
                    </a:lnTo>
                    <a:lnTo>
                      <a:pt x="152" y="402"/>
                    </a:lnTo>
                    <a:lnTo>
                      <a:pt x="146" y="402"/>
                    </a:lnTo>
                    <a:lnTo>
                      <a:pt x="136" y="418"/>
                    </a:lnTo>
                    <a:lnTo>
                      <a:pt x="136" y="418"/>
                    </a:lnTo>
                    <a:lnTo>
                      <a:pt x="134" y="418"/>
                    </a:lnTo>
                    <a:lnTo>
                      <a:pt x="134" y="4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5" name="Freeform 908"/>
              <p:cNvSpPr>
                <a:spLocks noEditPoints="1"/>
              </p:cNvSpPr>
              <p:nvPr/>
            </p:nvSpPr>
            <p:spPr bwMode="auto">
              <a:xfrm>
                <a:off x="3829" y="1991"/>
                <a:ext cx="416" cy="422"/>
              </a:xfrm>
              <a:custGeom>
                <a:avLst/>
                <a:gdLst>
                  <a:gd name="T0" fmla="*/ 160 w 416"/>
                  <a:gd name="T1" fmla="*/ 54 h 422"/>
                  <a:gd name="T2" fmla="*/ 186 w 416"/>
                  <a:gd name="T3" fmla="*/ 118 h 422"/>
                  <a:gd name="T4" fmla="*/ 296 w 416"/>
                  <a:gd name="T5" fmla="*/ 134 h 422"/>
                  <a:gd name="T6" fmla="*/ 354 w 416"/>
                  <a:gd name="T7" fmla="*/ 112 h 422"/>
                  <a:gd name="T8" fmla="*/ 408 w 416"/>
                  <a:gd name="T9" fmla="*/ 136 h 422"/>
                  <a:gd name="T10" fmla="*/ 344 w 416"/>
                  <a:gd name="T11" fmla="*/ 216 h 422"/>
                  <a:gd name="T12" fmla="*/ 328 w 416"/>
                  <a:gd name="T13" fmla="*/ 184 h 422"/>
                  <a:gd name="T14" fmla="*/ 286 w 416"/>
                  <a:gd name="T15" fmla="*/ 154 h 422"/>
                  <a:gd name="T16" fmla="*/ 286 w 416"/>
                  <a:gd name="T17" fmla="*/ 220 h 422"/>
                  <a:gd name="T18" fmla="*/ 198 w 416"/>
                  <a:gd name="T19" fmla="*/ 290 h 422"/>
                  <a:gd name="T20" fmla="*/ 170 w 416"/>
                  <a:gd name="T21" fmla="*/ 350 h 422"/>
                  <a:gd name="T22" fmla="*/ 124 w 416"/>
                  <a:gd name="T23" fmla="*/ 414 h 422"/>
                  <a:gd name="T24" fmla="*/ 70 w 416"/>
                  <a:gd name="T25" fmla="*/ 230 h 422"/>
                  <a:gd name="T26" fmla="*/ 22 w 416"/>
                  <a:gd name="T27" fmla="*/ 222 h 422"/>
                  <a:gd name="T28" fmla="*/ 10 w 416"/>
                  <a:gd name="T29" fmla="*/ 178 h 422"/>
                  <a:gd name="T30" fmla="*/ 18 w 416"/>
                  <a:gd name="T31" fmla="*/ 144 h 422"/>
                  <a:gd name="T32" fmla="*/ 98 w 416"/>
                  <a:gd name="T33" fmla="*/ 58 h 422"/>
                  <a:gd name="T34" fmla="*/ 126 w 416"/>
                  <a:gd name="T35" fmla="*/ 0 h 422"/>
                  <a:gd name="T36" fmla="*/ 80 w 416"/>
                  <a:gd name="T37" fmla="*/ 16 h 422"/>
                  <a:gd name="T38" fmla="*/ 90 w 416"/>
                  <a:gd name="T39" fmla="*/ 62 h 422"/>
                  <a:gd name="T40" fmla="*/ 28 w 416"/>
                  <a:gd name="T41" fmla="*/ 120 h 422"/>
                  <a:gd name="T42" fmla="*/ 16 w 416"/>
                  <a:gd name="T43" fmla="*/ 148 h 422"/>
                  <a:gd name="T44" fmla="*/ 28 w 416"/>
                  <a:gd name="T45" fmla="*/ 174 h 422"/>
                  <a:gd name="T46" fmla="*/ 10 w 416"/>
                  <a:gd name="T47" fmla="*/ 174 h 422"/>
                  <a:gd name="T48" fmla="*/ 4 w 416"/>
                  <a:gd name="T49" fmla="*/ 200 h 422"/>
                  <a:gd name="T50" fmla="*/ 12 w 416"/>
                  <a:gd name="T51" fmla="*/ 206 h 422"/>
                  <a:gd name="T52" fmla="*/ 22 w 416"/>
                  <a:gd name="T53" fmla="*/ 230 h 422"/>
                  <a:gd name="T54" fmla="*/ 46 w 416"/>
                  <a:gd name="T55" fmla="*/ 238 h 422"/>
                  <a:gd name="T56" fmla="*/ 66 w 416"/>
                  <a:gd name="T57" fmla="*/ 230 h 422"/>
                  <a:gd name="T58" fmla="*/ 90 w 416"/>
                  <a:gd name="T59" fmla="*/ 340 h 422"/>
                  <a:gd name="T60" fmla="*/ 122 w 416"/>
                  <a:gd name="T61" fmla="*/ 416 h 422"/>
                  <a:gd name="T62" fmla="*/ 146 w 416"/>
                  <a:gd name="T63" fmla="*/ 410 h 422"/>
                  <a:gd name="T64" fmla="*/ 166 w 416"/>
                  <a:gd name="T65" fmla="*/ 386 h 422"/>
                  <a:gd name="T66" fmla="*/ 174 w 416"/>
                  <a:gd name="T67" fmla="*/ 334 h 422"/>
                  <a:gd name="T68" fmla="*/ 188 w 416"/>
                  <a:gd name="T69" fmla="*/ 308 h 422"/>
                  <a:gd name="T70" fmla="*/ 212 w 416"/>
                  <a:gd name="T71" fmla="*/ 286 h 422"/>
                  <a:gd name="T72" fmla="*/ 252 w 416"/>
                  <a:gd name="T73" fmla="*/ 252 h 422"/>
                  <a:gd name="T74" fmla="*/ 298 w 416"/>
                  <a:gd name="T75" fmla="*/ 218 h 422"/>
                  <a:gd name="T76" fmla="*/ 288 w 416"/>
                  <a:gd name="T77" fmla="*/ 176 h 422"/>
                  <a:gd name="T78" fmla="*/ 290 w 416"/>
                  <a:gd name="T79" fmla="*/ 156 h 422"/>
                  <a:gd name="T80" fmla="*/ 308 w 416"/>
                  <a:gd name="T81" fmla="*/ 172 h 422"/>
                  <a:gd name="T82" fmla="*/ 322 w 416"/>
                  <a:gd name="T83" fmla="*/ 188 h 422"/>
                  <a:gd name="T84" fmla="*/ 332 w 416"/>
                  <a:gd name="T85" fmla="*/ 204 h 422"/>
                  <a:gd name="T86" fmla="*/ 340 w 416"/>
                  <a:gd name="T87" fmla="*/ 202 h 422"/>
                  <a:gd name="T88" fmla="*/ 344 w 416"/>
                  <a:gd name="T89" fmla="*/ 220 h 422"/>
                  <a:gd name="T90" fmla="*/ 368 w 416"/>
                  <a:gd name="T91" fmla="*/ 188 h 422"/>
                  <a:gd name="T92" fmla="*/ 384 w 416"/>
                  <a:gd name="T93" fmla="*/ 150 h 422"/>
                  <a:gd name="T94" fmla="*/ 416 w 416"/>
                  <a:gd name="T95" fmla="*/ 120 h 422"/>
                  <a:gd name="T96" fmla="*/ 400 w 416"/>
                  <a:gd name="T97" fmla="*/ 100 h 422"/>
                  <a:gd name="T98" fmla="*/ 362 w 416"/>
                  <a:gd name="T99" fmla="*/ 108 h 422"/>
                  <a:gd name="T100" fmla="*/ 332 w 416"/>
                  <a:gd name="T101" fmla="*/ 124 h 422"/>
                  <a:gd name="T102" fmla="*/ 300 w 416"/>
                  <a:gd name="T103" fmla="*/ 126 h 422"/>
                  <a:gd name="T104" fmla="*/ 278 w 416"/>
                  <a:gd name="T105" fmla="*/ 128 h 422"/>
                  <a:gd name="T106" fmla="*/ 188 w 416"/>
                  <a:gd name="T107" fmla="*/ 114 h 422"/>
                  <a:gd name="T108" fmla="*/ 186 w 416"/>
                  <a:gd name="T109" fmla="*/ 92 h 422"/>
                  <a:gd name="T110" fmla="*/ 162 w 416"/>
                  <a:gd name="T111" fmla="*/ 58 h 422"/>
                  <a:gd name="T112" fmla="*/ 156 w 416"/>
                  <a:gd name="T113" fmla="*/ 36 h 422"/>
                  <a:gd name="T114" fmla="*/ 142 w 416"/>
                  <a:gd name="T115" fmla="*/ 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6" h="422">
                    <a:moveTo>
                      <a:pt x="128" y="4"/>
                    </a:moveTo>
                    <a:lnTo>
                      <a:pt x="138" y="6"/>
                    </a:lnTo>
                    <a:lnTo>
                      <a:pt x="140" y="18"/>
                    </a:lnTo>
                    <a:lnTo>
                      <a:pt x="150" y="22"/>
                    </a:lnTo>
                    <a:lnTo>
                      <a:pt x="152" y="30"/>
                    </a:lnTo>
                    <a:lnTo>
                      <a:pt x="152" y="40"/>
                    </a:lnTo>
                    <a:lnTo>
                      <a:pt x="162" y="46"/>
                    </a:lnTo>
                    <a:lnTo>
                      <a:pt x="160" y="54"/>
                    </a:lnTo>
                    <a:lnTo>
                      <a:pt x="152" y="56"/>
                    </a:lnTo>
                    <a:lnTo>
                      <a:pt x="148" y="64"/>
                    </a:lnTo>
                    <a:lnTo>
                      <a:pt x="148" y="72"/>
                    </a:lnTo>
                    <a:lnTo>
                      <a:pt x="170" y="82"/>
                    </a:lnTo>
                    <a:lnTo>
                      <a:pt x="182" y="90"/>
                    </a:lnTo>
                    <a:lnTo>
                      <a:pt x="170" y="98"/>
                    </a:lnTo>
                    <a:lnTo>
                      <a:pt x="168" y="112"/>
                    </a:lnTo>
                    <a:lnTo>
                      <a:pt x="186" y="118"/>
                    </a:lnTo>
                    <a:lnTo>
                      <a:pt x="210" y="132"/>
                    </a:lnTo>
                    <a:lnTo>
                      <a:pt x="232" y="134"/>
                    </a:lnTo>
                    <a:lnTo>
                      <a:pt x="246" y="144"/>
                    </a:lnTo>
                    <a:lnTo>
                      <a:pt x="258" y="150"/>
                    </a:lnTo>
                    <a:lnTo>
                      <a:pt x="282" y="148"/>
                    </a:lnTo>
                    <a:lnTo>
                      <a:pt x="282" y="126"/>
                    </a:lnTo>
                    <a:lnTo>
                      <a:pt x="296" y="126"/>
                    </a:lnTo>
                    <a:lnTo>
                      <a:pt x="296" y="134"/>
                    </a:lnTo>
                    <a:lnTo>
                      <a:pt x="298" y="140"/>
                    </a:lnTo>
                    <a:lnTo>
                      <a:pt x="302" y="142"/>
                    </a:lnTo>
                    <a:lnTo>
                      <a:pt x="310" y="144"/>
                    </a:lnTo>
                    <a:lnTo>
                      <a:pt x="336" y="142"/>
                    </a:lnTo>
                    <a:lnTo>
                      <a:pt x="340" y="136"/>
                    </a:lnTo>
                    <a:lnTo>
                      <a:pt x="336" y="126"/>
                    </a:lnTo>
                    <a:lnTo>
                      <a:pt x="344" y="124"/>
                    </a:lnTo>
                    <a:lnTo>
                      <a:pt x="354" y="112"/>
                    </a:lnTo>
                    <a:lnTo>
                      <a:pt x="364" y="112"/>
                    </a:lnTo>
                    <a:lnTo>
                      <a:pt x="370" y="106"/>
                    </a:lnTo>
                    <a:lnTo>
                      <a:pt x="390" y="106"/>
                    </a:lnTo>
                    <a:lnTo>
                      <a:pt x="398" y="104"/>
                    </a:lnTo>
                    <a:lnTo>
                      <a:pt x="398" y="116"/>
                    </a:lnTo>
                    <a:lnTo>
                      <a:pt x="412" y="118"/>
                    </a:lnTo>
                    <a:lnTo>
                      <a:pt x="408" y="126"/>
                    </a:lnTo>
                    <a:lnTo>
                      <a:pt x="408" y="136"/>
                    </a:lnTo>
                    <a:lnTo>
                      <a:pt x="394" y="136"/>
                    </a:lnTo>
                    <a:lnTo>
                      <a:pt x="380" y="148"/>
                    </a:lnTo>
                    <a:lnTo>
                      <a:pt x="378" y="158"/>
                    </a:lnTo>
                    <a:lnTo>
                      <a:pt x="372" y="166"/>
                    </a:lnTo>
                    <a:lnTo>
                      <a:pt x="368" y="184"/>
                    </a:lnTo>
                    <a:lnTo>
                      <a:pt x="356" y="186"/>
                    </a:lnTo>
                    <a:lnTo>
                      <a:pt x="350" y="210"/>
                    </a:lnTo>
                    <a:lnTo>
                      <a:pt x="344" y="216"/>
                    </a:lnTo>
                    <a:lnTo>
                      <a:pt x="344" y="210"/>
                    </a:lnTo>
                    <a:lnTo>
                      <a:pt x="344" y="202"/>
                    </a:lnTo>
                    <a:lnTo>
                      <a:pt x="344" y="192"/>
                    </a:lnTo>
                    <a:lnTo>
                      <a:pt x="336" y="190"/>
                    </a:lnTo>
                    <a:lnTo>
                      <a:pt x="332" y="200"/>
                    </a:lnTo>
                    <a:lnTo>
                      <a:pt x="326" y="196"/>
                    </a:lnTo>
                    <a:lnTo>
                      <a:pt x="326" y="190"/>
                    </a:lnTo>
                    <a:lnTo>
                      <a:pt x="328" y="184"/>
                    </a:lnTo>
                    <a:lnTo>
                      <a:pt x="332" y="182"/>
                    </a:lnTo>
                    <a:lnTo>
                      <a:pt x="340" y="178"/>
                    </a:lnTo>
                    <a:lnTo>
                      <a:pt x="340" y="168"/>
                    </a:lnTo>
                    <a:lnTo>
                      <a:pt x="310" y="168"/>
                    </a:lnTo>
                    <a:lnTo>
                      <a:pt x="304" y="158"/>
                    </a:lnTo>
                    <a:lnTo>
                      <a:pt x="296" y="154"/>
                    </a:lnTo>
                    <a:lnTo>
                      <a:pt x="292" y="148"/>
                    </a:lnTo>
                    <a:lnTo>
                      <a:pt x="286" y="154"/>
                    </a:lnTo>
                    <a:lnTo>
                      <a:pt x="286" y="158"/>
                    </a:lnTo>
                    <a:lnTo>
                      <a:pt x="294" y="166"/>
                    </a:lnTo>
                    <a:lnTo>
                      <a:pt x="282" y="172"/>
                    </a:lnTo>
                    <a:lnTo>
                      <a:pt x="284" y="178"/>
                    </a:lnTo>
                    <a:lnTo>
                      <a:pt x="290" y="182"/>
                    </a:lnTo>
                    <a:lnTo>
                      <a:pt x="292" y="194"/>
                    </a:lnTo>
                    <a:lnTo>
                      <a:pt x="296" y="214"/>
                    </a:lnTo>
                    <a:lnTo>
                      <a:pt x="286" y="220"/>
                    </a:lnTo>
                    <a:lnTo>
                      <a:pt x="266" y="224"/>
                    </a:lnTo>
                    <a:lnTo>
                      <a:pt x="262" y="238"/>
                    </a:lnTo>
                    <a:lnTo>
                      <a:pt x="250" y="248"/>
                    </a:lnTo>
                    <a:lnTo>
                      <a:pt x="236" y="252"/>
                    </a:lnTo>
                    <a:lnTo>
                      <a:pt x="234" y="262"/>
                    </a:lnTo>
                    <a:lnTo>
                      <a:pt x="212" y="282"/>
                    </a:lnTo>
                    <a:lnTo>
                      <a:pt x="202" y="284"/>
                    </a:lnTo>
                    <a:lnTo>
                      <a:pt x="198" y="290"/>
                    </a:lnTo>
                    <a:lnTo>
                      <a:pt x="196" y="296"/>
                    </a:lnTo>
                    <a:lnTo>
                      <a:pt x="186" y="300"/>
                    </a:lnTo>
                    <a:lnTo>
                      <a:pt x="184" y="308"/>
                    </a:lnTo>
                    <a:lnTo>
                      <a:pt x="172" y="310"/>
                    </a:lnTo>
                    <a:lnTo>
                      <a:pt x="166" y="316"/>
                    </a:lnTo>
                    <a:lnTo>
                      <a:pt x="170" y="332"/>
                    </a:lnTo>
                    <a:lnTo>
                      <a:pt x="170" y="340"/>
                    </a:lnTo>
                    <a:lnTo>
                      <a:pt x="170" y="350"/>
                    </a:lnTo>
                    <a:lnTo>
                      <a:pt x="164" y="364"/>
                    </a:lnTo>
                    <a:lnTo>
                      <a:pt x="164" y="382"/>
                    </a:lnTo>
                    <a:lnTo>
                      <a:pt x="152" y="394"/>
                    </a:lnTo>
                    <a:lnTo>
                      <a:pt x="154" y="402"/>
                    </a:lnTo>
                    <a:lnTo>
                      <a:pt x="146" y="402"/>
                    </a:lnTo>
                    <a:lnTo>
                      <a:pt x="142" y="408"/>
                    </a:lnTo>
                    <a:lnTo>
                      <a:pt x="136" y="418"/>
                    </a:lnTo>
                    <a:lnTo>
                      <a:pt x="124" y="414"/>
                    </a:lnTo>
                    <a:lnTo>
                      <a:pt x="114" y="396"/>
                    </a:lnTo>
                    <a:lnTo>
                      <a:pt x="116" y="386"/>
                    </a:lnTo>
                    <a:lnTo>
                      <a:pt x="96" y="352"/>
                    </a:lnTo>
                    <a:lnTo>
                      <a:pt x="94" y="338"/>
                    </a:lnTo>
                    <a:lnTo>
                      <a:pt x="76" y="298"/>
                    </a:lnTo>
                    <a:lnTo>
                      <a:pt x="70" y="252"/>
                    </a:lnTo>
                    <a:lnTo>
                      <a:pt x="64" y="238"/>
                    </a:lnTo>
                    <a:lnTo>
                      <a:pt x="70" y="230"/>
                    </a:lnTo>
                    <a:lnTo>
                      <a:pt x="68" y="224"/>
                    </a:lnTo>
                    <a:lnTo>
                      <a:pt x="64" y="212"/>
                    </a:lnTo>
                    <a:lnTo>
                      <a:pt x="58" y="212"/>
                    </a:lnTo>
                    <a:lnTo>
                      <a:pt x="56" y="224"/>
                    </a:lnTo>
                    <a:lnTo>
                      <a:pt x="44" y="234"/>
                    </a:lnTo>
                    <a:lnTo>
                      <a:pt x="38" y="236"/>
                    </a:lnTo>
                    <a:lnTo>
                      <a:pt x="26" y="228"/>
                    </a:lnTo>
                    <a:lnTo>
                      <a:pt x="22" y="222"/>
                    </a:lnTo>
                    <a:lnTo>
                      <a:pt x="12" y="210"/>
                    </a:lnTo>
                    <a:lnTo>
                      <a:pt x="28" y="210"/>
                    </a:lnTo>
                    <a:lnTo>
                      <a:pt x="32" y="204"/>
                    </a:lnTo>
                    <a:lnTo>
                      <a:pt x="26" y="202"/>
                    </a:lnTo>
                    <a:lnTo>
                      <a:pt x="12" y="202"/>
                    </a:lnTo>
                    <a:lnTo>
                      <a:pt x="8" y="196"/>
                    </a:lnTo>
                    <a:lnTo>
                      <a:pt x="4" y="190"/>
                    </a:lnTo>
                    <a:lnTo>
                      <a:pt x="10" y="178"/>
                    </a:lnTo>
                    <a:lnTo>
                      <a:pt x="16" y="178"/>
                    </a:lnTo>
                    <a:lnTo>
                      <a:pt x="24" y="184"/>
                    </a:lnTo>
                    <a:lnTo>
                      <a:pt x="28" y="178"/>
                    </a:lnTo>
                    <a:lnTo>
                      <a:pt x="40" y="178"/>
                    </a:lnTo>
                    <a:lnTo>
                      <a:pt x="40" y="170"/>
                    </a:lnTo>
                    <a:lnTo>
                      <a:pt x="28" y="158"/>
                    </a:lnTo>
                    <a:lnTo>
                      <a:pt x="26" y="144"/>
                    </a:lnTo>
                    <a:lnTo>
                      <a:pt x="18" y="144"/>
                    </a:lnTo>
                    <a:lnTo>
                      <a:pt x="18" y="136"/>
                    </a:lnTo>
                    <a:lnTo>
                      <a:pt x="28" y="124"/>
                    </a:lnTo>
                    <a:lnTo>
                      <a:pt x="34" y="124"/>
                    </a:lnTo>
                    <a:lnTo>
                      <a:pt x="42" y="128"/>
                    </a:lnTo>
                    <a:lnTo>
                      <a:pt x="52" y="126"/>
                    </a:lnTo>
                    <a:lnTo>
                      <a:pt x="92" y="76"/>
                    </a:lnTo>
                    <a:lnTo>
                      <a:pt x="92" y="64"/>
                    </a:lnTo>
                    <a:lnTo>
                      <a:pt x="98" y="58"/>
                    </a:lnTo>
                    <a:lnTo>
                      <a:pt x="84" y="46"/>
                    </a:lnTo>
                    <a:lnTo>
                      <a:pt x="82" y="20"/>
                    </a:lnTo>
                    <a:lnTo>
                      <a:pt x="108" y="22"/>
                    </a:lnTo>
                    <a:lnTo>
                      <a:pt x="124" y="20"/>
                    </a:lnTo>
                    <a:lnTo>
                      <a:pt x="128" y="4"/>
                    </a:lnTo>
                    <a:close/>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6" name="Freeform 909"/>
              <p:cNvSpPr>
                <a:spLocks/>
              </p:cNvSpPr>
              <p:nvPr/>
            </p:nvSpPr>
            <p:spPr bwMode="auto">
              <a:xfrm>
                <a:off x="3833" y="1995"/>
                <a:ext cx="408" cy="414"/>
              </a:xfrm>
              <a:custGeom>
                <a:avLst/>
                <a:gdLst>
                  <a:gd name="T0" fmla="*/ 136 w 408"/>
                  <a:gd name="T1" fmla="*/ 14 h 414"/>
                  <a:gd name="T2" fmla="*/ 148 w 408"/>
                  <a:gd name="T3" fmla="*/ 36 h 414"/>
                  <a:gd name="T4" fmla="*/ 148 w 408"/>
                  <a:gd name="T5" fmla="*/ 52 h 414"/>
                  <a:gd name="T6" fmla="*/ 166 w 408"/>
                  <a:gd name="T7" fmla="*/ 78 h 414"/>
                  <a:gd name="T8" fmla="*/ 164 w 408"/>
                  <a:gd name="T9" fmla="*/ 108 h 414"/>
                  <a:gd name="T10" fmla="*/ 228 w 408"/>
                  <a:gd name="T11" fmla="*/ 130 h 414"/>
                  <a:gd name="T12" fmla="*/ 278 w 408"/>
                  <a:gd name="T13" fmla="*/ 144 h 414"/>
                  <a:gd name="T14" fmla="*/ 292 w 408"/>
                  <a:gd name="T15" fmla="*/ 130 h 414"/>
                  <a:gd name="T16" fmla="*/ 306 w 408"/>
                  <a:gd name="T17" fmla="*/ 140 h 414"/>
                  <a:gd name="T18" fmla="*/ 332 w 408"/>
                  <a:gd name="T19" fmla="*/ 122 h 414"/>
                  <a:gd name="T20" fmla="*/ 360 w 408"/>
                  <a:gd name="T21" fmla="*/ 108 h 414"/>
                  <a:gd name="T22" fmla="*/ 394 w 408"/>
                  <a:gd name="T23" fmla="*/ 100 h 414"/>
                  <a:gd name="T24" fmla="*/ 404 w 408"/>
                  <a:gd name="T25" fmla="*/ 122 h 414"/>
                  <a:gd name="T26" fmla="*/ 376 w 408"/>
                  <a:gd name="T27" fmla="*/ 144 h 414"/>
                  <a:gd name="T28" fmla="*/ 364 w 408"/>
                  <a:gd name="T29" fmla="*/ 180 h 414"/>
                  <a:gd name="T30" fmla="*/ 340 w 408"/>
                  <a:gd name="T31" fmla="*/ 212 h 414"/>
                  <a:gd name="T32" fmla="*/ 340 w 408"/>
                  <a:gd name="T33" fmla="*/ 188 h 414"/>
                  <a:gd name="T34" fmla="*/ 322 w 408"/>
                  <a:gd name="T35" fmla="*/ 192 h 414"/>
                  <a:gd name="T36" fmla="*/ 328 w 408"/>
                  <a:gd name="T37" fmla="*/ 178 h 414"/>
                  <a:gd name="T38" fmla="*/ 306 w 408"/>
                  <a:gd name="T39" fmla="*/ 164 h 414"/>
                  <a:gd name="T40" fmla="*/ 288 w 408"/>
                  <a:gd name="T41" fmla="*/ 144 h 414"/>
                  <a:gd name="T42" fmla="*/ 290 w 408"/>
                  <a:gd name="T43" fmla="*/ 162 h 414"/>
                  <a:gd name="T44" fmla="*/ 286 w 408"/>
                  <a:gd name="T45" fmla="*/ 178 h 414"/>
                  <a:gd name="T46" fmla="*/ 282 w 408"/>
                  <a:gd name="T47" fmla="*/ 216 h 414"/>
                  <a:gd name="T48" fmla="*/ 246 w 408"/>
                  <a:gd name="T49" fmla="*/ 244 h 414"/>
                  <a:gd name="T50" fmla="*/ 208 w 408"/>
                  <a:gd name="T51" fmla="*/ 278 h 414"/>
                  <a:gd name="T52" fmla="*/ 192 w 408"/>
                  <a:gd name="T53" fmla="*/ 292 h 414"/>
                  <a:gd name="T54" fmla="*/ 168 w 408"/>
                  <a:gd name="T55" fmla="*/ 306 h 414"/>
                  <a:gd name="T56" fmla="*/ 166 w 408"/>
                  <a:gd name="T57" fmla="*/ 336 h 414"/>
                  <a:gd name="T58" fmla="*/ 160 w 408"/>
                  <a:gd name="T59" fmla="*/ 378 h 414"/>
                  <a:gd name="T60" fmla="*/ 142 w 408"/>
                  <a:gd name="T61" fmla="*/ 398 h 414"/>
                  <a:gd name="T62" fmla="*/ 120 w 408"/>
                  <a:gd name="T63" fmla="*/ 410 h 414"/>
                  <a:gd name="T64" fmla="*/ 92 w 408"/>
                  <a:gd name="T65" fmla="*/ 348 h 414"/>
                  <a:gd name="T66" fmla="*/ 66 w 408"/>
                  <a:gd name="T67" fmla="*/ 248 h 414"/>
                  <a:gd name="T68" fmla="*/ 64 w 408"/>
                  <a:gd name="T69" fmla="*/ 220 h 414"/>
                  <a:gd name="T70" fmla="*/ 52 w 408"/>
                  <a:gd name="T71" fmla="*/ 220 h 414"/>
                  <a:gd name="T72" fmla="*/ 22 w 408"/>
                  <a:gd name="T73" fmla="*/ 224 h 414"/>
                  <a:gd name="T74" fmla="*/ 24 w 408"/>
                  <a:gd name="T75" fmla="*/ 206 h 414"/>
                  <a:gd name="T76" fmla="*/ 8 w 408"/>
                  <a:gd name="T77" fmla="*/ 198 h 414"/>
                  <a:gd name="T78" fmla="*/ 6 w 408"/>
                  <a:gd name="T79" fmla="*/ 174 h 414"/>
                  <a:gd name="T80" fmla="*/ 24 w 408"/>
                  <a:gd name="T81" fmla="*/ 174 h 414"/>
                  <a:gd name="T82" fmla="*/ 24 w 408"/>
                  <a:gd name="T83" fmla="*/ 154 h 414"/>
                  <a:gd name="T84" fmla="*/ 14 w 408"/>
                  <a:gd name="T85" fmla="*/ 132 h 414"/>
                  <a:gd name="T86" fmla="*/ 38 w 408"/>
                  <a:gd name="T87" fmla="*/ 124 h 414"/>
                  <a:gd name="T88" fmla="*/ 88 w 408"/>
                  <a:gd name="T89" fmla="*/ 60 h 414"/>
                  <a:gd name="T90" fmla="*/ 78 w 408"/>
                  <a:gd name="T91" fmla="*/ 16 h 414"/>
                  <a:gd name="T92" fmla="*/ 124 w 408"/>
                  <a:gd name="T93"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8" h="414">
                    <a:moveTo>
                      <a:pt x="124" y="0"/>
                    </a:moveTo>
                    <a:lnTo>
                      <a:pt x="134" y="2"/>
                    </a:lnTo>
                    <a:lnTo>
                      <a:pt x="136" y="14"/>
                    </a:lnTo>
                    <a:lnTo>
                      <a:pt x="146" y="18"/>
                    </a:lnTo>
                    <a:lnTo>
                      <a:pt x="148" y="26"/>
                    </a:lnTo>
                    <a:lnTo>
                      <a:pt x="148" y="36"/>
                    </a:lnTo>
                    <a:lnTo>
                      <a:pt x="158" y="42"/>
                    </a:lnTo>
                    <a:lnTo>
                      <a:pt x="156" y="50"/>
                    </a:lnTo>
                    <a:lnTo>
                      <a:pt x="148" y="52"/>
                    </a:lnTo>
                    <a:lnTo>
                      <a:pt x="144" y="60"/>
                    </a:lnTo>
                    <a:lnTo>
                      <a:pt x="144" y="68"/>
                    </a:lnTo>
                    <a:lnTo>
                      <a:pt x="166" y="78"/>
                    </a:lnTo>
                    <a:lnTo>
                      <a:pt x="178" y="86"/>
                    </a:lnTo>
                    <a:lnTo>
                      <a:pt x="166" y="94"/>
                    </a:lnTo>
                    <a:lnTo>
                      <a:pt x="164" y="108"/>
                    </a:lnTo>
                    <a:lnTo>
                      <a:pt x="182" y="114"/>
                    </a:lnTo>
                    <a:lnTo>
                      <a:pt x="206" y="128"/>
                    </a:lnTo>
                    <a:lnTo>
                      <a:pt x="228" y="130"/>
                    </a:lnTo>
                    <a:lnTo>
                      <a:pt x="242" y="140"/>
                    </a:lnTo>
                    <a:lnTo>
                      <a:pt x="254" y="146"/>
                    </a:lnTo>
                    <a:lnTo>
                      <a:pt x="278" y="144"/>
                    </a:lnTo>
                    <a:lnTo>
                      <a:pt x="278" y="122"/>
                    </a:lnTo>
                    <a:lnTo>
                      <a:pt x="292" y="122"/>
                    </a:lnTo>
                    <a:lnTo>
                      <a:pt x="292" y="130"/>
                    </a:lnTo>
                    <a:lnTo>
                      <a:pt x="294" y="136"/>
                    </a:lnTo>
                    <a:lnTo>
                      <a:pt x="298" y="138"/>
                    </a:lnTo>
                    <a:lnTo>
                      <a:pt x="306" y="140"/>
                    </a:lnTo>
                    <a:lnTo>
                      <a:pt x="332" y="138"/>
                    </a:lnTo>
                    <a:lnTo>
                      <a:pt x="336" y="132"/>
                    </a:lnTo>
                    <a:lnTo>
                      <a:pt x="332" y="122"/>
                    </a:lnTo>
                    <a:lnTo>
                      <a:pt x="340" y="120"/>
                    </a:lnTo>
                    <a:lnTo>
                      <a:pt x="350" y="108"/>
                    </a:lnTo>
                    <a:lnTo>
                      <a:pt x="360" y="108"/>
                    </a:lnTo>
                    <a:lnTo>
                      <a:pt x="366" y="102"/>
                    </a:lnTo>
                    <a:lnTo>
                      <a:pt x="386" y="102"/>
                    </a:lnTo>
                    <a:lnTo>
                      <a:pt x="394" y="100"/>
                    </a:lnTo>
                    <a:lnTo>
                      <a:pt x="394" y="112"/>
                    </a:lnTo>
                    <a:lnTo>
                      <a:pt x="408" y="114"/>
                    </a:lnTo>
                    <a:lnTo>
                      <a:pt x="404" y="122"/>
                    </a:lnTo>
                    <a:lnTo>
                      <a:pt x="404" y="132"/>
                    </a:lnTo>
                    <a:lnTo>
                      <a:pt x="390" y="132"/>
                    </a:lnTo>
                    <a:lnTo>
                      <a:pt x="376" y="144"/>
                    </a:lnTo>
                    <a:lnTo>
                      <a:pt x="374" y="154"/>
                    </a:lnTo>
                    <a:lnTo>
                      <a:pt x="368" y="162"/>
                    </a:lnTo>
                    <a:lnTo>
                      <a:pt x="364" y="180"/>
                    </a:lnTo>
                    <a:lnTo>
                      <a:pt x="352" y="182"/>
                    </a:lnTo>
                    <a:lnTo>
                      <a:pt x="346" y="206"/>
                    </a:lnTo>
                    <a:lnTo>
                      <a:pt x="340" y="212"/>
                    </a:lnTo>
                    <a:lnTo>
                      <a:pt x="340" y="206"/>
                    </a:lnTo>
                    <a:lnTo>
                      <a:pt x="340" y="198"/>
                    </a:lnTo>
                    <a:lnTo>
                      <a:pt x="340" y="188"/>
                    </a:lnTo>
                    <a:lnTo>
                      <a:pt x="332" y="186"/>
                    </a:lnTo>
                    <a:lnTo>
                      <a:pt x="328" y="196"/>
                    </a:lnTo>
                    <a:lnTo>
                      <a:pt x="322" y="192"/>
                    </a:lnTo>
                    <a:lnTo>
                      <a:pt x="322" y="186"/>
                    </a:lnTo>
                    <a:lnTo>
                      <a:pt x="324" y="180"/>
                    </a:lnTo>
                    <a:lnTo>
                      <a:pt x="328" y="178"/>
                    </a:lnTo>
                    <a:lnTo>
                      <a:pt x="336" y="174"/>
                    </a:lnTo>
                    <a:lnTo>
                      <a:pt x="336" y="164"/>
                    </a:lnTo>
                    <a:lnTo>
                      <a:pt x="306" y="164"/>
                    </a:lnTo>
                    <a:lnTo>
                      <a:pt x="300" y="154"/>
                    </a:lnTo>
                    <a:lnTo>
                      <a:pt x="292" y="150"/>
                    </a:lnTo>
                    <a:lnTo>
                      <a:pt x="288" y="144"/>
                    </a:lnTo>
                    <a:lnTo>
                      <a:pt x="282" y="150"/>
                    </a:lnTo>
                    <a:lnTo>
                      <a:pt x="282" y="154"/>
                    </a:lnTo>
                    <a:lnTo>
                      <a:pt x="290" y="162"/>
                    </a:lnTo>
                    <a:lnTo>
                      <a:pt x="278" y="168"/>
                    </a:lnTo>
                    <a:lnTo>
                      <a:pt x="280" y="174"/>
                    </a:lnTo>
                    <a:lnTo>
                      <a:pt x="286" y="178"/>
                    </a:lnTo>
                    <a:lnTo>
                      <a:pt x="288" y="190"/>
                    </a:lnTo>
                    <a:lnTo>
                      <a:pt x="292" y="210"/>
                    </a:lnTo>
                    <a:lnTo>
                      <a:pt x="282" y="216"/>
                    </a:lnTo>
                    <a:lnTo>
                      <a:pt x="262" y="220"/>
                    </a:lnTo>
                    <a:lnTo>
                      <a:pt x="258" y="234"/>
                    </a:lnTo>
                    <a:lnTo>
                      <a:pt x="246" y="244"/>
                    </a:lnTo>
                    <a:lnTo>
                      <a:pt x="232" y="248"/>
                    </a:lnTo>
                    <a:lnTo>
                      <a:pt x="230" y="258"/>
                    </a:lnTo>
                    <a:lnTo>
                      <a:pt x="208" y="278"/>
                    </a:lnTo>
                    <a:lnTo>
                      <a:pt x="198" y="280"/>
                    </a:lnTo>
                    <a:lnTo>
                      <a:pt x="194" y="286"/>
                    </a:lnTo>
                    <a:lnTo>
                      <a:pt x="192" y="292"/>
                    </a:lnTo>
                    <a:lnTo>
                      <a:pt x="182" y="296"/>
                    </a:lnTo>
                    <a:lnTo>
                      <a:pt x="180" y="304"/>
                    </a:lnTo>
                    <a:lnTo>
                      <a:pt x="168" y="306"/>
                    </a:lnTo>
                    <a:lnTo>
                      <a:pt x="162" y="312"/>
                    </a:lnTo>
                    <a:lnTo>
                      <a:pt x="166" y="328"/>
                    </a:lnTo>
                    <a:lnTo>
                      <a:pt x="166" y="336"/>
                    </a:lnTo>
                    <a:lnTo>
                      <a:pt x="166" y="346"/>
                    </a:lnTo>
                    <a:lnTo>
                      <a:pt x="160" y="360"/>
                    </a:lnTo>
                    <a:lnTo>
                      <a:pt x="160" y="378"/>
                    </a:lnTo>
                    <a:lnTo>
                      <a:pt x="148" y="390"/>
                    </a:lnTo>
                    <a:lnTo>
                      <a:pt x="150" y="398"/>
                    </a:lnTo>
                    <a:lnTo>
                      <a:pt x="142" y="398"/>
                    </a:lnTo>
                    <a:lnTo>
                      <a:pt x="138" y="404"/>
                    </a:lnTo>
                    <a:lnTo>
                      <a:pt x="132" y="414"/>
                    </a:lnTo>
                    <a:lnTo>
                      <a:pt x="120" y="410"/>
                    </a:lnTo>
                    <a:lnTo>
                      <a:pt x="110" y="392"/>
                    </a:lnTo>
                    <a:lnTo>
                      <a:pt x="112" y="382"/>
                    </a:lnTo>
                    <a:lnTo>
                      <a:pt x="92" y="348"/>
                    </a:lnTo>
                    <a:lnTo>
                      <a:pt x="90" y="334"/>
                    </a:lnTo>
                    <a:lnTo>
                      <a:pt x="72" y="294"/>
                    </a:lnTo>
                    <a:lnTo>
                      <a:pt x="66" y="248"/>
                    </a:lnTo>
                    <a:lnTo>
                      <a:pt x="60" y="234"/>
                    </a:lnTo>
                    <a:lnTo>
                      <a:pt x="66" y="226"/>
                    </a:lnTo>
                    <a:lnTo>
                      <a:pt x="64" y="220"/>
                    </a:lnTo>
                    <a:lnTo>
                      <a:pt x="60" y="208"/>
                    </a:lnTo>
                    <a:lnTo>
                      <a:pt x="54" y="208"/>
                    </a:lnTo>
                    <a:lnTo>
                      <a:pt x="52" y="220"/>
                    </a:lnTo>
                    <a:lnTo>
                      <a:pt x="40" y="230"/>
                    </a:lnTo>
                    <a:lnTo>
                      <a:pt x="34" y="232"/>
                    </a:lnTo>
                    <a:lnTo>
                      <a:pt x="22" y="224"/>
                    </a:lnTo>
                    <a:lnTo>
                      <a:pt x="18" y="218"/>
                    </a:lnTo>
                    <a:lnTo>
                      <a:pt x="8" y="206"/>
                    </a:lnTo>
                    <a:lnTo>
                      <a:pt x="24" y="206"/>
                    </a:lnTo>
                    <a:lnTo>
                      <a:pt x="28" y="200"/>
                    </a:lnTo>
                    <a:lnTo>
                      <a:pt x="22" y="198"/>
                    </a:lnTo>
                    <a:lnTo>
                      <a:pt x="8" y="198"/>
                    </a:lnTo>
                    <a:lnTo>
                      <a:pt x="4" y="192"/>
                    </a:lnTo>
                    <a:lnTo>
                      <a:pt x="0" y="186"/>
                    </a:lnTo>
                    <a:lnTo>
                      <a:pt x="6" y="174"/>
                    </a:lnTo>
                    <a:lnTo>
                      <a:pt x="12" y="174"/>
                    </a:lnTo>
                    <a:lnTo>
                      <a:pt x="20" y="180"/>
                    </a:lnTo>
                    <a:lnTo>
                      <a:pt x="24" y="174"/>
                    </a:lnTo>
                    <a:lnTo>
                      <a:pt x="36" y="174"/>
                    </a:lnTo>
                    <a:lnTo>
                      <a:pt x="36" y="166"/>
                    </a:lnTo>
                    <a:lnTo>
                      <a:pt x="24" y="154"/>
                    </a:lnTo>
                    <a:lnTo>
                      <a:pt x="22" y="140"/>
                    </a:lnTo>
                    <a:lnTo>
                      <a:pt x="14" y="140"/>
                    </a:lnTo>
                    <a:lnTo>
                      <a:pt x="14" y="132"/>
                    </a:lnTo>
                    <a:lnTo>
                      <a:pt x="24" y="120"/>
                    </a:lnTo>
                    <a:lnTo>
                      <a:pt x="30" y="120"/>
                    </a:lnTo>
                    <a:lnTo>
                      <a:pt x="38" y="124"/>
                    </a:lnTo>
                    <a:lnTo>
                      <a:pt x="48" y="122"/>
                    </a:lnTo>
                    <a:lnTo>
                      <a:pt x="88" y="72"/>
                    </a:lnTo>
                    <a:lnTo>
                      <a:pt x="88" y="60"/>
                    </a:lnTo>
                    <a:lnTo>
                      <a:pt x="94" y="54"/>
                    </a:lnTo>
                    <a:lnTo>
                      <a:pt x="80" y="42"/>
                    </a:lnTo>
                    <a:lnTo>
                      <a:pt x="78" y="16"/>
                    </a:lnTo>
                    <a:lnTo>
                      <a:pt x="104" y="18"/>
                    </a:lnTo>
                    <a:lnTo>
                      <a:pt x="120" y="16"/>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7" name="Freeform 910"/>
              <p:cNvSpPr>
                <a:spLocks/>
              </p:cNvSpPr>
              <p:nvPr/>
            </p:nvSpPr>
            <p:spPr bwMode="auto">
              <a:xfrm>
                <a:off x="3829" y="1991"/>
                <a:ext cx="416" cy="422"/>
              </a:xfrm>
              <a:custGeom>
                <a:avLst/>
                <a:gdLst>
                  <a:gd name="T0" fmla="*/ 108 w 416"/>
                  <a:gd name="T1" fmla="*/ 18 h 422"/>
                  <a:gd name="T2" fmla="*/ 80 w 416"/>
                  <a:gd name="T3" fmla="*/ 16 h 422"/>
                  <a:gd name="T4" fmla="*/ 90 w 416"/>
                  <a:gd name="T5" fmla="*/ 62 h 422"/>
                  <a:gd name="T6" fmla="*/ 36 w 416"/>
                  <a:gd name="T7" fmla="*/ 122 h 422"/>
                  <a:gd name="T8" fmla="*/ 16 w 416"/>
                  <a:gd name="T9" fmla="*/ 134 h 422"/>
                  <a:gd name="T10" fmla="*/ 18 w 416"/>
                  <a:gd name="T11" fmla="*/ 148 h 422"/>
                  <a:gd name="T12" fmla="*/ 36 w 416"/>
                  <a:gd name="T13" fmla="*/ 174 h 422"/>
                  <a:gd name="T14" fmla="*/ 18 w 416"/>
                  <a:gd name="T15" fmla="*/ 176 h 422"/>
                  <a:gd name="T16" fmla="*/ 0 w 416"/>
                  <a:gd name="T17" fmla="*/ 188 h 422"/>
                  <a:gd name="T18" fmla="*/ 10 w 416"/>
                  <a:gd name="T19" fmla="*/ 204 h 422"/>
                  <a:gd name="T20" fmla="*/ 12 w 416"/>
                  <a:gd name="T21" fmla="*/ 206 h 422"/>
                  <a:gd name="T22" fmla="*/ 10 w 416"/>
                  <a:gd name="T23" fmla="*/ 214 h 422"/>
                  <a:gd name="T24" fmla="*/ 36 w 416"/>
                  <a:gd name="T25" fmla="*/ 240 h 422"/>
                  <a:gd name="T26" fmla="*/ 48 w 416"/>
                  <a:gd name="T27" fmla="*/ 236 h 422"/>
                  <a:gd name="T28" fmla="*/ 64 w 416"/>
                  <a:gd name="T29" fmla="*/ 224 h 422"/>
                  <a:gd name="T30" fmla="*/ 72 w 416"/>
                  <a:gd name="T31" fmla="*/ 300 h 422"/>
                  <a:gd name="T32" fmla="*/ 92 w 416"/>
                  <a:gd name="T33" fmla="*/ 354 h 422"/>
                  <a:gd name="T34" fmla="*/ 122 w 416"/>
                  <a:gd name="T35" fmla="*/ 416 h 422"/>
                  <a:gd name="T36" fmla="*/ 138 w 416"/>
                  <a:gd name="T37" fmla="*/ 420 h 422"/>
                  <a:gd name="T38" fmla="*/ 158 w 416"/>
                  <a:gd name="T39" fmla="*/ 404 h 422"/>
                  <a:gd name="T40" fmla="*/ 168 w 416"/>
                  <a:gd name="T41" fmla="*/ 366 h 422"/>
                  <a:gd name="T42" fmla="*/ 174 w 416"/>
                  <a:gd name="T43" fmla="*/ 334 h 422"/>
                  <a:gd name="T44" fmla="*/ 186 w 416"/>
                  <a:gd name="T45" fmla="*/ 310 h 422"/>
                  <a:gd name="T46" fmla="*/ 202 w 416"/>
                  <a:gd name="T47" fmla="*/ 292 h 422"/>
                  <a:gd name="T48" fmla="*/ 236 w 416"/>
                  <a:gd name="T49" fmla="*/ 266 h 422"/>
                  <a:gd name="T50" fmla="*/ 264 w 416"/>
                  <a:gd name="T51" fmla="*/ 240 h 422"/>
                  <a:gd name="T52" fmla="*/ 288 w 416"/>
                  <a:gd name="T53" fmla="*/ 224 h 422"/>
                  <a:gd name="T54" fmla="*/ 294 w 416"/>
                  <a:gd name="T55" fmla="*/ 182 h 422"/>
                  <a:gd name="T56" fmla="*/ 296 w 416"/>
                  <a:gd name="T57" fmla="*/ 170 h 422"/>
                  <a:gd name="T58" fmla="*/ 292 w 416"/>
                  <a:gd name="T59" fmla="*/ 154 h 422"/>
                  <a:gd name="T60" fmla="*/ 306 w 416"/>
                  <a:gd name="T61" fmla="*/ 170 h 422"/>
                  <a:gd name="T62" fmla="*/ 328 w 416"/>
                  <a:gd name="T63" fmla="*/ 180 h 422"/>
                  <a:gd name="T64" fmla="*/ 322 w 416"/>
                  <a:gd name="T65" fmla="*/ 196 h 422"/>
                  <a:gd name="T66" fmla="*/ 332 w 416"/>
                  <a:gd name="T67" fmla="*/ 204 h 422"/>
                  <a:gd name="T68" fmla="*/ 340 w 416"/>
                  <a:gd name="T69" fmla="*/ 202 h 422"/>
                  <a:gd name="T70" fmla="*/ 342 w 416"/>
                  <a:gd name="T71" fmla="*/ 218 h 422"/>
                  <a:gd name="T72" fmla="*/ 348 w 416"/>
                  <a:gd name="T73" fmla="*/ 220 h 422"/>
                  <a:gd name="T74" fmla="*/ 368 w 416"/>
                  <a:gd name="T75" fmla="*/ 188 h 422"/>
                  <a:gd name="T76" fmla="*/ 382 w 416"/>
                  <a:gd name="T77" fmla="*/ 160 h 422"/>
                  <a:gd name="T78" fmla="*/ 412 w 416"/>
                  <a:gd name="T79" fmla="*/ 136 h 422"/>
                  <a:gd name="T80" fmla="*/ 412 w 416"/>
                  <a:gd name="T81" fmla="*/ 114 h 422"/>
                  <a:gd name="T82" fmla="*/ 398 w 416"/>
                  <a:gd name="T83" fmla="*/ 100 h 422"/>
                  <a:gd name="T84" fmla="*/ 366 w 416"/>
                  <a:gd name="T85" fmla="*/ 102 h 422"/>
                  <a:gd name="T86" fmla="*/ 336 w 416"/>
                  <a:gd name="T87" fmla="*/ 122 h 422"/>
                  <a:gd name="T88" fmla="*/ 334 w 416"/>
                  <a:gd name="T89" fmla="*/ 138 h 422"/>
                  <a:gd name="T90" fmla="*/ 300 w 416"/>
                  <a:gd name="T91" fmla="*/ 126 h 422"/>
                  <a:gd name="T92" fmla="*/ 278 w 416"/>
                  <a:gd name="T93" fmla="*/ 124 h 422"/>
                  <a:gd name="T94" fmla="*/ 234 w 416"/>
                  <a:gd name="T95" fmla="*/ 130 h 422"/>
                  <a:gd name="T96" fmla="*/ 172 w 416"/>
                  <a:gd name="T97" fmla="*/ 110 h 422"/>
                  <a:gd name="T98" fmla="*/ 184 w 416"/>
                  <a:gd name="T99" fmla="*/ 88 h 422"/>
                  <a:gd name="T100" fmla="*/ 154 w 416"/>
                  <a:gd name="T101" fmla="*/ 58 h 422"/>
                  <a:gd name="T102" fmla="*/ 166 w 416"/>
                  <a:gd name="T103" fmla="*/ 48 h 422"/>
                  <a:gd name="T104" fmla="*/ 156 w 416"/>
                  <a:gd name="T105" fmla="*/ 30 h 422"/>
                  <a:gd name="T106" fmla="*/ 142 w 416"/>
                  <a:gd name="T107" fmla="*/ 4 h 422"/>
                  <a:gd name="T108" fmla="*/ 128 w 416"/>
                  <a:gd name="T109"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6" h="422">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8" name="Freeform 911"/>
              <p:cNvSpPr>
                <a:spLocks/>
              </p:cNvSpPr>
              <p:nvPr/>
            </p:nvSpPr>
            <p:spPr bwMode="auto">
              <a:xfrm>
                <a:off x="4167" y="2111"/>
                <a:ext cx="122" cy="266"/>
              </a:xfrm>
              <a:custGeom>
                <a:avLst/>
                <a:gdLst>
                  <a:gd name="T0" fmla="*/ 88 w 122"/>
                  <a:gd name="T1" fmla="*/ 266 h 266"/>
                  <a:gd name="T2" fmla="*/ 86 w 122"/>
                  <a:gd name="T3" fmla="*/ 258 h 266"/>
                  <a:gd name="T4" fmla="*/ 88 w 122"/>
                  <a:gd name="T5" fmla="*/ 250 h 266"/>
                  <a:gd name="T6" fmla="*/ 86 w 122"/>
                  <a:gd name="T7" fmla="*/ 224 h 266"/>
                  <a:gd name="T8" fmla="*/ 74 w 122"/>
                  <a:gd name="T9" fmla="*/ 180 h 266"/>
                  <a:gd name="T10" fmla="*/ 64 w 122"/>
                  <a:gd name="T11" fmla="*/ 180 h 266"/>
                  <a:gd name="T12" fmla="*/ 52 w 122"/>
                  <a:gd name="T13" fmla="*/ 190 h 266"/>
                  <a:gd name="T14" fmla="*/ 38 w 122"/>
                  <a:gd name="T15" fmla="*/ 192 h 266"/>
                  <a:gd name="T16" fmla="*/ 32 w 122"/>
                  <a:gd name="T17" fmla="*/ 184 h 266"/>
                  <a:gd name="T18" fmla="*/ 32 w 122"/>
                  <a:gd name="T19" fmla="*/ 170 h 266"/>
                  <a:gd name="T20" fmla="*/ 24 w 122"/>
                  <a:gd name="T21" fmla="*/ 144 h 266"/>
                  <a:gd name="T22" fmla="*/ 0 w 122"/>
                  <a:gd name="T23" fmla="*/ 112 h 266"/>
                  <a:gd name="T24" fmla="*/ 0 w 122"/>
                  <a:gd name="T25" fmla="*/ 110 h 266"/>
                  <a:gd name="T26" fmla="*/ 4 w 122"/>
                  <a:gd name="T27" fmla="*/ 100 h 266"/>
                  <a:gd name="T28" fmla="*/ 16 w 122"/>
                  <a:gd name="T29" fmla="*/ 68 h 266"/>
                  <a:gd name="T30" fmla="*/ 28 w 122"/>
                  <a:gd name="T31" fmla="*/ 66 h 266"/>
                  <a:gd name="T32" fmla="*/ 32 w 122"/>
                  <a:gd name="T33" fmla="*/ 48 h 266"/>
                  <a:gd name="T34" fmla="*/ 40 w 122"/>
                  <a:gd name="T35" fmla="*/ 32 h 266"/>
                  <a:gd name="T36" fmla="*/ 54 w 122"/>
                  <a:gd name="T37" fmla="*/ 18 h 266"/>
                  <a:gd name="T38" fmla="*/ 66 w 122"/>
                  <a:gd name="T39" fmla="*/ 10 h 266"/>
                  <a:gd name="T40" fmla="*/ 72 w 122"/>
                  <a:gd name="T41" fmla="*/ 0 h 266"/>
                  <a:gd name="T42" fmla="*/ 74 w 122"/>
                  <a:gd name="T43" fmla="*/ 0 h 266"/>
                  <a:gd name="T44" fmla="*/ 82 w 122"/>
                  <a:gd name="T45" fmla="*/ 0 h 266"/>
                  <a:gd name="T46" fmla="*/ 94 w 122"/>
                  <a:gd name="T47" fmla="*/ 16 h 266"/>
                  <a:gd name="T48" fmla="*/ 94 w 122"/>
                  <a:gd name="T49" fmla="*/ 38 h 266"/>
                  <a:gd name="T50" fmla="*/ 86 w 122"/>
                  <a:gd name="T51" fmla="*/ 48 h 266"/>
                  <a:gd name="T52" fmla="*/ 96 w 122"/>
                  <a:gd name="T53" fmla="*/ 66 h 266"/>
                  <a:gd name="T54" fmla="*/ 96 w 122"/>
                  <a:gd name="T55" fmla="*/ 78 h 266"/>
                  <a:gd name="T56" fmla="*/ 106 w 122"/>
                  <a:gd name="T57" fmla="*/ 84 h 266"/>
                  <a:gd name="T58" fmla="*/ 110 w 122"/>
                  <a:gd name="T59" fmla="*/ 98 h 266"/>
                  <a:gd name="T60" fmla="*/ 118 w 122"/>
                  <a:gd name="T61" fmla="*/ 102 h 266"/>
                  <a:gd name="T62" fmla="*/ 122 w 122"/>
                  <a:gd name="T63" fmla="*/ 112 h 266"/>
                  <a:gd name="T64" fmla="*/ 104 w 122"/>
                  <a:gd name="T65" fmla="*/ 124 h 266"/>
                  <a:gd name="T66" fmla="*/ 94 w 122"/>
                  <a:gd name="T67" fmla="*/ 132 h 266"/>
                  <a:gd name="T68" fmla="*/ 80 w 122"/>
                  <a:gd name="T69" fmla="*/ 142 h 266"/>
                  <a:gd name="T70" fmla="*/ 78 w 122"/>
                  <a:gd name="T71" fmla="*/ 150 h 266"/>
                  <a:gd name="T72" fmla="*/ 88 w 122"/>
                  <a:gd name="T73" fmla="*/ 170 h 266"/>
                  <a:gd name="T74" fmla="*/ 94 w 122"/>
                  <a:gd name="T75" fmla="*/ 186 h 266"/>
                  <a:gd name="T76" fmla="*/ 88 w 122"/>
                  <a:gd name="T77" fmla="*/ 204 h 266"/>
                  <a:gd name="T78" fmla="*/ 100 w 122"/>
                  <a:gd name="T79" fmla="*/ 220 h 266"/>
                  <a:gd name="T80" fmla="*/ 106 w 122"/>
                  <a:gd name="T81" fmla="*/ 244 h 266"/>
                  <a:gd name="T82" fmla="*/ 102 w 122"/>
                  <a:gd name="T83" fmla="*/ 256 h 266"/>
                  <a:gd name="T84" fmla="*/ 90 w 122"/>
                  <a:gd name="T85" fmla="*/ 266 h 266"/>
                  <a:gd name="T86" fmla="*/ 90 w 122"/>
                  <a:gd name="T8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 h="266">
                    <a:moveTo>
                      <a:pt x="90" y="266"/>
                    </a:moveTo>
                    <a:lnTo>
                      <a:pt x="90" y="266"/>
                    </a:lnTo>
                    <a:lnTo>
                      <a:pt x="88" y="266"/>
                    </a:lnTo>
                    <a:lnTo>
                      <a:pt x="88" y="266"/>
                    </a:lnTo>
                    <a:lnTo>
                      <a:pt x="88" y="266"/>
                    </a:lnTo>
                    <a:lnTo>
                      <a:pt x="86" y="258"/>
                    </a:lnTo>
                    <a:lnTo>
                      <a:pt x="86" y="258"/>
                    </a:lnTo>
                    <a:lnTo>
                      <a:pt x="86" y="258"/>
                    </a:lnTo>
                    <a:lnTo>
                      <a:pt x="88" y="250"/>
                    </a:lnTo>
                    <a:lnTo>
                      <a:pt x="88" y="242"/>
                    </a:lnTo>
                    <a:lnTo>
                      <a:pt x="88" y="230"/>
                    </a:lnTo>
                    <a:lnTo>
                      <a:pt x="86" y="224"/>
                    </a:lnTo>
                    <a:lnTo>
                      <a:pt x="78" y="206"/>
                    </a:lnTo>
                    <a:lnTo>
                      <a:pt x="78" y="192"/>
                    </a:lnTo>
                    <a:lnTo>
                      <a:pt x="74" y="180"/>
                    </a:lnTo>
                    <a:lnTo>
                      <a:pt x="68" y="172"/>
                    </a:lnTo>
                    <a:lnTo>
                      <a:pt x="64" y="180"/>
                    </a:lnTo>
                    <a:lnTo>
                      <a:pt x="64" y="180"/>
                    </a:lnTo>
                    <a:lnTo>
                      <a:pt x="62" y="182"/>
                    </a:lnTo>
                    <a:lnTo>
                      <a:pt x="52" y="184"/>
                    </a:lnTo>
                    <a:lnTo>
                      <a:pt x="52" y="190"/>
                    </a:lnTo>
                    <a:lnTo>
                      <a:pt x="52" y="190"/>
                    </a:lnTo>
                    <a:lnTo>
                      <a:pt x="50" y="192"/>
                    </a:lnTo>
                    <a:lnTo>
                      <a:pt x="38" y="192"/>
                    </a:lnTo>
                    <a:lnTo>
                      <a:pt x="38" y="192"/>
                    </a:lnTo>
                    <a:lnTo>
                      <a:pt x="36" y="192"/>
                    </a:lnTo>
                    <a:lnTo>
                      <a:pt x="32" y="184"/>
                    </a:lnTo>
                    <a:lnTo>
                      <a:pt x="32" y="184"/>
                    </a:lnTo>
                    <a:lnTo>
                      <a:pt x="32" y="182"/>
                    </a:lnTo>
                    <a:lnTo>
                      <a:pt x="32" y="170"/>
                    </a:lnTo>
                    <a:lnTo>
                      <a:pt x="32" y="158"/>
                    </a:lnTo>
                    <a:lnTo>
                      <a:pt x="30" y="150"/>
                    </a:lnTo>
                    <a:lnTo>
                      <a:pt x="24" y="144"/>
                    </a:lnTo>
                    <a:lnTo>
                      <a:pt x="12" y="126"/>
                    </a:lnTo>
                    <a:lnTo>
                      <a:pt x="0" y="112"/>
                    </a:lnTo>
                    <a:lnTo>
                      <a:pt x="0" y="112"/>
                    </a:lnTo>
                    <a:lnTo>
                      <a:pt x="0" y="112"/>
                    </a:lnTo>
                    <a:lnTo>
                      <a:pt x="0" y="112"/>
                    </a:lnTo>
                    <a:lnTo>
                      <a:pt x="0" y="110"/>
                    </a:lnTo>
                    <a:lnTo>
                      <a:pt x="4" y="106"/>
                    </a:lnTo>
                    <a:lnTo>
                      <a:pt x="4" y="100"/>
                    </a:lnTo>
                    <a:lnTo>
                      <a:pt x="4" y="100"/>
                    </a:lnTo>
                    <a:lnTo>
                      <a:pt x="6" y="98"/>
                    </a:lnTo>
                    <a:lnTo>
                      <a:pt x="10" y="92"/>
                    </a:lnTo>
                    <a:lnTo>
                      <a:pt x="16" y="68"/>
                    </a:lnTo>
                    <a:lnTo>
                      <a:pt x="16" y="68"/>
                    </a:lnTo>
                    <a:lnTo>
                      <a:pt x="18" y="66"/>
                    </a:lnTo>
                    <a:lnTo>
                      <a:pt x="28" y="66"/>
                    </a:lnTo>
                    <a:lnTo>
                      <a:pt x="32" y="48"/>
                    </a:lnTo>
                    <a:lnTo>
                      <a:pt x="32" y="48"/>
                    </a:lnTo>
                    <a:lnTo>
                      <a:pt x="32" y="48"/>
                    </a:lnTo>
                    <a:lnTo>
                      <a:pt x="38" y="42"/>
                    </a:lnTo>
                    <a:lnTo>
                      <a:pt x="40" y="32"/>
                    </a:lnTo>
                    <a:lnTo>
                      <a:pt x="40" y="32"/>
                    </a:lnTo>
                    <a:lnTo>
                      <a:pt x="40" y="30"/>
                    </a:lnTo>
                    <a:lnTo>
                      <a:pt x="54" y="18"/>
                    </a:lnTo>
                    <a:lnTo>
                      <a:pt x="54" y="18"/>
                    </a:lnTo>
                    <a:lnTo>
                      <a:pt x="56" y="16"/>
                    </a:lnTo>
                    <a:lnTo>
                      <a:pt x="66" y="16"/>
                    </a:lnTo>
                    <a:lnTo>
                      <a:pt x="66" y="10"/>
                    </a:lnTo>
                    <a:lnTo>
                      <a:pt x="66" y="10"/>
                    </a:lnTo>
                    <a:lnTo>
                      <a:pt x="66" y="8"/>
                    </a:lnTo>
                    <a:lnTo>
                      <a:pt x="72" y="0"/>
                    </a:lnTo>
                    <a:lnTo>
                      <a:pt x="72" y="0"/>
                    </a:lnTo>
                    <a:lnTo>
                      <a:pt x="74" y="0"/>
                    </a:lnTo>
                    <a:lnTo>
                      <a:pt x="74" y="0"/>
                    </a:lnTo>
                    <a:lnTo>
                      <a:pt x="74" y="0"/>
                    </a:lnTo>
                    <a:lnTo>
                      <a:pt x="82" y="0"/>
                    </a:lnTo>
                    <a:lnTo>
                      <a:pt x="82" y="0"/>
                    </a:lnTo>
                    <a:lnTo>
                      <a:pt x="82" y="2"/>
                    </a:lnTo>
                    <a:lnTo>
                      <a:pt x="88" y="10"/>
                    </a:lnTo>
                    <a:lnTo>
                      <a:pt x="94" y="16"/>
                    </a:lnTo>
                    <a:lnTo>
                      <a:pt x="94" y="16"/>
                    </a:lnTo>
                    <a:lnTo>
                      <a:pt x="94" y="18"/>
                    </a:lnTo>
                    <a:lnTo>
                      <a:pt x="94" y="38"/>
                    </a:lnTo>
                    <a:lnTo>
                      <a:pt x="94" y="38"/>
                    </a:lnTo>
                    <a:lnTo>
                      <a:pt x="92" y="40"/>
                    </a:lnTo>
                    <a:lnTo>
                      <a:pt x="86" y="48"/>
                    </a:lnTo>
                    <a:lnTo>
                      <a:pt x="80" y="58"/>
                    </a:lnTo>
                    <a:lnTo>
                      <a:pt x="80" y="60"/>
                    </a:lnTo>
                    <a:lnTo>
                      <a:pt x="96" y="66"/>
                    </a:lnTo>
                    <a:lnTo>
                      <a:pt x="96" y="66"/>
                    </a:lnTo>
                    <a:lnTo>
                      <a:pt x="96" y="68"/>
                    </a:lnTo>
                    <a:lnTo>
                      <a:pt x="96" y="78"/>
                    </a:lnTo>
                    <a:lnTo>
                      <a:pt x="104" y="82"/>
                    </a:lnTo>
                    <a:lnTo>
                      <a:pt x="104" y="82"/>
                    </a:lnTo>
                    <a:lnTo>
                      <a:pt x="106" y="84"/>
                    </a:lnTo>
                    <a:lnTo>
                      <a:pt x="106" y="96"/>
                    </a:lnTo>
                    <a:lnTo>
                      <a:pt x="110" y="98"/>
                    </a:lnTo>
                    <a:lnTo>
                      <a:pt x="110" y="98"/>
                    </a:lnTo>
                    <a:lnTo>
                      <a:pt x="112" y="100"/>
                    </a:lnTo>
                    <a:lnTo>
                      <a:pt x="112" y="102"/>
                    </a:lnTo>
                    <a:lnTo>
                      <a:pt x="118" y="102"/>
                    </a:lnTo>
                    <a:lnTo>
                      <a:pt x="118" y="102"/>
                    </a:lnTo>
                    <a:lnTo>
                      <a:pt x="120" y="104"/>
                    </a:lnTo>
                    <a:lnTo>
                      <a:pt x="122" y="112"/>
                    </a:lnTo>
                    <a:lnTo>
                      <a:pt x="122" y="112"/>
                    </a:lnTo>
                    <a:lnTo>
                      <a:pt x="120" y="116"/>
                    </a:lnTo>
                    <a:lnTo>
                      <a:pt x="104" y="124"/>
                    </a:lnTo>
                    <a:lnTo>
                      <a:pt x="96" y="130"/>
                    </a:lnTo>
                    <a:lnTo>
                      <a:pt x="96" y="130"/>
                    </a:lnTo>
                    <a:lnTo>
                      <a:pt x="94" y="132"/>
                    </a:lnTo>
                    <a:lnTo>
                      <a:pt x="80" y="132"/>
                    </a:lnTo>
                    <a:lnTo>
                      <a:pt x="80" y="142"/>
                    </a:lnTo>
                    <a:lnTo>
                      <a:pt x="80" y="142"/>
                    </a:lnTo>
                    <a:lnTo>
                      <a:pt x="80" y="142"/>
                    </a:lnTo>
                    <a:lnTo>
                      <a:pt x="78" y="146"/>
                    </a:lnTo>
                    <a:lnTo>
                      <a:pt x="78" y="150"/>
                    </a:lnTo>
                    <a:lnTo>
                      <a:pt x="80" y="160"/>
                    </a:lnTo>
                    <a:lnTo>
                      <a:pt x="80" y="164"/>
                    </a:lnTo>
                    <a:lnTo>
                      <a:pt x="88" y="170"/>
                    </a:lnTo>
                    <a:lnTo>
                      <a:pt x="88" y="170"/>
                    </a:lnTo>
                    <a:lnTo>
                      <a:pt x="90" y="172"/>
                    </a:lnTo>
                    <a:lnTo>
                      <a:pt x="94" y="186"/>
                    </a:lnTo>
                    <a:lnTo>
                      <a:pt x="94" y="186"/>
                    </a:lnTo>
                    <a:lnTo>
                      <a:pt x="94" y="188"/>
                    </a:lnTo>
                    <a:lnTo>
                      <a:pt x="88" y="204"/>
                    </a:lnTo>
                    <a:lnTo>
                      <a:pt x="92" y="210"/>
                    </a:lnTo>
                    <a:lnTo>
                      <a:pt x="100" y="220"/>
                    </a:lnTo>
                    <a:lnTo>
                      <a:pt x="100" y="220"/>
                    </a:lnTo>
                    <a:lnTo>
                      <a:pt x="100" y="222"/>
                    </a:lnTo>
                    <a:lnTo>
                      <a:pt x="100" y="236"/>
                    </a:lnTo>
                    <a:lnTo>
                      <a:pt x="106" y="244"/>
                    </a:lnTo>
                    <a:lnTo>
                      <a:pt x="106" y="244"/>
                    </a:lnTo>
                    <a:lnTo>
                      <a:pt x="106" y="246"/>
                    </a:lnTo>
                    <a:lnTo>
                      <a:pt x="102" y="256"/>
                    </a:lnTo>
                    <a:lnTo>
                      <a:pt x="102" y="256"/>
                    </a:lnTo>
                    <a:lnTo>
                      <a:pt x="102" y="258"/>
                    </a:lnTo>
                    <a:lnTo>
                      <a:pt x="90" y="266"/>
                    </a:lnTo>
                    <a:lnTo>
                      <a:pt x="90" y="266"/>
                    </a:lnTo>
                    <a:lnTo>
                      <a:pt x="90" y="266"/>
                    </a:lnTo>
                    <a:lnTo>
                      <a:pt x="90" y="2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9" name="Freeform 912"/>
              <p:cNvSpPr>
                <a:spLocks noEditPoints="1"/>
              </p:cNvSpPr>
              <p:nvPr/>
            </p:nvSpPr>
            <p:spPr bwMode="auto">
              <a:xfrm>
                <a:off x="4165" y="2109"/>
                <a:ext cx="126" cy="270"/>
              </a:xfrm>
              <a:custGeom>
                <a:avLst/>
                <a:gdLst>
                  <a:gd name="T0" fmla="*/ 94 w 126"/>
                  <a:gd name="T1" fmla="*/ 20 h 270"/>
                  <a:gd name="T2" fmla="*/ 80 w 126"/>
                  <a:gd name="T3" fmla="*/ 64 h 270"/>
                  <a:gd name="T4" fmla="*/ 106 w 126"/>
                  <a:gd name="T5" fmla="*/ 100 h 270"/>
                  <a:gd name="T6" fmla="*/ 122 w 126"/>
                  <a:gd name="T7" fmla="*/ 116 h 270"/>
                  <a:gd name="T8" fmla="*/ 80 w 126"/>
                  <a:gd name="T9" fmla="*/ 144 h 270"/>
                  <a:gd name="T10" fmla="*/ 80 w 126"/>
                  <a:gd name="T11" fmla="*/ 168 h 270"/>
                  <a:gd name="T12" fmla="*/ 88 w 126"/>
                  <a:gd name="T13" fmla="*/ 206 h 270"/>
                  <a:gd name="T14" fmla="*/ 106 w 126"/>
                  <a:gd name="T15" fmla="*/ 248 h 270"/>
                  <a:gd name="T16" fmla="*/ 92 w 126"/>
                  <a:gd name="T17" fmla="*/ 252 h 270"/>
                  <a:gd name="T18" fmla="*/ 82 w 126"/>
                  <a:gd name="T19" fmla="*/ 208 h 270"/>
                  <a:gd name="T20" fmla="*/ 64 w 126"/>
                  <a:gd name="T21" fmla="*/ 182 h 270"/>
                  <a:gd name="T22" fmla="*/ 36 w 126"/>
                  <a:gd name="T23" fmla="*/ 184 h 270"/>
                  <a:gd name="T24" fmla="*/ 26 w 126"/>
                  <a:gd name="T25" fmla="*/ 144 h 270"/>
                  <a:gd name="T26" fmla="*/ 8 w 126"/>
                  <a:gd name="T27" fmla="*/ 102 h 270"/>
                  <a:gd name="T28" fmla="*/ 36 w 126"/>
                  <a:gd name="T29" fmla="*/ 52 h 270"/>
                  <a:gd name="T30" fmla="*/ 70 w 126"/>
                  <a:gd name="T31" fmla="*/ 20 h 270"/>
                  <a:gd name="T32" fmla="*/ 76 w 126"/>
                  <a:gd name="T33" fmla="*/ 0 h 270"/>
                  <a:gd name="T34" fmla="*/ 66 w 126"/>
                  <a:gd name="T35" fmla="*/ 12 h 270"/>
                  <a:gd name="T36" fmla="*/ 56 w 126"/>
                  <a:gd name="T37" fmla="*/ 18 h 270"/>
                  <a:gd name="T38" fmla="*/ 38 w 126"/>
                  <a:gd name="T39" fmla="*/ 42 h 270"/>
                  <a:gd name="T40" fmla="*/ 28 w 126"/>
                  <a:gd name="T41" fmla="*/ 66 h 270"/>
                  <a:gd name="T42" fmla="*/ 16 w 126"/>
                  <a:gd name="T43" fmla="*/ 70 h 270"/>
                  <a:gd name="T44" fmla="*/ 4 w 126"/>
                  <a:gd name="T45" fmla="*/ 102 h 270"/>
                  <a:gd name="T46" fmla="*/ 0 w 126"/>
                  <a:gd name="T47" fmla="*/ 114 h 270"/>
                  <a:gd name="T48" fmla="*/ 24 w 126"/>
                  <a:gd name="T49" fmla="*/ 146 h 270"/>
                  <a:gd name="T50" fmla="*/ 32 w 126"/>
                  <a:gd name="T51" fmla="*/ 160 h 270"/>
                  <a:gd name="T52" fmla="*/ 32 w 126"/>
                  <a:gd name="T53" fmla="*/ 184 h 270"/>
                  <a:gd name="T54" fmla="*/ 38 w 126"/>
                  <a:gd name="T55" fmla="*/ 194 h 270"/>
                  <a:gd name="T56" fmla="*/ 54 w 126"/>
                  <a:gd name="T57" fmla="*/ 196 h 270"/>
                  <a:gd name="T58" fmla="*/ 64 w 126"/>
                  <a:gd name="T59" fmla="*/ 186 h 270"/>
                  <a:gd name="T60" fmla="*/ 78 w 126"/>
                  <a:gd name="T61" fmla="*/ 194 h 270"/>
                  <a:gd name="T62" fmla="*/ 86 w 126"/>
                  <a:gd name="T63" fmla="*/ 228 h 270"/>
                  <a:gd name="T64" fmla="*/ 86 w 126"/>
                  <a:gd name="T65" fmla="*/ 258 h 270"/>
                  <a:gd name="T66" fmla="*/ 88 w 126"/>
                  <a:gd name="T67" fmla="*/ 268 h 270"/>
                  <a:gd name="T68" fmla="*/ 92 w 126"/>
                  <a:gd name="T69" fmla="*/ 270 h 270"/>
                  <a:gd name="T70" fmla="*/ 106 w 126"/>
                  <a:gd name="T71" fmla="*/ 260 h 270"/>
                  <a:gd name="T72" fmla="*/ 104 w 126"/>
                  <a:gd name="T73" fmla="*/ 238 h 270"/>
                  <a:gd name="T74" fmla="*/ 96 w 126"/>
                  <a:gd name="T75" fmla="*/ 212 h 270"/>
                  <a:gd name="T76" fmla="*/ 98 w 126"/>
                  <a:gd name="T77" fmla="*/ 190 h 270"/>
                  <a:gd name="T78" fmla="*/ 92 w 126"/>
                  <a:gd name="T79" fmla="*/ 172 h 270"/>
                  <a:gd name="T80" fmla="*/ 82 w 126"/>
                  <a:gd name="T81" fmla="*/ 148 h 270"/>
                  <a:gd name="T82" fmla="*/ 84 w 126"/>
                  <a:gd name="T83" fmla="*/ 136 h 270"/>
                  <a:gd name="T84" fmla="*/ 108 w 126"/>
                  <a:gd name="T85" fmla="*/ 128 h 270"/>
                  <a:gd name="T86" fmla="*/ 126 w 126"/>
                  <a:gd name="T87" fmla="*/ 114 h 270"/>
                  <a:gd name="T88" fmla="*/ 120 w 126"/>
                  <a:gd name="T89" fmla="*/ 102 h 270"/>
                  <a:gd name="T90" fmla="*/ 116 w 126"/>
                  <a:gd name="T91" fmla="*/ 98 h 270"/>
                  <a:gd name="T92" fmla="*/ 110 w 126"/>
                  <a:gd name="T93" fmla="*/ 86 h 270"/>
                  <a:gd name="T94" fmla="*/ 100 w 126"/>
                  <a:gd name="T95" fmla="*/ 70 h 270"/>
                  <a:gd name="T96" fmla="*/ 84 w 126"/>
                  <a:gd name="T97" fmla="*/ 60 h 270"/>
                  <a:gd name="T98" fmla="*/ 98 w 126"/>
                  <a:gd name="T99" fmla="*/ 40 h 270"/>
                  <a:gd name="T100" fmla="*/ 90 w 126"/>
                  <a:gd name="T101" fmla="*/ 12 h 270"/>
                  <a:gd name="T102" fmla="*/ 76 w 126"/>
                  <a:gd name="T10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0">
                    <a:moveTo>
                      <a:pt x="76" y="4"/>
                    </a:moveTo>
                    <a:lnTo>
                      <a:pt x="82" y="4"/>
                    </a:lnTo>
                    <a:lnTo>
                      <a:pt x="88" y="14"/>
                    </a:lnTo>
                    <a:lnTo>
                      <a:pt x="94" y="20"/>
                    </a:lnTo>
                    <a:lnTo>
                      <a:pt x="94" y="40"/>
                    </a:lnTo>
                    <a:lnTo>
                      <a:pt x="86" y="50"/>
                    </a:lnTo>
                    <a:lnTo>
                      <a:pt x="80" y="60"/>
                    </a:lnTo>
                    <a:lnTo>
                      <a:pt x="80" y="64"/>
                    </a:lnTo>
                    <a:lnTo>
                      <a:pt x="96" y="70"/>
                    </a:lnTo>
                    <a:lnTo>
                      <a:pt x="96" y="82"/>
                    </a:lnTo>
                    <a:lnTo>
                      <a:pt x="106" y="86"/>
                    </a:lnTo>
                    <a:lnTo>
                      <a:pt x="106" y="100"/>
                    </a:lnTo>
                    <a:lnTo>
                      <a:pt x="112" y="102"/>
                    </a:lnTo>
                    <a:lnTo>
                      <a:pt x="112" y="106"/>
                    </a:lnTo>
                    <a:lnTo>
                      <a:pt x="120" y="106"/>
                    </a:lnTo>
                    <a:lnTo>
                      <a:pt x="122" y="116"/>
                    </a:lnTo>
                    <a:lnTo>
                      <a:pt x="106" y="124"/>
                    </a:lnTo>
                    <a:lnTo>
                      <a:pt x="96" y="132"/>
                    </a:lnTo>
                    <a:lnTo>
                      <a:pt x="80" y="134"/>
                    </a:lnTo>
                    <a:lnTo>
                      <a:pt x="80" y="144"/>
                    </a:lnTo>
                    <a:lnTo>
                      <a:pt x="80" y="148"/>
                    </a:lnTo>
                    <a:lnTo>
                      <a:pt x="78" y="152"/>
                    </a:lnTo>
                    <a:lnTo>
                      <a:pt x="80" y="162"/>
                    </a:lnTo>
                    <a:lnTo>
                      <a:pt x="80" y="168"/>
                    </a:lnTo>
                    <a:lnTo>
                      <a:pt x="90" y="174"/>
                    </a:lnTo>
                    <a:lnTo>
                      <a:pt x="94" y="188"/>
                    </a:lnTo>
                    <a:lnTo>
                      <a:pt x="92" y="198"/>
                    </a:lnTo>
                    <a:lnTo>
                      <a:pt x="88" y="206"/>
                    </a:lnTo>
                    <a:lnTo>
                      <a:pt x="94" y="214"/>
                    </a:lnTo>
                    <a:lnTo>
                      <a:pt x="100" y="224"/>
                    </a:lnTo>
                    <a:lnTo>
                      <a:pt x="100" y="238"/>
                    </a:lnTo>
                    <a:lnTo>
                      <a:pt x="106" y="248"/>
                    </a:lnTo>
                    <a:lnTo>
                      <a:pt x="102" y="258"/>
                    </a:lnTo>
                    <a:lnTo>
                      <a:pt x="92" y="266"/>
                    </a:lnTo>
                    <a:lnTo>
                      <a:pt x="90" y="260"/>
                    </a:lnTo>
                    <a:lnTo>
                      <a:pt x="92" y="252"/>
                    </a:lnTo>
                    <a:lnTo>
                      <a:pt x="92" y="244"/>
                    </a:lnTo>
                    <a:lnTo>
                      <a:pt x="92" y="232"/>
                    </a:lnTo>
                    <a:lnTo>
                      <a:pt x="90" y="226"/>
                    </a:lnTo>
                    <a:lnTo>
                      <a:pt x="82" y="208"/>
                    </a:lnTo>
                    <a:lnTo>
                      <a:pt x="82" y="194"/>
                    </a:lnTo>
                    <a:lnTo>
                      <a:pt x="78" y="182"/>
                    </a:lnTo>
                    <a:lnTo>
                      <a:pt x="68" y="170"/>
                    </a:lnTo>
                    <a:lnTo>
                      <a:pt x="64" y="182"/>
                    </a:lnTo>
                    <a:lnTo>
                      <a:pt x="52" y="184"/>
                    </a:lnTo>
                    <a:lnTo>
                      <a:pt x="52" y="192"/>
                    </a:lnTo>
                    <a:lnTo>
                      <a:pt x="40" y="192"/>
                    </a:lnTo>
                    <a:lnTo>
                      <a:pt x="36" y="184"/>
                    </a:lnTo>
                    <a:lnTo>
                      <a:pt x="36" y="172"/>
                    </a:lnTo>
                    <a:lnTo>
                      <a:pt x="38" y="160"/>
                    </a:lnTo>
                    <a:lnTo>
                      <a:pt x="34" y="150"/>
                    </a:lnTo>
                    <a:lnTo>
                      <a:pt x="26" y="144"/>
                    </a:lnTo>
                    <a:lnTo>
                      <a:pt x="16" y="126"/>
                    </a:lnTo>
                    <a:lnTo>
                      <a:pt x="4" y="114"/>
                    </a:lnTo>
                    <a:lnTo>
                      <a:pt x="8" y="110"/>
                    </a:lnTo>
                    <a:lnTo>
                      <a:pt x="8" y="102"/>
                    </a:lnTo>
                    <a:lnTo>
                      <a:pt x="14" y="96"/>
                    </a:lnTo>
                    <a:lnTo>
                      <a:pt x="20" y="70"/>
                    </a:lnTo>
                    <a:lnTo>
                      <a:pt x="32" y="70"/>
                    </a:lnTo>
                    <a:lnTo>
                      <a:pt x="36" y="52"/>
                    </a:lnTo>
                    <a:lnTo>
                      <a:pt x="42" y="44"/>
                    </a:lnTo>
                    <a:lnTo>
                      <a:pt x="44" y="34"/>
                    </a:lnTo>
                    <a:lnTo>
                      <a:pt x="58" y="20"/>
                    </a:lnTo>
                    <a:lnTo>
                      <a:pt x="70" y="20"/>
                    </a:lnTo>
                    <a:lnTo>
                      <a:pt x="70" y="12"/>
                    </a:lnTo>
                    <a:lnTo>
                      <a:pt x="76" y="4"/>
                    </a:lnTo>
                    <a:close/>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0" name="Freeform 913"/>
              <p:cNvSpPr>
                <a:spLocks/>
              </p:cNvSpPr>
              <p:nvPr/>
            </p:nvSpPr>
            <p:spPr bwMode="auto">
              <a:xfrm>
                <a:off x="4169" y="2113"/>
                <a:ext cx="118" cy="262"/>
              </a:xfrm>
              <a:custGeom>
                <a:avLst/>
                <a:gdLst>
                  <a:gd name="T0" fmla="*/ 78 w 118"/>
                  <a:gd name="T1" fmla="*/ 0 h 262"/>
                  <a:gd name="T2" fmla="*/ 90 w 118"/>
                  <a:gd name="T3" fmla="*/ 16 h 262"/>
                  <a:gd name="T4" fmla="*/ 82 w 118"/>
                  <a:gd name="T5" fmla="*/ 46 h 262"/>
                  <a:gd name="T6" fmla="*/ 76 w 118"/>
                  <a:gd name="T7" fmla="*/ 60 h 262"/>
                  <a:gd name="T8" fmla="*/ 92 w 118"/>
                  <a:gd name="T9" fmla="*/ 78 h 262"/>
                  <a:gd name="T10" fmla="*/ 102 w 118"/>
                  <a:gd name="T11" fmla="*/ 96 h 262"/>
                  <a:gd name="T12" fmla="*/ 108 w 118"/>
                  <a:gd name="T13" fmla="*/ 102 h 262"/>
                  <a:gd name="T14" fmla="*/ 118 w 118"/>
                  <a:gd name="T15" fmla="*/ 112 h 262"/>
                  <a:gd name="T16" fmla="*/ 92 w 118"/>
                  <a:gd name="T17" fmla="*/ 128 h 262"/>
                  <a:gd name="T18" fmla="*/ 76 w 118"/>
                  <a:gd name="T19" fmla="*/ 140 h 262"/>
                  <a:gd name="T20" fmla="*/ 74 w 118"/>
                  <a:gd name="T21" fmla="*/ 148 h 262"/>
                  <a:gd name="T22" fmla="*/ 76 w 118"/>
                  <a:gd name="T23" fmla="*/ 164 h 262"/>
                  <a:gd name="T24" fmla="*/ 90 w 118"/>
                  <a:gd name="T25" fmla="*/ 184 h 262"/>
                  <a:gd name="T26" fmla="*/ 84 w 118"/>
                  <a:gd name="T27" fmla="*/ 202 h 262"/>
                  <a:gd name="T28" fmla="*/ 96 w 118"/>
                  <a:gd name="T29" fmla="*/ 220 h 262"/>
                  <a:gd name="T30" fmla="*/ 102 w 118"/>
                  <a:gd name="T31" fmla="*/ 244 h 262"/>
                  <a:gd name="T32" fmla="*/ 88 w 118"/>
                  <a:gd name="T33" fmla="*/ 262 h 262"/>
                  <a:gd name="T34" fmla="*/ 88 w 118"/>
                  <a:gd name="T35" fmla="*/ 248 h 262"/>
                  <a:gd name="T36" fmla="*/ 88 w 118"/>
                  <a:gd name="T37" fmla="*/ 228 h 262"/>
                  <a:gd name="T38" fmla="*/ 78 w 118"/>
                  <a:gd name="T39" fmla="*/ 204 h 262"/>
                  <a:gd name="T40" fmla="*/ 74 w 118"/>
                  <a:gd name="T41" fmla="*/ 178 h 262"/>
                  <a:gd name="T42" fmla="*/ 60 w 118"/>
                  <a:gd name="T43" fmla="*/ 178 h 262"/>
                  <a:gd name="T44" fmla="*/ 48 w 118"/>
                  <a:gd name="T45" fmla="*/ 188 h 262"/>
                  <a:gd name="T46" fmla="*/ 32 w 118"/>
                  <a:gd name="T47" fmla="*/ 180 h 262"/>
                  <a:gd name="T48" fmla="*/ 34 w 118"/>
                  <a:gd name="T49" fmla="*/ 156 h 262"/>
                  <a:gd name="T50" fmla="*/ 22 w 118"/>
                  <a:gd name="T51" fmla="*/ 140 h 262"/>
                  <a:gd name="T52" fmla="*/ 0 w 118"/>
                  <a:gd name="T53" fmla="*/ 110 h 262"/>
                  <a:gd name="T54" fmla="*/ 4 w 118"/>
                  <a:gd name="T55" fmla="*/ 98 h 262"/>
                  <a:gd name="T56" fmla="*/ 16 w 118"/>
                  <a:gd name="T57" fmla="*/ 66 h 262"/>
                  <a:gd name="T58" fmla="*/ 32 w 118"/>
                  <a:gd name="T59" fmla="*/ 48 h 262"/>
                  <a:gd name="T60" fmla="*/ 40 w 118"/>
                  <a:gd name="T61" fmla="*/ 30 h 262"/>
                  <a:gd name="T62" fmla="*/ 66 w 118"/>
                  <a:gd name="T63" fmla="*/ 16 h 262"/>
                  <a:gd name="T64" fmla="*/ 72 w 118"/>
                  <a:gd name="T6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262">
                    <a:moveTo>
                      <a:pt x="72" y="0"/>
                    </a:moveTo>
                    <a:lnTo>
                      <a:pt x="78" y="0"/>
                    </a:lnTo>
                    <a:lnTo>
                      <a:pt x="84" y="10"/>
                    </a:lnTo>
                    <a:lnTo>
                      <a:pt x="90" y="16"/>
                    </a:lnTo>
                    <a:lnTo>
                      <a:pt x="90" y="36"/>
                    </a:lnTo>
                    <a:lnTo>
                      <a:pt x="82" y="46"/>
                    </a:lnTo>
                    <a:lnTo>
                      <a:pt x="76" y="56"/>
                    </a:lnTo>
                    <a:lnTo>
                      <a:pt x="76" y="60"/>
                    </a:lnTo>
                    <a:lnTo>
                      <a:pt x="92" y="66"/>
                    </a:lnTo>
                    <a:lnTo>
                      <a:pt x="92" y="78"/>
                    </a:lnTo>
                    <a:lnTo>
                      <a:pt x="102" y="82"/>
                    </a:lnTo>
                    <a:lnTo>
                      <a:pt x="102" y="96"/>
                    </a:lnTo>
                    <a:lnTo>
                      <a:pt x="108" y="98"/>
                    </a:lnTo>
                    <a:lnTo>
                      <a:pt x="108" y="102"/>
                    </a:lnTo>
                    <a:lnTo>
                      <a:pt x="116" y="102"/>
                    </a:lnTo>
                    <a:lnTo>
                      <a:pt x="118" y="112"/>
                    </a:lnTo>
                    <a:lnTo>
                      <a:pt x="102" y="120"/>
                    </a:lnTo>
                    <a:lnTo>
                      <a:pt x="92" y="128"/>
                    </a:lnTo>
                    <a:lnTo>
                      <a:pt x="76" y="130"/>
                    </a:lnTo>
                    <a:lnTo>
                      <a:pt x="76" y="140"/>
                    </a:lnTo>
                    <a:lnTo>
                      <a:pt x="76" y="144"/>
                    </a:lnTo>
                    <a:lnTo>
                      <a:pt x="74" y="148"/>
                    </a:lnTo>
                    <a:lnTo>
                      <a:pt x="76" y="158"/>
                    </a:lnTo>
                    <a:lnTo>
                      <a:pt x="76" y="164"/>
                    </a:lnTo>
                    <a:lnTo>
                      <a:pt x="86" y="170"/>
                    </a:lnTo>
                    <a:lnTo>
                      <a:pt x="90" y="184"/>
                    </a:lnTo>
                    <a:lnTo>
                      <a:pt x="88" y="194"/>
                    </a:lnTo>
                    <a:lnTo>
                      <a:pt x="84" y="202"/>
                    </a:lnTo>
                    <a:lnTo>
                      <a:pt x="90" y="210"/>
                    </a:lnTo>
                    <a:lnTo>
                      <a:pt x="96" y="220"/>
                    </a:lnTo>
                    <a:lnTo>
                      <a:pt x="96" y="234"/>
                    </a:lnTo>
                    <a:lnTo>
                      <a:pt x="102" y="244"/>
                    </a:lnTo>
                    <a:lnTo>
                      <a:pt x="98" y="254"/>
                    </a:lnTo>
                    <a:lnTo>
                      <a:pt x="88" y="262"/>
                    </a:lnTo>
                    <a:lnTo>
                      <a:pt x="86" y="256"/>
                    </a:lnTo>
                    <a:lnTo>
                      <a:pt x="88" y="248"/>
                    </a:lnTo>
                    <a:lnTo>
                      <a:pt x="88" y="240"/>
                    </a:lnTo>
                    <a:lnTo>
                      <a:pt x="88" y="228"/>
                    </a:lnTo>
                    <a:lnTo>
                      <a:pt x="86" y="222"/>
                    </a:lnTo>
                    <a:lnTo>
                      <a:pt x="78" y="204"/>
                    </a:lnTo>
                    <a:lnTo>
                      <a:pt x="78" y="190"/>
                    </a:lnTo>
                    <a:lnTo>
                      <a:pt x="74" y="178"/>
                    </a:lnTo>
                    <a:lnTo>
                      <a:pt x="64" y="166"/>
                    </a:lnTo>
                    <a:lnTo>
                      <a:pt x="60" y="178"/>
                    </a:lnTo>
                    <a:lnTo>
                      <a:pt x="48" y="180"/>
                    </a:lnTo>
                    <a:lnTo>
                      <a:pt x="48" y="188"/>
                    </a:lnTo>
                    <a:lnTo>
                      <a:pt x="36" y="188"/>
                    </a:lnTo>
                    <a:lnTo>
                      <a:pt x="32" y="180"/>
                    </a:lnTo>
                    <a:lnTo>
                      <a:pt x="32" y="168"/>
                    </a:lnTo>
                    <a:lnTo>
                      <a:pt x="34" y="156"/>
                    </a:lnTo>
                    <a:lnTo>
                      <a:pt x="30" y="146"/>
                    </a:lnTo>
                    <a:lnTo>
                      <a:pt x="22" y="140"/>
                    </a:lnTo>
                    <a:lnTo>
                      <a:pt x="12" y="122"/>
                    </a:lnTo>
                    <a:lnTo>
                      <a:pt x="0" y="110"/>
                    </a:lnTo>
                    <a:lnTo>
                      <a:pt x="4" y="106"/>
                    </a:lnTo>
                    <a:lnTo>
                      <a:pt x="4" y="98"/>
                    </a:lnTo>
                    <a:lnTo>
                      <a:pt x="10" y="92"/>
                    </a:lnTo>
                    <a:lnTo>
                      <a:pt x="16" y="66"/>
                    </a:lnTo>
                    <a:lnTo>
                      <a:pt x="28" y="66"/>
                    </a:lnTo>
                    <a:lnTo>
                      <a:pt x="32" y="48"/>
                    </a:lnTo>
                    <a:lnTo>
                      <a:pt x="38" y="40"/>
                    </a:lnTo>
                    <a:lnTo>
                      <a:pt x="40" y="30"/>
                    </a:lnTo>
                    <a:lnTo>
                      <a:pt x="54" y="16"/>
                    </a:lnTo>
                    <a:lnTo>
                      <a:pt x="66" y="16"/>
                    </a:lnTo>
                    <a:lnTo>
                      <a:pt x="66"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1" name="Freeform 914"/>
              <p:cNvSpPr>
                <a:spLocks/>
              </p:cNvSpPr>
              <p:nvPr/>
            </p:nvSpPr>
            <p:spPr bwMode="auto">
              <a:xfrm>
                <a:off x="4165" y="2109"/>
                <a:ext cx="126" cy="270"/>
              </a:xfrm>
              <a:custGeom>
                <a:avLst/>
                <a:gdLst>
                  <a:gd name="T0" fmla="*/ 72 w 126"/>
                  <a:gd name="T1" fmla="*/ 2 h 270"/>
                  <a:gd name="T2" fmla="*/ 66 w 126"/>
                  <a:gd name="T3" fmla="*/ 12 h 270"/>
                  <a:gd name="T4" fmla="*/ 58 w 126"/>
                  <a:gd name="T5" fmla="*/ 16 h 270"/>
                  <a:gd name="T6" fmla="*/ 42 w 126"/>
                  <a:gd name="T7" fmla="*/ 30 h 270"/>
                  <a:gd name="T8" fmla="*/ 32 w 126"/>
                  <a:gd name="T9" fmla="*/ 48 h 270"/>
                  <a:gd name="T10" fmla="*/ 28 w 126"/>
                  <a:gd name="T11" fmla="*/ 66 h 270"/>
                  <a:gd name="T12" fmla="*/ 16 w 126"/>
                  <a:gd name="T13" fmla="*/ 68 h 270"/>
                  <a:gd name="T14" fmla="*/ 6 w 126"/>
                  <a:gd name="T15" fmla="*/ 98 h 270"/>
                  <a:gd name="T16" fmla="*/ 4 w 126"/>
                  <a:gd name="T17" fmla="*/ 108 h 270"/>
                  <a:gd name="T18" fmla="*/ 0 w 126"/>
                  <a:gd name="T19" fmla="*/ 114 h 270"/>
                  <a:gd name="T20" fmla="*/ 12 w 126"/>
                  <a:gd name="T21" fmla="*/ 128 h 270"/>
                  <a:gd name="T22" fmla="*/ 24 w 126"/>
                  <a:gd name="T23" fmla="*/ 146 h 270"/>
                  <a:gd name="T24" fmla="*/ 32 w 126"/>
                  <a:gd name="T25" fmla="*/ 172 h 270"/>
                  <a:gd name="T26" fmla="*/ 32 w 126"/>
                  <a:gd name="T27" fmla="*/ 184 h 270"/>
                  <a:gd name="T28" fmla="*/ 38 w 126"/>
                  <a:gd name="T29" fmla="*/ 194 h 270"/>
                  <a:gd name="T30" fmla="*/ 52 w 126"/>
                  <a:gd name="T31" fmla="*/ 196 h 270"/>
                  <a:gd name="T32" fmla="*/ 54 w 126"/>
                  <a:gd name="T33" fmla="*/ 192 h 270"/>
                  <a:gd name="T34" fmla="*/ 64 w 126"/>
                  <a:gd name="T35" fmla="*/ 186 h 270"/>
                  <a:gd name="T36" fmla="*/ 74 w 126"/>
                  <a:gd name="T37" fmla="*/ 184 h 270"/>
                  <a:gd name="T38" fmla="*/ 78 w 126"/>
                  <a:gd name="T39" fmla="*/ 208 h 270"/>
                  <a:gd name="T40" fmla="*/ 88 w 126"/>
                  <a:gd name="T41" fmla="*/ 232 h 270"/>
                  <a:gd name="T42" fmla="*/ 86 w 126"/>
                  <a:gd name="T43" fmla="*/ 258 h 270"/>
                  <a:gd name="T44" fmla="*/ 88 w 126"/>
                  <a:gd name="T45" fmla="*/ 268 h 270"/>
                  <a:gd name="T46" fmla="*/ 90 w 126"/>
                  <a:gd name="T47" fmla="*/ 270 h 270"/>
                  <a:gd name="T48" fmla="*/ 94 w 126"/>
                  <a:gd name="T49" fmla="*/ 270 h 270"/>
                  <a:gd name="T50" fmla="*/ 106 w 126"/>
                  <a:gd name="T51" fmla="*/ 260 h 270"/>
                  <a:gd name="T52" fmla="*/ 108 w 126"/>
                  <a:gd name="T53" fmla="*/ 246 h 270"/>
                  <a:gd name="T54" fmla="*/ 104 w 126"/>
                  <a:gd name="T55" fmla="*/ 224 h 270"/>
                  <a:gd name="T56" fmla="*/ 92 w 126"/>
                  <a:gd name="T57" fmla="*/ 206 h 270"/>
                  <a:gd name="T58" fmla="*/ 98 w 126"/>
                  <a:gd name="T59" fmla="*/ 190 h 270"/>
                  <a:gd name="T60" fmla="*/ 94 w 126"/>
                  <a:gd name="T61" fmla="*/ 172 h 270"/>
                  <a:gd name="T62" fmla="*/ 82 w 126"/>
                  <a:gd name="T63" fmla="*/ 160 h 270"/>
                  <a:gd name="T64" fmla="*/ 84 w 126"/>
                  <a:gd name="T65" fmla="*/ 146 h 270"/>
                  <a:gd name="T66" fmla="*/ 84 w 126"/>
                  <a:gd name="T67" fmla="*/ 136 h 270"/>
                  <a:gd name="T68" fmla="*/ 100 w 126"/>
                  <a:gd name="T69" fmla="*/ 134 h 270"/>
                  <a:gd name="T70" fmla="*/ 124 w 126"/>
                  <a:gd name="T71" fmla="*/ 118 h 270"/>
                  <a:gd name="T72" fmla="*/ 124 w 126"/>
                  <a:gd name="T73" fmla="*/ 106 h 270"/>
                  <a:gd name="T74" fmla="*/ 120 w 126"/>
                  <a:gd name="T75" fmla="*/ 102 h 270"/>
                  <a:gd name="T76" fmla="*/ 116 w 126"/>
                  <a:gd name="T77" fmla="*/ 102 h 270"/>
                  <a:gd name="T78" fmla="*/ 110 w 126"/>
                  <a:gd name="T79" fmla="*/ 96 h 270"/>
                  <a:gd name="T80" fmla="*/ 108 w 126"/>
                  <a:gd name="T81" fmla="*/ 82 h 270"/>
                  <a:gd name="T82" fmla="*/ 100 w 126"/>
                  <a:gd name="T83" fmla="*/ 70 h 270"/>
                  <a:gd name="T84" fmla="*/ 98 w 126"/>
                  <a:gd name="T85" fmla="*/ 66 h 270"/>
                  <a:gd name="T86" fmla="*/ 96 w 126"/>
                  <a:gd name="T87" fmla="*/ 42 h 270"/>
                  <a:gd name="T88" fmla="*/ 98 w 126"/>
                  <a:gd name="T89" fmla="*/ 20 h 270"/>
                  <a:gd name="T90" fmla="*/ 90 w 126"/>
                  <a:gd name="T91" fmla="*/ 12 h 270"/>
                  <a:gd name="T92" fmla="*/ 84 w 126"/>
                  <a:gd name="T93" fmla="*/ 2 h 270"/>
                  <a:gd name="T94" fmla="*/ 76 w 126"/>
                  <a:gd name="T9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70">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2" name="Freeform 915"/>
              <p:cNvSpPr>
                <a:spLocks/>
              </p:cNvSpPr>
              <p:nvPr/>
            </p:nvSpPr>
            <p:spPr bwMode="auto">
              <a:xfrm>
                <a:off x="4239" y="2227"/>
                <a:ext cx="122" cy="218"/>
              </a:xfrm>
              <a:custGeom>
                <a:avLst/>
                <a:gdLst>
                  <a:gd name="T0" fmla="*/ 52 w 122"/>
                  <a:gd name="T1" fmla="*/ 216 h 218"/>
                  <a:gd name="T2" fmla="*/ 52 w 122"/>
                  <a:gd name="T3" fmla="*/ 214 h 218"/>
                  <a:gd name="T4" fmla="*/ 40 w 122"/>
                  <a:gd name="T5" fmla="*/ 204 h 218"/>
                  <a:gd name="T6" fmla="*/ 32 w 122"/>
                  <a:gd name="T7" fmla="*/ 194 h 218"/>
                  <a:gd name="T8" fmla="*/ 12 w 122"/>
                  <a:gd name="T9" fmla="*/ 178 h 218"/>
                  <a:gd name="T10" fmla="*/ 14 w 122"/>
                  <a:gd name="T11" fmla="*/ 146 h 218"/>
                  <a:gd name="T12" fmla="*/ 26 w 122"/>
                  <a:gd name="T13" fmla="*/ 136 h 218"/>
                  <a:gd name="T14" fmla="*/ 24 w 122"/>
                  <a:gd name="T15" fmla="*/ 120 h 218"/>
                  <a:gd name="T16" fmla="*/ 18 w 122"/>
                  <a:gd name="T17" fmla="*/ 94 h 218"/>
                  <a:gd name="T18" fmla="*/ 12 w 122"/>
                  <a:gd name="T19" fmla="*/ 86 h 218"/>
                  <a:gd name="T20" fmla="*/ 4 w 122"/>
                  <a:gd name="T21" fmla="*/ 48 h 218"/>
                  <a:gd name="T22" fmla="*/ 0 w 122"/>
                  <a:gd name="T23" fmla="*/ 30 h 218"/>
                  <a:gd name="T24" fmla="*/ 4 w 122"/>
                  <a:gd name="T25" fmla="*/ 24 h 218"/>
                  <a:gd name="T26" fmla="*/ 6 w 122"/>
                  <a:gd name="T27" fmla="*/ 12 h 218"/>
                  <a:gd name="T28" fmla="*/ 34 w 122"/>
                  <a:gd name="T29" fmla="*/ 2 h 218"/>
                  <a:gd name="T30" fmla="*/ 36 w 122"/>
                  <a:gd name="T31" fmla="*/ 2 h 218"/>
                  <a:gd name="T32" fmla="*/ 48 w 122"/>
                  <a:gd name="T33" fmla="*/ 8 h 218"/>
                  <a:gd name="T34" fmla="*/ 54 w 122"/>
                  <a:gd name="T35" fmla="*/ 16 h 218"/>
                  <a:gd name="T36" fmla="*/ 58 w 122"/>
                  <a:gd name="T37" fmla="*/ 30 h 218"/>
                  <a:gd name="T38" fmla="*/ 56 w 122"/>
                  <a:gd name="T39" fmla="*/ 42 h 218"/>
                  <a:gd name="T40" fmla="*/ 70 w 122"/>
                  <a:gd name="T41" fmla="*/ 34 h 218"/>
                  <a:gd name="T42" fmla="*/ 72 w 122"/>
                  <a:gd name="T43" fmla="*/ 34 h 218"/>
                  <a:gd name="T44" fmla="*/ 92 w 122"/>
                  <a:gd name="T45" fmla="*/ 30 h 218"/>
                  <a:gd name="T46" fmla="*/ 94 w 122"/>
                  <a:gd name="T47" fmla="*/ 30 h 218"/>
                  <a:gd name="T48" fmla="*/ 110 w 122"/>
                  <a:gd name="T49" fmla="*/ 46 h 218"/>
                  <a:gd name="T50" fmla="*/ 122 w 122"/>
                  <a:gd name="T51" fmla="*/ 70 h 218"/>
                  <a:gd name="T52" fmla="*/ 118 w 122"/>
                  <a:gd name="T53" fmla="*/ 90 h 218"/>
                  <a:gd name="T54" fmla="*/ 82 w 122"/>
                  <a:gd name="T55" fmla="*/ 94 h 218"/>
                  <a:gd name="T56" fmla="*/ 78 w 122"/>
                  <a:gd name="T57" fmla="*/ 118 h 218"/>
                  <a:gd name="T58" fmla="*/ 82 w 122"/>
                  <a:gd name="T59" fmla="*/ 128 h 218"/>
                  <a:gd name="T60" fmla="*/ 78 w 122"/>
                  <a:gd name="T61" fmla="*/ 132 h 218"/>
                  <a:gd name="T62" fmla="*/ 78 w 122"/>
                  <a:gd name="T63" fmla="*/ 132 h 218"/>
                  <a:gd name="T64" fmla="*/ 52 w 122"/>
                  <a:gd name="T65" fmla="*/ 116 h 218"/>
                  <a:gd name="T66" fmla="*/ 52 w 122"/>
                  <a:gd name="T67" fmla="*/ 108 h 218"/>
                  <a:gd name="T68" fmla="*/ 40 w 122"/>
                  <a:gd name="T69" fmla="*/ 120 h 218"/>
                  <a:gd name="T70" fmla="*/ 30 w 122"/>
                  <a:gd name="T71" fmla="*/ 148 h 218"/>
                  <a:gd name="T72" fmla="*/ 40 w 122"/>
                  <a:gd name="T73" fmla="*/ 166 h 218"/>
                  <a:gd name="T74" fmla="*/ 42 w 122"/>
                  <a:gd name="T75" fmla="*/ 172 h 218"/>
                  <a:gd name="T76" fmla="*/ 60 w 122"/>
                  <a:gd name="T77" fmla="*/ 198 h 218"/>
                  <a:gd name="T78" fmla="*/ 68 w 122"/>
                  <a:gd name="T79" fmla="*/ 206 h 218"/>
                  <a:gd name="T80" fmla="*/ 70 w 122"/>
                  <a:gd name="T81" fmla="*/ 208 h 218"/>
                  <a:gd name="T82" fmla="*/ 64 w 122"/>
                  <a:gd name="T83" fmla="*/ 216 h 218"/>
                  <a:gd name="T84" fmla="*/ 62 w 122"/>
                  <a:gd name="T8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18">
                    <a:moveTo>
                      <a:pt x="62" y="218"/>
                    </a:moveTo>
                    <a:lnTo>
                      <a:pt x="52" y="216"/>
                    </a:lnTo>
                    <a:lnTo>
                      <a:pt x="52" y="216"/>
                    </a:lnTo>
                    <a:lnTo>
                      <a:pt x="52" y="216"/>
                    </a:lnTo>
                    <a:lnTo>
                      <a:pt x="52" y="216"/>
                    </a:lnTo>
                    <a:lnTo>
                      <a:pt x="52" y="214"/>
                    </a:lnTo>
                    <a:lnTo>
                      <a:pt x="52" y="208"/>
                    </a:lnTo>
                    <a:lnTo>
                      <a:pt x="48" y="206"/>
                    </a:lnTo>
                    <a:lnTo>
                      <a:pt x="40" y="204"/>
                    </a:lnTo>
                    <a:lnTo>
                      <a:pt x="40" y="204"/>
                    </a:lnTo>
                    <a:lnTo>
                      <a:pt x="38" y="204"/>
                    </a:lnTo>
                    <a:lnTo>
                      <a:pt x="32" y="194"/>
                    </a:lnTo>
                    <a:lnTo>
                      <a:pt x="20" y="180"/>
                    </a:lnTo>
                    <a:lnTo>
                      <a:pt x="12" y="178"/>
                    </a:lnTo>
                    <a:lnTo>
                      <a:pt x="12" y="178"/>
                    </a:lnTo>
                    <a:lnTo>
                      <a:pt x="12" y="176"/>
                    </a:lnTo>
                    <a:lnTo>
                      <a:pt x="14" y="158"/>
                    </a:lnTo>
                    <a:lnTo>
                      <a:pt x="14" y="146"/>
                    </a:lnTo>
                    <a:lnTo>
                      <a:pt x="14" y="146"/>
                    </a:lnTo>
                    <a:lnTo>
                      <a:pt x="16" y="146"/>
                    </a:lnTo>
                    <a:lnTo>
                      <a:pt x="26" y="136"/>
                    </a:lnTo>
                    <a:lnTo>
                      <a:pt x="30" y="128"/>
                    </a:lnTo>
                    <a:lnTo>
                      <a:pt x="24" y="120"/>
                    </a:lnTo>
                    <a:lnTo>
                      <a:pt x="24" y="120"/>
                    </a:lnTo>
                    <a:lnTo>
                      <a:pt x="24" y="118"/>
                    </a:lnTo>
                    <a:lnTo>
                      <a:pt x="24" y="104"/>
                    </a:lnTo>
                    <a:lnTo>
                      <a:pt x="18" y="94"/>
                    </a:lnTo>
                    <a:lnTo>
                      <a:pt x="12" y="88"/>
                    </a:lnTo>
                    <a:lnTo>
                      <a:pt x="12" y="88"/>
                    </a:lnTo>
                    <a:lnTo>
                      <a:pt x="12" y="86"/>
                    </a:lnTo>
                    <a:lnTo>
                      <a:pt x="18" y="68"/>
                    </a:lnTo>
                    <a:lnTo>
                      <a:pt x="14" y="56"/>
                    </a:lnTo>
                    <a:lnTo>
                      <a:pt x="4" y="48"/>
                    </a:lnTo>
                    <a:lnTo>
                      <a:pt x="4" y="48"/>
                    </a:lnTo>
                    <a:lnTo>
                      <a:pt x="4" y="48"/>
                    </a:lnTo>
                    <a:lnTo>
                      <a:pt x="0" y="30"/>
                    </a:lnTo>
                    <a:lnTo>
                      <a:pt x="0" y="30"/>
                    </a:lnTo>
                    <a:lnTo>
                      <a:pt x="0" y="28"/>
                    </a:lnTo>
                    <a:lnTo>
                      <a:pt x="4" y="24"/>
                    </a:lnTo>
                    <a:lnTo>
                      <a:pt x="4" y="14"/>
                    </a:lnTo>
                    <a:lnTo>
                      <a:pt x="4" y="14"/>
                    </a:lnTo>
                    <a:lnTo>
                      <a:pt x="6" y="12"/>
                    </a:lnTo>
                    <a:lnTo>
                      <a:pt x="22" y="10"/>
                    </a:lnTo>
                    <a:lnTo>
                      <a:pt x="34" y="2"/>
                    </a:lnTo>
                    <a:lnTo>
                      <a:pt x="34" y="2"/>
                    </a:lnTo>
                    <a:lnTo>
                      <a:pt x="34" y="0"/>
                    </a:lnTo>
                    <a:lnTo>
                      <a:pt x="34" y="0"/>
                    </a:lnTo>
                    <a:lnTo>
                      <a:pt x="36" y="2"/>
                    </a:lnTo>
                    <a:lnTo>
                      <a:pt x="46" y="6"/>
                    </a:lnTo>
                    <a:lnTo>
                      <a:pt x="46" y="6"/>
                    </a:lnTo>
                    <a:lnTo>
                      <a:pt x="48" y="8"/>
                    </a:lnTo>
                    <a:lnTo>
                      <a:pt x="48" y="14"/>
                    </a:lnTo>
                    <a:lnTo>
                      <a:pt x="54" y="16"/>
                    </a:lnTo>
                    <a:lnTo>
                      <a:pt x="54" y="16"/>
                    </a:lnTo>
                    <a:lnTo>
                      <a:pt x="54" y="16"/>
                    </a:lnTo>
                    <a:lnTo>
                      <a:pt x="58" y="30"/>
                    </a:lnTo>
                    <a:lnTo>
                      <a:pt x="58" y="30"/>
                    </a:lnTo>
                    <a:lnTo>
                      <a:pt x="58" y="30"/>
                    </a:lnTo>
                    <a:lnTo>
                      <a:pt x="56" y="34"/>
                    </a:lnTo>
                    <a:lnTo>
                      <a:pt x="56" y="42"/>
                    </a:lnTo>
                    <a:lnTo>
                      <a:pt x="64" y="38"/>
                    </a:lnTo>
                    <a:lnTo>
                      <a:pt x="70" y="34"/>
                    </a:lnTo>
                    <a:lnTo>
                      <a:pt x="70" y="34"/>
                    </a:lnTo>
                    <a:lnTo>
                      <a:pt x="72" y="32"/>
                    </a:lnTo>
                    <a:lnTo>
                      <a:pt x="72" y="32"/>
                    </a:lnTo>
                    <a:lnTo>
                      <a:pt x="72" y="34"/>
                    </a:lnTo>
                    <a:lnTo>
                      <a:pt x="82" y="36"/>
                    </a:lnTo>
                    <a:lnTo>
                      <a:pt x="92" y="30"/>
                    </a:lnTo>
                    <a:lnTo>
                      <a:pt x="92" y="30"/>
                    </a:lnTo>
                    <a:lnTo>
                      <a:pt x="92" y="30"/>
                    </a:lnTo>
                    <a:lnTo>
                      <a:pt x="92" y="30"/>
                    </a:lnTo>
                    <a:lnTo>
                      <a:pt x="94" y="30"/>
                    </a:lnTo>
                    <a:lnTo>
                      <a:pt x="108" y="46"/>
                    </a:lnTo>
                    <a:lnTo>
                      <a:pt x="108" y="46"/>
                    </a:lnTo>
                    <a:lnTo>
                      <a:pt x="110" y="46"/>
                    </a:lnTo>
                    <a:lnTo>
                      <a:pt x="112" y="60"/>
                    </a:lnTo>
                    <a:lnTo>
                      <a:pt x="122" y="70"/>
                    </a:lnTo>
                    <a:lnTo>
                      <a:pt x="122" y="70"/>
                    </a:lnTo>
                    <a:lnTo>
                      <a:pt x="122" y="70"/>
                    </a:lnTo>
                    <a:lnTo>
                      <a:pt x="122" y="80"/>
                    </a:lnTo>
                    <a:lnTo>
                      <a:pt x="118" y="90"/>
                    </a:lnTo>
                    <a:lnTo>
                      <a:pt x="118" y="90"/>
                    </a:lnTo>
                    <a:lnTo>
                      <a:pt x="116" y="92"/>
                    </a:lnTo>
                    <a:lnTo>
                      <a:pt x="82" y="94"/>
                    </a:lnTo>
                    <a:lnTo>
                      <a:pt x="74" y="104"/>
                    </a:lnTo>
                    <a:lnTo>
                      <a:pt x="74" y="110"/>
                    </a:lnTo>
                    <a:lnTo>
                      <a:pt x="78" y="118"/>
                    </a:lnTo>
                    <a:lnTo>
                      <a:pt x="82" y="126"/>
                    </a:lnTo>
                    <a:lnTo>
                      <a:pt x="82" y="126"/>
                    </a:lnTo>
                    <a:lnTo>
                      <a:pt x="82" y="128"/>
                    </a:lnTo>
                    <a:lnTo>
                      <a:pt x="80" y="132"/>
                    </a:lnTo>
                    <a:lnTo>
                      <a:pt x="80" y="132"/>
                    </a:lnTo>
                    <a:lnTo>
                      <a:pt x="78" y="132"/>
                    </a:lnTo>
                    <a:lnTo>
                      <a:pt x="78" y="132"/>
                    </a:lnTo>
                    <a:lnTo>
                      <a:pt x="78" y="132"/>
                    </a:lnTo>
                    <a:lnTo>
                      <a:pt x="78" y="132"/>
                    </a:lnTo>
                    <a:lnTo>
                      <a:pt x="76" y="132"/>
                    </a:lnTo>
                    <a:lnTo>
                      <a:pt x="66" y="118"/>
                    </a:lnTo>
                    <a:lnTo>
                      <a:pt x="52" y="116"/>
                    </a:lnTo>
                    <a:lnTo>
                      <a:pt x="52" y="116"/>
                    </a:lnTo>
                    <a:lnTo>
                      <a:pt x="52" y="114"/>
                    </a:lnTo>
                    <a:lnTo>
                      <a:pt x="52" y="108"/>
                    </a:lnTo>
                    <a:lnTo>
                      <a:pt x="44" y="108"/>
                    </a:lnTo>
                    <a:lnTo>
                      <a:pt x="40" y="110"/>
                    </a:lnTo>
                    <a:lnTo>
                      <a:pt x="40" y="120"/>
                    </a:lnTo>
                    <a:lnTo>
                      <a:pt x="38" y="128"/>
                    </a:lnTo>
                    <a:lnTo>
                      <a:pt x="34" y="140"/>
                    </a:lnTo>
                    <a:lnTo>
                      <a:pt x="30" y="148"/>
                    </a:lnTo>
                    <a:lnTo>
                      <a:pt x="26" y="160"/>
                    </a:lnTo>
                    <a:lnTo>
                      <a:pt x="30" y="162"/>
                    </a:lnTo>
                    <a:lnTo>
                      <a:pt x="40" y="166"/>
                    </a:lnTo>
                    <a:lnTo>
                      <a:pt x="40" y="166"/>
                    </a:lnTo>
                    <a:lnTo>
                      <a:pt x="40" y="168"/>
                    </a:lnTo>
                    <a:lnTo>
                      <a:pt x="42" y="172"/>
                    </a:lnTo>
                    <a:lnTo>
                      <a:pt x="46" y="188"/>
                    </a:lnTo>
                    <a:lnTo>
                      <a:pt x="50" y="194"/>
                    </a:lnTo>
                    <a:lnTo>
                      <a:pt x="60" y="198"/>
                    </a:lnTo>
                    <a:lnTo>
                      <a:pt x="60" y="198"/>
                    </a:lnTo>
                    <a:lnTo>
                      <a:pt x="62" y="198"/>
                    </a:lnTo>
                    <a:lnTo>
                      <a:pt x="68" y="206"/>
                    </a:lnTo>
                    <a:lnTo>
                      <a:pt x="68" y="206"/>
                    </a:lnTo>
                    <a:lnTo>
                      <a:pt x="70" y="208"/>
                    </a:lnTo>
                    <a:lnTo>
                      <a:pt x="70" y="208"/>
                    </a:lnTo>
                    <a:lnTo>
                      <a:pt x="68" y="208"/>
                    </a:lnTo>
                    <a:lnTo>
                      <a:pt x="66" y="212"/>
                    </a:lnTo>
                    <a:lnTo>
                      <a:pt x="64" y="216"/>
                    </a:lnTo>
                    <a:lnTo>
                      <a:pt x="64" y="216"/>
                    </a:lnTo>
                    <a:lnTo>
                      <a:pt x="62" y="218"/>
                    </a:lnTo>
                    <a:lnTo>
                      <a:pt x="62" y="218"/>
                    </a:lnTo>
                    <a:lnTo>
                      <a:pt x="62" y="218"/>
                    </a:lnTo>
                    <a:lnTo>
                      <a:pt x="62" y="2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3" name="Freeform 916"/>
              <p:cNvSpPr>
                <a:spLocks noEditPoints="1"/>
              </p:cNvSpPr>
              <p:nvPr/>
            </p:nvSpPr>
            <p:spPr bwMode="auto">
              <a:xfrm>
                <a:off x="4237" y="2225"/>
                <a:ext cx="126" cy="222"/>
              </a:xfrm>
              <a:custGeom>
                <a:avLst/>
                <a:gdLst>
                  <a:gd name="T0" fmla="*/ 56 w 126"/>
                  <a:gd name="T1" fmla="*/ 20 h 222"/>
                  <a:gd name="T2" fmla="*/ 66 w 126"/>
                  <a:gd name="T3" fmla="*/ 42 h 222"/>
                  <a:gd name="T4" fmla="*/ 110 w 126"/>
                  <a:gd name="T5" fmla="*/ 50 h 222"/>
                  <a:gd name="T6" fmla="*/ 118 w 126"/>
                  <a:gd name="T7" fmla="*/ 92 h 222"/>
                  <a:gd name="T8" fmla="*/ 78 w 126"/>
                  <a:gd name="T9" fmla="*/ 120 h 222"/>
                  <a:gd name="T10" fmla="*/ 56 w 126"/>
                  <a:gd name="T11" fmla="*/ 116 h 222"/>
                  <a:gd name="T12" fmla="*/ 40 w 126"/>
                  <a:gd name="T13" fmla="*/ 122 h 222"/>
                  <a:gd name="T14" fmla="*/ 26 w 126"/>
                  <a:gd name="T15" fmla="*/ 164 h 222"/>
                  <a:gd name="T16" fmla="*/ 46 w 126"/>
                  <a:gd name="T17" fmla="*/ 192 h 222"/>
                  <a:gd name="T18" fmla="*/ 66 w 126"/>
                  <a:gd name="T19" fmla="*/ 212 h 222"/>
                  <a:gd name="T20" fmla="*/ 52 w 126"/>
                  <a:gd name="T21" fmla="*/ 206 h 222"/>
                  <a:gd name="T22" fmla="*/ 16 w 126"/>
                  <a:gd name="T23" fmla="*/ 178 h 222"/>
                  <a:gd name="T24" fmla="*/ 34 w 126"/>
                  <a:gd name="T25" fmla="*/ 130 h 222"/>
                  <a:gd name="T26" fmla="*/ 16 w 126"/>
                  <a:gd name="T27" fmla="*/ 88 h 222"/>
                  <a:gd name="T28" fmla="*/ 4 w 126"/>
                  <a:gd name="T29" fmla="*/ 32 h 222"/>
                  <a:gd name="T30" fmla="*/ 36 w 126"/>
                  <a:gd name="T31" fmla="*/ 4 h 222"/>
                  <a:gd name="T32" fmla="*/ 22 w 126"/>
                  <a:gd name="T33" fmla="*/ 10 h 222"/>
                  <a:gd name="T34" fmla="*/ 4 w 126"/>
                  <a:gd name="T35" fmla="*/ 16 h 222"/>
                  <a:gd name="T36" fmla="*/ 0 w 126"/>
                  <a:gd name="T37" fmla="*/ 32 h 222"/>
                  <a:gd name="T38" fmla="*/ 14 w 126"/>
                  <a:gd name="T39" fmla="*/ 58 h 222"/>
                  <a:gd name="T40" fmla="*/ 12 w 126"/>
                  <a:gd name="T41" fmla="*/ 90 h 222"/>
                  <a:gd name="T42" fmla="*/ 24 w 126"/>
                  <a:gd name="T43" fmla="*/ 120 h 222"/>
                  <a:gd name="T44" fmla="*/ 16 w 126"/>
                  <a:gd name="T45" fmla="*/ 146 h 222"/>
                  <a:gd name="T46" fmla="*/ 12 w 126"/>
                  <a:gd name="T47" fmla="*/ 176 h 222"/>
                  <a:gd name="T48" fmla="*/ 20 w 126"/>
                  <a:gd name="T49" fmla="*/ 184 h 222"/>
                  <a:gd name="T50" fmla="*/ 42 w 126"/>
                  <a:gd name="T51" fmla="*/ 208 h 222"/>
                  <a:gd name="T52" fmla="*/ 52 w 126"/>
                  <a:gd name="T53" fmla="*/ 216 h 222"/>
                  <a:gd name="T54" fmla="*/ 64 w 126"/>
                  <a:gd name="T55" fmla="*/ 222 h 222"/>
                  <a:gd name="T56" fmla="*/ 66 w 126"/>
                  <a:gd name="T57" fmla="*/ 222 h 222"/>
                  <a:gd name="T58" fmla="*/ 72 w 126"/>
                  <a:gd name="T59" fmla="*/ 212 h 222"/>
                  <a:gd name="T60" fmla="*/ 66 w 126"/>
                  <a:gd name="T61" fmla="*/ 200 h 222"/>
                  <a:gd name="T62" fmla="*/ 50 w 126"/>
                  <a:gd name="T63" fmla="*/ 190 h 222"/>
                  <a:gd name="T64" fmla="*/ 44 w 126"/>
                  <a:gd name="T65" fmla="*/ 168 h 222"/>
                  <a:gd name="T66" fmla="*/ 30 w 126"/>
                  <a:gd name="T67" fmla="*/ 162 h 222"/>
                  <a:gd name="T68" fmla="*/ 42 w 126"/>
                  <a:gd name="T69" fmla="*/ 130 h 222"/>
                  <a:gd name="T70" fmla="*/ 44 w 126"/>
                  <a:gd name="T71" fmla="*/ 122 h 222"/>
                  <a:gd name="T72" fmla="*/ 52 w 126"/>
                  <a:gd name="T73" fmla="*/ 116 h 222"/>
                  <a:gd name="T74" fmla="*/ 68 w 126"/>
                  <a:gd name="T75" fmla="*/ 122 h 222"/>
                  <a:gd name="T76" fmla="*/ 80 w 126"/>
                  <a:gd name="T77" fmla="*/ 136 h 222"/>
                  <a:gd name="T78" fmla="*/ 86 w 126"/>
                  <a:gd name="T79" fmla="*/ 132 h 222"/>
                  <a:gd name="T80" fmla="*/ 78 w 126"/>
                  <a:gd name="T81" fmla="*/ 110 h 222"/>
                  <a:gd name="T82" fmla="*/ 118 w 126"/>
                  <a:gd name="T83" fmla="*/ 96 h 222"/>
                  <a:gd name="T84" fmla="*/ 126 w 126"/>
                  <a:gd name="T85" fmla="*/ 82 h 222"/>
                  <a:gd name="T86" fmla="*/ 124 w 126"/>
                  <a:gd name="T87" fmla="*/ 70 h 222"/>
                  <a:gd name="T88" fmla="*/ 112 w 126"/>
                  <a:gd name="T89" fmla="*/ 46 h 222"/>
                  <a:gd name="T90" fmla="*/ 94 w 126"/>
                  <a:gd name="T91" fmla="*/ 30 h 222"/>
                  <a:gd name="T92" fmla="*/ 74 w 126"/>
                  <a:gd name="T93" fmla="*/ 34 h 222"/>
                  <a:gd name="T94" fmla="*/ 64 w 126"/>
                  <a:gd name="T95" fmla="*/ 38 h 222"/>
                  <a:gd name="T96" fmla="*/ 62 w 126"/>
                  <a:gd name="T97" fmla="*/ 34 h 222"/>
                  <a:gd name="T98" fmla="*/ 56 w 126"/>
                  <a:gd name="T99" fmla="*/ 16 h 222"/>
                  <a:gd name="T100" fmla="*/ 52 w 126"/>
                  <a:gd name="T101" fmla="*/ 8 h 222"/>
                  <a:gd name="T102" fmla="*/ 36 w 126"/>
                  <a:gd name="T10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22">
                    <a:moveTo>
                      <a:pt x="36" y="4"/>
                    </a:moveTo>
                    <a:lnTo>
                      <a:pt x="48" y="10"/>
                    </a:lnTo>
                    <a:lnTo>
                      <a:pt x="48" y="18"/>
                    </a:lnTo>
                    <a:lnTo>
                      <a:pt x="56" y="20"/>
                    </a:lnTo>
                    <a:lnTo>
                      <a:pt x="58" y="32"/>
                    </a:lnTo>
                    <a:lnTo>
                      <a:pt x="56" y="36"/>
                    </a:lnTo>
                    <a:lnTo>
                      <a:pt x="56" y="48"/>
                    </a:lnTo>
                    <a:lnTo>
                      <a:pt x="66" y="42"/>
                    </a:lnTo>
                    <a:lnTo>
                      <a:pt x="74" y="36"/>
                    </a:lnTo>
                    <a:lnTo>
                      <a:pt x="84" y="40"/>
                    </a:lnTo>
                    <a:lnTo>
                      <a:pt x="94" y="34"/>
                    </a:lnTo>
                    <a:lnTo>
                      <a:pt x="110" y="50"/>
                    </a:lnTo>
                    <a:lnTo>
                      <a:pt x="112" y="64"/>
                    </a:lnTo>
                    <a:lnTo>
                      <a:pt x="122" y="72"/>
                    </a:lnTo>
                    <a:lnTo>
                      <a:pt x="122" y="82"/>
                    </a:lnTo>
                    <a:lnTo>
                      <a:pt x="118" y="92"/>
                    </a:lnTo>
                    <a:lnTo>
                      <a:pt x="82" y="94"/>
                    </a:lnTo>
                    <a:lnTo>
                      <a:pt x="74" y="104"/>
                    </a:lnTo>
                    <a:lnTo>
                      <a:pt x="74" y="112"/>
                    </a:lnTo>
                    <a:lnTo>
                      <a:pt x="78" y="120"/>
                    </a:lnTo>
                    <a:lnTo>
                      <a:pt x="82" y="130"/>
                    </a:lnTo>
                    <a:lnTo>
                      <a:pt x="80" y="132"/>
                    </a:lnTo>
                    <a:lnTo>
                      <a:pt x="70" y="118"/>
                    </a:lnTo>
                    <a:lnTo>
                      <a:pt x="56" y="116"/>
                    </a:lnTo>
                    <a:lnTo>
                      <a:pt x="56" y="108"/>
                    </a:lnTo>
                    <a:lnTo>
                      <a:pt x="44" y="108"/>
                    </a:lnTo>
                    <a:lnTo>
                      <a:pt x="40" y="112"/>
                    </a:lnTo>
                    <a:lnTo>
                      <a:pt x="40" y="122"/>
                    </a:lnTo>
                    <a:lnTo>
                      <a:pt x="38" y="130"/>
                    </a:lnTo>
                    <a:lnTo>
                      <a:pt x="34" y="142"/>
                    </a:lnTo>
                    <a:lnTo>
                      <a:pt x="30" y="148"/>
                    </a:lnTo>
                    <a:lnTo>
                      <a:pt x="26" y="164"/>
                    </a:lnTo>
                    <a:lnTo>
                      <a:pt x="32" y="166"/>
                    </a:lnTo>
                    <a:lnTo>
                      <a:pt x="40" y="170"/>
                    </a:lnTo>
                    <a:lnTo>
                      <a:pt x="42" y="176"/>
                    </a:lnTo>
                    <a:lnTo>
                      <a:pt x="46" y="192"/>
                    </a:lnTo>
                    <a:lnTo>
                      <a:pt x="52" y="198"/>
                    </a:lnTo>
                    <a:lnTo>
                      <a:pt x="62" y="202"/>
                    </a:lnTo>
                    <a:lnTo>
                      <a:pt x="70" y="210"/>
                    </a:lnTo>
                    <a:lnTo>
                      <a:pt x="66" y="212"/>
                    </a:lnTo>
                    <a:lnTo>
                      <a:pt x="64" y="218"/>
                    </a:lnTo>
                    <a:lnTo>
                      <a:pt x="56" y="216"/>
                    </a:lnTo>
                    <a:lnTo>
                      <a:pt x="56" y="210"/>
                    </a:lnTo>
                    <a:lnTo>
                      <a:pt x="52" y="206"/>
                    </a:lnTo>
                    <a:lnTo>
                      <a:pt x="42" y="204"/>
                    </a:lnTo>
                    <a:lnTo>
                      <a:pt x="36" y="196"/>
                    </a:lnTo>
                    <a:lnTo>
                      <a:pt x="22" y="180"/>
                    </a:lnTo>
                    <a:lnTo>
                      <a:pt x="16" y="178"/>
                    </a:lnTo>
                    <a:lnTo>
                      <a:pt x="18" y="160"/>
                    </a:lnTo>
                    <a:lnTo>
                      <a:pt x="18" y="148"/>
                    </a:lnTo>
                    <a:lnTo>
                      <a:pt x="30" y="140"/>
                    </a:lnTo>
                    <a:lnTo>
                      <a:pt x="34" y="130"/>
                    </a:lnTo>
                    <a:lnTo>
                      <a:pt x="28" y="120"/>
                    </a:lnTo>
                    <a:lnTo>
                      <a:pt x="28" y="106"/>
                    </a:lnTo>
                    <a:lnTo>
                      <a:pt x="20" y="96"/>
                    </a:lnTo>
                    <a:lnTo>
                      <a:pt x="16" y="88"/>
                    </a:lnTo>
                    <a:lnTo>
                      <a:pt x="22" y="70"/>
                    </a:lnTo>
                    <a:lnTo>
                      <a:pt x="18" y="56"/>
                    </a:lnTo>
                    <a:lnTo>
                      <a:pt x="8" y="50"/>
                    </a:lnTo>
                    <a:lnTo>
                      <a:pt x="4" y="32"/>
                    </a:lnTo>
                    <a:lnTo>
                      <a:pt x="8" y="26"/>
                    </a:lnTo>
                    <a:lnTo>
                      <a:pt x="8" y="16"/>
                    </a:lnTo>
                    <a:lnTo>
                      <a:pt x="24" y="14"/>
                    </a:lnTo>
                    <a:lnTo>
                      <a:pt x="36" y="4"/>
                    </a:lnTo>
                    <a:close/>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4" name="Freeform 917"/>
              <p:cNvSpPr>
                <a:spLocks/>
              </p:cNvSpPr>
              <p:nvPr/>
            </p:nvSpPr>
            <p:spPr bwMode="auto">
              <a:xfrm>
                <a:off x="4241" y="2229"/>
                <a:ext cx="118" cy="214"/>
              </a:xfrm>
              <a:custGeom>
                <a:avLst/>
                <a:gdLst>
                  <a:gd name="T0" fmla="*/ 44 w 118"/>
                  <a:gd name="T1" fmla="*/ 6 h 214"/>
                  <a:gd name="T2" fmla="*/ 52 w 118"/>
                  <a:gd name="T3" fmla="*/ 16 h 214"/>
                  <a:gd name="T4" fmla="*/ 52 w 118"/>
                  <a:gd name="T5" fmla="*/ 32 h 214"/>
                  <a:gd name="T6" fmla="*/ 62 w 118"/>
                  <a:gd name="T7" fmla="*/ 38 h 214"/>
                  <a:gd name="T8" fmla="*/ 80 w 118"/>
                  <a:gd name="T9" fmla="*/ 36 h 214"/>
                  <a:gd name="T10" fmla="*/ 106 w 118"/>
                  <a:gd name="T11" fmla="*/ 46 h 214"/>
                  <a:gd name="T12" fmla="*/ 118 w 118"/>
                  <a:gd name="T13" fmla="*/ 68 h 214"/>
                  <a:gd name="T14" fmla="*/ 114 w 118"/>
                  <a:gd name="T15" fmla="*/ 88 h 214"/>
                  <a:gd name="T16" fmla="*/ 70 w 118"/>
                  <a:gd name="T17" fmla="*/ 100 h 214"/>
                  <a:gd name="T18" fmla="*/ 74 w 118"/>
                  <a:gd name="T19" fmla="*/ 116 h 214"/>
                  <a:gd name="T20" fmla="*/ 76 w 118"/>
                  <a:gd name="T21" fmla="*/ 128 h 214"/>
                  <a:gd name="T22" fmla="*/ 52 w 118"/>
                  <a:gd name="T23" fmla="*/ 112 h 214"/>
                  <a:gd name="T24" fmla="*/ 40 w 118"/>
                  <a:gd name="T25" fmla="*/ 104 h 214"/>
                  <a:gd name="T26" fmla="*/ 36 w 118"/>
                  <a:gd name="T27" fmla="*/ 118 h 214"/>
                  <a:gd name="T28" fmla="*/ 30 w 118"/>
                  <a:gd name="T29" fmla="*/ 138 h 214"/>
                  <a:gd name="T30" fmla="*/ 22 w 118"/>
                  <a:gd name="T31" fmla="*/ 160 h 214"/>
                  <a:gd name="T32" fmla="*/ 36 w 118"/>
                  <a:gd name="T33" fmla="*/ 166 h 214"/>
                  <a:gd name="T34" fmla="*/ 42 w 118"/>
                  <a:gd name="T35" fmla="*/ 188 h 214"/>
                  <a:gd name="T36" fmla="*/ 58 w 118"/>
                  <a:gd name="T37" fmla="*/ 198 h 214"/>
                  <a:gd name="T38" fmla="*/ 62 w 118"/>
                  <a:gd name="T39" fmla="*/ 208 h 214"/>
                  <a:gd name="T40" fmla="*/ 52 w 118"/>
                  <a:gd name="T41" fmla="*/ 212 h 214"/>
                  <a:gd name="T42" fmla="*/ 48 w 118"/>
                  <a:gd name="T43" fmla="*/ 202 h 214"/>
                  <a:gd name="T44" fmla="*/ 32 w 118"/>
                  <a:gd name="T45" fmla="*/ 192 h 214"/>
                  <a:gd name="T46" fmla="*/ 12 w 118"/>
                  <a:gd name="T47" fmla="*/ 174 h 214"/>
                  <a:gd name="T48" fmla="*/ 14 w 118"/>
                  <a:gd name="T49" fmla="*/ 144 h 214"/>
                  <a:gd name="T50" fmla="*/ 30 w 118"/>
                  <a:gd name="T51" fmla="*/ 126 h 214"/>
                  <a:gd name="T52" fmla="*/ 24 w 118"/>
                  <a:gd name="T53" fmla="*/ 102 h 214"/>
                  <a:gd name="T54" fmla="*/ 12 w 118"/>
                  <a:gd name="T55" fmla="*/ 84 h 214"/>
                  <a:gd name="T56" fmla="*/ 14 w 118"/>
                  <a:gd name="T57" fmla="*/ 52 h 214"/>
                  <a:gd name="T58" fmla="*/ 0 w 118"/>
                  <a:gd name="T59" fmla="*/ 28 h 214"/>
                  <a:gd name="T60" fmla="*/ 4 w 118"/>
                  <a:gd name="T61" fmla="*/ 12 h 214"/>
                  <a:gd name="T62" fmla="*/ 32 w 118"/>
                  <a:gd name="T6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214">
                    <a:moveTo>
                      <a:pt x="32" y="0"/>
                    </a:moveTo>
                    <a:lnTo>
                      <a:pt x="44" y="6"/>
                    </a:lnTo>
                    <a:lnTo>
                      <a:pt x="44" y="14"/>
                    </a:lnTo>
                    <a:lnTo>
                      <a:pt x="52" y="16"/>
                    </a:lnTo>
                    <a:lnTo>
                      <a:pt x="54" y="28"/>
                    </a:lnTo>
                    <a:lnTo>
                      <a:pt x="52" y="32"/>
                    </a:lnTo>
                    <a:lnTo>
                      <a:pt x="52" y="44"/>
                    </a:lnTo>
                    <a:lnTo>
                      <a:pt x="62" y="38"/>
                    </a:lnTo>
                    <a:lnTo>
                      <a:pt x="70" y="32"/>
                    </a:lnTo>
                    <a:lnTo>
                      <a:pt x="80" y="36"/>
                    </a:lnTo>
                    <a:lnTo>
                      <a:pt x="90" y="30"/>
                    </a:lnTo>
                    <a:lnTo>
                      <a:pt x="106" y="46"/>
                    </a:lnTo>
                    <a:lnTo>
                      <a:pt x="108" y="60"/>
                    </a:lnTo>
                    <a:lnTo>
                      <a:pt x="118" y="68"/>
                    </a:lnTo>
                    <a:lnTo>
                      <a:pt x="118" y="78"/>
                    </a:lnTo>
                    <a:lnTo>
                      <a:pt x="114" y="88"/>
                    </a:lnTo>
                    <a:lnTo>
                      <a:pt x="78" y="90"/>
                    </a:lnTo>
                    <a:lnTo>
                      <a:pt x="70" y="100"/>
                    </a:lnTo>
                    <a:lnTo>
                      <a:pt x="70" y="108"/>
                    </a:lnTo>
                    <a:lnTo>
                      <a:pt x="74" y="116"/>
                    </a:lnTo>
                    <a:lnTo>
                      <a:pt x="78" y="126"/>
                    </a:lnTo>
                    <a:lnTo>
                      <a:pt x="76" y="128"/>
                    </a:lnTo>
                    <a:lnTo>
                      <a:pt x="66" y="114"/>
                    </a:lnTo>
                    <a:lnTo>
                      <a:pt x="52" y="112"/>
                    </a:lnTo>
                    <a:lnTo>
                      <a:pt x="52" y="104"/>
                    </a:lnTo>
                    <a:lnTo>
                      <a:pt x="40" y="104"/>
                    </a:lnTo>
                    <a:lnTo>
                      <a:pt x="36" y="108"/>
                    </a:lnTo>
                    <a:lnTo>
                      <a:pt x="36" y="118"/>
                    </a:lnTo>
                    <a:lnTo>
                      <a:pt x="34" y="126"/>
                    </a:lnTo>
                    <a:lnTo>
                      <a:pt x="30" y="138"/>
                    </a:lnTo>
                    <a:lnTo>
                      <a:pt x="26" y="144"/>
                    </a:lnTo>
                    <a:lnTo>
                      <a:pt x="22" y="160"/>
                    </a:lnTo>
                    <a:lnTo>
                      <a:pt x="28" y="162"/>
                    </a:lnTo>
                    <a:lnTo>
                      <a:pt x="36" y="166"/>
                    </a:lnTo>
                    <a:lnTo>
                      <a:pt x="38" y="172"/>
                    </a:lnTo>
                    <a:lnTo>
                      <a:pt x="42" y="188"/>
                    </a:lnTo>
                    <a:lnTo>
                      <a:pt x="48" y="194"/>
                    </a:lnTo>
                    <a:lnTo>
                      <a:pt x="58" y="198"/>
                    </a:lnTo>
                    <a:lnTo>
                      <a:pt x="66" y="206"/>
                    </a:lnTo>
                    <a:lnTo>
                      <a:pt x="62" y="208"/>
                    </a:lnTo>
                    <a:lnTo>
                      <a:pt x="60" y="214"/>
                    </a:lnTo>
                    <a:lnTo>
                      <a:pt x="52" y="212"/>
                    </a:lnTo>
                    <a:lnTo>
                      <a:pt x="52" y="206"/>
                    </a:lnTo>
                    <a:lnTo>
                      <a:pt x="48" y="202"/>
                    </a:lnTo>
                    <a:lnTo>
                      <a:pt x="38" y="200"/>
                    </a:lnTo>
                    <a:lnTo>
                      <a:pt x="32" y="192"/>
                    </a:lnTo>
                    <a:lnTo>
                      <a:pt x="18" y="176"/>
                    </a:lnTo>
                    <a:lnTo>
                      <a:pt x="12" y="174"/>
                    </a:lnTo>
                    <a:lnTo>
                      <a:pt x="14" y="156"/>
                    </a:lnTo>
                    <a:lnTo>
                      <a:pt x="14" y="144"/>
                    </a:lnTo>
                    <a:lnTo>
                      <a:pt x="26" y="136"/>
                    </a:lnTo>
                    <a:lnTo>
                      <a:pt x="30" y="126"/>
                    </a:lnTo>
                    <a:lnTo>
                      <a:pt x="24" y="116"/>
                    </a:lnTo>
                    <a:lnTo>
                      <a:pt x="24" y="102"/>
                    </a:lnTo>
                    <a:lnTo>
                      <a:pt x="16" y="92"/>
                    </a:lnTo>
                    <a:lnTo>
                      <a:pt x="12" y="84"/>
                    </a:lnTo>
                    <a:lnTo>
                      <a:pt x="18" y="66"/>
                    </a:lnTo>
                    <a:lnTo>
                      <a:pt x="14" y="52"/>
                    </a:lnTo>
                    <a:lnTo>
                      <a:pt x="4" y="46"/>
                    </a:lnTo>
                    <a:lnTo>
                      <a:pt x="0" y="28"/>
                    </a:lnTo>
                    <a:lnTo>
                      <a:pt x="4" y="22"/>
                    </a:lnTo>
                    <a:lnTo>
                      <a:pt x="4" y="12"/>
                    </a:lnTo>
                    <a:lnTo>
                      <a:pt x="20"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5" name="Freeform 918"/>
              <p:cNvSpPr>
                <a:spLocks/>
              </p:cNvSpPr>
              <p:nvPr/>
            </p:nvSpPr>
            <p:spPr bwMode="auto">
              <a:xfrm>
                <a:off x="4237" y="2225"/>
                <a:ext cx="126" cy="222"/>
              </a:xfrm>
              <a:custGeom>
                <a:avLst/>
                <a:gdLst>
                  <a:gd name="T0" fmla="*/ 34 w 126"/>
                  <a:gd name="T1" fmla="*/ 2 h 222"/>
                  <a:gd name="T2" fmla="*/ 8 w 126"/>
                  <a:gd name="T3" fmla="*/ 12 h 222"/>
                  <a:gd name="T4" fmla="*/ 4 w 126"/>
                  <a:gd name="T5" fmla="*/ 26 h 222"/>
                  <a:gd name="T6" fmla="*/ 0 w 126"/>
                  <a:gd name="T7" fmla="*/ 32 h 222"/>
                  <a:gd name="T8" fmla="*/ 6 w 126"/>
                  <a:gd name="T9" fmla="*/ 52 h 222"/>
                  <a:gd name="T10" fmla="*/ 12 w 126"/>
                  <a:gd name="T11" fmla="*/ 86 h 222"/>
                  <a:gd name="T12" fmla="*/ 18 w 126"/>
                  <a:gd name="T13" fmla="*/ 98 h 222"/>
                  <a:gd name="T14" fmla="*/ 24 w 126"/>
                  <a:gd name="T15" fmla="*/ 120 h 222"/>
                  <a:gd name="T16" fmla="*/ 26 w 126"/>
                  <a:gd name="T17" fmla="*/ 138 h 222"/>
                  <a:gd name="T18" fmla="*/ 14 w 126"/>
                  <a:gd name="T19" fmla="*/ 148 h 222"/>
                  <a:gd name="T20" fmla="*/ 12 w 126"/>
                  <a:gd name="T21" fmla="*/ 176 h 222"/>
                  <a:gd name="T22" fmla="*/ 20 w 126"/>
                  <a:gd name="T23" fmla="*/ 184 h 222"/>
                  <a:gd name="T24" fmla="*/ 40 w 126"/>
                  <a:gd name="T25" fmla="*/ 206 h 222"/>
                  <a:gd name="T26" fmla="*/ 52 w 126"/>
                  <a:gd name="T27" fmla="*/ 212 h 222"/>
                  <a:gd name="T28" fmla="*/ 52 w 126"/>
                  <a:gd name="T29" fmla="*/ 218 h 222"/>
                  <a:gd name="T30" fmla="*/ 64 w 126"/>
                  <a:gd name="T31" fmla="*/ 222 h 222"/>
                  <a:gd name="T32" fmla="*/ 64 w 126"/>
                  <a:gd name="T33" fmla="*/ 222 h 222"/>
                  <a:gd name="T34" fmla="*/ 70 w 126"/>
                  <a:gd name="T35" fmla="*/ 214 h 222"/>
                  <a:gd name="T36" fmla="*/ 74 w 126"/>
                  <a:gd name="T37" fmla="*/ 210 h 222"/>
                  <a:gd name="T38" fmla="*/ 66 w 126"/>
                  <a:gd name="T39" fmla="*/ 200 h 222"/>
                  <a:gd name="T40" fmla="*/ 54 w 126"/>
                  <a:gd name="T41" fmla="*/ 196 h 222"/>
                  <a:gd name="T42" fmla="*/ 46 w 126"/>
                  <a:gd name="T43" fmla="*/ 174 h 222"/>
                  <a:gd name="T44" fmla="*/ 44 w 126"/>
                  <a:gd name="T45" fmla="*/ 168 h 222"/>
                  <a:gd name="T46" fmla="*/ 30 w 126"/>
                  <a:gd name="T47" fmla="*/ 162 h 222"/>
                  <a:gd name="T48" fmla="*/ 42 w 126"/>
                  <a:gd name="T49" fmla="*/ 130 h 222"/>
                  <a:gd name="T50" fmla="*/ 44 w 126"/>
                  <a:gd name="T51" fmla="*/ 124 h 222"/>
                  <a:gd name="T52" fmla="*/ 44 w 126"/>
                  <a:gd name="T53" fmla="*/ 114 h 222"/>
                  <a:gd name="T54" fmla="*/ 52 w 126"/>
                  <a:gd name="T55" fmla="*/ 116 h 222"/>
                  <a:gd name="T56" fmla="*/ 54 w 126"/>
                  <a:gd name="T57" fmla="*/ 120 h 222"/>
                  <a:gd name="T58" fmla="*/ 78 w 126"/>
                  <a:gd name="T59" fmla="*/ 136 h 222"/>
                  <a:gd name="T60" fmla="*/ 80 w 126"/>
                  <a:gd name="T61" fmla="*/ 136 h 222"/>
                  <a:gd name="T62" fmla="*/ 86 w 126"/>
                  <a:gd name="T63" fmla="*/ 132 h 222"/>
                  <a:gd name="T64" fmla="*/ 82 w 126"/>
                  <a:gd name="T65" fmla="*/ 118 h 222"/>
                  <a:gd name="T66" fmla="*/ 84 w 126"/>
                  <a:gd name="T67" fmla="*/ 98 h 222"/>
                  <a:gd name="T68" fmla="*/ 120 w 126"/>
                  <a:gd name="T69" fmla="*/ 96 h 222"/>
                  <a:gd name="T70" fmla="*/ 126 w 126"/>
                  <a:gd name="T71" fmla="*/ 82 h 222"/>
                  <a:gd name="T72" fmla="*/ 126 w 126"/>
                  <a:gd name="T73" fmla="*/ 72 h 222"/>
                  <a:gd name="T74" fmla="*/ 114 w 126"/>
                  <a:gd name="T75" fmla="*/ 48 h 222"/>
                  <a:gd name="T76" fmla="*/ 98 w 126"/>
                  <a:gd name="T77" fmla="*/ 30 h 222"/>
                  <a:gd name="T78" fmla="*/ 94 w 126"/>
                  <a:gd name="T79" fmla="*/ 30 h 222"/>
                  <a:gd name="T80" fmla="*/ 74 w 126"/>
                  <a:gd name="T81" fmla="*/ 34 h 222"/>
                  <a:gd name="T82" fmla="*/ 74 w 126"/>
                  <a:gd name="T83" fmla="*/ 32 h 222"/>
                  <a:gd name="T84" fmla="*/ 60 w 126"/>
                  <a:gd name="T85" fmla="*/ 42 h 222"/>
                  <a:gd name="T86" fmla="*/ 62 w 126"/>
                  <a:gd name="T87" fmla="*/ 34 h 222"/>
                  <a:gd name="T88" fmla="*/ 58 w 126"/>
                  <a:gd name="T89" fmla="*/ 18 h 222"/>
                  <a:gd name="T90" fmla="*/ 52 w 126"/>
                  <a:gd name="T91" fmla="*/ 10 h 222"/>
                  <a:gd name="T92" fmla="*/ 50 w 126"/>
                  <a:gd name="T93" fmla="*/ 6 h 222"/>
                  <a:gd name="T94" fmla="*/ 36 w 126"/>
                  <a:gd name="T9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22">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6" name="Freeform 919"/>
              <p:cNvSpPr>
                <a:spLocks/>
              </p:cNvSpPr>
              <p:nvPr/>
            </p:nvSpPr>
            <p:spPr bwMode="auto">
              <a:xfrm>
                <a:off x="4279" y="2429"/>
                <a:ext cx="60" cy="78"/>
              </a:xfrm>
              <a:custGeom>
                <a:avLst/>
                <a:gdLst>
                  <a:gd name="T0" fmla="*/ 48 w 60"/>
                  <a:gd name="T1" fmla="*/ 78 h 78"/>
                  <a:gd name="T2" fmla="*/ 48 w 60"/>
                  <a:gd name="T3" fmla="*/ 78 h 78"/>
                  <a:gd name="T4" fmla="*/ 48 w 60"/>
                  <a:gd name="T5" fmla="*/ 78 h 78"/>
                  <a:gd name="T6" fmla="*/ 32 w 60"/>
                  <a:gd name="T7" fmla="*/ 68 h 78"/>
                  <a:gd name="T8" fmla="*/ 14 w 60"/>
                  <a:gd name="T9" fmla="*/ 58 h 78"/>
                  <a:gd name="T10" fmla="*/ 14 w 60"/>
                  <a:gd name="T11" fmla="*/ 58 h 78"/>
                  <a:gd name="T12" fmla="*/ 14 w 60"/>
                  <a:gd name="T13" fmla="*/ 56 h 78"/>
                  <a:gd name="T14" fmla="*/ 16 w 60"/>
                  <a:gd name="T15" fmla="*/ 50 h 78"/>
                  <a:gd name="T16" fmla="*/ 8 w 60"/>
                  <a:gd name="T17" fmla="*/ 42 h 78"/>
                  <a:gd name="T18" fmla="*/ 4 w 60"/>
                  <a:gd name="T19" fmla="*/ 26 h 78"/>
                  <a:gd name="T20" fmla="*/ 4 w 60"/>
                  <a:gd name="T21" fmla="*/ 12 h 78"/>
                  <a:gd name="T22" fmla="*/ 0 w 60"/>
                  <a:gd name="T23" fmla="*/ 4 h 78"/>
                  <a:gd name="T24" fmla="*/ 0 w 60"/>
                  <a:gd name="T25" fmla="*/ 4 h 78"/>
                  <a:gd name="T26" fmla="*/ 0 w 60"/>
                  <a:gd name="T27" fmla="*/ 2 h 78"/>
                  <a:gd name="T28" fmla="*/ 0 w 60"/>
                  <a:gd name="T29" fmla="*/ 2 h 78"/>
                  <a:gd name="T30" fmla="*/ 2 w 60"/>
                  <a:gd name="T31" fmla="*/ 0 h 78"/>
                  <a:gd name="T32" fmla="*/ 2 w 60"/>
                  <a:gd name="T33" fmla="*/ 0 h 78"/>
                  <a:gd name="T34" fmla="*/ 2 w 60"/>
                  <a:gd name="T35" fmla="*/ 0 h 78"/>
                  <a:gd name="T36" fmla="*/ 10 w 60"/>
                  <a:gd name="T37" fmla="*/ 2 h 78"/>
                  <a:gd name="T38" fmla="*/ 16 w 60"/>
                  <a:gd name="T39" fmla="*/ 6 h 78"/>
                  <a:gd name="T40" fmla="*/ 16 w 60"/>
                  <a:gd name="T41" fmla="*/ 6 h 78"/>
                  <a:gd name="T42" fmla="*/ 18 w 60"/>
                  <a:gd name="T43" fmla="*/ 8 h 78"/>
                  <a:gd name="T44" fmla="*/ 16 w 60"/>
                  <a:gd name="T45" fmla="*/ 14 h 78"/>
                  <a:gd name="T46" fmla="*/ 22 w 60"/>
                  <a:gd name="T47" fmla="*/ 14 h 78"/>
                  <a:gd name="T48" fmla="*/ 22 w 60"/>
                  <a:gd name="T49" fmla="*/ 12 h 78"/>
                  <a:gd name="T50" fmla="*/ 22 w 60"/>
                  <a:gd name="T51" fmla="*/ 12 h 78"/>
                  <a:gd name="T52" fmla="*/ 22 w 60"/>
                  <a:gd name="T53" fmla="*/ 10 h 78"/>
                  <a:gd name="T54" fmla="*/ 26 w 60"/>
                  <a:gd name="T55" fmla="*/ 6 h 78"/>
                  <a:gd name="T56" fmla="*/ 26 w 60"/>
                  <a:gd name="T57" fmla="*/ 6 h 78"/>
                  <a:gd name="T58" fmla="*/ 28 w 60"/>
                  <a:gd name="T59" fmla="*/ 6 h 78"/>
                  <a:gd name="T60" fmla="*/ 28 w 60"/>
                  <a:gd name="T61" fmla="*/ 6 h 78"/>
                  <a:gd name="T62" fmla="*/ 30 w 60"/>
                  <a:gd name="T63" fmla="*/ 6 h 78"/>
                  <a:gd name="T64" fmla="*/ 38 w 60"/>
                  <a:gd name="T65" fmla="*/ 14 h 78"/>
                  <a:gd name="T66" fmla="*/ 48 w 60"/>
                  <a:gd name="T67" fmla="*/ 28 h 78"/>
                  <a:gd name="T68" fmla="*/ 48 w 60"/>
                  <a:gd name="T69" fmla="*/ 28 h 78"/>
                  <a:gd name="T70" fmla="*/ 50 w 60"/>
                  <a:gd name="T71" fmla="*/ 30 h 78"/>
                  <a:gd name="T72" fmla="*/ 50 w 60"/>
                  <a:gd name="T73" fmla="*/ 38 h 78"/>
                  <a:gd name="T74" fmla="*/ 50 w 60"/>
                  <a:gd name="T75" fmla="*/ 58 h 78"/>
                  <a:gd name="T76" fmla="*/ 56 w 60"/>
                  <a:gd name="T77" fmla="*/ 64 h 78"/>
                  <a:gd name="T78" fmla="*/ 60 w 60"/>
                  <a:gd name="T79" fmla="*/ 72 h 78"/>
                  <a:gd name="T80" fmla="*/ 60 w 60"/>
                  <a:gd name="T81" fmla="*/ 72 h 78"/>
                  <a:gd name="T82" fmla="*/ 60 w 60"/>
                  <a:gd name="T83" fmla="*/ 72 h 78"/>
                  <a:gd name="T84" fmla="*/ 60 w 60"/>
                  <a:gd name="T85" fmla="*/ 76 h 78"/>
                  <a:gd name="T86" fmla="*/ 60 w 60"/>
                  <a:gd name="T87" fmla="*/ 76 h 78"/>
                  <a:gd name="T88" fmla="*/ 58 w 60"/>
                  <a:gd name="T89" fmla="*/ 78 h 78"/>
                  <a:gd name="T90" fmla="*/ 48 w 60"/>
                  <a:gd name="T9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8">
                    <a:moveTo>
                      <a:pt x="48" y="78"/>
                    </a:moveTo>
                    <a:lnTo>
                      <a:pt x="48" y="78"/>
                    </a:lnTo>
                    <a:lnTo>
                      <a:pt x="48" y="78"/>
                    </a:lnTo>
                    <a:lnTo>
                      <a:pt x="32" y="68"/>
                    </a:lnTo>
                    <a:lnTo>
                      <a:pt x="14" y="58"/>
                    </a:lnTo>
                    <a:lnTo>
                      <a:pt x="14" y="58"/>
                    </a:lnTo>
                    <a:lnTo>
                      <a:pt x="14" y="56"/>
                    </a:lnTo>
                    <a:lnTo>
                      <a:pt x="16" y="50"/>
                    </a:lnTo>
                    <a:lnTo>
                      <a:pt x="8" y="42"/>
                    </a:lnTo>
                    <a:lnTo>
                      <a:pt x="4" y="26"/>
                    </a:lnTo>
                    <a:lnTo>
                      <a:pt x="4" y="12"/>
                    </a:lnTo>
                    <a:lnTo>
                      <a:pt x="0" y="4"/>
                    </a:lnTo>
                    <a:lnTo>
                      <a:pt x="0" y="4"/>
                    </a:lnTo>
                    <a:lnTo>
                      <a:pt x="0" y="2"/>
                    </a:lnTo>
                    <a:lnTo>
                      <a:pt x="0" y="2"/>
                    </a:lnTo>
                    <a:lnTo>
                      <a:pt x="2" y="0"/>
                    </a:lnTo>
                    <a:lnTo>
                      <a:pt x="2" y="0"/>
                    </a:lnTo>
                    <a:lnTo>
                      <a:pt x="2" y="0"/>
                    </a:lnTo>
                    <a:lnTo>
                      <a:pt x="10" y="2"/>
                    </a:lnTo>
                    <a:lnTo>
                      <a:pt x="16" y="6"/>
                    </a:lnTo>
                    <a:lnTo>
                      <a:pt x="16" y="6"/>
                    </a:lnTo>
                    <a:lnTo>
                      <a:pt x="18" y="8"/>
                    </a:lnTo>
                    <a:lnTo>
                      <a:pt x="16" y="14"/>
                    </a:lnTo>
                    <a:lnTo>
                      <a:pt x="22" y="14"/>
                    </a:lnTo>
                    <a:lnTo>
                      <a:pt x="22" y="12"/>
                    </a:lnTo>
                    <a:lnTo>
                      <a:pt x="22" y="12"/>
                    </a:lnTo>
                    <a:lnTo>
                      <a:pt x="22" y="10"/>
                    </a:lnTo>
                    <a:lnTo>
                      <a:pt x="26" y="6"/>
                    </a:lnTo>
                    <a:lnTo>
                      <a:pt x="26" y="6"/>
                    </a:lnTo>
                    <a:lnTo>
                      <a:pt x="28" y="6"/>
                    </a:lnTo>
                    <a:lnTo>
                      <a:pt x="28" y="6"/>
                    </a:lnTo>
                    <a:lnTo>
                      <a:pt x="30" y="6"/>
                    </a:lnTo>
                    <a:lnTo>
                      <a:pt x="38" y="14"/>
                    </a:lnTo>
                    <a:lnTo>
                      <a:pt x="48" y="28"/>
                    </a:lnTo>
                    <a:lnTo>
                      <a:pt x="48" y="28"/>
                    </a:lnTo>
                    <a:lnTo>
                      <a:pt x="50" y="30"/>
                    </a:lnTo>
                    <a:lnTo>
                      <a:pt x="50" y="38"/>
                    </a:lnTo>
                    <a:lnTo>
                      <a:pt x="50" y="58"/>
                    </a:lnTo>
                    <a:lnTo>
                      <a:pt x="56" y="64"/>
                    </a:lnTo>
                    <a:lnTo>
                      <a:pt x="60" y="72"/>
                    </a:lnTo>
                    <a:lnTo>
                      <a:pt x="60" y="72"/>
                    </a:lnTo>
                    <a:lnTo>
                      <a:pt x="60" y="72"/>
                    </a:lnTo>
                    <a:lnTo>
                      <a:pt x="60" y="76"/>
                    </a:lnTo>
                    <a:lnTo>
                      <a:pt x="60" y="76"/>
                    </a:lnTo>
                    <a:lnTo>
                      <a:pt x="58" y="78"/>
                    </a:lnTo>
                    <a:lnTo>
                      <a:pt x="48"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7" name="Freeform 920"/>
              <p:cNvSpPr>
                <a:spLocks noEditPoints="1"/>
              </p:cNvSpPr>
              <p:nvPr/>
            </p:nvSpPr>
            <p:spPr bwMode="auto">
              <a:xfrm>
                <a:off x="4277" y="2427"/>
                <a:ext cx="64" cy="82"/>
              </a:xfrm>
              <a:custGeom>
                <a:avLst/>
                <a:gdLst>
                  <a:gd name="T0" fmla="*/ 12 w 64"/>
                  <a:gd name="T1" fmla="*/ 6 h 82"/>
                  <a:gd name="T2" fmla="*/ 16 w 64"/>
                  <a:gd name="T3" fmla="*/ 18 h 82"/>
                  <a:gd name="T4" fmla="*/ 26 w 64"/>
                  <a:gd name="T5" fmla="*/ 14 h 82"/>
                  <a:gd name="T6" fmla="*/ 38 w 64"/>
                  <a:gd name="T7" fmla="*/ 18 h 82"/>
                  <a:gd name="T8" fmla="*/ 50 w 64"/>
                  <a:gd name="T9" fmla="*/ 40 h 82"/>
                  <a:gd name="T10" fmla="*/ 56 w 64"/>
                  <a:gd name="T11" fmla="*/ 68 h 82"/>
                  <a:gd name="T12" fmla="*/ 60 w 64"/>
                  <a:gd name="T13" fmla="*/ 78 h 82"/>
                  <a:gd name="T14" fmla="*/ 36 w 64"/>
                  <a:gd name="T15" fmla="*/ 68 h 82"/>
                  <a:gd name="T16" fmla="*/ 20 w 64"/>
                  <a:gd name="T17" fmla="*/ 52 h 82"/>
                  <a:gd name="T18" fmla="*/ 8 w 64"/>
                  <a:gd name="T19" fmla="*/ 28 h 82"/>
                  <a:gd name="T20" fmla="*/ 4 w 64"/>
                  <a:gd name="T21" fmla="*/ 4 h 82"/>
                  <a:gd name="T22" fmla="*/ 4 w 64"/>
                  <a:gd name="T23" fmla="*/ 0 h 82"/>
                  <a:gd name="T24" fmla="*/ 0 w 64"/>
                  <a:gd name="T25" fmla="*/ 2 h 82"/>
                  <a:gd name="T26" fmla="*/ 4 w 64"/>
                  <a:gd name="T27" fmla="*/ 14 h 82"/>
                  <a:gd name="T28" fmla="*/ 4 w 64"/>
                  <a:gd name="T29" fmla="*/ 28 h 82"/>
                  <a:gd name="T30" fmla="*/ 8 w 64"/>
                  <a:gd name="T31" fmla="*/ 44 h 82"/>
                  <a:gd name="T32" fmla="*/ 10 w 64"/>
                  <a:gd name="T33" fmla="*/ 44 h 82"/>
                  <a:gd name="T34" fmla="*/ 14 w 64"/>
                  <a:gd name="T35" fmla="*/ 58 h 82"/>
                  <a:gd name="T36" fmla="*/ 14 w 64"/>
                  <a:gd name="T37" fmla="*/ 60 h 82"/>
                  <a:gd name="T38" fmla="*/ 32 w 64"/>
                  <a:gd name="T39" fmla="*/ 72 h 82"/>
                  <a:gd name="T40" fmla="*/ 48 w 64"/>
                  <a:gd name="T41" fmla="*/ 82 h 82"/>
                  <a:gd name="T42" fmla="*/ 60 w 64"/>
                  <a:gd name="T43" fmla="*/ 82 h 82"/>
                  <a:gd name="T44" fmla="*/ 62 w 64"/>
                  <a:gd name="T45" fmla="*/ 80 h 82"/>
                  <a:gd name="T46" fmla="*/ 64 w 64"/>
                  <a:gd name="T47" fmla="*/ 74 h 82"/>
                  <a:gd name="T48" fmla="*/ 64 w 64"/>
                  <a:gd name="T49" fmla="*/ 72 h 82"/>
                  <a:gd name="T50" fmla="*/ 60 w 64"/>
                  <a:gd name="T51" fmla="*/ 66 h 82"/>
                  <a:gd name="T52" fmla="*/ 54 w 64"/>
                  <a:gd name="T53" fmla="*/ 58 h 82"/>
                  <a:gd name="T54" fmla="*/ 54 w 64"/>
                  <a:gd name="T55" fmla="*/ 32 h 82"/>
                  <a:gd name="T56" fmla="*/ 52 w 64"/>
                  <a:gd name="T57" fmla="*/ 30 h 82"/>
                  <a:gd name="T58" fmla="*/ 42 w 64"/>
                  <a:gd name="T59" fmla="*/ 14 h 82"/>
                  <a:gd name="T60" fmla="*/ 32 w 64"/>
                  <a:gd name="T61" fmla="*/ 8 h 82"/>
                  <a:gd name="T62" fmla="*/ 30 w 64"/>
                  <a:gd name="T63" fmla="*/ 6 h 82"/>
                  <a:gd name="T64" fmla="*/ 26 w 64"/>
                  <a:gd name="T65" fmla="*/ 8 h 82"/>
                  <a:gd name="T66" fmla="*/ 24 w 64"/>
                  <a:gd name="T67" fmla="*/ 10 h 82"/>
                  <a:gd name="T68" fmla="*/ 22 w 64"/>
                  <a:gd name="T69" fmla="*/ 14 h 82"/>
                  <a:gd name="T70" fmla="*/ 22 w 64"/>
                  <a:gd name="T71" fmla="*/ 12 h 82"/>
                  <a:gd name="T72" fmla="*/ 22 w 64"/>
                  <a:gd name="T73" fmla="*/ 8 h 82"/>
                  <a:gd name="T74" fmla="*/ 14 w 64"/>
                  <a:gd name="T75" fmla="*/ 4 h 82"/>
                  <a:gd name="T76" fmla="*/ 14 w 64"/>
                  <a:gd name="T77" fmla="*/ 2 h 82"/>
                  <a:gd name="T78" fmla="*/ 4 w 64"/>
                  <a:gd name="T79" fmla="*/ 0 h 82"/>
                  <a:gd name="T80" fmla="*/ 4 w 64"/>
                  <a:gd name="T8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82">
                    <a:moveTo>
                      <a:pt x="4" y="4"/>
                    </a:moveTo>
                    <a:lnTo>
                      <a:pt x="12" y="6"/>
                    </a:lnTo>
                    <a:lnTo>
                      <a:pt x="18" y="10"/>
                    </a:lnTo>
                    <a:lnTo>
                      <a:pt x="16" y="18"/>
                    </a:lnTo>
                    <a:lnTo>
                      <a:pt x="24" y="20"/>
                    </a:lnTo>
                    <a:lnTo>
                      <a:pt x="26" y="14"/>
                    </a:lnTo>
                    <a:lnTo>
                      <a:pt x="30" y="10"/>
                    </a:lnTo>
                    <a:lnTo>
                      <a:pt x="38" y="18"/>
                    </a:lnTo>
                    <a:lnTo>
                      <a:pt x="50" y="32"/>
                    </a:lnTo>
                    <a:lnTo>
                      <a:pt x="50" y="40"/>
                    </a:lnTo>
                    <a:lnTo>
                      <a:pt x="50" y="60"/>
                    </a:lnTo>
                    <a:lnTo>
                      <a:pt x="56" y="68"/>
                    </a:lnTo>
                    <a:lnTo>
                      <a:pt x="60" y="74"/>
                    </a:lnTo>
                    <a:lnTo>
                      <a:pt x="60" y="78"/>
                    </a:lnTo>
                    <a:lnTo>
                      <a:pt x="50" y="78"/>
                    </a:lnTo>
                    <a:lnTo>
                      <a:pt x="36" y="68"/>
                    </a:lnTo>
                    <a:lnTo>
                      <a:pt x="18" y="58"/>
                    </a:lnTo>
                    <a:lnTo>
                      <a:pt x="20" y="52"/>
                    </a:lnTo>
                    <a:lnTo>
                      <a:pt x="12" y="42"/>
                    </a:lnTo>
                    <a:lnTo>
                      <a:pt x="8" y="28"/>
                    </a:lnTo>
                    <a:lnTo>
                      <a:pt x="8" y="14"/>
                    </a:lnTo>
                    <a:lnTo>
                      <a:pt x="4" y="4"/>
                    </a:lnTo>
                    <a:close/>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8" name="Freeform 921"/>
              <p:cNvSpPr>
                <a:spLocks/>
              </p:cNvSpPr>
              <p:nvPr/>
            </p:nvSpPr>
            <p:spPr bwMode="auto">
              <a:xfrm>
                <a:off x="4281" y="2431"/>
                <a:ext cx="56" cy="74"/>
              </a:xfrm>
              <a:custGeom>
                <a:avLst/>
                <a:gdLst>
                  <a:gd name="T0" fmla="*/ 0 w 56"/>
                  <a:gd name="T1" fmla="*/ 0 h 74"/>
                  <a:gd name="T2" fmla="*/ 8 w 56"/>
                  <a:gd name="T3" fmla="*/ 2 h 74"/>
                  <a:gd name="T4" fmla="*/ 14 w 56"/>
                  <a:gd name="T5" fmla="*/ 6 h 74"/>
                  <a:gd name="T6" fmla="*/ 12 w 56"/>
                  <a:gd name="T7" fmla="*/ 14 h 74"/>
                  <a:gd name="T8" fmla="*/ 20 w 56"/>
                  <a:gd name="T9" fmla="*/ 16 h 74"/>
                  <a:gd name="T10" fmla="*/ 22 w 56"/>
                  <a:gd name="T11" fmla="*/ 10 h 74"/>
                  <a:gd name="T12" fmla="*/ 26 w 56"/>
                  <a:gd name="T13" fmla="*/ 6 h 74"/>
                  <a:gd name="T14" fmla="*/ 34 w 56"/>
                  <a:gd name="T15" fmla="*/ 14 h 74"/>
                  <a:gd name="T16" fmla="*/ 46 w 56"/>
                  <a:gd name="T17" fmla="*/ 28 h 74"/>
                  <a:gd name="T18" fmla="*/ 46 w 56"/>
                  <a:gd name="T19" fmla="*/ 36 h 74"/>
                  <a:gd name="T20" fmla="*/ 46 w 56"/>
                  <a:gd name="T21" fmla="*/ 56 h 74"/>
                  <a:gd name="T22" fmla="*/ 52 w 56"/>
                  <a:gd name="T23" fmla="*/ 64 h 74"/>
                  <a:gd name="T24" fmla="*/ 56 w 56"/>
                  <a:gd name="T25" fmla="*/ 70 h 74"/>
                  <a:gd name="T26" fmla="*/ 56 w 56"/>
                  <a:gd name="T27" fmla="*/ 74 h 74"/>
                  <a:gd name="T28" fmla="*/ 46 w 56"/>
                  <a:gd name="T29" fmla="*/ 74 h 74"/>
                  <a:gd name="T30" fmla="*/ 32 w 56"/>
                  <a:gd name="T31" fmla="*/ 64 h 74"/>
                  <a:gd name="T32" fmla="*/ 14 w 56"/>
                  <a:gd name="T33" fmla="*/ 54 h 74"/>
                  <a:gd name="T34" fmla="*/ 16 w 56"/>
                  <a:gd name="T35" fmla="*/ 48 h 74"/>
                  <a:gd name="T36" fmla="*/ 8 w 56"/>
                  <a:gd name="T37" fmla="*/ 38 h 74"/>
                  <a:gd name="T38" fmla="*/ 4 w 56"/>
                  <a:gd name="T39" fmla="*/ 24 h 74"/>
                  <a:gd name="T40" fmla="*/ 4 w 56"/>
                  <a:gd name="T41" fmla="*/ 10 h 74"/>
                  <a:gd name="T42" fmla="*/ 0 w 56"/>
                  <a:gd name="T4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74">
                    <a:moveTo>
                      <a:pt x="0" y="0"/>
                    </a:moveTo>
                    <a:lnTo>
                      <a:pt x="8" y="2"/>
                    </a:lnTo>
                    <a:lnTo>
                      <a:pt x="14" y="6"/>
                    </a:lnTo>
                    <a:lnTo>
                      <a:pt x="12" y="14"/>
                    </a:lnTo>
                    <a:lnTo>
                      <a:pt x="20" y="16"/>
                    </a:lnTo>
                    <a:lnTo>
                      <a:pt x="22" y="10"/>
                    </a:lnTo>
                    <a:lnTo>
                      <a:pt x="26" y="6"/>
                    </a:lnTo>
                    <a:lnTo>
                      <a:pt x="34" y="14"/>
                    </a:lnTo>
                    <a:lnTo>
                      <a:pt x="46" y="28"/>
                    </a:lnTo>
                    <a:lnTo>
                      <a:pt x="46" y="36"/>
                    </a:lnTo>
                    <a:lnTo>
                      <a:pt x="46" y="56"/>
                    </a:lnTo>
                    <a:lnTo>
                      <a:pt x="52" y="64"/>
                    </a:lnTo>
                    <a:lnTo>
                      <a:pt x="56" y="70"/>
                    </a:lnTo>
                    <a:lnTo>
                      <a:pt x="56" y="74"/>
                    </a:lnTo>
                    <a:lnTo>
                      <a:pt x="46" y="74"/>
                    </a:lnTo>
                    <a:lnTo>
                      <a:pt x="32" y="64"/>
                    </a:lnTo>
                    <a:lnTo>
                      <a:pt x="14" y="54"/>
                    </a:lnTo>
                    <a:lnTo>
                      <a:pt x="16" y="48"/>
                    </a:lnTo>
                    <a:lnTo>
                      <a:pt x="8" y="38"/>
                    </a:lnTo>
                    <a:lnTo>
                      <a:pt x="4" y="24"/>
                    </a:lnTo>
                    <a:lnTo>
                      <a:pt x="4"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9" name="Freeform 922"/>
              <p:cNvSpPr>
                <a:spLocks/>
              </p:cNvSpPr>
              <p:nvPr/>
            </p:nvSpPr>
            <p:spPr bwMode="auto">
              <a:xfrm>
                <a:off x="4277" y="2427"/>
                <a:ext cx="64" cy="82"/>
              </a:xfrm>
              <a:custGeom>
                <a:avLst/>
                <a:gdLst>
                  <a:gd name="T0" fmla="*/ 4 w 64"/>
                  <a:gd name="T1" fmla="*/ 0 h 82"/>
                  <a:gd name="T2" fmla="*/ 4 w 64"/>
                  <a:gd name="T3" fmla="*/ 0 h 82"/>
                  <a:gd name="T4" fmla="*/ 0 w 64"/>
                  <a:gd name="T5" fmla="*/ 2 h 82"/>
                  <a:gd name="T6" fmla="*/ 0 w 64"/>
                  <a:gd name="T7" fmla="*/ 2 h 82"/>
                  <a:gd name="T8" fmla="*/ 0 w 64"/>
                  <a:gd name="T9" fmla="*/ 6 h 82"/>
                  <a:gd name="T10" fmla="*/ 4 w 64"/>
                  <a:gd name="T11" fmla="*/ 14 h 82"/>
                  <a:gd name="T12" fmla="*/ 4 w 64"/>
                  <a:gd name="T13" fmla="*/ 28 h 82"/>
                  <a:gd name="T14" fmla="*/ 4 w 64"/>
                  <a:gd name="T15" fmla="*/ 28 h 82"/>
                  <a:gd name="T16" fmla="*/ 4 w 64"/>
                  <a:gd name="T17" fmla="*/ 30 h 82"/>
                  <a:gd name="T18" fmla="*/ 8 w 64"/>
                  <a:gd name="T19" fmla="*/ 44 h 82"/>
                  <a:gd name="T20" fmla="*/ 8 w 64"/>
                  <a:gd name="T21" fmla="*/ 44 h 82"/>
                  <a:gd name="T22" fmla="*/ 10 w 64"/>
                  <a:gd name="T23" fmla="*/ 44 h 82"/>
                  <a:gd name="T24" fmla="*/ 14 w 64"/>
                  <a:gd name="T25" fmla="*/ 52 h 82"/>
                  <a:gd name="T26" fmla="*/ 14 w 64"/>
                  <a:gd name="T27" fmla="*/ 58 h 82"/>
                  <a:gd name="T28" fmla="*/ 14 w 64"/>
                  <a:gd name="T29" fmla="*/ 58 h 82"/>
                  <a:gd name="T30" fmla="*/ 14 w 64"/>
                  <a:gd name="T31" fmla="*/ 60 h 82"/>
                  <a:gd name="T32" fmla="*/ 16 w 64"/>
                  <a:gd name="T33" fmla="*/ 62 h 82"/>
                  <a:gd name="T34" fmla="*/ 32 w 64"/>
                  <a:gd name="T35" fmla="*/ 72 h 82"/>
                  <a:gd name="T36" fmla="*/ 48 w 64"/>
                  <a:gd name="T37" fmla="*/ 82 h 82"/>
                  <a:gd name="T38" fmla="*/ 48 w 64"/>
                  <a:gd name="T39" fmla="*/ 82 h 82"/>
                  <a:gd name="T40" fmla="*/ 50 w 64"/>
                  <a:gd name="T41" fmla="*/ 82 h 82"/>
                  <a:gd name="T42" fmla="*/ 60 w 64"/>
                  <a:gd name="T43" fmla="*/ 82 h 82"/>
                  <a:gd name="T44" fmla="*/ 60 w 64"/>
                  <a:gd name="T45" fmla="*/ 82 h 82"/>
                  <a:gd name="T46" fmla="*/ 62 w 64"/>
                  <a:gd name="T47" fmla="*/ 80 h 82"/>
                  <a:gd name="T48" fmla="*/ 64 w 64"/>
                  <a:gd name="T49" fmla="*/ 78 h 82"/>
                  <a:gd name="T50" fmla="*/ 64 w 64"/>
                  <a:gd name="T51" fmla="*/ 74 h 82"/>
                  <a:gd name="T52" fmla="*/ 64 w 64"/>
                  <a:gd name="T53" fmla="*/ 74 h 82"/>
                  <a:gd name="T54" fmla="*/ 64 w 64"/>
                  <a:gd name="T55" fmla="*/ 72 h 82"/>
                  <a:gd name="T56" fmla="*/ 60 w 64"/>
                  <a:gd name="T57" fmla="*/ 66 h 82"/>
                  <a:gd name="T58" fmla="*/ 60 w 64"/>
                  <a:gd name="T59" fmla="*/ 66 h 82"/>
                  <a:gd name="T60" fmla="*/ 60 w 64"/>
                  <a:gd name="T61" fmla="*/ 64 h 82"/>
                  <a:gd name="T62" fmla="*/ 54 w 64"/>
                  <a:gd name="T63" fmla="*/ 58 h 82"/>
                  <a:gd name="T64" fmla="*/ 54 w 64"/>
                  <a:gd name="T65" fmla="*/ 40 h 82"/>
                  <a:gd name="T66" fmla="*/ 54 w 64"/>
                  <a:gd name="T67" fmla="*/ 32 h 82"/>
                  <a:gd name="T68" fmla="*/ 54 w 64"/>
                  <a:gd name="T69" fmla="*/ 32 h 82"/>
                  <a:gd name="T70" fmla="*/ 52 w 64"/>
                  <a:gd name="T71" fmla="*/ 30 h 82"/>
                  <a:gd name="T72" fmla="*/ 42 w 64"/>
                  <a:gd name="T73" fmla="*/ 14 h 82"/>
                  <a:gd name="T74" fmla="*/ 42 w 64"/>
                  <a:gd name="T75" fmla="*/ 14 h 82"/>
                  <a:gd name="T76" fmla="*/ 42 w 64"/>
                  <a:gd name="T77" fmla="*/ 14 h 82"/>
                  <a:gd name="T78" fmla="*/ 32 w 64"/>
                  <a:gd name="T79" fmla="*/ 8 h 82"/>
                  <a:gd name="T80" fmla="*/ 32 w 64"/>
                  <a:gd name="T81" fmla="*/ 8 h 82"/>
                  <a:gd name="T82" fmla="*/ 30 w 64"/>
                  <a:gd name="T83" fmla="*/ 6 h 82"/>
                  <a:gd name="T84" fmla="*/ 30 w 64"/>
                  <a:gd name="T85" fmla="*/ 6 h 82"/>
                  <a:gd name="T86" fmla="*/ 26 w 64"/>
                  <a:gd name="T87" fmla="*/ 8 h 82"/>
                  <a:gd name="T88" fmla="*/ 24 w 64"/>
                  <a:gd name="T89" fmla="*/ 10 h 82"/>
                  <a:gd name="T90" fmla="*/ 24 w 64"/>
                  <a:gd name="T91" fmla="*/ 10 h 82"/>
                  <a:gd name="T92" fmla="*/ 22 w 64"/>
                  <a:gd name="T93" fmla="*/ 12 h 82"/>
                  <a:gd name="T94" fmla="*/ 22 w 64"/>
                  <a:gd name="T95" fmla="*/ 14 h 82"/>
                  <a:gd name="T96" fmla="*/ 20 w 64"/>
                  <a:gd name="T97" fmla="*/ 14 h 82"/>
                  <a:gd name="T98" fmla="*/ 22 w 64"/>
                  <a:gd name="T99" fmla="*/ 12 h 82"/>
                  <a:gd name="T100" fmla="*/ 22 w 64"/>
                  <a:gd name="T101" fmla="*/ 12 h 82"/>
                  <a:gd name="T102" fmla="*/ 22 w 64"/>
                  <a:gd name="T103" fmla="*/ 8 h 82"/>
                  <a:gd name="T104" fmla="*/ 20 w 64"/>
                  <a:gd name="T105" fmla="*/ 6 h 82"/>
                  <a:gd name="T106" fmla="*/ 14 w 64"/>
                  <a:gd name="T107" fmla="*/ 4 h 82"/>
                  <a:gd name="T108" fmla="*/ 14 w 64"/>
                  <a:gd name="T109" fmla="*/ 4 h 82"/>
                  <a:gd name="T110" fmla="*/ 14 w 64"/>
                  <a:gd name="T111" fmla="*/ 2 h 82"/>
                  <a:gd name="T112" fmla="*/ 4 w 64"/>
                  <a:gd name="T113" fmla="*/ 0 h 82"/>
                  <a:gd name="T114" fmla="*/ 4 w 64"/>
                  <a:gd name="T115" fmla="*/ 0 h 82"/>
                  <a:gd name="T116" fmla="*/ 4 w 64"/>
                  <a:gd name="T117" fmla="*/ 0 h 82"/>
                  <a:gd name="T118" fmla="*/ 4 w 64"/>
                  <a:gd name="T1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2">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0" name="Freeform 923"/>
              <p:cNvSpPr>
                <a:spLocks/>
              </p:cNvSpPr>
              <p:nvPr/>
            </p:nvSpPr>
            <p:spPr bwMode="auto">
              <a:xfrm>
                <a:off x="4413" y="2425"/>
                <a:ext cx="144" cy="88"/>
              </a:xfrm>
              <a:custGeom>
                <a:avLst/>
                <a:gdLst>
                  <a:gd name="T0" fmla="*/ 10 w 144"/>
                  <a:gd name="T1" fmla="*/ 88 h 88"/>
                  <a:gd name="T2" fmla="*/ 0 w 144"/>
                  <a:gd name="T3" fmla="*/ 78 h 88"/>
                  <a:gd name="T4" fmla="*/ 0 w 144"/>
                  <a:gd name="T5" fmla="*/ 76 h 88"/>
                  <a:gd name="T6" fmla="*/ 2 w 144"/>
                  <a:gd name="T7" fmla="*/ 74 h 88"/>
                  <a:gd name="T8" fmla="*/ 10 w 144"/>
                  <a:gd name="T9" fmla="*/ 72 h 88"/>
                  <a:gd name="T10" fmla="*/ 10 w 144"/>
                  <a:gd name="T11" fmla="*/ 70 h 88"/>
                  <a:gd name="T12" fmla="*/ 16 w 144"/>
                  <a:gd name="T13" fmla="*/ 76 h 88"/>
                  <a:gd name="T14" fmla="*/ 24 w 144"/>
                  <a:gd name="T15" fmla="*/ 80 h 88"/>
                  <a:gd name="T16" fmla="*/ 20 w 144"/>
                  <a:gd name="T17" fmla="*/ 72 h 88"/>
                  <a:gd name="T18" fmla="*/ 20 w 144"/>
                  <a:gd name="T19" fmla="*/ 70 h 88"/>
                  <a:gd name="T20" fmla="*/ 26 w 144"/>
                  <a:gd name="T21" fmla="*/ 60 h 88"/>
                  <a:gd name="T22" fmla="*/ 38 w 144"/>
                  <a:gd name="T23" fmla="*/ 54 h 88"/>
                  <a:gd name="T24" fmla="*/ 38 w 144"/>
                  <a:gd name="T25" fmla="*/ 54 h 88"/>
                  <a:gd name="T26" fmla="*/ 38 w 144"/>
                  <a:gd name="T27" fmla="*/ 54 h 88"/>
                  <a:gd name="T28" fmla="*/ 54 w 144"/>
                  <a:gd name="T29" fmla="*/ 48 h 88"/>
                  <a:gd name="T30" fmla="*/ 62 w 144"/>
                  <a:gd name="T31" fmla="*/ 36 h 88"/>
                  <a:gd name="T32" fmla="*/ 64 w 144"/>
                  <a:gd name="T33" fmla="*/ 36 h 88"/>
                  <a:gd name="T34" fmla="*/ 64 w 144"/>
                  <a:gd name="T35" fmla="*/ 36 h 88"/>
                  <a:gd name="T36" fmla="*/ 72 w 144"/>
                  <a:gd name="T37" fmla="*/ 40 h 88"/>
                  <a:gd name="T38" fmla="*/ 76 w 144"/>
                  <a:gd name="T39" fmla="*/ 34 h 88"/>
                  <a:gd name="T40" fmla="*/ 78 w 144"/>
                  <a:gd name="T41" fmla="*/ 34 h 88"/>
                  <a:gd name="T42" fmla="*/ 80 w 144"/>
                  <a:gd name="T43" fmla="*/ 32 h 88"/>
                  <a:gd name="T44" fmla="*/ 82 w 144"/>
                  <a:gd name="T45" fmla="*/ 32 h 88"/>
                  <a:gd name="T46" fmla="*/ 86 w 144"/>
                  <a:gd name="T47" fmla="*/ 34 h 88"/>
                  <a:gd name="T48" fmla="*/ 80 w 144"/>
                  <a:gd name="T49" fmla="*/ 28 h 88"/>
                  <a:gd name="T50" fmla="*/ 80 w 144"/>
                  <a:gd name="T51" fmla="*/ 26 h 88"/>
                  <a:gd name="T52" fmla="*/ 88 w 144"/>
                  <a:gd name="T53" fmla="*/ 16 h 88"/>
                  <a:gd name="T54" fmla="*/ 100 w 144"/>
                  <a:gd name="T55" fmla="*/ 0 h 88"/>
                  <a:gd name="T56" fmla="*/ 102 w 144"/>
                  <a:gd name="T57" fmla="*/ 0 h 88"/>
                  <a:gd name="T58" fmla="*/ 102 w 144"/>
                  <a:gd name="T59" fmla="*/ 0 h 88"/>
                  <a:gd name="T60" fmla="*/ 112 w 144"/>
                  <a:gd name="T61" fmla="*/ 2 h 88"/>
                  <a:gd name="T62" fmla="*/ 116 w 144"/>
                  <a:gd name="T63" fmla="*/ 8 h 88"/>
                  <a:gd name="T64" fmla="*/ 130 w 144"/>
                  <a:gd name="T65" fmla="*/ 18 h 88"/>
                  <a:gd name="T66" fmla="*/ 142 w 144"/>
                  <a:gd name="T67" fmla="*/ 24 h 88"/>
                  <a:gd name="T68" fmla="*/ 144 w 144"/>
                  <a:gd name="T69" fmla="*/ 26 h 88"/>
                  <a:gd name="T70" fmla="*/ 136 w 144"/>
                  <a:gd name="T71" fmla="*/ 30 h 88"/>
                  <a:gd name="T72" fmla="*/ 128 w 144"/>
                  <a:gd name="T73" fmla="*/ 32 h 88"/>
                  <a:gd name="T74" fmla="*/ 132 w 144"/>
                  <a:gd name="T75" fmla="*/ 36 h 88"/>
                  <a:gd name="T76" fmla="*/ 132 w 144"/>
                  <a:gd name="T77" fmla="*/ 36 h 88"/>
                  <a:gd name="T78" fmla="*/ 128 w 144"/>
                  <a:gd name="T79" fmla="*/ 42 h 88"/>
                  <a:gd name="T80" fmla="*/ 128 w 144"/>
                  <a:gd name="T81" fmla="*/ 42 h 88"/>
                  <a:gd name="T82" fmla="*/ 116 w 144"/>
                  <a:gd name="T83" fmla="*/ 42 h 88"/>
                  <a:gd name="T84" fmla="*/ 108 w 144"/>
                  <a:gd name="T85" fmla="*/ 38 h 88"/>
                  <a:gd name="T86" fmla="*/ 90 w 144"/>
                  <a:gd name="T87" fmla="*/ 42 h 88"/>
                  <a:gd name="T88" fmla="*/ 80 w 144"/>
                  <a:gd name="T89" fmla="*/ 68 h 88"/>
                  <a:gd name="T90" fmla="*/ 58 w 144"/>
                  <a:gd name="T91" fmla="*/ 86 h 88"/>
                  <a:gd name="T92" fmla="*/ 56 w 144"/>
                  <a:gd name="T93" fmla="*/ 86 h 88"/>
                  <a:gd name="T94" fmla="*/ 54 w 144"/>
                  <a:gd name="T95" fmla="*/ 86 h 88"/>
                  <a:gd name="T96" fmla="*/ 42 w 144"/>
                  <a:gd name="T97" fmla="*/ 80 h 88"/>
                  <a:gd name="T98" fmla="*/ 22 w 144"/>
                  <a:gd name="T99" fmla="*/ 88 h 88"/>
                  <a:gd name="T100" fmla="*/ 22 w 144"/>
                  <a:gd name="T10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88">
                    <a:moveTo>
                      <a:pt x="10" y="88"/>
                    </a:moveTo>
                    <a:lnTo>
                      <a:pt x="10" y="88"/>
                    </a:lnTo>
                    <a:lnTo>
                      <a:pt x="10" y="86"/>
                    </a:lnTo>
                    <a:lnTo>
                      <a:pt x="0" y="78"/>
                    </a:lnTo>
                    <a:lnTo>
                      <a:pt x="0" y="78"/>
                    </a:lnTo>
                    <a:lnTo>
                      <a:pt x="0" y="76"/>
                    </a:lnTo>
                    <a:lnTo>
                      <a:pt x="0" y="76"/>
                    </a:lnTo>
                    <a:lnTo>
                      <a:pt x="2" y="74"/>
                    </a:lnTo>
                    <a:lnTo>
                      <a:pt x="10" y="72"/>
                    </a:lnTo>
                    <a:lnTo>
                      <a:pt x="10" y="72"/>
                    </a:lnTo>
                    <a:lnTo>
                      <a:pt x="10" y="70"/>
                    </a:lnTo>
                    <a:lnTo>
                      <a:pt x="10" y="70"/>
                    </a:lnTo>
                    <a:lnTo>
                      <a:pt x="12" y="72"/>
                    </a:lnTo>
                    <a:lnTo>
                      <a:pt x="16" y="76"/>
                    </a:lnTo>
                    <a:lnTo>
                      <a:pt x="20" y="82"/>
                    </a:lnTo>
                    <a:lnTo>
                      <a:pt x="24" y="80"/>
                    </a:lnTo>
                    <a:lnTo>
                      <a:pt x="24" y="78"/>
                    </a:lnTo>
                    <a:lnTo>
                      <a:pt x="20" y="72"/>
                    </a:lnTo>
                    <a:lnTo>
                      <a:pt x="20" y="72"/>
                    </a:lnTo>
                    <a:lnTo>
                      <a:pt x="20" y="70"/>
                    </a:lnTo>
                    <a:lnTo>
                      <a:pt x="26" y="60"/>
                    </a:lnTo>
                    <a:lnTo>
                      <a:pt x="26" y="60"/>
                    </a:lnTo>
                    <a:lnTo>
                      <a:pt x="26" y="58"/>
                    </a:lnTo>
                    <a:lnTo>
                      <a:pt x="38" y="54"/>
                    </a:lnTo>
                    <a:lnTo>
                      <a:pt x="38" y="54"/>
                    </a:lnTo>
                    <a:lnTo>
                      <a:pt x="38" y="54"/>
                    </a:lnTo>
                    <a:lnTo>
                      <a:pt x="38" y="54"/>
                    </a:lnTo>
                    <a:lnTo>
                      <a:pt x="38" y="54"/>
                    </a:lnTo>
                    <a:lnTo>
                      <a:pt x="48" y="56"/>
                    </a:lnTo>
                    <a:lnTo>
                      <a:pt x="54" y="48"/>
                    </a:lnTo>
                    <a:lnTo>
                      <a:pt x="62" y="36"/>
                    </a:lnTo>
                    <a:lnTo>
                      <a:pt x="62" y="36"/>
                    </a:lnTo>
                    <a:lnTo>
                      <a:pt x="64" y="36"/>
                    </a:lnTo>
                    <a:lnTo>
                      <a:pt x="64" y="36"/>
                    </a:lnTo>
                    <a:lnTo>
                      <a:pt x="64" y="36"/>
                    </a:lnTo>
                    <a:lnTo>
                      <a:pt x="64" y="36"/>
                    </a:lnTo>
                    <a:lnTo>
                      <a:pt x="64" y="36"/>
                    </a:lnTo>
                    <a:lnTo>
                      <a:pt x="72" y="40"/>
                    </a:lnTo>
                    <a:lnTo>
                      <a:pt x="74" y="40"/>
                    </a:lnTo>
                    <a:lnTo>
                      <a:pt x="76" y="34"/>
                    </a:lnTo>
                    <a:lnTo>
                      <a:pt x="76" y="34"/>
                    </a:lnTo>
                    <a:lnTo>
                      <a:pt x="78" y="34"/>
                    </a:lnTo>
                    <a:lnTo>
                      <a:pt x="80" y="32"/>
                    </a:lnTo>
                    <a:lnTo>
                      <a:pt x="80" y="32"/>
                    </a:lnTo>
                    <a:lnTo>
                      <a:pt x="82" y="32"/>
                    </a:lnTo>
                    <a:lnTo>
                      <a:pt x="82" y="32"/>
                    </a:lnTo>
                    <a:lnTo>
                      <a:pt x="82" y="32"/>
                    </a:lnTo>
                    <a:lnTo>
                      <a:pt x="86" y="34"/>
                    </a:lnTo>
                    <a:lnTo>
                      <a:pt x="88" y="34"/>
                    </a:lnTo>
                    <a:lnTo>
                      <a:pt x="80" y="28"/>
                    </a:lnTo>
                    <a:lnTo>
                      <a:pt x="80" y="28"/>
                    </a:lnTo>
                    <a:lnTo>
                      <a:pt x="80" y="26"/>
                    </a:lnTo>
                    <a:lnTo>
                      <a:pt x="84" y="20"/>
                    </a:lnTo>
                    <a:lnTo>
                      <a:pt x="88" y="16"/>
                    </a:lnTo>
                    <a:lnTo>
                      <a:pt x="92" y="10"/>
                    </a:lnTo>
                    <a:lnTo>
                      <a:pt x="100" y="0"/>
                    </a:lnTo>
                    <a:lnTo>
                      <a:pt x="100" y="0"/>
                    </a:lnTo>
                    <a:lnTo>
                      <a:pt x="102" y="0"/>
                    </a:lnTo>
                    <a:lnTo>
                      <a:pt x="102" y="0"/>
                    </a:lnTo>
                    <a:lnTo>
                      <a:pt x="102" y="0"/>
                    </a:lnTo>
                    <a:lnTo>
                      <a:pt x="112" y="2"/>
                    </a:lnTo>
                    <a:lnTo>
                      <a:pt x="112" y="2"/>
                    </a:lnTo>
                    <a:lnTo>
                      <a:pt x="112" y="2"/>
                    </a:lnTo>
                    <a:lnTo>
                      <a:pt x="116" y="8"/>
                    </a:lnTo>
                    <a:lnTo>
                      <a:pt x="124" y="14"/>
                    </a:lnTo>
                    <a:lnTo>
                      <a:pt x="130" y="18"/>
                    </a:lnTo>
                    <a:lnTo>
                      <a:pt x="142" y="24"/>
                    </a:lnTo>
                    <a:lnTo>
                      <a:pt x="142" y="24"/>
                    </a:lnTo>
                    <a:lnTo>
                      <a:pt x="144" y="26"/>
                    </a:lnTo>
                    <a:lnTo>
                      <a:pt x="144" y="26"/>
                    </a:lnTo>
                    <a:lnTo>
                      <a:pt x="142" y="28"/>
                    </a:lnTo>
                    <a:lnTo>
                      <a:pt x="136" y="30"/>
                    </a:lnTo>
                    <a:lnTo>
                      <a:pt x="130" y="30"/>
                    </a:lnTo>
                    <a:lnTo>
                      <a:pt x="128" y="32"/>
                    </a:lnTo>
                    <a:lnTo>
                      <a:pt x="132" y="36"/>
                    </a:lnTo>
                    <a:lnTo>
                      <a:pt x="132" y="36"/>
                    </a:lnTo>
                    <a:lnTo>
                      <a:pt x="132" y="36"/>
                    </a:lnTo>
                    <a:lnTo>
                      <a:pt x="132" y="36"/>
                    </a:lnTo>
                    <a:lnTo>
                      <a:pt x="132" y="38"/>
                    </a:lnTo>
                    <a:lnTo>
                      <a:pt x="128" y="42"/>
                    </a:lnTo>
                    <a:lnTo>
                      <a:pt x="128" y="42"/>
                    </a:lnTo>
                    <a:lnTo>
                      <a:pt x="128" y="42"/>
                    </a:lnTo>
                    <a:lnTo>
                      <a:pt x="116" y="42"/>
                    </a:lnTo>
                    <a:lnTo>
                      <a:pt x="116" y="42"/>
                    </a:lnTo>
                    <a:lnTo>
                      <a:pt x="116" y="42"/>
                    </a:lnTo>
                    <a:lnTo>
                      <a:pt x="108" y="38"/>
                    </a:lnTo>
                    <a:lnTo>
                      <a:pt x="96" y="40"/>
                    </a:lnTo>
                    <a:lnTo>
                      <a:pt x="90" y="42"/>
                    </a:lnTo>
                    <a:lnTo>
                      <a:pt x="90" y="52"/>
                    </a:lnTo>
                    <a:lnTo>
                      <a:pt x="80" y="68"/>
                    </a:lnTo>
                    <a:lnTo>
                      <a:pt x="68" y="80"/>
                    </a:lnTo>
                    <a:lnTo>
                      <a:pt x="58" y="86"/>
                    </a:lnTo>
                    <a:lnTo>
                      <a:pt x="58" y="86"/>
                    </a:lnTo>
                    <a:lnTo>
                      <a:pt x="56" y="86"/>
                    </a:lnTo>
                    <a:lnTo>
                      <a:pt x="56" y="86"/>
                    </a:lnTo>
                    <a:lnTo>
                      <a:pt x="54" y="86"/>
                    </a:lnTo>
                    <a:lnTo>
                      <a:pt x="48" y="78"/>
                    </a:lnTo>
                    <a:lnTo>
                      <a:pt x="42" y="80"/>
                    </a:lnTo>
                    <a:lnTo>
                      <a:pt x="30" y="86"/>
                    </a:lnTo>
                    <a:lnTo>
                      <a:pt x="22" y="88"/>
                    </a:lnTo>
                    <a:lnTo>
                      <a:pt x="22" y="88"/>
                    </a:lnTo>
                    <a:lnTo>
                      <a:pt x="22" y="88"/>
                    </a:lnTo>
                    <a:lnTo>
                      <a:pt x="10"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1" name="Freeform 924"/>
              <p:cNvSpPr>
                <a:spLocks noEditPoints="1"/>
              </p:cNvSpPr>
              <p:nvPr/>
            </p:nvSpPr>
            <p:spPr bwMode="auto">
              <a:xfrm>
                <a:off x="4411" y="2423"/>
                <a:ext cx="148" cy="92"/>
              </a:xfrm>
              <a:custGeom>
                <a:avLst/>
                <a:gdLst>
                  <a:gd name="T0" fmla="*/ 116 w 148"/>
                  <a:gd name="T1" fmla="*/ 10 h 92"/>
                  <a:gd name="T2" fmla="*/ 144 w 148"/>
                  <a:gd name="T3" fmla="*/ 28 h 92"/>
                  <a:gd name="T4" fmla="*/ 126 w 148"/>
                  <a:gd name="T5" fmla="*/ 34 h 92"/>
                  <a:gd name="T6" fmla="*/ 118 w 148"/>
                  <a:gd name="T7" fmla="*/ 42 h 92"/>
                  <a:gd name="T8" fmla="*/ 92 w 148"/>
                  <a:gd name="T9" fmla="*/ 42 h 92"/>
                  <a:gd name="T10" fmla="*/ 70 w 148"/>
                  <a:gd name="T11" fmla="*/ 80 h 92"/>
                  <a:gd name="T12" fmla="*/ 44 w 148"/>
                  <a:gd name="T13" fmla="*/ 80 h 92"/>
                  <a:gd name="T14" fmla="*/ 12 w 148"/>
                  <a:gd name="T15" fmla="*/ 88 h 92"/>
                  <a:gd name="T16" fmla="*/ 16 w 148"/>
                  <a:gd name="T17" fmla="*/ 78 h 92"/>
                  <a:gd name="T18" fmla="*/ 28 w 148"/>
                  <a:gd name="T19" fmla="*/ 78 h 92"/>
                  <a:gd name="T20" fmla="*/ 40 w 148"/>
                  <a:gd name="T21" fmla="*/ 58 h 92"/>
                  <a:gd name="T22" fmla="*/ 66 w 148"/>
                  <a:gd name="T23" fmla="*/ 40 h 92"/>
                  <a:gd name="T24" fmla="*/ 80 w 148"/>
                  <a:gd name="T25" fmla="*/ 38 h 92"/>
                  <a:gd name="T26" fmla="*/ 92 w 148"/>
                  <a:gd name="T27" fmla="*/ 36 h 92"/>
                  <a:gd name="T28" fmla="*/ 92 w 148"/>
                  <a:gd name="T29" fmla="*/ 20 h 92"/>
                  <a:gd name="T30" fmla="*/ 104 w 148"/>
                  <a:gd name="T31" fmla="*/ 0 h 92"/>
                  <a:gd name="T32" fmla="*/ 94 w 148"/>
                  <a:gd name="T33" fmla="*/ 10 h 92"/>
                  <a:gd name="T34" fmla="*/ 84 w 148"/>
                  <a:gd name="T35" fmla="*/ 20 h 92"/>
                  <a:gd name="T36" fmla="*/ 80 w 148"/>
                  <a:gd name="T37" fmla="*/ 26 h 92"/>
                  <a:gd name="T38" fmla="*/ 82 w 148"/>
                  <a:gd name="T39" fmla="*/ 32 h 92"/>
                  <a:gd name="T40" fmla="*/ 76 w 148"/>
                  <a:gd name="T41" fmla="*/ 36 h 92"/>
                  <a:gd name="T42" fmla="*/ 68 w 148"/>
                  <a:gd name="T43" fmla="*/ 36 h 92"/>
                  <a:gd name="T44" fmla="*/ 66 w 148"/>
                  <a:gd name="T45" fmla="*/ 36 h 92"/>
                  <a:gd name="T46" fmla="*/ 62 w 148"/>
                  <a:gd name="T47" fmla="*/ 38 h 92"/>
                  <a:gd name="T48" fmla="*/ 40 w 148"/>
                  <a:gd name="T49" fmla="*/ 54 h 92"/>
                  <a:gd name="T50" fmla="*/ 40 w 148"/>
                  <a:gd name="T51" fmla="*/ 54 h 92"/>
                  <a:gd name="T52" fmla="*/ 28 w 148"/>
                  <a:gd name="T53" fmla="*/ 58 h 92"/>
                  <a:gd name="T54" fmla="*/ 20 w 148"/>
                  <a:gd name="T55" fmla="*/ 72 h 92"/>
                  <a:gd name="T56" fmla="*/ 24 w 148"/>
                  <a:gd name="T57" fmla="*/ 80 h 92"/>
                  <a:gd name="T58" fmla="*/ 20 w 148"/>
                  <a:gd name="T59" fmla="*/ 76 h 92"/>
                  <a:gd name="T60" fmla="*/ 12 w 148"/>
                  <a:gd name="T61" fmla="*/ 70 h 92"/>
                  <a:gd name="T62" fmla="*/ 2 w 148"/>
                  <a:gd name="T63" fmla="*/ 74 h 92"/>
                  <a:gd name="T64" fmla="*/ 0 w 148"/>
                  <a:gd name="T65" fmla="*/ 78 h 92"/>
                  <a:gd name="T66" fmla="*/ 10 w 148"/>
                  <a:gd name="T67" fmla="*/ 90 h 92"/>
                  <a:gd name="T68" fmla="*/ 24 w 148"/>
                  <a:gd name="T69" fmla="*/ 92 h 92"/>
                  <a:gd name="T70" fmla="*/ 32 w 148"/>
                  <a:gd name="T71" fmla="*/ 90 h 92"/>
                  <a:gd name="T72" fmla="*/ 50 w 148"/>
                  <a:gd name="T73" fmla="*/ 82 h 92"/>
                  <a:gd name="T74" fmla="*/ 58 w 148"/>
                  <a:gd name="T75" fmla="*/ 90 h 92"/>
                  <a:gd name="T76" fmla="*/ 72 w 148"/>
                  <a:gd name="T77" fmla="*/ 84 h 92"/>
                  <a:gd name="T78" fmla="*/ 82 w 148"/>
                  <a:gd name="T79" fmla="*/ 72 h 92"/>
                  <a:gd name="T80" fmla="*/ 92 w 148"/>
                  <a:gd name="T81" fmla="*/ 56 h 92"/>
                  <a:gd name="T82" fmla="*/ 94 w 148"/>
                  <a:gd name="T83" fmla="*/ 46 h 92"/>
                  <a:gd name="T84" fmla="*/ 116 w 148"/>
                  <a:gd name="T85" fmla="*/ 46 h 92"/>
                  <a:gd name="T86" fmla="*/ 130 w 148"/>
                  <a:gd name="T87" fmla="*/ 46 h 92"/>
                  <a:gd name="T88" fmla="*/ 136 w 148"/>
                  <a:gd name="T89" fmla="*/ 42 h 92"/>
                  <a:gd name="T90" fmla="*/ 136 w 148"/>
                  <a:gd name="T91" fmla="*/ 38 h 92"/>
                  <a:gd name="T92" fmla="*/ 138 w 148"/>
                  <a:gd name="T93" fmla="*/ 34 h 92"/>
                  <a:gd name="T94" fmla="*/ 144 w 148"/>
                  <a:gd name="T95" fmla="*/ 32 h 92"/>
                  <a:gd name="T96" fmla="*/ 148 w 148"/>
                  <a:gd name="T97" fmla="*/ 28 h 92"/>
                  <a:gd name="T98" fmla="*/ 146 w 148"/>
                  <a:gd name="T99" fmla="*/ 24 h 92"/>
                  <a:gd name="T100" fmla="*/ 120 w 148"/>
                  <a:gd name="T101" fmla="*/ 8 h 92"/>
                  <a:gd name="T102" fmla="*/ 114 w 148"/>
                  <a:gd name="T103" fmla="*/ 2 h 92"/>
                  <a:gd name="T104" fmla="*/ 104 w 148"/>
                  <a:gd name="T10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92">
                    <a:moveTo>
                      <a:pt x="104" y="4"/>
                    </a:moveTo>
                    <a:lnTo>
                      <a:pt x="112" y="6"/>
                    </a:lnTo>
                    <a:lnTo>
                      <a:pt x="116" y="10"/>
                    </a:lnTo>
                    <a:lnTo>
                      <a:pt x="124" y="18"/>
                    </a:lnTo>
                    <a:lnTo>
                      <a:pt x="132" y="22"/>
                    </a:lnTo>
                    <a:lnTo>
                      <a:pt x="144" y="28"/>
                    </a:lnTo>
                    <a:lnTo>
                      <a:pt x="138" y="30"/>
                    </a:lnTo>
                    <a:lnTo>
                      <a:pt x="132" y="30"/>
                    </a:lnTo>
                    <a:lnTo>
                      <a:pt x="126" y="34"/>
                    </a:lnTo>
                    <a:lnTo>
                      <a:pt x="132" y="40"/>
                    </a:lnTo>
                    <a:lnTo>
                      <a:pt x="130" y="42"/>
                    </a:lnTo>
                    <a:lnTo>
                      <a:pt x="118" y="42"/>
                    </a:lnTo>
                    <a:lnTo>
                      <a:pt x="112" y="38"/>
                    </a:lnTo>
                    <a:lnTo>
                      <a:pt x="96" y="40"/>
                    </a:lnTo>
                    <a:lnTo>
                      <a:pt x="92" y="42"/>
                    </a:lnTo>
                    <a:lnTo>
                      <a:pt x="90" y="54"/>
                    </a:lnTo>
                    <a:lnTo>
                      <a:pt x="80" y="70"/>
                    </a:lnTo>
                    <a:lnTo>
                      <a:pt x="70" y="80"/>
                    </a:lnTo>
                    <a:lnTo>
                      <a:pt x="58" y="86"/>
                    </a:lnTo>
                    <a:lnTo>
                      <a:pt x="52" y="78"/>
                    </a:lnTo>
                    <a:lnTo>
                      <a:pt x="44" y="80"/>
                    </a:lnTo>
                    <a:lnTo>
                      <a:pt x="32" y="86"/>
                    </a:lnTo>
                    <a:lnTo>
                      <a:pt x="24" y="88"/>
                    </a:lnTo>
                    <a:lnTo>
                      <a:pt x="12" y="88"/>
                    </a:lnTo>
                    <a:lnTo>
                      <a:pt x="4" y="78"/>
                    </a:lnTo>
                    <a:lnTo>
                      <a:pt x="12" y="74"/>
                    </a:lnTo>
                    <a:lnTo>
                      <a:pt x="16" y="78"/>
                    </a:lnTo>
                    <a:lnTo>
                      <a:pt x="22" y="86"/>
                    </a:lnTo>
                    <a:lnTo>
                      <a:pt x="30" y="82"/>
                    </a:lnTo>
                    <a:lnTo>
                      <a:pt x="28" y="78"/>
                    </a:lnTo>
                    <a:lnTo>
                      <a:pt x="24" y="74"/>
                    </a:lnTo>
                    <a:lnTo>
                      <a:pt x="30" y="62"/>
                    </a:lnTo>
                    <a:lnTo>
                      <a:pt x="40" y="58"/>
                    </a:lnTo>
                    <a:lnTo>
                      <a:pt x="52" y="60"/>
                    </a:lnTo>
                    <a:lnTo>
                      <a:pt x="58" y="52"/>
                    </a:lnTo>
                    <a:lnTo>
                      <a:pt x="66" y="40"/>
                    </a:lnTo>
                    <a:lnTo>
                      <a:pt x="72" y="44"/>
                    </a:lnTo>
                    <a:lnTo>
                      <a:pt x="78" y="44"/>
                    </a:lnTo>
                    <a:lnTo>
                      <a:pt x="80" y="38"/>
                    </a:lnTo>
                    <a:lnTo>
                      <a:pt x="84" y="36"/>
                    </a:lnTo>
                    <a:lnTo>
                      <a:pt x="90" y="40"/>
                    </a:lnTo>
                    <a:lnTo>
                      <a:pt x="92" y="36"/>
                    </a:lnTo>
                    <a:lnTo>
                      <a:pt x="84" y="28"/>
                    </a:lnTo>
                    <a:lnTo>
                      <a:pt x="88" y="22"/>
                    </a:lnTo>
                    <a:lnTo>
                      <a:pt x="92" y="20"/>
                    </a:lnTo>
                    <a:lnTo>
                      <a:pt x="96" y="12"/>
                    </a:lnTo>
                    <a:lnTo>
                      <a:pt x="104" y="4"/>
                    </a:lnTo>
                    <a:close/>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2" name="Freeform 925"/>
              <p:cNvSpPr>
                <a:spLocks/>
              </p:cNvSpPr>
              <p:nvPr/>
            </p:nvSpPr>
            <p:spPr bwMode="auto">
              <a:xfrm>
                <a:off x="4415" y="2427"/>
                <a:ext cx="140" cy="84"/>
              </a:xfrm>
              <a:custGeom>
                <a:avLst/>
                <a:gdLst>
                  <a:gd name="T0" fmla="*/ 100 w 140"/>
                  <a:gd name="T1" fmla="*/ 0 h 84"/>
                  <a:gd name="T2" fmla="*/ 108 w 140"/>
                  <a:gd name="T3" fmla="*/ 2 h 84"/>
                  <a:gd name="T4" fmla="*/ 112 w 140"/>
                  <a:gd name="T5" fmla="*/ 6 h 84"/>
                  <a:gd name="T6" fmla="*/ 120 w 140"/>
                  <a:gd name="T7" fmla="*/ 14 h 84"/>
                  <a:gd name="T8" fmla="*/ 128 w 140"/>
                  <a:gd name="T9" fmla="*/ 18 h 84"/>
                  <a:gd name="T10" fmla="*/ 140 w 140"/>
                  <a:gd name="T11" fmla="*/ 24 h 84"/>
                  <a:gd name="T12" fmla="*/ 134 w 140"/>
                  <a:gd name="T13" fmla="*/ 26 h 84"/>
                  <a:gd name="T14" fmla="*/ 128 w 140"/>
                  <a:gd name="T15" fmla="*/ 26 h 84"/>
                  <a:gd name="T16" fmla="*/ 122 w 140"/>
                  <a:gd name="T17" fmla="*/ 30 h 84"/>
                  <a:gd name="T18" fmla="*/ 128 w 140"/>
                  <a:gd name="T19" fmla="*/ 36 h 84"/>
                  <a:gd name="T20" fmla="*/ 126 w 140"/>
                  <a:gd name="T21" fmla="*/ 38 h 84"/>
                  <a:gd name="T22" fmla="*/ 114 w 140"/>
                  <a:gd name="T23" fmla="*/ 38 h 84"/>
                  <a:gd name="T24" fmla="*/ 108 w 140"/>
                  <a:gd name="T25" fmla="*/ 34 h 84"/>
                  <a:gd name="T26" fmla="*/ 92 w 140"/>
                  <a:gd name="T27" fmla="*/ 36 h 84"/>
                  <a:gd name="T28" fmla="*/ 88 w 140"/>
                  <a:gd name="T29" fmla="*/ 38 h 84"/>
                  <a:gd name="T30" fmla="*/ 86 w 140"/>
                  <a:gd name="T31" fmla="*/ 50 h 84"/>
                  <a:gd name="T32" fmla="*/ 76 w 140"/>
                  <a:gd name="T33" fmla="*/ 66 h 84"/>
                  <a:gd name="T34" fmla="*/ 66 w 140"/>
                  <a:gd name="T35" fmla="*/ 76 h 84"/>
                  <a:gd name="T36" fmla="*/ 54 w 140"/>
                  <a:gd name="T37" fmla="*/ 82 h 84"/>
                  <a:gd name="T38" fmla="*/ 48 w 140"/>
                  <a:gd name="T39" fmla="*/ 74 h 84"/>
                  <a:gd name="T40" fmla="*/ 40 w 140"/>
                  <a:gd name="T41" fmla="*/ 76 h 84"/>
                  <a:gd name="T42" fmla="*/ 28 w 140"/>
                  <a:gd name="T43" fmla="*/ 82 h 84"/>
                  <a:gd name="T44" fmla="*/ 20 w 140"/>
                  <a:gd name="T45" fmla="*/ 84 h 84"/>
                  <a:gd name="T46" fmla="*/ 8 w 140"/>
                  <a:gd name="T47" fmla="*/ 84 h 84"/>
                  <a:gd name="T48" fmla="*/ 0 w 140"/>
                  <a:gd name="T49" fmla="*/ 74 h 84"/>
                  <a:gd name="T50" fmla="*/ 8 w 140"/>
                  <a:gd name="T51" fmla="*/ 70 h 84"/>
                  <a:gd name="T52" fmla="*/ 12 w 140"/>
                  <a:gd name="T53" fmla="*/ 74 h 84"/>
                  <a:gd name="T54" fmla="*/ 18 w 140"/>
                  <a:gd name="T55" fmla="*/ 82 h 84"/>
                  <a:gd name="T56" fmla="*/ 26 w 140"/>
                  <a:gd name="T57" fmla="*/ 78 h 84"/>
                  <a:gd name="T58" fmla="*/ 24 w 140"/>
                  <a:gd name="T59" fmla="*/ 74 h 84"/>
                  <a:gd name="T60" fmla="*/ 20 w 140"/>
                  <a:gd name="T61" fmla="*/ 70 h 84"/>
                  <a:gd name="T62" fmla="*/ 26 w 140"/>
                  <a:gd name="T63" fmla="*/ 58 h 84"/>
                  <a:gd name="T64" fmla="*/ 36 w 140"/>
                  <a:gd name="T65" fmla="*/ 54 h 84"/>
                  <a:gd name="T66" fmla="*/ 48 w 140"/>
                  <a:gd name="T67" fmla="*/ 56 h 84"/>
                  <a:gd name="T68" fmla="*/ 54 w 140"/>
                  <a:gd name="T69" fmla="*/ 48 h 84"/>
                  <a:gd name="T70" fmla="*/ 62 w 140"/>
                  <a:gd name="T71" fmla="*/ 36 h 84"/>
                  <a:gd name="T72" fmla="*/ 68 w 140"/>
                  <a:gd name="T73" fmla="*/ 40 h 84"/>
                  <a:gd name="T74" fmla="*/ 74 w 140"/>
                  <a:gd name="T75" fmla="*/ 40 h 84"/>
                  <a:gd name="T76" fmla="*/ 76 w 140"/>
                  <a:gd name="T77" fmla="*/ 34 h 84"/>
                  <a:gd name="T78" fmla="*/ 80 w 140"/>
                  <a:gd name="T79" fmla="*/ 32 h 84"/>
                  <a:gd name="T80" fmla="*/ 86 w 140"/>
                  <a:gd name="T81" fmla="*/ 36 h 84"/>
                  <a:gd name="T82" fmla="*/ 88 w 140"/>
                  <a:gd name="T83" fmla="*/ 32 h 84"/>
                  <a:gd name="T84" fmla="*/ 80 w 140"/>
                  <a:gd name="T85" fmla="*/ 24 h 84"/>
                  <a:gd name="T86" fmla="*/ 84 w 140"/>
                  <a:gd name="T87" fmla="*/ 18 h 84"/>
                  <a:gd name="T88" fmla="*/ 88 w 140"/>
                  <a:gd name="T89" fmla="*/ 16 h 84"/>
                  <a:gd name="T90" fmla="*/ 92 w 140"/>
                  <a:gd name="T91" fmla="*/ 8 h 84"/>
                  <a:gd name="T92" fmla="*/ 100 w 140"/>
                  <a:gd name="T9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84">
                    <a:moveTo>
                      <a:pt x="100" y="0"/>
                    </a:moveTo>
                    <a:lnTo>
                      <a:pt x="108" y="2"/>
                    </a:lnTo>
                    <a:lnTo>
                      <a:pt x="112" y="6"/>
                    </a:lnTo>
                    <a:lnTo>
                      <a:pt x="120" y="14"/>
                    </a:lnTo>
                    <a:lnTo>
                      <a:pt x="128" y="18"/>
                    </a:lnTo>
                    <a:lnTo>
                      <a:pt x="140" y="24"/>
                    </a:lnTo>
                    <a:lnTo>
                      <a:pt x="134" y="26"/>
                    </a:lnTo>
                    <a:lnTo>
                      <a:pt x="128" y="26"/>
                    </a:lnTo>
                    <a:lnTo>
                      <a:pt x="122" y="30"/>
                    </a:lnTo>
                    <a:lnTo>
                      <a:pt x="128" y="36"/>
                    </a:lnTo>
                    <a:lnTo>
                      <a:pt x="126" y="38"/>
                    </a:lnTo>
                    <a:lnTo>
                      <a:pt x="114" y="38"/>
                    </a:lnTo>
                    <a:lnTo>
                      <a:pt x="108" y="34"/>
                    </a:lnTo>
                    <a:lnTo>
                      <a:pt x="92" y="36"/>
                    </a:lnTo>
                    <a:lnTo>
                      <a:pt x="88" y="38"/>
                    </a:lnTo>
                    <a:lnTo>
                      <a:pt x="86" y="50"/>
                    </a:lnTo>
                    <a:lnTo>
                      <a:pt x="76" y="66"/>
                    </a:lnTo>
                    <a:lnTo>
                      <a:pt x="66" y="76"/>
                    </a:lnTo>
                    <a:lnTo>
                      <a:pt x="54" y="82"/>
                    </a:lnTo>
                    <a:lnTo>
                      <a:pt x="48" y="74"/>
                    </a:lnTo>
                    <a:lnTo>
                      <a:pt x="40" y="76"/>
                    </a:lnTo>
                    <a:lnTo>
                      <a:pt x="28" y="82"/>
                    </a:lnTo>
                    <a:lnTo>
                      <a:pt x="20" y="84"/>
                    </a:lnTo>
                    <a:lnTo>
                      <a:pt x="8" y="84"/>
                    </a:lnTo>
                    <a:lnTo>
                      <a:pt x="0" y="74"/>
                    </a:lnTo>
                    <a:lnTo>
                      <a:pt x="8" y="70"/>
                    </a:lnTo>
                    <a:lnTo>
                      <a:pt x="12" y="74"/>
                    </a:lnTo>
                    <a:lnTo>
                      <a:pt x="18" y="82"/>
                    </a:lnTo>
                    <a:lnTo>
                      <a:pt x="26" y="78"/>
                    </a:lnTo>
                    <a:lnTo>
                      <a:pt x="24" y="74"/>
                    </a:lnTo>
                    <a:lnTo>
                      <a:pt x="20" y="70"/>
                    </a:lnTo>
                    <a:lnTo>
                      <a:pt x="26" y="58"/>
                    </a:lnTo>
                    <a:lnTo>
                      <a:pt x="36" y="54"/>
                    </a:lnTo>
                    <a:lnTo>
                      <a:pt x="48" y="56"/>
                    </a:lnTo>
                    <a:lnTo>
                      <a:pt x="54" y="48"/>
                    </a:lnTo>
                    <a:lnTo>
                      <a:pt x="62" y="36"/>
                    </a:lnTo>
                    <a:lnTo>
                      <a:pt x="68" y="40"/>
                    </a:lnTo>
                    <a:lnTo>
                      <a:pt x="74" y="40"/>
                    </a:lnTo>
                    <a:lnTo>
                      <a:pt x="76" y="34"/>
                    </a:lnTo>
                    <a:lnTo>
                      <a:pt x="80" y="32"/>
                    </a:lnTo>
                    <a:lnTo>
                      <a:pt x="86" y="36"/>
                    </a:lnTo>
                    <a:lnTo>
                      <a:pt x="88" y="32"/>
                    </a:lnTo>
                    <a:lnTo>
                      <a:pt x="80" y="24"/>
                    </a:lnTo>
                    <a:lnTo>
                      <a:pt x="84" y="18"/>
                    </a:lnTo>
                    <a:lnTo>
                      <a:pt x="88" y="16"/>
                    </a:lnTo>
                    <a:lnTo>
                      <a:pt x="92" y="8"/>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3" name="Freeform 926"/>
              <p:cNvSpPr>
                <a:spLocks/>
              </p:cNvSpPr>
              <p:nvPr/>
            </p:nvSpPr>
            <p:spPr bwMode="auto">
              <a:xfrm>
                <a:off x="4411" y="2423"/>
                <a:ext cx="148" cy="92"/>
              </a:xfrm>
              <a:custGeom>
                <a:avLst/>
                <a:gdLst>
                  <a:gd name="T0" fmla="*/ 104 w 148"/>
                  <a:gd name="T1" fmla="*/ 0 h 92"/>
                  <a:gd name="T2" fmla="*/ 94 w 148"/>
                  <a:gd name="T3" fmla="*/ 10 h 92"/>
                  <a:gd name="T4" fmla="*/ 84 w 148"/>
                  <a:gd name="T5" fmla="*/ 20 h 92"/>
                  <a:gd name="T6" fmla="*/ 84 w 148"/>
                  <a:gd name="T7" fmla="*/ 20 h 92"/>
                  <a:gd name="T8" fmla="*/ 80 w 148"/>
                  <a:gd name="T9" fmla="*/ 26 h 92"/>
                  <a:gd name="T10" fmla="*/ 82 w 148"/>
                  <a:gd name="T11" fmla="*/ 32 h 92"/>
                  <a:gd name="T12" fmla="*/ 78 w 148"/>
                  <a:gd name="T13" fmla="*/ 34 h 92"/>
                  <a:gd name="T14" fmla="*/ 76 w 148"/>
                  <a:gd name="T15" fmla="*/ 36 h 92"/>
                  <a:gd name="T16" fmla="*/ 74 w 148"/>
                  <a:gd name="T17" fmla="*/ 40 h 92"/>
                  <a:gd name="T18" fmla="*/ 68 w 148"/>
                  <a:gd name="T19" fmla="*/ 36 h 92"/>
                  <a:gd name="T20" fmla="*/ 66 w 148"/>
                  <a:gd name="T21" fmla="*/ 36 h 92"/>
                  <a:gd name="T22" fmla="*/ 64 w 148"/>
                  <a:gd name="T23" fmla="*/ 36 h 92"/>
                  <a:gd name="T24" fmla="*/ 56 w 148"/>
                  <a:gd name="T25" fmla="*/ 50 h 92"/>
                  <a:gd name="T26" fmla="*/ 40 w 148"/>
                  <a:gd name="T27" fmla="*/ 54 h 92"/>
                  <a:gd name="T28" fmla="*/ 40 w 148"/>
                  <a:gd name="T29" fmla="*/ 54 h 92"/>
                  <a:gd name="T30" fmla="*/ 38 w 148"/>
                  <a:gd name="T31" fmla="*/ 54 h 92"/>
                  <a:gd name="T32" fmla="*/ 28 w 148"/>
                  <a:gd name="T33" fmla="*/ 58 h 92"/>
                  <a:gd name="T34" fmla="*/ 20 w 148"/>
                  <a:gd name="T35" fmla="*/ 72 h 92"/>
                  <a:gd name="T36" fmla="*/ 20 w 148"/>
                  <a:gd name="T37" fmla="*/ 76 h 92"/>
                  <a:gd name="T38" fmla="*/ 24 w 148"/>
                  <a:gd name="T39" fmla="*/ 80 h 92"/>
                  <a:gd name="T40" fmla="*/ 20 w 148"/>
                  <a:gd name="T41" fmla="*/ 76 h 92"/>
                  <a:gd name="T42" fmla="*/ 16 w 148"/>
                  <a:gd name="T43" fmla="*/ 72 h 92"/>
                  <a:gd name="T44" fmla="*/ 12 w 148"/>
                  <a:gd name="T45" fmla="*/ 70 h 92"/>
                  <a:gd name="T46" fmla="*/ 12 w 148"/>
                  <a:gd name="T47" fmla="*/ 72 h 92"/>
                  <a:gd name="T48" fmla="*/ 2 w 148"/>
                  <a:gd name="T49" fmla="*/ 74 h 92"/>
                  <a:gd name="T50" fmla="*/ 0 w 148"/>
                  <a:gd name="T51" fmla="*/ 78 h 92"/>
                  <a:gd name="T52" fmla="*/ 10 w 148"/>
                  <a:gd name="T53" fmla="*/ 90 h 92"/>
                  <a:gd name="T54" fmla="*/ 12 w 148"/>
                  <a:gd name="T55" fmla="*/ 92 h 92"/>
                  <a:gd name="T56" fmla="*/ 24 w 148"/>
                  <a:gd name="T57" fmla="*/ 92 h 92"/>
                  <a:gd name="T58" fmla="*/ 32 w 148"/>
                  <a:gd name="T59" fmla="*/ 90 h 92"/>
                  <a:gd name="T60" fmla="*/ 32 w 148"/>
                  <a:gd name="T61" fmla="*/ 90 h 92"/>
                  <a:gd name="T62" fmla="*/ 50 w 148"/>
                  <a:gd name="T63" fmla="*/ 82 h 92"/>
                  <a:gd name="T64" fmla="*/ 56 w 148"/>
                  <a:gd name="T65" fmla="*/ 88 h 92"/>
                  <a:gd name="T66" fmla="*/ 58 w 148"/>
                  <a:gd name="T67" fmla="*/ 90 h 92"/>
                  <a:gd name="T68" fmla="*/ 72 w 148"/>
                  <a:gd name="T69" fmla="*/ 84 h 92"/>
                  <a:gd name="T70" fmla="*/ 72 w 148"/>
                  <a:gd name="T71" fmla="*/ 84 h 92"/>
                  <a:gd name="T72" fmla="*/ 82 w 148"/>
                  <a:gd name="T73" fmla="*/ 72 h 92"/>
                  <a:gd name="T74" fmla="*/ 92 w 148"/>
                  <a:gd name="T75" fmla="*/ 56 h 92"/>
                  <a:gd name="T76" fmla="*/ 94 w 148"/>
                  <a:gd name="T77" fmla="*/ 54 h 92"/>
                  <a:gd name="T78" fmla="*/ 98 w 148"/>
                  <a:gd name="T79" fmla="*/ 42 h 92"/>
                  <a:gd name="T80" fmla="*/ 116 w 148"/>
                  <a:gd name="T81" fmla="*/ 46 h 92"/>
                  <a:gd name="T82" fmla="*/ 118 w 148"/>
                  <a:gd name="T83" fmla="*/ 46 h 92"/>
                  <a:gd name="T84" fmla="*/ 130 w 148"/>
                  <a:gd name="T85" fmla="*/ 46 h 92"/>
                  <a:gd name="T86" fmla="*/ 136 w 148"/>
                  <a:gd name="T87" fmla="*/ 42 h 92"/>
                  <a:gd name="T88" fmla="*/ 136 w 148"/>
                  <a:gd name="T89" fmla="*/ 38 h 92"/>
                  <a:gd name="T90" fmla="*/ 136 w 148"/>
                  <a:gd name="T91" fmla="*/ 36 h 92"/>
                  <a:gd name="T92" fmla="*/ 138 w 148"/>
                  <a:gd name="T93" fmla="*/ 34 h 92"/>
                  <a:gd name="T94" fmla="*/ 140 w 148"/>
                  <a:gd name="T95" fmla="*/ 34 h 92"/>
                  <a:gd name="T96" fmla="*/ 144 w 148"/>
                  <a:gd name="T97" fmla="*/ 32 h 92"/>
                  <a:gd name="T98" fmla="*/ 148 w 148"/>
                  <a:gd name="T99" fmla="*/ 28 h 92"/>
                  <a:gd name="T100" fmla="*/ 148 w 148"/>
                  <a:gd name="T101" fmla="*/ 26 h 92"/>
                  <a:gd name="T102" fmla="*/ 132 w 148"/>
                  <a:gd name="T103" fmla="*/ 18 h 92"/>
                  <a:gd name="T104" fmla="*/ 120 w 148"/>
                  <a:gd name="T105" fmla="*/ 8 h 92"/>
                  <a:gd name="T106" fmla="*/ 116 w 148"/>
                  <a:gd name="T107" fmla="*/ 2 h 92"/>
                  <a:gd name="T108" fmla="*/ 104 w 148"/>
                  <a:gd name="T109" fmla="*/ 0 h 92"/>
                  <a:gd name="T110" fmla="*/ 104 w 148"/>
                  <a:gd name="T11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 h="92">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4" name="Freeform 927"/>
              <p:cNvSpPr>
                <a:spLocks/>
              </p:cNvSpPr>
              <p:nvPr/>
            </p:nvSpPr>
            <p:spPr bwMode="auto">
              <a:xfrm>
                <a:off x="4401" y="2457"/>
                <a:ext cx="144" cy="122"/>
              </a:xfrm>
              <a:custGeom>
                <a:avLst/>
                <a:gdLst>
                  <a:gd name="T0" fmla="*/ 84 w 144"/>
                  <a:gd name="T1" fmla="*/ 120 h 122"/>
                  <a:gd name="T2" fmla="*/ 82 w 144"/>
                  <a:gd name="T3" fmla="*/ 114 h 122"/>
                  <a:gd name="T4" fmla="*/ 56 w 144"/>
                  <a:gd name="T5" fmla="*/ 114 h 122"/>
                  <a:gd name="T6" fmla="*/ 56 w 144"/>
                  <a:gd name="T7" fmla="*/ 116 h 122"/>
                  <a:gd name="T8" fmla="*/ 42 w 144"/>
                  <a:gd name="T9" fmla="*/ 114 h 122"/>
                  <a:gd name="T10" fmla="*/ 40 w 144"/>
                  <a:gd name="T11" fmla="*/ 112 h 122"/>
                  <a:gd name="T12" fmla="*/ 24 w 144"/>
                  <a:gd name="T13" fmla="*/ 106 h 122"/>
                  <a:gd name="T14" fmla="*/ 22 w 144"/>
                  <a:gd name="T15" fmla="*/ 106 h 122"/>
                  <a:gd name="T16" fmla="*/ 12 w 144"/>
                  <a:gd name="T17" fmla="*/ 80 h 122"/>
                  <a:gd name="T18" fmla="*/ 0 w 144"/>
                  <a:gd name="T19" fmla="*/ 50 h 122"/>
                  <a:gd name="T20" fmla="*/ 2 w 144"/>
                  <a:gd name="T21" fmla="*/ 50 h 122"/>
                  <a:gd name="T22" fmla="*/ 6 w 144"/>
                  <a:gd name="T23" fmla="*/ 42 h 122"/>
                  <a:gd name="T24" fmla="*/ 14 w 144"/>
                  <a:gd name="T25" fmla="*/ 42 h 122"/>
                  <a:gd name="T26" fmla="*/ 16 w 144"/>
                  <a:gd name="T27" fmla="*/ 42 h 122"/>
                  <a:gd name="T28" fmla="*/ 34 w 144"/>
                  <a:gd name="T29" fmla="*/ 50 h 122"/>
                  <a:gd name="T30" fmla="*/ 60 w 144"/>
                  <a:gd name="T31" fmla="*/ 42 h 122"/>
                  <a:gd name="T32" fmla="*/ 60 w 144"/>
                  <a:gd name="T33" fmla="*/ 42 h 122"/>
                  <a:gd name="T34" fmla="*/ 62 w 144"/>
                  <a:gd name="T35" fmla="*/ 42 h 122"/>
                  <a:gd name="T36" fmla="*/ 76 w 144"/>
                  <a:gd name="T37" fmla="*/ 44 h 122"/>
                  <a:gd name="T38" fmla="*/ 96 w 144"/>
                  <a:gd name="T39" fmla="*/ 18 h 122"/>
                  <a:gd name="T40" fmla="*/ 96 w 144"/>
                  <a:gd name="T41" fmla="*/ 8 h 122"/>
                  <a:gd name="T42" fmla="*/ 102 w 144"/>
                  <a:gd name="T43" fmla="*/ 4 h 122"/>
                  <a:gd name="T44" fmla="*/ 104 w 144"/>
                  <a:gd name="T45" fmla="*/ 2 h 122"/>
                  <a:gd name="T46" fmla="*/ 118 w 144"/>
                  <a:gd name="T47" fmla="*/ 0 h 122"/>
                  <a:gd name="T48" fmla="*/ 120 w 144"/>
                  <a:gd name="T49" fmla="*/ 2 h 122"/>
                  <a:gd name="T50" fmla="*/ 126 w 144"/>
                  <a:gd name="T51" fmla="*/ 6 h 122"/>
                  <a:gd name="T52" fmla="*/ 126 w 144"/>
                  <a:gd name="T53" fmla="*/ 16 h 122"/>
                  <a:gd name="T54" fmla="*/ 124 w 144"/>
                  <a:gd name="T55" fmla="*/ 18 h 122"/>
                  <a:gd name="T56" fmla="*/ 126 w 144"/>
                  <a:gd name="T57" fmla="*/ 24 h 122"/>
                  <a:gd name="T58" fmla="*/ 136 w 144"/>
                  <a:gd name="T59" fmla="*/ 44 h 122"/>
                  <a:gd name="T60" fmla="*/ 144 w 144"/>
                  <a:gd name="T61" fmla="*/ 50 h 122"/>
                  <a:gd name="T62" fmla="*/ 144 w 144"/>
                  <a:gd name="T63" fmla="*/ 52 h 122"/>
                  <a:gd name="T64" fmla="*/ 140 w 144"/>
                  <a:gd name="T65" fmla="*/ 58 h 122"/>
                  <a:gd name="T66" fmla="*/ 140 w 144"/>
                  <a:gd name="T67" fmla="*/ 58 h 122"/>
                  <a:gd name="T68" fmla="*/ 130 w 144"/>
                  <a:gd name="T69" fmla="*/ 56 h 122"/>
                  <a:gd name="T70" fmla="*/ 124 w 144"/>
                  <a:gd name="T71" fmla="*/ 76 h 122"/>
                  <a:gd name="T72" fmla="*/ 122 w 144"/>
                  <a:gd name="T73" fmla="*/ 78 h 122"/>
                  <a:gd name="T74" fmla="*/ 112 w 144"/>
                  <a:gd name="T75" fmla="*/ 102 h 122"/>
                  <a:gd name="T76" fmla="*/ 112 w 144"/>
                  <a:gd name="T77" fmla="*/ 102 h 122"/>
                  <a:gd name="T78" fmla="*/ 108 w 144"/>
                  <a:gd name="T79" fmla="*/ 122 h 122"/>
                  <a:gd name="T80" fmla="*/ 106 w 144"/>
                  <a:gd name="T81" fmla="*/ 122 h 122"/>
                  <a:gd name="T82" fmla="*/ 84 w 144"/>
                  <a:gd name="T83"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122">
                    <a:moveTo>
                      <a:pt x="84" y="120"/>
                    </a:moveTo>
                    <a:lnTo>
                      <a:pt x="84" y="120"/>
                    </a:lnTo>
                    <a:lnTo>
                      <a:pt x="82" y="120"/>
                    </a:lnTo>
                    <a:lnTo>
                      <a:pt x="82" y="114"/>
                    </a:lnTo>
                    <a:lnTo>
                      <a:pt x="60" y="110"/>
                    </a:lnTo>
                    <a:lnTo>
                      <a:pt x="56" y="114"/>
                    </a:lnTo>
                    <a:lnTo>
                      <a:pt x="56" y="114"/>
                    </a:lnTo>
                    <a:lnTo>
                      <a:pt x="56" y="116"/>
                    </a:lnTo>
                    <a:lnTo>
                      <a:pt x="56" y="116"/>
                    </a:lnTo>
                    <a:lnTo>
                      <a:pt x="42" y="114"/>
                    </a:lnTo>
                    <a:lnTo>
                      <a:pt x="42" y="114"/>
                    </a:lnTo>
                    <a:lnTo>
                      <a:pt x="40" y="112"/>
                    </a:lnTo>
                    <a:lnTo>
                      <a:pt x="40" y="106"/>
                    </a:lnTo>
                    <a:lnTo>
                      <a:pt x="24" y="106"/>
                    </a:lnTo>
                    <a:lnTo>
                      <a:pt x="24" y="106"/>
                    </a:lnTo>
                    <a:lnTo>
                      <a:pt x="22" y="106"/>
                    </a:lnTo>
                    <a:lnTo>
                      <a:pt x="18" y="88"/>
                    </a:lnTo>
                    <a:lnTo>
                      <a:pt x="12" y="80"/>
                    </a:lnTo>
                    <a:lnTo>
                      <a:pt x="2" y="62"/>
                    </a:lnTo>
                    <a:lnTo>
                      <a:pt x="0" y="50"/>
                    </a:lnTo>
                    <a:lnTo>
                      <a:pt x="0" y="50"/>
                    </a:lnTo>
                    <a:lnTo>
                      <a:pt x="2" y="50"/>
                    </a:lnTo>
                    <a:lnTo>
                      <a:pt x="6" y="42"/>
                    </a:lnTo>
                    <a:lnTo>
                      <a:pt x="6" y="42"/>
                    </a:lnTo>
                    <a:lnTo>
                      <a:pt x="8" y="42"/>
                    </a:lnTo>
                    <a:lnTo>
                      <a:pt x="14" y="42"/>
                    </a:lnTo>
                    <a:lnTo>
                      <a:pt x="14" y="42"/>
                    </a:lnTo>
                    <a:lnTo>
                      <a:pt x="16" y="42"/>
                    </a:lnTo>
                    <a:lnTo>
                      <a:pt x="24" y="50"/>
                    </a:lnTo>
                    <a:lnTo>
                      <a:pt x="34" y="50"/>
                    </a:lnTo>
                    <a:lnTo>
                      <a:pt x="40" y="48"/>
                    </a:lnTo>
                    <a:lnTo>
                      <a:pt x="60" y="42"/>
                    </a:lnTo>
                    <a:lnTo>
                      <a:pt x="60" y="42"/>
                    </a:lnTo>
                    <a:lnTo>
                      <a:pt x="60" y="42"/>
                    </a:lnTo>
                    <a:lnTo>
                      <a:pt x="60" y="42"/>
                    </a:lnTo>
                    <a:lnTo>
                      <a:pt x="62" y="42"/>
                    </a:lnTo>
                    <a:lnTo>
                      <a:pt x="68" y="48"/>
                    </a:lnTo>
                    <a:lnTo>
                      <a:pt x="76" y="44"/>
                    </a:lnTo>
                    <a:lnTo>
                      <a:pt x="86" y="34"/>
                    </a:lnTo>
                    <a:lnTo>
                      <a:pt x="96" y="18"/>
                    </a:lnTo>
                    <a:lnTo>
                      <a:pt x="96" y="8"/>
                    </a:lnTo>
                    <a:lnTo>
                      <a:pt x="96" y="8"/>
                    </a:lnTo>
                    <a:lnTo>
                      <a:pt x="98" y="6"/>
                    </a:lnTo>
                    <a:lnTo>
                      <a:pt x="102" y="4"/>
                    </a:lnTo>
                    <a:lnTo>
                      <a:pt x="102" y="4"/>
                    </a:lnTo>
                    <a:lnTo>
                      <a:pt x="104" y="2"/>
                    </a:lnTo>
                    <a:lnTo>
                      <a:pt x="104" y="2"/>
                    </a:lnTo>
                    <a:lnTo>
                      <a:pt x="118" y="0"/>
                    </a:lnTo>
                    <a:lnTo>
                      <a:pt x="118" y="0"/>
                    </a:lnTo>
                    <a:lnTo>
                      <a:pt x="120" y="2"/>
                    </a:lnTo>
                    <a:lnTo>
                      <a:pt x="126" y="6"/>
                    </a:lnTo>
                    <a:lnTo>
                      <a:pt x="126" y="6"/>
                    </a:lnTo>
                    <a:lnTo>
                      <a:pt x="128" y="8"/>
                    </a:lnTo>
                    <a:lnTo>
                      <a:pt x="126" y="16"/>
                    </a:lnTo>
                    <a:lnTo>
                      <a:pt x="126" y="16"/>
                    </a:lnTo>
                    <a:lnTo>
                      <a:pt x="124" y="18"/>
                    </a:lnTo>
                    <a:lnTo>
                      <a:pt x="122" y="18"/>
                    </a:lnTo>
                    <a:lnTo>
                      <a:pt x="126" y="24"/>
                    </a:lnTo>
                    <a:lnTo>
                      <a:pt x="132" y="40"/>
                    </a:lnTo>
                    <a:lnTo>
                      <a:pt x="136" y="44"/>
                    </a:lnTo>
                    <a:lnTo>
                      <a:pt x="144" y="50"/>
                    </a:lnTo>
                    <a:lnTo>
                      <a:pt x="144" y="50"/>
                    </a:lnTo>
                    <a:lnTo>
                      <a:pt x="144" y="52"/>
                    </a:lnTo>
                    <a:lnTo>
                      <a:pt x="144" y="52"/>
                    </a:lnTo>
                    <a:lnTo>
                      <a:pt x="144" y="54"/>
                    </a:lnTo>
                    <a:lnTo>
                      <a:pt x="140" y="58"/>
                    </a:lnTo>
                    <a:lnTo>
                      <a:pt x="140" y="58"/>
                    </a:lnTo>
                    <a:lnTo>
                      <a:pt x="140" y="58"/>
                    </a:lnTo>
                    <a:lnTo>
                      <a:pt x="140" y="58"/>
                    </a:lnTo>
                    <a:lnTo>
                      <a:pt x="130" y="56"/>
                    </a:lnTo>
                    <a:lnTo>
                      <a:pt x="126" y="60"/>
                    </a:lnTo>
                    <a:lnTo>
                      <a:pt x="124" y="76"/>
                    </a:lnTo>
                    <a:lnTo>
                      <a:pt x="124" y="76"/>
                    </a:lnTo>
                    <a:lnTo>
                      <a:pt x="122" y="78"/>
                    </a:lnTo>
                    <a:lnTo>
                      <a:pt x="110" y="88"/>
                    </a:lnTo>
                    <a:lnTo>
                      <a:pt x="112" y="102"/>
                    </a:lnTo>
                    <a:lnTo>
                      <a:pt x="112" y="102"/>
                    </a:lnTo>
                    <a:lnTo>
                      <a:pt x="112" y="102"/>
                    </a:lnTo>
                    <a:lnTo>
                      <a:pt x="110" y="108"/>
                    </a:lnTo>
                    <a:lnTo>
                      <a:pt x="108" y="122"/>
                    </a:lnTo>
                    <a:lnTo>
                      <a:pt x="108" y="122"/>
                    </a:lnTo>
                    <a:lnTo>
                      <a:pt x="106" y="122"/>
                    </a:lnTo>
                    <a:lnTo>
                      <a:pt x="106" y="122"/>
                    </a:lnTo>
                    <a:lnTo>
                      <a:pt x="84" y="120"/>
                    </a:lnTo>
                    <a:lnTo>
                      <a:pt x="84"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5" name="Freeform 928"/>
              <p:cNvSpPr>
                <a:spLocks noEditPoints="1"/>
              </p:cNvSpPr>
              <p:nvPr/>
            </p:nvSpPr>
            <p:spPr bwMode="auto">
              <a:xfrm>
                <a:off x="4399" y="2455"/>
                <a:ext cx="148" cy="126"/>
              </a:xfrm>
              <a:custGeom>
                <a:avLst/>
                <a:gdLst>
                  <a:gd name="T0" fmla="*/ 126 w 148"/>
                  <a:gd name="T1" fmla="*/ 18 h 126"/>
                  <a:gd name="T2" fmla="*/ 132 w 148"/>
                  <a:gd name="T3" fmla="*/ 42 h 126"/>
                  <a:gd name="T4" fmla="*/ 142 w 148"/>
                  <a:gd name="T5" fmla="*/ 58 h 126"/>
                  <a:gd name="T6" fmla="*/ 124 w 148"/>
                  <a:gd name="T7" fmla="*/ 78 h 126"/>
                  <a:gd name="T8" fmla="*/ 110 w 148"/>
                  <a:gd name="T9" fmla="*/ 108 h 126"/>
                  <a:gd name="T10" fmla="*/ 86 w 148"/>
                  <a:gd name="T11" fmla="*/ 114 h 126"/>
                  <a:gd name="T12" fmla="*/ 44 w 148"/>
                  <a:gd name="T13" fmla="*/ 114 h 126"/>
                  <a:gd name="T14" fmla="*/ 22 w 148"/>
                  <a:gd name="T15" fmla="*/ 90 h 126"/>
                  <a:gd name="T16" fmla="*/ 4 w 148"/>
                  <a:gd name="T17" fmla="*/ 52 h 126"/>
                  <a:gd name="T18" fmla="*/ 26 w 148"/>
                  <a:gd name="T19" fmla="*/ 54 h 126"/>
                  <a:gd name="T20" fmla="*/ 62 w 148"/>
                  <a:gd name="T21" fmla="*/ 46 h 126"/>
                  <a:gd name="T22" fmla="*/ 90 w 148"/>
                  <a:gd name="T23" fmla="*/ 36 h 126"/>
                  <a:gd name="T24" fmla="*/ 106 w 148"/>
                  <a:gd name="T25" fmla="*/ 6 h 126"/>
                  <a:gd name="T26" fmla="*/ 120 w 148"/>
                  <a:gd name="T27" fmla="*/ 0 h 126"/>
                  <a:gd name="T28" fmla="*/ 106 w 148"/>
                  <a:gd name="T29" fmla="*/ 2 h 126"/>
                  <a:gd name="T30" fmla="*/ 98 w 148"/>
                  <a:gd name="T31" fmla="*/ 6 h 126"/>
                  <a:gd name="T32" fmla="*/ 88 w 148"/>
                  <a:gd name="T33" fmla="*/ 34 h 126"/>
                  <a:gd name="T34" fmla="*/ 66 w 148"/>
                  <a:gd name="T35" fmla="*/ 42 h 126"/>
                  <a:gd name="T36" fmla="*/ 62 w 148"/>
                  <a:gd name="T37" fmla="*/ 42 h 126"/>
                  <a:gd name="T38" fmla="*/ 36 w 148"/>
                  <a:gd name="T39" fmla="*/ 50 h 126"/>
                  <a:gd name="T40" fmla="*/ 20 w 148"/>
                  <a:gd name="T41" fmla="*/ 42 h 126"/>
                  <a:gd name="T42" fmla="*/ 10 w 148"/>
                  <a:gd name="T43" fmla="*/ 42 h 126"/>
                  <a:gd name="T44" fmla="*/ 2 w 148"/>
                  <a:gd name="T45" fmla="*/ 50 h 126"/>
                  <a:gd name="T46" fmla="*/ 2 w 148"/>
                  <a:gd name="T47" fmla="*/ 64 h 126"/>
                  <a:gd name="T48" fmla="*/ 12 w 148"/>
                  <a:gd name="T49" fmla="*/ 82 h 126"/>
                  <a:gd name="T50" fmla="*/ 22 w 148"/>
                  <a:gd name="T51" fmla="*/ 108 h 126"/>
                  <a:gd name="T52" fmla="*/ 26 w 148"/>
                  <a:gd name="T53" fmla="*/ 110 h 126"/>
                  <a:gd name="T54" fmla="*/ 42 w 148"/>
                  <a:gd name="T55" fmla="*/ 114 h 126"/>
                  <a:gd name="T56" fmla="*/ 56 w 148"/>
                  <a:gd name="T57" fmla="*/ 120 h 126"/>
                  <a:gd name="T58" fmla="*/ 58 w 148"/>
                  <a:gd name="T59" fmla="*/ 120 h 126"/>
                  <a:gd name="T60" fmla="*/ 82 w 148"/>
                  <a:gd name="T61" fmla="*/ 118 h 126"/>
                  <a:gd name="T62" fmla="*/ 84 w 148"/>
                  <a:gd name="T63" fmla="*/ 124 h 126"/>
                  <a:gd name="T64" fmla="*/ 108 w 148"/>
                  <a:gd name="T65" fmla="*/ 126 h 126"/>
                  <a:gd name="T66" fmla="*/ 110 w 148"/>
                  <a:gd name="T67" fmla="*/ 126 h 126"/>
                  <a:gd name="T68" fmla="*/ 116 w 148"/>
                  <a:gd name="T69" fmla="*/ 104 h 126"/>
                  <a:gd name="T70" fmla="*/ 114 w 148"/>
                  <a:gd name="T71" fmla="*/ 92 h 126"/>
                  <a:gd name="T72" fmla="*/ 128 w 148"/>
                  <a:gd name="T73" fmla="*/ 80 h 126"/>
                  <a:gd name="T74" fmla="*/ 140 w 148"/>
                  <a:gd name="T75" fmla="*/ 62 h 126"/>
                  <a:gd name="T76" fmla="*/ 142 w 148"/>
                  <a:gd name="T77" fmla="*/ 62 h 126"/>
                  <a:gd name="T78" fmla="*/ 148 w 148"/>
                  <a:gd name="T79" fmla="*/ 56 h 126"/>
                  <a:gd name="T80" fmla="*/ 148 w 148"/>
                  <a:gd name="T81" fmla="*/ 52 h 126"/>
                  <a:gd name="T82" fmla="*/ 130 w 148"/>
                  <a:gd name="T83" fmla="*/ 26 h 126"/>
                  <a:gd name="T84" fmla="*/ 126 w 148"/>
                  <a:gd name="T85" fmla="*/ 20 h 126"/>
                  <a:gd name="T86" fmla="*/ 130 w 148"/>
                  <a:gd name="T87" fmla="*/ 12 h 126"/>
                  <a:gd name="T88" fmla="*/ 130 w 148"/>
                  <a:gd name="T89" fmla="*/ 8 h 126"/>
                  <a:gd name="T90" fmla="*/ 120 w 148"/>
                  <a:gd name="T9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26">
                    <a:moveTo>
                      <a:pt x="120" y="4"/>
                    </a:moveTo>
                    <a:lnTo>
                      <a:pt x="128" y="10"/>
                    </a:lnTo>
                    <a:lnTo>
                      <a:pt x="126" y="18"/>
                    </a:lnTo>
                    <a:lnTo>
                      <a:pt x="120" y="20"/>
                    </a:lnTo>
                    <a:lnTo>
                      <a:pt x="128" y="28"/>
                    </a:lnTo>
                    <a:lnTo>
                      <a:pt x="132" y="42"/>
                    </a:lnTo>
                    <a:lnTo>
                      <a:pt x="136" y="48"/>
                    </a:lnTo>
                    <a:lnTo>
                      <a:pt x="144" y="54"/>
                    </a:lnTo>
                    <a:lnTo>
                      <a:pt x="142" y="58"/>
                    </a:lnTo>
                    <a:lnTo>
                      <a:pt x="130" y="56"/>
                    </a:lnTo>
                    <a:lnTo>
                      <a:pt x="126" y="62"/>
                    </a:lnTo>
                    <a:lnTo>
                      <a:pt x="124" y="78"/>
                    </a:lnTo>
                    <a:lnTo>
                      <a:pt x="110" y="90"/>
                    </a:lnTo>
                    <a:lnTo>
                      <a:pt x="112" y="104"/>
                    </a:lnTo>
                    <a:lnTo>
                      <a:pt x="110" y="108"/>
                    </a:lnTo>
                    <a:lnTo>
                      <a:pt x="108" y="122"/>
                    </a:lnTo>
                    <a:lnTo>
                      <a:pt x="86" y="120"/>
                    </a:lnTo>
                    <a:lnTo>
                      <a:pt x="86" y="114"/>
                    </a:lnTo>
                    <a:lnTo>
                      <a:pt x="60" y="110"/>
                    </a:lnTo>
                    <a:lnTo>
                      <a:pt x="58" y="116"/>
                    </a:lnTo>
                    <a:lnTo>
                      <a:pt x="44" y="114"/>
                    </a:lnTo>
                    <a:lnTo>
                      <a:pt x="44" y="106"/>
                    </a:lnTo>
                    <a:lnTo>
                      <a:pt x="26" y="106"/>
                    </a:lnTo>
                    <a:lnTo>
                      <a:pt x="22" y="90"/>
                    </a:lnTo>
                    <a:lnTo>
                      <a:pt x="16" y="80"/>
                    </a:lnTo>
                    <a:lnTo>
                      <a:pt x="6" y="62"/>
                    </a:lnTo>
                    <a:lnTo>
                      <a:pt x="4" y="52"/>
                    </a:lnTo>
                    <a:lnTo>
                      <a:pt x="10" y="46"/>
                    </a:lnTo>
                    <a:lnTo>
                      <a:pt x="16" y="46"/>
                    </a:lnTo>
                    <a:lnTo>
                      <a:pt x="26" y="54"/>
                    </a:lnTo>
                    <a:lnTo>
                      <a:pt x="36" y="54"/>
                    </a:lnTo>
                    <a:lnTo>
                      <a:pt x="44" y="52"/>
                    </a:lnTo>
                    <a:lnTo>
                      <a:pt x="62" y="46"/>
                    </a:lnTo>
                    <a:lnTo>
                      <a:pt x="70" y="52"/>
                    </a:lnTo>
                    <a:lnTo>
                      <a:pt x="80" y="48"/>
                    </a:lnTo>
                    <a:lnTo>
                      <a:pt x="90" y="36"/>
                    </a:lnTo>
                    <a:lnTo>
                      <a:pt x="100" y="20"/>
                    </a:lnTo>
                    <a:lnTo>
                      <a:pt x="100" y="10"/>
                    </a:lnTo>
                    <a:lnTo>
                      <a:pt x="106" y="6"/>
                    </a:lnTo>
                    <a:lnTo>
                      <a:pt x="120" y="4"/>
                    </a:lnTo>
                    <a:close/>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6" name="Freeform 929"/>
              <p:cNvSpPr>
                <a:spLocks/>
              </p:cNvSpPr>
              <p:nvPr/>
            </p:nvSpPr>
            <p:spPr bwMode="auto">
              <a:xfrm>
                <a:off x="4403" y="2459"/>
                <a:ext cx="140" cy="118"/>
              </a:xfrm>
              <a:custGeom>
                <a:avLst/>
                <a:gdLst>
                  <a:gd name="T0" fmla="*/ 116 w 140"/>
                  <a:gd name="T1" fmla="*/ 0 h 118"/>
                  <a:gd name="T2" fmla="*/ 124 w 140"/>
                  <a:gd name="T3" fmla="*/ 6 h 118"/>
                  <a:gd name="T4" fmla="*/ 122 w 140"/>
                  <a:gd name="T5" fmla="*/ 14 h 118"/>
                  <a:gd name="T6" fmla="*/ 116 w 140"/>
                  <a:gd name="T7" fmla="*/ 16 h 118"/>
                  <a:gd name="T8" fmla="*/ 124 w 140"/>
                  <a:gd name="T9" fmla="*/ 24 h 118"/>
                  <a:gd name="T10" fmla="*/ 128 w 140"/>
                  <a:gd name="T11" fmla="*/ 38 h 118"/>
                  <a:gd name="T12" fmla="*/ 132 w 140"/>
                  <a:gd name="T13" fmla="*/ 44 h 118"/>
                  <a:gd name="T14" fmla="*/ 140 w 140"/>
                  <a:gd name="T15" fmla="*/ 50 h 118"/>
                  <a:gd name="T16" fmla="*/ 138 w 140"/>
                  <a:gd name="T17" fmla="*/ 54 h 118"/>
                  <a:gd name="T18" fmla="*/ 126 w 140"/>
                  <a:gd name="T19" fmla="*/ 52 h 118"/>
                  <a:gd name="T20" fmla="*/ 122 w 140"/>
                  <a:gd name="T21" fmla="*/ 58 h 118"/>
                  <a:gd name="T22" fmla="*/ 120 w 140"/>
                  <a:gd name="T23" fmla="*/ 74 h 118"/>
                  <a:gd name="T24" fmla="*/ 106 w 140"/>
                  <a:gd name="T25" fmla="*/ 86 h 118"/>
                  <a:gd name="T26" fmla="*/ 108 w 140"/>
                  <a:gd name="T27" fmla="*/ 100 h 118"/>
                  <a:gd name="T28" fmla="*/ 106 w 140"/>
                  <a:gd name="T29" fmla="*/ 104 h 118"/>
                  <a:gd name="T30" fmla="*/ 104 w 140"/>
                  <a:gd name="T31" fmla="*/ 118 h 118"/>
                  <a:gd name="T32" fmla="*/ 82 w 140"/>
                  <a:gd name="T33" fmla="*/ 116 h 118"/>
                  <a:gd name="T34" fmla="*/ 82 w 140"/>
                  <a:gd name="T35" fmla="*/ 110 h 118"/>
                  <a:gd name="T36" fmla="*/ 56 w 140"/>
                  <a:gd name="T37" fmla="*/ 106 h 118"/>
                  <a:gd name="T38" fmla="*/ 54 w 140"/>
                  <a:gd name="T39" fmla="*/ 112 h 118"/>
                  <a:gd name="T40" fmla="*/ 40 w 140"/>
                  <a:gd name="T41" fmla="*/ 110 h 118"/>
                  <a:gd name="T42" fmla="*/ 40 w 140"/>
                  <a:gd name="T43" fmla="*/ 102 h 118"/>
                  <a:gd name="T44" fmla="*/ 22 w 140"/>
                  <a:gd name="T45" fmla="*/ 102 h 118"/>
                  <a:gd name="T46" fmla="*/ 18 w 140"/>
                  <a:gd name="T47" fmla="*/ 86 h 118"/>
                  <a:gd name="T48" fmla="*/ 12 w 140"/>
                  <a:gd name="T49" fmla="*/ 76 h 118"/>
                  <a:gd name="T50" fmla="*/ 2 w 140"/>
                  <a:gd name="T51" fmla="*/ 58 h 118"/>
                  <a:gd name="T52" fmla="*/ 0 w 140"/>
                  <a:gd name="T53" fmla="*/ 48 h 118"/>
                  <a:gd name="T54" fmla="*/ 6 w 140"/>
                  <a:gd name="T55" fmla="*/ 42 h 118"/>
                  <a:gd name="T56" fmla="*/ 12 w 140"/>
                  <a:gd name="T57" fmla="*/ 42 h 118"/>
                  <a:gd name="T58" fmla="*/ 22 w 140"/>
                  <a:gd name="T59" fmla="*/ 50 h 118"/>
                  <a:gd name="T60" fmla="*/ 32 w 140"/>
                  <a:gd name="T61" fmla="*/ 50 h 118"/>
                  <a:gd name="T62" fmla="*/ 40 w 140"/>
                  <a:gd name="T63" fmla="*/ 48 h 118"/>
                  <a:gd name="T64" fmla="*/ 58 w 140"/>
                  <a:gd name="T65" fmla="*/ 42 h 118"/>
                  <a:gd name="T66" fmla="*/ 66 w 140"/>
                  <a:gd name="T67" fmla="*/ 48 h 118"/>
                  <a:gd name="T68" fmla="*/ 76 w 140"/>
                  <a:gd name="T69" fmla="*/ 44 h 118"/>
                  <a:gd name="T70" fmla="*/ 86 w 140"/>
                  <a:gd name="T71" fmla="*/ 32 h 118"/>
                  <a:gd name="T72" fmla="*/ 96 w 140"/>
                  <a:gd name="T73" fmla="*/ 16 h 118"/>
                  <a:gd name="T74" fmla="*/ 96 w 140"/>
                  <a:gd name="T75" fmla="*/ 6 h 118"/>
                  <a:gd name="T76" fmla="*/ 102 w 140"/>
                  <a:gd name="T77" fmla="*/ 2 h 118"/>
                  <a:gd name="T78" fmla="*/ 116 w 140"/>
                  <a:gd name="T7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118">
                    <a:moveTo>
                      <a:pt x="116" y="0"/>
                    </a:moveTo>
                    <a:lnTo>
                      <a:pt x="124" y="6"/>
                    </a:lnTo>
                    <a:lnTo>
                      <a:pt x="122" y="14"/>
                    </a:lnTo>
                    <a:lnTo>
                      <a:pt x="116" y="16"/>
                    </a:lnTo>
                    <a:lnTo>
                      <a:pt x="124" y="24"/>
                    </a:lnTo>
                    <a:lnTo>
                      <a:pt x="128" y="38"/>
                    </a:lnTo>
                    <a:lnTo>
                      <a:pt x="132" y="44"/>
                    </a:lnTo>
                    <a:lnTo>
                      <a:pt x="140" y="50"/>
                    </a:lnTo>
                    <a:lnTo>
                      <a:pt x="138" y="54"/>
                    </a:lnTo>
                    <a:lnTo>
                      <a:pt x="126" y="52"/>
                    </a:lnTo>
                    <a:lnTo>
                      <a:pt x="122" y="58"/>
                    </a:lnTo>
                    <a:lnTo>
                      <a:pt x="120" y="74"/>
                    </a:lnTo>
                    <a:lnTo>
                      <a:pt x="106" y="86"/>
                    </a:lnTo>
                    <a:lnTo>
                      <a:pt x="108" y="100"/>
                    </a:lnTo>
                    <a:lnTo>
                      <a:pt x="106" y="104"/>
                    </a:lnTo>
                    <a:lnTo>
                      <a:pt x="104" y="118"/>
                    </a:lnTo>
                    <a:lnTo>
                      <a:pt x="82" y="116"/>
                    </a:lnTo>
                    <a:lnTo>
                      <a:pt x="82" y="110"/>
                    </a:lnTo>
                    <a:lnTo>
                      <a:pt x="56" y="106"/>
                    </a:lnTo>
                    <a:lnTo>
                      <a:pt x="54" y="112"/>
                    </a:lnTo>
                    <a:lnTo>
                      <a:pt x="40" y="110"/>
                    </a:lnTo>
                    <a:lnTo>
                      <a:pt x="40" y="102"/>
                    </a:lnTo>
                    <a:lnTo>
                      <a:pt x="22" y="102"/>
                    </a:lnTo>
                    <a:lnTo>
                      <a:pt x="18" y="86"/>
                    </a:lnTo>
                    <a:lnTo>
                      <a:pt x="12" y="76"/>
                    </a:lnTo>
                    <a:lnTo>
                      <a:pt x="2" y="58"/>
                    </a:lnTo>
                    <a:lnTo>
                      <a:pt x="0" y="48"/>
                    </a:lnTo>
                    <a:lnTo>
                      <a:pt x="6" y="42"/>
                    </a:lnTo>
                    <a:lnTo>
                      <a:pt x="12" y="42"/>
                    </a:lnTo>
                    <a:lnTo>
                      <a:pt x="22" y="50"/>
                    </a:lnTo>
                    <a:lnTo>
                      <a:pt x="32" y="50"/>
                    </a:lnTo>
                    <a:lnTo>
                      <a:pt x="40" y="48"/>
                    </a:lnTo>
                    <a:lnTo>
                      <a:pt x="58" y="42"/>
                    </a:lnTo>
                    <a:lnTo>
                      <a:pt x="66" y="48"/>
                    </a:lnTo>
                    <a:lnTo>
                      <a:pt x="76" y="44"/>
                    </a:lnTo>
                    <a:lnTo>
                      <a:pt x="86" y="32"/>
                    </a:lnTo>
                    <a:lnTo>
                      <a:pt x="96" y="16"/>
                    </a:lnTo>
                    <a:lnTo>
                      <a:pt x="96" y="6"/>
                    </a:lnTo>
                    <a:lnTo>
                      <a:pt x="102" y="2"/>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7" name="Freeform 930"/>
              <p:cNvSpPr>
                <a:spLocks/>
              </p:cNvSpPr>
              <p:nvPr/>
            </p:nvSpPr>
            <p:spPr bwMode="auto">
              <a:xfrm>
                <a:off x="4399" y="2455"/>
                <a:ext cx="148" cy="126"/>
              </a:xfrm>
              <a:custGeom>
                <a:avLst/>
                <a:gdLst>
                  <a:gd name="T0" fmla="*/ 120 w 148"/>
                  <a:gd name="T1" fmla="*/ 0 h 126"/>
                  <a:gd name="T2" fmla="*/ 106 w 148"/>
                  <a:gd name="T3" fmla="*/ 2 h 126"/>
                  <a:gd name="T4" fmla="*/ 104 w 148"/>
                  <a:gd name="T5" fmla="*/ 4 h 126"/>
                  <a:gd name="T6" fmla="*/ 98 w 148"/>
                  <a:gd name="T7" fmla="*/ 6 h 126"/>
                  <a:gd name="T8" fmla="*/ 96 w 148"/>
                  <a:gd name="T9" fmla="*/ 20 h 126"/>
                  <a:gd name="T10" fmla="*/ 78 w 148"/>
                  <a:gd name="T11" fmla="*/ 44 h 126"/>
                  <a:gd name="T12" fmla="*/ 66 w 148"/>
                  <a:gd name="T13" fmla="*/ 42 h 126"/>
                  <a:gd name="T14" fmla="*/ 62 w 148"/>
                  <a:gd name="T15" fmla="*/ 42 h 126"/>
                  <a:gd name="T16" fmla="*/ 62 w 148"/>
                  <a:gd name="T17" fmla="*/ 42 h 126"/>
                  <a:gd name="T18" fmla="*/ 36 w 148"/>
                  <a:gd name="T19" fmla="*/ 50 h 126"/>
                  <a:gd name="T20" fmla="*/ 20 w 148"/>
                  <a:gd name="T21" fmla="*/ 42 h 126"/>
                  <a:gd name="T22" fmla="*/ 16 w 148"/>
                  <a:gd name="T23" fmla="*/ 42 h 126"/>
                  <a:gd name="T24" fmla="*/ 10 w 148"/>
                  <a:gd name="T25" fmla="*/ 42 h 126"/>
                  <a:gd name="T26" fmla="*/ 2 w 148"/>
                  <a:gd name="T27" fmla="*/ 50 h 126"/>
                  <a:gd name="T28" fmla="*/ 0 w 148"/>
                  <a:gd name="T29" fmla="*/ 54 h 126"/>
                  <a:gd name="T30" fmla="*/ 2 w 148"/>
                  <a:gd name="T31" fmla="*/ 64 h 126"/>
                  <a:gd name="T32" fmla="*/ 12 w 148"/>
                  <a:gd name="T33" fmla="*/ 82 h 126"/>
                  <a:gd name="T34" fmla="*/ 12 w 148"/>
                  <a:gd name="T35" fmla="*/ 84 h 126"/>
                  <a:gd name="T36" fmla="*/ 22 w 148"/>
                  <a:gd name="T37" fmla="*/ 108 h 126"/>
                  <a:gd name="T38" fmla="*/ 24 w 148"/>
                  <a:gd name="T39" fmla="*/ 110 h 126"/>
                  <a:gd name="T40" fmla="*/ 40 w 148"/>
                  <a:gd name="T41" fmla="*/ 110 h 126"/>
                  <a:gd name="T42" fmla="*/ 42 w 148"/>
                  <a:gd name="T43" fmla="*/ 114 h 126"/>
                  <a:gd name="T44" fmla="*/ 44 w 148"/>
                  <a:gd name="T45" fmla="*/ 118 h 126"/>
                  <a:gd name="T46" fmla="*/ 56 w 148"/>
                  <a:gd name="T47" fmla="*/ 120 h 126"/>
                  <a:gd name="T48" fmla="*/ 58 w 148"/>
                  <a:gd name="T49" fmla="*/ 120 h 126"/>
                  <a:gd name="T50" fmla="*/ 62 w 148"/>
                  <a:gd name="T51" fmla="*/ 114 h 126"/>
                  <a:gd name="T52" fmla="*/ 82 w 148"/>
                  <a:gd name="T53" fmla="*/ 122 h 126"/>
                  <a:gd name="T54" fmla="*/ 84 w 148"/>
                  <a:gd name="T55" fmla="*/ 124 h 126"/>
                  <a:gd name="T56" fmla="*/ 108 w 148"/>
                  <a:gd name="T57" fmla="*/ 126 h 126"/>
                  <a:gd name="T58" fmla="*/ 108 w 148"/>
                  <a:gd name="T59" fmla="*/ 126 h 126"/>
                  <a:gd name="T60" fmla="*/ 110 w 148"/>
                  <a:gd name="T61" fmla="*/ 126 h 126"/>
                  <a:gd name="T62" fmla="*/ 114 w 148"/>
                  <a:gd name="T63" fmla="*/ 110 h 126"/>
                  <a:gd name="T64" fmla="*/ 116 w 148"/>
                  <a:gd name="T65" fmla="*/ 104 h 126"/>
                  <a:gd name="T66" fmla="*/ 114 w 148"/>
                  <a:gd name="T67" fmla="*/ 92 h 126"/>
                  <a:gd name="T68" fmla="*/ 126 w 148"/>
                  <a:gd name="T69" fmla="*/ 82 h 126"/>
                  <a:gd name="T70" fmla="*/ 130 w 148"/>
                  <a:gd name="T71" fmla="*/ 64 h 126"/>
                  <a:gd name="T72" fmla="*/ 140 w 148"/>
                  <a:gd name="T73" fmla="*/ 62 h 126"/>
                  <a:gd name="T74" fmla="*/ 142 w 148"/>
                  <a:gd name="T75" fmla="*/ 62 h 126"/>
                  <a:gd name="T76" fmla="*/ 144 w 148"/>
                  <a:gd name="T77" fmla="*/ 60 h 126"/>
                  <a:gd name="T78" fmla="*/ 148 w 148"/>
                  <a:gd name="T79" fmla="*/ 56 h 126"/>
                  <a:gd name="T80" fmla="*/ 148 w 148"/>
                  <a:gd name="T81" fmla="*/ 54 h 126"/>
                  <a:gd name="T82" fmla="*/ 138 w 148"/>
                  <a:gd name="T83" fmla="*/ 44 h 126"/>
                  <a:gd name="T84" fmla="*/ 130 w 148"/>
                  <a:gd name="T85" fmla="*/ 26 h 126"/>
                  <a:gd name="T86" fmla="*/ 130 w 148"/>
                  <a:gd name="T87" fmla="*/ 26 h 126"/>
                  <a:gd name="T88" fmla="*/ 126 w 148"/>
                  <a:gd name="T89" fmla="*/ 20 h 126"/>
                  <a:gd name="T90" fmla="*/ 130 w 148"/>
                  <a:gd name="T91" fmla="*/ 12 h 126"/>
                  <a:gd name="T92" fmla="*/ 130 w 148"/>
                  <a:gd name="T93" fmla="*/ 8 h 126"/>
                  <a:gd name="T94" fmla="*/ 122 w 148"/>
                  <a:gd name="T95" fmla="*/ 2 h 126"/>
                  <a:gd name="T96" fmla="*/ 120 w 148"/>
                  <a:gd name="T9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26">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8" name="Freeform 931"/>
              <p:cNvSpPr>
                <a:spLocks/>
              </p:cNvSpPr>
              <p:nvPr/>
            </p:nvSpPr>
            <p:spPr bwMode="auto">
              <a:xfrm>
                <a:off x="4207" y="2447"/>
                <a:ext cx="160" cy="160"/>
              </a:xfrm>
              <a:custGeom>
                <a:avLst/>
                <a:gdLst>
                  <a:gd name="T0" fmla="*/ 130 w 160"/>
                  <a:gd name="T1" fmla="*/ 158 h 160"/>
                  <a:gd name="T2" fmla="*/ 128 w 160"/>
                  <a:gd name="T3" fmla="*/ 158 h 160"/>
                  <a:gd name="T4" fmla="*/ 82 w 160"/>
                  <a:gd name="T5" fmla="*/ 110 h 160"/>
                  <a:gd name="T6" fmla="*/ 58 w 160"/>
                  <a:gd name="T7" fmla="*/ 74 h 160"/>
                  <a:gd name="T8" fmla="*/ 54 w 160"/>
                  <a:gd name="T9" fmla="*/ 58 h 160"/>
                  <a:gd name="T10" fmla="*/ 36 w 160"/>
                  <a:gd name="T11" fmla="*/ 48 h 160"/>
                  <a:gd name="T12" fmla="*/ 34 w 160"/>
                  <a:gd name="T13" fmla="*/ 46 h 160"/>
                  <a:gd name="T14" fmla="*/ 18 w 160"/>
                  <a:gd name="T15" fmla="*/ 22 h 160"/>
                  <a:gd name="T16" fmla="*/ 4 w 160"/>
                  <a:gd name="T17" fmla="*/ 12 h 160"/>
                  <a:gd name="T18" fmla="*/ 0 w 160"/>
                  <a:gd name="T19" fmla="*/ 2 h 160"/>
                  <a:gd name="T20" fmla="*/ 0 w 160"/>
                  <a:gd name="T21" fmla="*/ 0 h 160"/>
                  <a:gd name="T22" fmla="*/ 0 w 160"/>
                  <a:gd name="T23" fmla="*/ 0 h 160"/>
                  <a:gd name="T24" fmla="*/ 20 w 160"/>
                  <a:gd name="T25" fmla="*/ 2 h 160"/>
                  <a:gd name="T26" fmla="*/ 36 w 160"/>
                  <a:gd name="T27" fmla="*/ 4 h 160"/>
                  <a:gd name="T28" fmla="*/ 46 w 160"/>
                  <a:gd name="T29" fmla="*/ 16 h 160"/>
                  <a:gd name="T30" fmla="*/ 68 w 160"/>
                  <a:gd name="T31" fmla="*/ 32 h 160"/>
                  <a:gd name="T32" fmla="*/ 88 w 160"/>
                  <a:gd name="T33" fmla="*/ 48 h 160"/>
                  <a:gd name="T34" fmla="*/ 114 w 160"/>
                  <a:gd name="T35" fmla="*/ 70 h 160"/>
                  <a:gd name="T36" fmla="*/ 124 w 160"/>
                  <a:gd name="T37" fmla="*/ 74 h 160"/>
                  <a:gd name="T38" fmla="*/ 124 w 160"/>
                  <a:gd name="T39" fmla="*/ 88 h 160"/>
                  <a:gd name="T40" fmla="*/ 132 w 160"/>
                  <a:gd name="T41" fmla="*/ 92 h 160"/>
                  <a:gd name="T42" fmla="*/ 134 w 160"/>
                  <a:gd name="T43" fmla="*/ 94 h 160"/>
                  <a:gd name="T44" fmla="*/ 140 w 160"/>
                  <a:gd name="T45" fmla="*/ 104 h 160"/>
                  <a:gd name="T46" fmla="*/ 142 w 160"/>
                  <a:gd name="T47" fmla="*/ 112 h 160"/>
                  <a:gd name="T48" fmla="*/ 146 w 160"/>
                  <a:gd name="T49" fmla="*/ 110 h 160"/>
                  <a:gd name="T50" fmla="*/ 146 w 160"/>
                  <a:gd name="T51" fmla="*/ 110 h 160"/>
                  <a:gd name="T52" fmla="*/ 148 w 160"/>
                  <a:gd name="T53" fmla="*/ 110 h 160"/>
                  <a:gd name="T54" fmla="*/ 158 w 160"/>
                  <a:gd name="T55" fmla="*/ 116 h 160"/>
                  <a:gd name="T56" fmla="*/ 160 w 160"/>
                  <a:gd name="T57" fmla="*/ 140 h 160"/>
                  <a:gd name="T58" fmla="*/ 158 w 160"/>
                  <a:gd name="T59" fmla="*/ 160 h 160"/>
                  <a:gd name="T60" fmla="*/ 156 w 160"/>
                  <a:gd name="T61" fmla="*/ 160 h 160"/>
                  <a:gd name="T62" fmla="*/ 156 w 160"/>
                  <a:gd name="T63" fmla="*/ 160 h 160"/>
                  <a:gd name="T64" fmla="*/ 146 w 160"/>
                  <a:gd name="T65" fmla="*/ 160 h 160"/>
                  <a:gd name="T66" fmla="*/ 140 w 160"/>
                  <a:gd name="T67" fmla="*/ 160 h 160"/>
                  <a:gd name="T68" fmla="*/ 140 w 160"/>
                  <a:gd name="T69" fmla="*/ 160 h 160"/>
                  <a:gd name="T70" fmla="*/ 138 w 160"/>
                  <a:gd name="T7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38" y="160"/>
                    </a:moveTo>
                    <a:lnTo>
                      <a:pt x="130" y="158"/>
                    </a:lnTo>
                    <a:lnTo>
                      <a:pt x="130" y="158"/>
                    </a:lnTo>
                    <a:lnTo>
                      <a:pt x="128" y="158"/>
                    </a:lnTo>
                    <a:lnTo>
                      <a:pt x="86" y="118"/>
                    </a:lnTo>
                    <a:lnTo>
                      <a:pt x="82" y="110"/>
                    </a:lnTo>
                    <a:lnTo>
                      <a:pt x="78" y="98"/>
                    </a:lnTo>
                    <a:lnTo>
                      <a:pt x="58" y="74"/>
                    </a:lnTo>
                    <a:lnTo>
                      <a:pt x="54" y="64"/>
                    </a:lnTo>
                    <a:lnTo>
                      <a:pt x="54" y="58"/>
                    </a:lnTo>
                    <a:lnTo>
                      <a:pt x="42" y="48"/>
                    </a:lnTo>
                    <a:lnTo>
                      <a:pt x="36" y="48"/>
                    </a:lnTo>
                    <a:lnTo>
                      <a:pt x="36" y="48"/>
                    </a:lnTo>
                    <a:lnTo>
                      <a:pt x="34" y="46"/>
                    </a:lnTo>
                    <a:lnTo>
                      <a:pt x="34" y="40"/>
                    </a:lnTo>
                    <a:lnTo>
                      <a:pt x="18" y="22"/>
                    </a:lnTo>
                    <a:lnTo>
                      <a:pt x="4" y="12"/>
                    </a:lnTo>
                    <a:lnTo>
                      <a:pt x="4" y="12"/>
                    </a:lnTo>
                    <a:lnTo>
                      <a:pt x="2" y="12"/>
                    </a:lnTo>
                    <a:lnTo>
                      <a:pt x="0" y="2"/>
                    </a:lnTo>
                    <a:lnTo>
                      <a:pt x="0" y="2"/>
                    </a:lnTo>
                    <a:lnTo>
                      <a:pt x="0" y="0"/>
                    </a:lnTo>
                    <a:lnTo>
                      <a:pt x="0" y="0"/>
                    </a:lnTo>
                    <a:lnTo>
                      <a:pt x="0" y="0"/>
                    </a:lnTo>
                    <a:lnTo>
                      <a:pt x="0" y="0"/>
                    </a:lnTo>
                    <a:lnTo>
                      <a:pt x="20" y="2"/>
                    </a:lnTo>
                    <a:lnTo>
                      <a:pt x="36" y="4"/>
                    </a:lnTo>
                    <a:lnTo>
                      <a:pt x="36" y="4"/>
                    </a:lnTo>
                    <a:lnTo>
                      <a:pt x="38" y="4"/>
                    </a:lnTo>
                    <a:lnTo>
                      <a:pt x="46" y="16"/>
                    </a:lnTo>
                    <a:lnTo>
                      <a:pt x="56" y="26"/>
                    </a:lnTo>
                    <a:lnTo>
                      <a:pt x="68" y="32"/>
                    </a:lnTo>
                    <a:lnTo>
                      <a:pt x="78" y="44"/>
                    </a:lnTo>
                    <a:lnTo>
                      <a:pt x="88" y="48"/>
                    </a:lnTo>
                    <a:lnTo>
                      <a:pt x="100" y="58"/>
                    </a:lnTo>
                    <a:lnTo>
                      <a:pt x="114" y="70"/>
                    </a:lnTo>
                    <a:lnTo>
                      <a:pt x="124" y="74"/>
                    </a:lnTo>
                    <a:lnTo>
                      <a:pt x="124" y="74"/>
                    </a:lnTo>
                    <a:lnTo>
                      <a:pt x="124" y="76"/>
                    </a:lnTo>
                    <a:lnTo>
                      <a:pt x="124" y="88"/>
                    </a:lnTo>
                    <a:lnTo>
                      <a:pt x="126" y="92"/>
                    </a:lnTo>
                    <a:lnTo>
                      <a:pt x="132" y="92"/>
                    </a:lnTo>
                    <a:lnTo>
                      <a:pt x="132" y="92"/>
                    </a:lnTo>
                    <a:lnTo>
                      <a:pt x="134" y="94"/>
                    </a:lnTo>
                    <a:lnTo>
                      <a:pt x="140" y="104"/>
                    </a:lnTo>
                    <a:lnTo>
                      <a:pt x="140" y="104"/>
                    </a:lnTo>
                    <a:lnTo>
                      <a:pt x="142" y="106"/>
                    </a:lnTo>
                    <a:lnTo>
                      <a:pt x="142" y="112"/>
                    </a:lnTo>
                    <a:lnTo>
                      <a:pt x="142" y="114"/>
                    </a:lnTo>
                    <a:lnTo>
                      <a:pt x="146" y="110"/>
                    </a:lnTo>
                    <a:lnTo>
                      <a:pt x="146" y="110"/>
                    </a:lnTo>
                    <a:lnTo>
                      <a:pt x="146" y="110"/>
                    </a:lnTo>
                    <a:lnTo>
                      <a:pt x="146" y="110"/>
                    </a:lnTo>
                    <a:lnTo>
                      <a:pt x="148" y="110"/>
                    </a:lnTo>
                    <a:lnTo>
                      <a:pt x="158" y="116"/>
                    </a:lnTo>
                    <a:lnTo>
                      <a:pt x="158" y="116"/>
                    </a:lnTo>
                    <a:lnTo>
                      <a:pt x="160" y="118"/>
                    </a:lnTo>
                    <a:lnTo>
                      <a:pt x="160" y="140"/>
                    </a:lnTo>
                    <a:lnTo>
                      <a:pt x="158" y="160"/>
                    </a:lnTo>
                    <a:lnTo>
                      <a:pt x="158" y="160"/>
                    </a:lnTo>
                    <a:lnTo>
                      <a:pt x="156" y="160"/>
                    </a:lnTo>
                    <a:lnTo>
                      <a:pt x="156" y="160"/>
                    </a:lnTo>
                    <a:lnTo>
                      <a:pt x="156" y="160"/>
                    </a:lnTo>
                    <a:lnTo>
                      <a:pt x="156" y="160"/>
                    </a:lnTo>
                    <a:lnTo>
                      <a:pt x="156" y="160"/>
                    </a:lnTo>
                    <a:lnTo>
                      <a:pt x="146" y="160"/>
                    </a:lnTo>
                    <a:lnTo>
                      <a:pt x="140" y="160"/>
                    </a:lnTo>
                    <a:lnTo>
                      <a:pt x="140" y="160"/>
                    </a:lnTo>
                    <a:lnTo>
                      <a:pt x="140" y="160"/>
                    </a:lnTo>
                    <a:lnTo>
                      <a:pt x="140" y="160"/>
                    </a:lnTo>
                    <a:lnTo>
                      <a:pt x="138" y="160"/>
                    </a:lnTo>
                    <a:lnTo>
                      <a:pt x="138"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9" name="Freeform 932"/>
              <p:cNvSpPr>
                <a:spLocks noEditPoints="1"/>
              </p:cNvSpPr>
              <p:nvPr/>
            </p:nvSpPr>
            <p:spPr bwMode="auto">
              <a:xfrm>
                <a:off x="4205" y="2445"/>
                <a:ext cx="164" cy="164"/>
              </a:xfrm>
              <a:custGeom>
                <a:avLst/>
                <a:gdLst>
                  <a:gd name="T0" fmla="*/ 22 w 164"/>
                  <a:gd name="T1" fmla="*/ 6 h 164"/>
                  <a:gd name="T2" fmla="*/ 46 w 164"/>
                  <a:gd name="T3" fmla="*/ 20 h 164"/>
                  <a:gd name="T4" fmla="*/ 68 w 164"/>
                  <a:gd name="T5" fmla="*/ 36 h 164"/>
                  <a:gd name="T6" fmla="*/ 90 w 164"/>
                  <a:gd name="T7" fmla="*/ 52 h 164"/>
                  <a:gd name="T8" fmla="*/ 114 w 164"/>
                  <a:gd name="T9" fmla="*/ 74 h 164"/>
                  <a:gd name="T10" fmla="*/ 124 w 164"/>
                  <a:gd name="T11" fmla="*/ 90 h 164"/>
                  <a:gd name="T12" fmla="*/ 134 w 164"/>
                  <a:gd name="T13" fmla="*/ 96 h 164"/>
                  <a:gd name="T14" fmla="*/ 142 w 164"/>
                  <a:gd name="T15" fmla="*/ 114 h 164"/>
                  <a:gd name="T16" fmla="*/ 148 w 164"/>
                  <a:gd name="T17" fmla="*/ 114 h 164"/>
                  <a:gd name="T18" fmla="*/ 160 w 164"/>
                  <a:gd name="T19" fmla="*/ 142 h 164"/>
                  <a:gd name="T20" fmla="*/ 148 w 164"/>
                  <a:gd name="T21" fmla="*/ 160 h 164"/>
                  <a:gd name="T22" fmla="*/ 132 w 164"/>
                  <a:gd name="T23" fmla="*/ 160 h 164"/>
                  <a:gd name="T24" fmla="*/ 84 w 164"/>
                  <a:gd name="T25" fmla="*/ 110 h 164"/>
                  <a:gd name="T26" fmla="*/ 62 w 164"/>
                  <a:gd name="T27" fmla="*/ 76 h 164"/>
                  <a:gd name="T28" fmla="*/ 58 w 164"/>
                  <a:gd name="T29" fmla="*/ 60 h 164"/>
                  <a:gd name="T30" fmla="*/ 38 w 164"/>
                  <a:gd name="T31" fmla="*/ 48 h 164"/>
                  <a:gd name="T32" fmla="*/ 22 w 164"/>
                  <a:gd name="T33" fmla="*/ 24 h 164"/>
                  <a:gd name="T34" fmla="*/ 2 w 164"/>
                  <a:gd name="T35" fmla="*/ 4 h 164"/>
                  <a:gd name="T36" fmla="*/ 2 w 164"/>
                  <a:gd name="T37" fmla="*/ 0 h 164"/>
                  <a:gd name="T38" fmla="*/ 0 w 164"/>
                  <a:gd name="T39" fmla="*/ 2 h 164"/>
                  <a:gd name="T40" fmla="*/ 2 w 164"/>
                  <a:gd name="T41" fmla="*/ 14 h 164"/>
                  <a:gd name="T42" fmla="*/ 4 w 164"/>
                  <a:gd name="T43" fmla="*/ 16 h 164"/>
                  <a:gd name="T44" fmla="*/ 34 w 164"/>
                  <a:gd name="T45" fmla="*/ 42 h 164"/>
                  <a:gd name="T46" fmla="*/ 34 w 164"/>
                  <a:gd name="T47" fmla="*/ 48 h 164"/>
                  <a:gd name="T48" fmla="*/ 38 w 164"/>
                  <a:gd name="T49" fmla="*/ 52 h 164"/>
                  <a:gd name="T50" fmla="*/ 54 w 164"/>
                  <a:gd name="T51" fmla="*/ 60 h 164"/>
                  <a:gd name="T52" fmla="*/ 54 w 164"/>
                  <a:gd name="T53" fmla="*/ 66 h 164"/>
                  <a:gd name="T54" fmla="*/ 58 w 164"/>
                  <a:gd name="T55" fmla="*/ 76 h 164"/>
                  <a:gd name="T56" fmla="*/ 58 w 164"/>
                  <a:gd name="T57" fmla="*/ 78 h 164"/>
                  <a:gd name="T58" fmla="*/ 82 w 164"/>
                  <a:gd name="T59" fmla="*/ 112 h 164"/>
                  <a:gd name="T60" fmla="*/ 82 w 164"/>
                  <a:gd name="T61" fmla="*/ 114 h 164"/>
                  <a:gd name="T62" fmla="*/ 88 w 164"/>
                  <a:gd name="T63" fmla="*/ 120 h 164"/>
                  <a:gd name="T64" fmla="*/ 130 w 164"/>
                  <a:gd name="T65" fmla="*/ 162 h 164"/>
                  <a:gd name="T66" fmla="*/ 132 w 164"/>
                  <a:gd name="T67" fmla="*/ 162 h 164"/>
                  <a:gd name="T68" fmla="*/ 140 w 164"/>
                  <a:gd name="T69" fmla="*/ 164 h 164"/>
                  <a:gd name="T70" fmla="*/ 142 w 164"/>
                  <a:gd name="T71" fmla="*/ 164 h 164"/>
                  <a:gd name="T72" fmla="*/ 148 w 164"/>
                  <a:gd name="T73" fmla="*/ 164 h 164"/>
                  <a:gd name="T74" fmla="*/ 156 w 164"/>
                  <a:gd name="T75" fmla="*/ 164 h 164"/>
                  <a:gd name="T76" fmla="*/ 158 w 164"/>
                  <a:gd name="T77" fmla="*/ 164 h 164"/>
                  <a:gd name="T78" fmla="*/ 160 w 164"/>
                  <a:gd name="T79" fmla="*/ 164 h 164"/>
                  <a:gd name="T80" fmla="*/ 164 w 164"/>
                  <a:gd name="T81" fmla="*/ 144 h 164"/>
                  <a:gd name="T82" fmla="*/ 164 w 164"/>
                  <a:gd name="T83" fmla="*/ 142 h 164"/>
                  <a:gd name="T84" fmla="*/ 164 w 164"/>
                  <a:gd name="T85" fmla="*/ 120 h 164"/>
                  <a:gd name="T86" fmla="*/ 162 w 164"/>
                  <a:gd name="T87" fmla="*/ 116 h 164"/>
                  <a:gd name="T88" fmla="*/ 150 w 164"/>
                  <a:gd name="T89" fmla="*/ 110 h 164"/>
                  <a:gd name="T90" fmla="*/ 148 w 164"/>
                  <a:gd name="T91" fmla="*/ 110 h 164"/>
                  <a:gd name="T92" fmla="*/ 146 w 164"/>
                  <a:gd name="T93" fmla="*/ 112 h 164"/>
                  <a:gd name="T94" fmla="*/ 146 w 164"/>
                  <a:gd name="T95" fmla="*/ 108 h 164"/>
                  <a:gd name="T96" fmla="*/ 138 w 164"/>
                  <a:gd name="T97" fmla="*/ 94 h 164"/>
                  <a:gd name="T98" fmla="*/ 134 w 164"/>
                  <a:gd name="T99" fmla="*/ 92 h 164"/>
                  <a:gd name="T100" fmla="*/ 128 w 164"/>
                  <a:gd name="T101" fmla="*/ 88 h 164"/>
                  <a:gd name="T102" fmla="*/ 128 w 164"/>
                  <a:gd name="T103" fmla="*/ 78 h 164"/>
                  <a:gd name="T104" fmla="*/ 126 w 164"/>
                  <a:gd name="T105" fmla="*/ 76 h 164"/>
                  <a:gd name="T106" fmla="*/ 104 w 164"/>
                  <a:gd name="T107" fmla="*/ 58 h 164"/>
                  <a:gd name="T108" fmla="*/ 92 w 164"/>
                  <a:gd name="T109" fmla="*/ 48 h 164"/>
                  <a:gd name="T110" fmla="*/ 82 w 164"/>
                  <a:gd name="T111" fmla="*/ 44 h 164"/>
                  <a:gd name="T112" fmla="*/ 72 w 164"/>
                  <a:gd name="T113" fmla="*/ 34 h 164"/>
                  <a:gd name="T114" fmla="*/ 60 w 164"/>
                  <a:gd name="T115" fmla="*/ 26 h 164"/>
                  <a:gd name="T116" fmla="*/ 40 w 164"/>
                  <a:gd name="T117" fmla="*/ 4 h 164"/>
                  <a:gd name="T118" fmla="*/ 38 w 164"/>
                  <a:gd name="T119" fmla="*/ 4 h 164"/>
                  <a:gd name="T120" fmla="*/ 4 w 164"/>
                  <a:gd name="T121" fmla="*/ 0 h 164"/>
                  <a:gd name="T122" fmla="*/ 2 w 164"/>
                  <a:gd name="T1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2" y="4"/>
                    </a:moveTo>
                    <a:lnTo>
                      <a:pt x="22" y="6"/>
                    </a:lnTo>
                    <a:lnTo>
                      <a:pt x="38" y="8"/>
                    </a:lnTo>
                    <a:lnTo>
                      <a:pt x="46" y="20"/>
                    </a:lnTo>
                    <a:lnTo>
                      <a:pt x="58" y="28"/>
                    </a:lnTo>
                    <a:lnTo>
                      <a:pt x="68" y="36"/>
                    </a:lnTo>
                    <a:lnTo>
                      <a:pt x="80" y="48"/>
                    </a:lnTo>
                    <a:lnTo>
                      <a:pt x="90" y="52"/>
                    </a:lnTo>
                    <a:lnTo>
                      <a:pt x="102" y="60"/>
                    </a:lnTo>
                    <a:lnTo>
                      <a:pt x="114" y="74"/>
                    </a:lnTo>
                    <a:lnTo>
                      <a:pt x="124" y="78"/>
                    </a:lnTo>
                    <a:lnTo>
                      <a:pt x="124" y="90"/>
                    </a:lnTo>
                    <a:lnTo>
                      <a:pt x="126" y="94"/>
                    </a:lnTo>
                    <a:lnTo>
                      <a:pt x="134" y="96"/>
                    </a:lnTo>
                    <a:lnTo>
                      <a:pt x="142" y="108"/>
                    </a:lnTo>
                    <a:lnTo>
                      <a:pt x="142" y="114"/>
                    </a:lnTo>
                    <a:lnTo>
                      <a:pt x="140" y="120"/>
                    </a:lnTo>
                    <a:lnTo>
                      <a:pt x="148" y="114"/>
                    </a:lnTo>
                    <a:lnTo>
                      <a:pt x="160" y="120"/>
                    </a:lnTo>
                    <a:lnTo>
                      <a:pt x="160" y="142"/>
                    </a:lnTo>
                    <a:lnTo>
                      <a:pt x="158" y="160"/>
                    </a:lnTo>
                    <a:lnTo>
                      <a:pt x="148" y="160"/>
                    </a:lnTo>
                    <a:lnTo>
                      <a:pt x="142" y="160"/>
                    </a:lnTo>
                    <a:lnTo>
                      <a:pt x="132" y="160"/>
                    </a:lnTo>
                    <a:lnTo>
                      <a:pt x="90" y="118"/>
                    </a:lnTo>
                    <a:lnTo>
                      <a:pt x="84" y="110"/>
                    </a:lnTo>
                    <a:lnTo>
                      <a:pt x="82" y="98"/>
                    </a:lnTo>
                    <a:lnTo>
                      <a:pt x="62" y="76"/>
                    </a:lnTo>
                    <a:lnTo>
                      <a:pt x="58" y="66"/>
                    </a:lnTo>
                    <a:lnTo>
                      <a:pt x="58" y="60"/>
                    </a:lnTo>
                    <a:lnTo>
                      <a:pt x="44" y="48"/>
                    </a:lnTo>
                    <a:lnTo>
                      <a:pt x="38" y="48"/>
                    </a:lnTo>
                    <a:lnTo>
                      <a:pt x="38" y="42"/>
                    </a:lnTo>
                    <a:lnTo>
                      <a:pt x="22" y="24"/>
                    </a:lnTo>
                    <a:lnTo>
                      <a:pt x="6" y="12"/>
                    </a:lnTo>
                    <a:lnTo>
                      <a:pt x="2" y="4"/>
                    </a:lnTo>
                    <a:close/>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0" name="Freeform 933"/>
              <p:cNvSpPr>
                <a:spLocks/>
              </p:cNvSpPr>
              <p:nvPr/>
            </p:nvSpPr>
            <p:spPr bwMode="auto">
              <a:xfrm>
                <a:off x="4207" y="2449"/>
                <a:ext cx="158" cy="156"/>
              </a:xfrm>
              <a:custGeom>
                <a:avLst/>
                <a:gdLst>
                  <a:gd name="T0" fmla="*/ 0 w 158"/>
                  <a:gd name="T1" fmla="*/ 0 h 156"/>
                  <a:gd name="T2" fmla="*/ 20 w 158"/>
                  <a:gd name="T3" fmla="*/ 2 h 156"/>
                  <a:gd name="T4" fmla="*/ 36 w 158"/>
                  <a:gd name="T5" fmla="*/ 4 h 156"/>
                  <a:gd name="T6" fmla="*/ 44 w 158"/>
                  <a:gd name="T7" fmla="*/ 16 h 156"/>
                  <a:gd name="T8" fmla="*/ 56 w 158"/>
                  <a:gd name="T9" fmla="*/ 24 h 156"/>
                  <a:gd name="T10" fmla="*/ 66 w 158"/>
                  <a:gd name="T11" fmla="*/ 32 h 156"/>
                  <a:gd name="T12" fmla="*/ 78 w 158"/>
                  <a:gd name="T13" fmla="*/ 44 h 156"/>
                  <a:gd name="T14" fmla="*/ 88 w 158"/>
                  <a:gd name="T15" fmla="*/ 48 h 156"/>
                  <a:gd name="T16" fmla="*/ 100 w 158"/>
                  <a:gd name="T17" fmla="*/ 56 h 156"/>
                  <a:gd name="T18" fmla="*/ 112 w 158"/>
                  <a:gd name="T19" fmla="*/ 70 h 156"/>
                  <a:gd name="T20" fmla="*/ 122 w 158"/>
                  <a:gd name="T21" fmla="*/ 74 h 156"/>
                  <a:gd name="T22" fmla="*/ 122 w 158"/>
                  <a:gd name="T23" fmla="*/ 86 h 156"/>
                  <a:gd name="T24" fmla="*/ 124 w 158"/>
                  <a:gd name="T25" fmla="*/ 90 h 156"/>
                  <a:gd name="T26" fmla="*/ 132 w 158"/>
                  <a:gd name="T27" fmla="*/ 92 h 156"/>
                  <a:gd name="T28" fmla="*/ 140 w 158"/>
                  <a:gd name="T29" fmla="*/ 104 h 156"/>
                  <a:gd name="T30" fmla="*/ 140 w 158"/>
                  <a:gd name="T31" fmla="*/ 110 h 156"/>
                  <a:gd name="T32" fmla="*/ 138 w 158"/>
                  <a:gd name="T33" fmla="*/ 116 h 156"/>
                  <a:gd name="T34" fmla="*/ 146 w 158"/>
                  <a:gd name="T35" fmla="*/ 110 h 156"/>
                  <a:gd name="T36" fmla="*/ 158 w 158"/>
                  <a:gd name="T37" fmla="*/ 116 h 156"/>
                  <a:gd name="T38" fmla="*/ 158 w 158"/>
                  <a:gd name="T39" fmla="*/ 138 h 156"/>
                  <a:gd name="T40" fmla="*/ 156 w 158"/>
                  <a:gd name="T41" fmla="*/ 156 h 156"/>
                  <a:gd name="T42" fmla="*/ 146 w 158"/>
                  <a:gd name="T43" fmla="*/ 156 h 156"/>
                  <a:gd name="T44" fmla="*/ 140 w 158"/>
                  <a:gd name="T45" fmla="*/ 156 h 156"/>
                  <a:gd name="T46" fmla="*/ 130 w 158"/>
                  <a:gd name="T47" fmla="*/ 156 h 156"/>
                  <a:gd name="T48" fmla="*/ 88 w 158"/>
                  <a:gd name="T49" fmla="*/ 114 h 156"/>
                  <a:gd name="T50" fmla="*/ 82 w 158"/>
                  <a:gd name="T51" fmla="*/ 106 h 156"/>
                  <a:gd name="T52" fmla="*/ 80 w 158"/>
                  <a:gd name="T53" fmla="*/ 94 h 156"/>
                  <a:gd name="T54" fmla="*/ 60 w 158"/>
                  <a:gd name="T55" fmla="*/ 72 h 156"/>
                  <a:gd name="T56" fmla="*/ 56 w 158"/>
                  <a:gd name="T57" fmla="*/ 62 h 156"/>
                  <a:gd name="T58" fmla="*/ 56 w 158"/>
                  <a:gd name="T59" fmla="*/ 56 h 156"/>
                  <a:gd name="T60" fmla="*/ 42 w 158"/>
                  <a:gd name="T61" fmla="*/ 44 h 156"/>
                  <a:gd name="T62" fmla="*/ 36 w 158"/>
                  <a:gd name="T63" fmla="*/ 44 h 156"/>
                  <a:gd name="T64" fmla="*/ 36 w 158"/>
                  <a:gd name="T65" fmla="*/ 38 h 156"/>
                  <a:gd name="T66" fmla="*/ 20 w 158"/>
                  <a:gd name="T67" fmla="*/ 20 h 156"/>
                  <a:gd name="T68" fmla="*/ 4 w 158"/>
                  <a:gd name="T69" fmla="*/ 8 h 156"/>
                  <a:gd name="T70" fmla="*/ 0 w 158"/>
                  <a:gd name="T7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6">
                    <a:moveTo>
                      <a:pt x="0" y="0"/>
                    </a:moveTo>
                    <a:lnTo>
                      <a:pt x="20" y="2"/>
                    </a:lnTo>
                    <a:lnTo>
                      <a:pt x="36" y="4"/>
                    </a:lnTo>
                    <a:lnTo>
                      <a:pt x="44" y="16"/>
                    </a:lnTo>
                    <a:lnTo>
                      <a:pt x="56" y="24"/>
                    </a:lnTo>
                    <a:lnTo>
                      <a:pt x="66" y="32"/>
                    </a:lnTo>
                    <a:lnTo>
                      <a:pt x="78" y="44"/>
                    </a:lnTo>
                    <a:lnTo>
                      <a:pt x="88" y="48"/>
                    </a:lnTo>
                    <a:lnTo>
                      <a:pt x="100" y="56"/>
                    </a:lnTo>
                    <a:lnTo>
                      <a:pt x="112" y="70"/>
                    </a:lnTo>
                    <a:lnTo>
                      <a:pt x="122" y="74"/>
                    </a:lnTo>
                    <a:lnTo>
                      <a:pt x="122" y="86"/>
                    </a:lnTo>
                    <a:lnTo>
                      <a:pt x="124" y="90"/>
                    </a:lnTo>
                    <a:lnTo>
                      <a:pt x="132" y="92"/>
                    </a:lnTo>
                    <a:lnTo>
                      <a:pt x="140" y="104"/>
                    </a:lnTo>
                    <a:lnTo>
                      <a:pt x="140" y="110"/>
                    </a:lnTo>
                    <a:lnTo>
                      <a:pt x="138" y="116"/>
                    </a:lnTo>
                    <a:lnTo>
                      <a:pt x="146" y="110"/>
                    </a:lnTo>
                    <a:lnTo>
                      <a:pt x="158" y="116"/>
                    </a:lnTo>
                    <a:lnTo>
                      <a:pt x="158" y="138"/>
                    </a:lnTo>
                    <a:lnTo>
                      <a:pt x="156" y="156"/>
                    </a:lnTo>
                    <a:lnTo>
                      <a:pt x="146" y="156"/>
                    </a:lnTo>
                    <a:lnTo>
                      <a:pt x="140" y="156"/>
                    </a:lnTo>
                    <a:lnTo>
                      <a:pt x="130" y="156"/>
                    </a:lnTo>
                    <a:lnTo>
                      <a:pt x="88" y="114"/>
                    </a:lnTo>
                    <a:lnTo>
                      <a:pt x="82" y="106"/>
                    </a:lnTo>
                    <a:lnTo>
                      <a:pt x="80" y="94"/>
                    </a:lnTo>
                    <a:lnTo>
                      <a:pt x="60" y="72"/>
                    </a:lnTo>
                    <a:lnTo>
                      <a:pt x="56" y="62"/>
                    </a:lnTo>
                    <a:lnTo>
                      <a:pt x="56" y="56"/>
                    </a:lnTo>
                    <a:lnTo>
                      <a:pt x="42" y="44"/>
                    </a:lnTo>
                    <a:lnTo>
                      <a:pt x="36" y="44"/>
                    </a:lnTo>
                    <a:lnTo>
                      <a:pt x="36" y="38"/>
                    </a:lnTo>
                    <a:lnTo>
                      <a:pt x="20" y="20"/>
                    </a:lnTo>
                    <a:lnTo>
                      <a:pt x="4"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1" name="Freeform 934"/>
              <p:cNvSpPr>
                <a:spLocks/>
              </p:cNvSpPr>
              <p:nvPr/>
            </p:nvSpPr>
            <p:spPr bwMode="auto">
              <a:xfrm>
                <a:off x="4205" y="2445"/>
                <a:ext cx="164" cy="164"/>
              </a:xfrm>
              <a:custGeom>
                <a:avLst/>
                <a:gdLst>
                  <a:gd name="T0" fmla="*/ 2 w 164"/>
                  <a:gd name="T1" fmla="*/ 0 h 164"/>
                  <a:gd name="T2" fmla="*/ 0 w 164"/>
                  <a:gd name="T3" fmla="*/ 2 h 164"/>
                  <a:gd name="T4" fmla="*/ 2 w 164"/>
                  <a:gd name="T5" fmla="*/ 14 h 164"/>
                  <a:gd name="T6" fmla="*/ 4 w 164"/>
                  <a:gd name="T7" fmla="*/ 16 h 164"/>
                  <a:gd name="T8" fmla="*/ 34 w 164"/>
                  <a:gd name="T9" fmla="*/ 42 h 164"/>
                  <a:gd name="T10" fmla="*/ 34 w 164"/>
                  <a:gd name="T11" fmla="*/ 48 h 164"/>
                  <a:gd name="T12" fmla="*/ 38 w 164"/>
                  <a:gd name="T13" fmla="*/ 52 h 164"/>
                  <a:gd name="T14" fmla="*/ 54 w 164"/>
                  <a:gd name="T15" fmla="*/ 60 h 164"/>
                  <a:gd name="T16" fmla="*/ 54 w 164"/>
                  <a:gd name="T17" fmla="*/ 66 h 164"/>
                  <a:gd name="T18" fmla="*/ 58 w 164"/>
                  <a:gd name="T19" fmla="*/ 76 h 164"/>
                  <a:gd name="T20" fmla="*/ 58 w 164"/>
                  <a:gd name="T21" fmla="*/ 78 h 164"/>
                  <a:gd name="T22" fmla="*/ 82 w 164"/>
                  <a:gd name="T23" fmla="*/ 112 h 164"/>
                  <a:gd name="T24" fmla="*/ 82 w 164"/>
                  <a:gd name="T25" fmla="*/ 114 h 164"/>
                  <a:gd name="T26" fmla="*/ 88 w 164"/>
                  <a:gd name="T27" fmla="*/ 120 h 164"/>
                  <a:gd name="T28" fmla="*/ 130 w 164"/>
                  <a:gd name="T29" fmla="*/ 162 h 164"/>
                  <a:gd name="T30" fmla="*/ 132 w 164"/>
                  <a:gd name="T31" fmla="*/ 162 h 164"/>
                  <a:gd name="T32" fmla="*/ 140 w 164"/>
                  <a:gd name="T33" fmla="*/ 164 h 164"/>
                  <a:gd name="T34" fmla="*/ 142 w 164"/>
                  <a:gd name="T35" fmla="*/ 164 h 164"/>
                  <a:gd name="T36" fmla="*/ 148 w 164"/>
                  <a:gd name="T37" fmla="*/ 164 h 164"/>
                  <a:gd name="T38" fmla="*/ 156 w 164"/>
                  <a:gd name="T39" fmla="*/ 164 h 164"/>
                  <a:gd name="T40" fmla="*/ 158 w 164"/>
                  <a:gd name="T41" fmla="*/ 164 h 164"/>
                  <a:gd name="T42" fmla="*/ 160 w 164"/>
                  <a:gd name="T43" fmla="*/ 164 h 164"/>
                  <a:gd name="T44" fmla="*/ 164 w 164"/>
                  <a:gd name="T45" fmla="*/ 144 h 164"/>
                  <a:gd name="T46" fmla="*/ 164 w 164"/>
                  <a:gd name="T47" fmla="*/ 142 h 164"/>
                  <a:gd name="T48" fmla="*/ 164 w 164"/>
                  <a:gd name="T49" fmla="*/ 120 h 164"/>
                  <a:gd name="T50" fmla="*/ 162 w 164"/>
                  <a:gd name="T51" fmla="*/ 116 h 164"/>
                  <a:gd name="T52" fmla="*/ 150 w 164"/>
                  <a:gd name="T53" fmla="*/ 110 h 164"/>
                  <a:gd name="T54" fmla="*/ 148 w 164"/>
                  <a:gd name="T55" fmla="*/ 110 h 164"/>
                  <a:gd name="T56" fmla="*/ 146 w 164"/>
                  <a:gd name="T57" fmla="*/ 112 h 164"/>
                  <a:gd name="T58" fmla="*/ 146 w 164"/>
                  <a:gd name="T59" fmla="*/ 108 h 164"/>
                  <a:gd name="T60" fmla="*/ 138 w 164"/>
                  <a:gd name="T61" fmla="*/ 94 h 164"/>
                  <a:gd name="T62" fmla="*/ 134 w 164"/>
                  <a:gd name="T63" fmla="*/ 92 h 164"/>
                  <a:gd name="T64" fmla="*/ 128 w 164"/>
                  <a:gd name="T65" fmla="*/ 88 h 164"/>
                  <a:gd name="T66" fmla="*/ 128 w 164"/>
                  <a:gd name="T67" fmla="*/ 78 h 164"/>
                  <a:gd name="T68" fmla="*/ 126 w 164"/>
                  <a:gd name="T69" fmla="*/ 76 h 164"/>
                  <a:gd name="T70" fmla="*/ 104 w 164"/>
                  <a:gd name="T71" fmla="*/ 58 h 164"/>
                  <a:gd name="T72" fmla="*/ 92 w 164"/>
                  <a:gd name="T73" fmla="*/ 48 h 164"/>
                  <a:gd name="T74" fmla="*/ 82 w 164"/>
                  <a:gd name="T75" fmla="*/ 44 h 164"/>
                  <a:gd name="T76" fmla="*/ 72 w 164"/>
                  <a:gd name="T77" fmla="*/ 34 h 164"/>
                  <a:gd name="T78" fmla="*/ 60 w 164"/>
                  <a:gd name="T79" fmla="*/ 26 h 164"/>
                  <a:gd name="T80" fmla="*/ 40 w 164"/>
                  <a:gd name="T81" fmla="*/ 4 h 164"/>
                  <a:gd name="T82" fmla="*/ 38 w 164"/>
                  <a:gd name="T83" fmla="*/ 4 h 164"/>
                  <a:gd name="T84" fmla="*/ 4 w 164"/>
                  <a:gd name="T85" fmla="*/ 0 h 164"/>
                  <a:gd name="T86" fmla="*/ 2 w 164"/>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4">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2" name="Freeform 935"/>
              <p:cNvSpPr>
                <a:spLocks/>
              </p:cNvSpPr>
              <p:nvPr/>
            </p:nvSpPr>
            <p:spPr bwMode="auto">
              <a:xfrm>
                <a:off x="4385" y="2559"/>
                <a:ext cx="16" cy="16"/>
              </a:xfrm>
              <a:custGeom>
                <a:avLst/>
                <a:gdLst>
                  <a:gd name="T0" fmla="*/ 6 w 16"/>
                  <a:gd name="T1" fmla="*/ 16 h 16"/>
                  <a:gd name="T2" fmla="*/ 6 w 16"/>
                  <a:gd name="T3" fmla="*/ 16 h 16"/>
                  <a:gd name="T4" fmla="*/ 4 w 16"/>
                  <a:gd name="T5" fmla="*/ 14 h 16"/>
                  <a:gd name="T6" fmla="*/ 0 w 16"/>
                  <a:gd name="T7" fmla="*/ 8 h 16"/>
                  <a:gd name="T8" fmla="*/ 0 w 16"/>
                  <a:gd name="T9" fmla="*/ 8 h 16"/>
                  <a:gd name="T10" fmla="*/ 0 w 16"/>
                  <a:gd name="T11" fmla="*/ 6 h 16"/>
                  <a:gd name="T12" fmla="*/ 4 w 16"/>
                  <a:gd name="T13" fmla="*/ 0 h 16"/>
                  <a:gd name="T14" fmla="*/ 4 w 16"/>
                  <a:gd name="T15" fmla="*/ 0 h 16"/>
                  <a:gd name="T16" fmla="*/ 6 w 16"/>
                  <a:gd name="T17" fmla="*/ 0 h 16"/>
                  <a:gd name="T18" fmla="*/ 6 w 16"/>
                  <a:gd name="T19" fmla="*/ 0 h 16"/>
                  <a:gd name="T20" fmla="*/ 6 w 16"/>
                  <a:gd name="T21" fmla="*/ 0 h 16"/>
                  <a:gd name="T22" fmla="*/ 14 w 16"/>
                  <a:gd name="T23" fmla="*/ 4 h 16"/>
                  <a:gd name="T24" fmla="*/ 14 w 16"/>
                  <a:gd name="T25" fmla="*/ 4 h 16"/>
                  <a:gd name="T26" fmla="*/ 16 w 16"/>
                  <a:gd name="T27" fmla="*/ 6 h 16"/>
                  <a:gd name="T28" fmla="*/ 14 w 16"/>
                  <a:gd name="T29" fmla="*/ 12 h 16"/>
                  <a:gd name="T30" fmla="*/ 14 w 16"/>
                  <a:gd name="T31" fmla="*/ 12 h 16"/>
                  <a:gd name="T32" fmla="*/ 12 w 16"/>
                  <a:gd name="T33" fmla="*/ 14 h 16"/>
                  <a:gd name="T34" fmla="*/ 6 w 16"/>
                  <a:gd name="T35" fmla="*/ 16 h 16"/>
                  <a:gd name="T36" fmla="*/ 6 w 16"/>
                  <a:gd name="T37" fmla="*/ 16 h 16"/>
                  <a:gd name="T38" fmla="*/ 6 w 16"/>
                  <a:gd name="T39" fmla="*/ 16 h 16"/>
                  <a:gd name="T40" fmla="*/ 6 w 16"/>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6">
                    <a:moveTo>
                      <a:pt x="6" y="16"/>
                    </a:moveTo>
                    <a:lnTo>
                      <a:pt x="6" y="16"/>
                    </a:lnTo>
                    <a:lnTo>
                      <a:pt x="4" y="14"/>
                    </a:lnTo>
                    <a:lnTo>
                      <a:pt x="0" y="8"/>
                    </a:lnTo>
                    <a:lnTo>
                      <a:pt x="0" y="8"/>
                    </a:lnTo>
                    <a:lnTo>
                      <a:pt x="0" y="6"/>
                    </a:lnTo>
                    <a:lnTo>
                      <a:pt x="4" y="0"/>
                    </a:lnTo>
                    <a:lnTo>
                      <a:pt x="4" y="0"/>
                    </a:lnTo>
                    <a:lnTo>
                      <a:pt x="6" y="0"/>
                    </a:lnTo>
                    <a:lnTo>
                      <a:pt x="6" y="0"/>
                    </a:lnTo>
                    <a:lnTo>
                      <a:pt x="6" y="0"/>
                    </a:lnTo>
                    <a:lnTo>
                      <a:pt x="14" y="4"/>
                    </a:lnTo>
                    <a:lnTo>
                      <a:pt x="14" y="4"/>
                    </a:lnTo>
                    <a:lnTo>
                      <a:pt x="16" y="6"/>
                    </a:lnTo>
                    <a:lnTo>
                      <a:pt x="14" y="12"/>
                    </a:lnTo>
                    <a:lnTo>
                      <a:pt x="14" y="12"/>
                    </a:lnTo>
                    <a:lnTo>
                      <a:pt x="12" y="14"/>
                    </a:lnTo>
                    <a:lnTo>
                      <a:pt x="6" y="16"/>
                    </a:lnTo>
                    <a:lnTo>
                      <a:pt x="6"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3" name="Freeform 936"/>
              <p:cNvSpPr>
                <a:spLocks noEditPoints="1"/>
              </p:cNvSpPr>
              <p:nvPr/>
            </p:nvSpPr>
            <p:spPr bwMode="auto">
              <a:xfrm>
                <a:off x="4383" y="2557"/>
                <a:ext cx="20" cy="20"/>
              </a:xfrm>
              <a:custGeom>
                <a:avLst/>
                <a:gdLst>
                  <a:gd name="T0" fmla="*/ 8 w 20"/>
                  <a:gd name="T1" fmla="*/ 4 h 20"/>
                  <a:gd name="T2" fmla="*/ 16 w 20"/>
                  <a:gd name="T3" fmla="*/ 8 h 20"/>
                  <a:gd name="T4" fmla="*/ 14 w 20"/>
                  <a:gd name="T5" fmla="*/ 14 h 20"/>
                  <a:gd name="T6" fmla="*/ 8 w 20"/>
                  <a:gd name="T7" fmla="*/ 16 h 20"/>
                  <a:gd name="T8" fmla="*/ 4 w 20"/>
                  <a:gd name="T9" fmla="*/ 8 h 20"/>
                  <a:gd name="T10" fmla="*/ 8 w 20"/>
                  <a:gd name="T11" fmla="*/ 4 h 20"/>
                  <a:gd name="T12" fmla="*/ 8 w 20"/>
                  <a:gd name="T13" fmla="*/ 0 h 20"/>
                  <a:gd name="T14" fmla="*/ 8 w 20"/>
                  <a:gd name="T15" fmla="*/ 0 h 20"/>
                  <a:gd name="T16" fmla="*/ 6 w 20"/>
                  <a:gd name="T17" fmla="*/ 2 h 20"/>
                  <a:gd name="T18" fmla="*/ 0 w 20"/>
                  <a:gd name="T19" fmla="*/ 6 h 20"/>
                  <a:gd name="T20" fmla="*/ 0 w 20"/>
                  <a:gd name="T21" fmla="*/ 6 h 20"/>
                  <a:gd name="T22" fmla="*/ 0 w 20"/>
                  <a:gd name="T23" fmla="*/ 8 h 20"/>
                  <a:gd name="T24" fmla="*/ 0 w 20"/>
                  <a:gd name="T25" fmla="*/ 10 h 20"/>
                  <a:gd name="T26" fmla="*/ 4 w 20"/>
                  <a:gd name="T27" fmla="*/ 18 h 20"/>
                  <a:gd name="T28" fmla="*/ 4 w 20"/>
                  <a:gd name="T29" fmla="*/ 18 h 20"/>
                  <a:gd name="T30" fmla="*/ 8 w 20"/>
                  <a:gd name="T31" fmla="*/ 20 h 20"/>
                  <a:gd name="T32" fmla="*/ 8 w 20"/>
                  <a:gd name="T33" fmla="*/ 20 h 20"/>
                  <a:gd name="T34" fmla="*/ 10 w 20"/>
                  <a:gd name="T35" fmla="*/ 18 h 20"/>
                  <a:gd name="T36" fmla="*/ 14 w 20"/>
                  <a:gd name="T37" fmla="*/ 18 h 20"/>
                  <a:gd name="T38" fmla="*/ 14 w 20"/>
                  <a:gd name="T39" fmla="*/ 18 h 20"/>
                  <a:gd name="T40" fmla="*/ 18 w 20"/>
                  <a:gd name="T41" fmla="*/ 14 h 20"/>
                  <a:gd name="T42" fmla="*/ 20 w 20"/>
                  <a:gd name="T43" fmla="*/ 8 h 20"/>
                  <a:gd name="T44" fmla="*/ 20 w 20"/>
                  <a:gd name="T45" fmla="*/ 8 h 20"/>
                  <a:gd name="T46" fmla="*/ 18 w 20"/>
                  <a:gd name="T47" fmla="*/ 6 h 20"/>
                  <a:gd name="T48" fmla="*/ 16 w 20"/>
                  <a:gd name="T49" fmla="*/ 4 h 20"/>
                  <a:gd name="T50" fmla="*/ 10 w 20"/>
                  <a:gd name="T51" fmla="*/ 0 h 20"/>
                  <a:gd name="T52" fmla="*/ 10 w 20"/>
                  <a:gd name="T53" fmla="*/ 0 h 20"/>
                  <a:gd name="T54" fmla="*/ 8 w 20"/>
                  <a:gd name="T55" fmla="*/ 0 h 20"/>
                  <a:gd name="T56" fmla="*/ 8 w 2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6" y="8"/>
                    </a:lnTo>
                    <a:lnTo>
                      <a:pt x="14" y="14"/>
                    </a:lnTo>
                    <a:lnTo>
                      <a:pt x="8" y="16"/>
                    </a:lnTo>
                    <a:lnTo>
                      <a:pt x="4" y="8"/>
                    </a:lnTo>
                    <a:lnTo>
                      <a:pt x="8" y="4"/>
                    </a:lnTo>
                    <a:close/>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4" name="Freeform 937"/>
              <p:cNvSpPr>
                <a:spLocks/>
              </p:cNvSpPr>
              <p:nvPr/>
            </p:nvSpPr>
            <p:spPr bwMode="auto">
              <a:xfrm>
                <a:off x="4387" y="2561"/>
                <a:ext cx="12" cy="12"/>
              </a:xfrm>
              <a:custGeom>
                <a:avLst/>
                <a:gdLst>
                  <a:gd name="T0" fmla="*/ 4 w 12"/>
                  <a:gd name="T1" fmla="*/ 0 h 12"/>
                  <a:gd name="T2" fmla="*/ 12 w 12"/>
                  <a:gd name="T3" fmla="*/ 4 h 12"/>
                  <a:gd name="T4" fmla="*/ 10 w 12"/>
                  <a:gd name="T5" fmla="*/ 10 h 12"/>
                  <a:gd name="T6" fmla="*/ 4 w 12"/>
                  <a:gd name="T7" fmla="*/ 12 h 12"/>
                  <a:gd name="T8" fmla="*/ 0 w 12"/>
                  <a:gd name="T9" fmla="*/ 4 h 12"/>
                  <a:gd name="T10" fmla="*/ 4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4" y="0"/>
                    </a:moveTo>
                    <a:lnTo>
                      <a:pt x="12" y="4"/>
                    </a:lnTo>
                    <a:lnTo>
                      <a:pt x="10" y="10"/>
                    </a:lnTo>
                    <a:lnTo>
                      <a:pt x="4"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5" name="Freeform 938"/>
              <p:cNvSpPr>
                <a:spLocks/>
              </p:cNvSpPr>
              <p:nvPr/>
            </p:nvSpPr>
            <p:spPr bwMode="auto">
              <a:xfrm>
                <a:off x="4383" y="2557"/>
                <a:ext cx="20" cy="20"/>
              </a:xfrm>
              <a:custGeom>
                <a:avLst/>
                <a:gdLst>
                  <a:gd name="T0" fmla="*/ 8 w 20"/>
                  <a:gd name="T1" fmla="*/ 0 h 20"/>
                  <a:gd name="T2" fmla="*/ 8 w 20"/>
                  <a:gd name="T3" fmla="*/ 0 h 20"/>
                  <a:gd name="T4" fmla="*/ 6 w 20"/>
                  <a:gd name="T5" fmla="*/ 2 h 20"/>
                  <a:gd name="T6" fmla="*/ 0 w 20"/>
                  <a:gd name="T7" fmla="*/ 6 h 20"/>
                  <a:gd name="T8" fmla="*/ 0 w 20"/>
                  <a:gd name="T9" fmla="*/ 6 h 20"/>
                  <a:gd name="T10" fmla="*/ 0 w 20"/>
                  <a:gd name="T11" fmla="*/ 8 h 20"/>
                  <a:gd name="T12" fmla="*/ 0 w 20"/>
                  <a:gd name="T13" fmla="*/ 10 h 20"/>
                  <a:gd name="T14" fmla="*/ 4 w 20"/>
                  <a:gd name="T15" fmla="*/ 18 h 20"/>
                  <a:gd name="T16" fmla="*/ 4 w 20"/>
                  <a:gd name="T17" fmla="*/ 18 h 20"/>
                  <a:gd name="T18" fmla="*/ 8 w 20"/>
                  <a:gd name="T19" fmla="*/ 20 h 20"/>
                  <a:gd name="T20" fmla="*/ 8 w 20"/>
                  <a:gd name="T21" fmla="*/ 20 h 20"/>
                  <a:gd name="T22" fmla="*/ 10 w 20"/>
                  <a:gd name="T23" fmla="*/ 18 h 20"/>
                  <a:gd name="T24" fmla="*/ 14 w 20"/>
                  <a:gd name="T25" fmla="*/ 18 h 20"/>
                  <a:gd name="T26" fmla="*/ 14 w 20"/>
                  <a:gd name="T27" fmla="*/ 18 h 20"/>
                  <a:gd name="T28" fmla="*/ 18 w 20"/>
                  <a:gd name="T29" fmla="*/ 14 h 20"/>
                  <a:gd name="T30" fmla="*/ 20 w 20"/>
                  <a:gd name="T31" fmla="*/ 8 h 20"/>
                  <a:gd name="T32" fmla="*/ 20 w 20"/>
                  <a:gd name="T33" fmla="*/ 8 h 20"/>
                  <a:gd name="T34" fmla="*/ 18 w 20"/>
                  <a:gd name="T35" fmla="*/ 6 h 20"/>
                  <a:gd name="T36" fmla="*/ 16 w 20"/>
                  <a:gd name="T37" fmla="*/ 4 h 20"/>
                  <a:gd name="T38" fmla="*/ 10 w 20"/>
                  <a:gd name="T39" fmla="*/ 0 h 20"/>
                  <a:gd name="T40" fmla="*/ 10 w 20"/>
                  <a:gd name="T41" fmla="*/ 0 h 20"/>
                  <a:gd name="T42" fmla="*/ 8 w 20"/>
                  <a:gd name="T43" fmla="*/ 0 h 20"/>
                  <a:gd name="T44" fmla="*/ 8 w 20"/>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0">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6" name="Freeform 939"/>
              <p:cNvSpPr>
                <a:spLocks/>
              </p:cNvSpPr>
              <p:nvPr/>
            </p:nvSpPr>
            <p:spPr bwMode="auto">
              <a:xfrm>
                <a:off x="4351" y="2543"/>
                <a:ext cx="26" cy="32"/>
              </a:xfrm>
              <a:custGeom>
                <a:avLst/>
                <a:gdLst>
                  <a:gd name="T0" fmla="*/ 20 w 26"/>
                  <a:gd name="T1" fmla="*/ 32 h 32"/>
                  <a:gd name="T2" fmla="*/ 20 w 26"/>
                  <a:gd name="T3" fmla="*/ 32 h 32"/>
                  <a:gd name="T4" fmla="*/ 18 w 26"/>
                  <a:gd name="T5" fmla="*/ 30 h 32"/>
                  <a:gd name="T6" fmla="*/ 14 w 26"/>
                  <a:gd name="T7" fmla="*/ 26 h 32"/>
                  <a:gd name="T8" fmla="*/ 14 w 26"/>
                  <a:gd name="T9" fmla="*/ 26 h 32"/>
                  <a:gd name="T10" fmla="*/ 12 w 26"/>
                  <a:gd name="T11" fmla="*/ 26 h 32"/>
                  <a:gd name="T12" fmla="*/ 10 w 26"/>
                  <a:gd name="T13" fmla="*/ 18 h 32"/>
                  <a:gd name="T14" fmla="*/ 6 w 26"/>
                  <a:gd name="T15" fmla="*/ 12 h 32"/>
                  <a:gd name="T16" fmla="*/ 2 w 26"/>
                  <a:gd name="T17" fmla="*/ 10 h 32"/>
                  <a:gd name="T18" fmla="*/ 2 w 26"/>
                  <a:gd name="T19" fmla="*/ 10 h 32"/>
                  <a:gd name="T20" fmla="*/ 0 w 26"/>
                  <a:gd name="T21" fmla="*/ 10 h 32"/>
                  <a:gd name="T22" fmla="*/ 0 w 26"/>
                  <a:gd name="T23" fmla="*/ 2 h 32"/>
                  <a:gd name="T24" fmla="*/ 0 w 26"/>
                  <a:gd name="T25" fmla="*/ 2 h 32"/>
                  <a:gd name="T26" fmla="*/ 2 w 26"/>
                  <a:gd name="T27" fmla="*/ 0 h 32"/>
                  <a:gd name="T28" fmla="*/ 12 w 26"/>
                  <a:gd name="T29" fmla="*/ 0 h 32"/>
                  <a:gd name="T30" fmla="*/ 12 w 26"/>
                  <a:gd name="T31" fmla="*/ 0 h 32"/>
                  <a:gd name="T32" fmla="*/ 14 w 26"/>
                  <a:gd name="T33" fmla="*/ 0 h 32"/>
                  <a:gd name="T34" fmla="*/ 16 w 26"/>
                  <a:gd name="T35" fmla="*/ 10 h 32"/>
                  <a:gd name="T36" fmla="*/ 20 w 26"/>
                  <a:gd name="T37" fmla="*/ 16 h 32"/>
                  <a:gd name="T38" fmla="*/ 24 w 26"/>
                  <a:gd name="T39" fmla="*/ 18 h 32"/>
                  <a:gd name="T40" fmla="*/ 24 w 26"/>
                  <a:gd name="T41" fmla="*/ 18 h 32"/>
                  <a:gd name="T42" fmla="*/ 24 w 26"/>
                  <a:gd name="T43" fmla="*/ 18 h 32"/>
                  <a:gd name="T44" fmla="*/ 26 w 26"/>
                  <a:gd name="T45" fmla="*/ 26 h 32"/>
                  <a:gd name="T46" fmla="*/ 26 w 26"/>
                  <a:gd name="T47" fmla="*/ 26 h 32"/>
                  <a:gd name="T48" fmla="*/ 26 w 26"/>
                  <a:gd name="T49" fmla="*/ 30 h 32"/>
                  <a:gd name="T50" fmla="*/ 20 w 26"/>
                  <a:gd name="T51" fmla="*/ 32 h 32"/>
                  <a:gd name="T52" fmla="*/ 20 w 26"/>
                  <a:gd name="T53" fmla="*/ 32 h 32"/>
                  <a:gd name="T54" fmla="*/ 20 w 26"/>
                  <a:gd name="T55" fmla="*/ 32 h 32"/>
                  <a:gd name="T56" fmla="*/ 20 w 26"/>
                  <a:gd name="T5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20" y="32"/>
                    </a:moveTo>
                    <a:lnTo>
                      <a:pt x="20" y="32"/>
                    </a:lnTo>
                    <a:lnTo>
                      <a:pt x="18" y="30"/>
                    </a:lnTo>
                    <a:lnTo>
                      <a:pt x="14" y="26"/>
                    </a:lnTo>
                    <a:lnTo>
                      <a:pt x="14" y="26"/>
                    </a:lnTo>
                    <a:lnTo>
                      <a:pt x="12" y="26"/>
                    </a:lnTo>
                    <a:lnTo>
                      <a:pt x="10" y="18"/>
                    </a:lnTo>
                    <a:lnTo>
                      <a:pt x="6" y="12"/>
                    </a:lnTo>
                    <a:lnTo>
                      <a:pt x="2" y="10"/>
                    </a:lnTo>
                    <a:lnTo>
                      <a:pt x="2" y="10"/>
                    </a:lnTo>
                    <a:lnTo>
                      <a:pt x="0" y="10"/>
                    </a:lnTo>
                    <a:lnTo>
                      <a:pt x="0" y="2"/>
                    </a:lnTo>
                    <a:lnTo>
                      <a:pt x="0" y="2"/>
                    </a:lnTo>
                    <a:lnTo>
                      <a:pt x="2" y="0"/>
                    </a:lnTo>
                    <a:lnTo>
                      <a:pt x="12" y="0"/>
                    </a:lnTo>
                    <a:lnTo>
                      <a:pt x="12" y="0"/>
                    </a:lnTo>
                    <a:lnTo>
                      <a:pt x="14" y="0"/>
                    </a:lnTo>
                    <a:lnTo>
                      <a:pt x="16" y="10"/>
                    </a:lnTo>
                    <a:lnTo>
                      <a:pt x="20" y="16"/>
                    </a:lnTo>
                    <a:lnTo>
                      <a:pt x="24" y="18"/>
                    </a:lnTo>
                    <a:lnTo>
                      <a:pt x="24" y="18"/>
                    </a:lnTo>
                    <a:lnTo>
                      <a:pt x="24" y="18"/>
                    </a:lnTo>
                    <a:lnTo>
                      <a:pt x="26" y="26"/>
                    </a:lnTo>
                    <a:lnTo>
                      <a:pt x="26" y="26"/>
                    </a:lnTo>
                    <a:lnTo>
                      <a:pt x="26" y="30"/>
                    </a:lnTo>
                    <a:lnTo>
                      <a:pt x="20" y="32"/>
                    </a:lnTo>
                    <a:lnTo>
                      <a:pt x="20" y="32"/>
                    </a:lnTo>
                    <a:lnTo>
                      <a:pt x="20" y="32"/>
                    </a:lnTo>
                    <a:lnTo>
                      <a:pt x="2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7" name="Freeform 940"/>
              <p:cNvSpPr>
                <a:spLocks noEditPoints="1"/>
              </p:cNvSpPr>
              <p:nvPr/>
            </p:nvSpPr>
            <p:spPr bwMode="auto">
              <a:xfrm>
                <a:off x="4349" y="2541"/>
                <a:ext cx="30" cy="36"/>
              </a:xfrm>
              <a:custGeom>
                <a:avLst/>
                <a:gdLst>
                  <a:gd name="T0" fmla="*/ 14 w 30"/>
                  <a:gd name="T1" fmla="*/ 4 h 36"/>
                  <a:gd name="T2" fmla="*/ 16 w 30"/>
                  <a:gd name="T3" fmla="*/ 14 h 36"/>
                  <a:gd name="T4" fmla="*/ 20 w 30"/>
                  <a:gd name="T5" fmla="*/ 20 h 36"/>
                  <a:gd name="T6" fmla="*/ 24 w 30"/>
                  <a:gd name="T7" fmla="*/ 22 h 36"/>
                  <a:gd name="T8" fmla="*/ 26 w 30"/>
                  <a:gd name="T9" fmla="*/ 30 h 36"/>
                  <a:gd name="T10" fmla="*/ 22 w 30"/>
                  <a:gd name="T11" fmla="*/ 32 h 36"/>
                  <a:gd name="T12" fmla="*/ 16 w 30"/>
                  <a:gd name="T13" fmla="*/ 28 h 36"/>
                  <a:gd name="T14" fmla="*/ 14 w 30"/>
                  <a:gd name="T15" fmla="*/ 20 h 36"/>
                  <a:gd name="T16" fmla="*/ 10 w 30"/>
                  <a:gd name="T17" fmla="*/ 14 h 36"/>
                  <a:gd name="T18" fmla="*/ 4 w 30"/>
                  <a:gd name="T19" fmla="*/ 12 h 36"/>
                  <a:gd name="T20" fmla="*/ 4 w 30"/>
                  <a:gd name="T21" fmla="*/ 4 h 36"/>
                  <a:gd name="T22" fmla="*/ 14 w 30"/>
                  <a:gd name="T23" fmla="*/ 4 h 36"/>
                  <a:gd name="T24" fmla="*/ 14 w 30"/>
                  <a:gd name="T25" fmla="*/ 0 h 36"/>
                  <a:gd name="T26" fmla="*/ 4 w 30"/>
                  <a:gd name="T27" fmla="*/ 0 h 36"/>
                  <a:gd name="T28" fmla="*/ 4 w 30"/>
                  <a:gd name="T29" fmla="*/ 0 h 36"/>
                  <a:gd name="T30" fmla="*/ 2 w 30"/>
                  <a:gd name="T31" fmla="*/ 0 h 36"/>
                  <a:gd name="T32" fmla="*/ 0 w 30"/>
                  <a:gd name="T33" fmla="*/ 4 h 36"/>
                  <a:gd name="T34" fmla="*/ 0 w 30"/>
                  <a:gd name="T35" fmla="*/ 12 h 36"/>
                  <a:gd name="T36" fmla="*/ 0 w 30"/>
                  <a:gd name="T37" fmla="*/ 12 h 36"/>
                  <a:gd name="T38" fmla="*/ 2 w 30"/>
                  <a:gd name="T39" fmla="*/ 14 h 36"/>
                  <a:gd name="T40" fmla="*/ 2 w 30"/>
                  <a:gd name="T41" fmla="*/ 14 h 36"/>
                  <a:gd name="T42" fmla="*/ 8 w 30"/>
                  <a:gd name="T43" fmla="*/ 16 h 36"/>
                  <a:gd name="T44" fmla="*/ 10 w 30"/>
                  <a:gd name="T45" fmla="*/ 20 h 36"/>
                  <a:gd name="T46" fmla="*/ 12 w 30"/>
                  <a:gd name="T47" fmla="*/ 28 h 36"/>
                  <a:gd name="T48" fmla="*/ 12 w 30"/>
                  <a:gd name="T49" fmla="*/ 28 h 36"/>
                  <a:gd name="T50" fmla="*/ 14 w 30"/>
                  <a:gd name="T51" fmla="*/ 30 h 36"/>
                  <a:gd name="T52" fmla="*/ 20 w 30"/>
                  <a:gd name="T53" fmla="*/ 34 h 36"/>
                  <a:gd name="T54" fmla="*/ 20 w 30"/>
                  <a:gd name="T55" fmla="*/ 34 h 36"/>
                  <a:gd name="T56" fmla="*/ 22 w 30"/>
                  <a:gd name="T57" fmla="*/ 36 h 36"/>
                  <a:gd name="T58" fmla="*/ 22 w 30"/>
                  <a:gd name="T59" fmla="*/ 36 h 36"/>
                  <a:gd name="T60" fmla="*/ 22 w 30"/>
                  <a:gd name="T61" fmla="*/ 34 h 36"/>
                  <a:gd name="T62" fmla="*/ 28 w 30"/>
                  <a:gd name="T63" fmla="*/ 32 h 36"/>
                  <a:gd name="T64" fmla="*/ 28 w 30"/>
                  <a:gd name="T65" fmla="*/ 32 h 36"/>
                  <a:gd name="T66" fmla="*/ 30 w 30"/>
                  <a:gd name="T67" fmla="*/ 32 h 36"/>
                  <a:gd name="T68" fmla="*/ 30 w 30"/>
                  <a:gd name="T69" fmla="*/ 28 h 36"/>
                  <a:gd name="T70" fmla="*/ 28 w 30"/>
                  <a:gd name="T71" fmla="*/ 20 h 36"/>
                  <a:gd name="T72" fmla="*/ 28 w 30"/>
                  <a:gd name="T73" fmla="*/ 20 h 36"/>
                  <a:gd name="T74" fmla="*/ 26 w 30"/>
                  <a:gd name="T75" fmla="*/ 18 h 36"/>
                  <a:gd name="T76" fmla="*/ 22 w 30"/>
                  <a:gd name="T77" fmla="*/ 16 h 36"/>
                  <a:gd name="T78" fmla="*/ 20 w 30"/>
                  <a:gd name="T79" fmla="*/ 12 h 36"/>
                  <a:gd name="T80" fmla="*/ 18 w 30"/>
                  <a:gd name="T81" fmla="*/ 2 h 36"/>
                  <a:gd name="T82" fmla="*/ 18 w 30"/>
                  <a:gd name="T83" fmla="*/ 2 h 36"/>
                  <a:gd name="T84" fmla="*/ 18 w 30"/>
                  <a:gd name="T85" fmla="*/ 0 h 36"/>
                  <a:gd name="T86" fmla="*/ 14 w 30"/>
                  <a:gd name="T87" fmla="*/ 0 h 36"/>
                  <a:gd name="T88" fmla="*/ 14 w 30"/>
                  <a:gd name="T8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36">
                    <a:moveTo>
                      <a:pt x="14" y="4"/>
                    </a:moveTo>
                    <a:lnTo>
                      <a:pt x="16" y="14"/>
                    </a:lnTo>
                    <a:lnTo>
                      <a:pt x="20" y="20"/>
                    </a:lnTo>
                    <a:lnTo>
                      <a:pt x="24" y="22"/>
                    </a:lnTo>
                    <a:lnTo>
                      <a:pt x="26" y="30"/>
                    </a:lnTo>
                    <a:lnTo>
                      <a:pt x="22" y="32"/>
                    </a:lnTo>
                    <a:lnTo>
                      <a:pt x="16" y="28"/>
                    </a:lnTo>
                    <a:lnTo>
                      <a:pt x="14" y="20"/>
                    </a:lnTo>
                    <a:lnTo>
                      <a:pt x="10" y="14"/>
                    </a:lnTo>
                    <a:lnTo>
                      <a:pt x="4" y="12"/>
                    </a:lnTo>
                    <a:lnTo>
                      <a:pt x="4" y="4"/>
                    </a:lnTo>
                    <a:lnTo>
                      <a:pt x="14" y="4"/>
                    </a:lnTo>
                    <a:close/>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8" name="Freeform 941"/>
              <p:cNvSpPr>
                <a:spLocks/>
              </p:cNvSpPr>
              <p:nvPr/>
            </p:nvSpPr>
            <p:spPr bwMode="auto">
              <a:xfrm>
                <a:off x="4353" y="2545"/>
                <a:ext cx="22" cy="28"/>
              </a:xfrm>
              <a:custGeom>
                <a:avLst/>
                <a:gdLst>
                  <a:gd name="T0" fmla="*/ 10 w 22"/>
                  <a:gd name="T1" fmla="*/ 0 h 28"/>
                  <a:gd name="T2" fmla="*/ 12 w 22"/>
                  <a:gd name="T3" fmla="*/ 10 h 28"/>
                  <a:gd name="T4" fmla="*/ 16 w 22"/>
                  <a:gd name="T5" fmla="*/ 16 h 28"/>
                  <a:gd name="T6" fmla="*/ 20 w 22"/>
                  <a:gd name="T7" fmla="*/ 18 h 28"/>
                  <a:gd name="T8" fmla="*/ 22 w 22"/>
                  <a:gd name="T9" fmla="*/ 26 h 28"/>
                  <a:gd name="T10" fmla="*/ 18 w 22"/>
                  <a:gd name="T11" fmla="*/ 28 h 28"/>
                  <a:gd name="T12" fmla="*/ 12 w 22"/>
                  <a:gd name="T13" fmla="*/ 24 h 28"/>
                  <a:gd name="T14" fmla="*/ 10 w 22"/>
                  <a:gd name="T15" fmla="*/ 16 h 28"/>
                  <a:gd name="T16" fmla="*/ 6 w 22"/>
                  <a:gd name="T17" fmla="*/ 10 h 28"/>
                  <a:gd name="T18" fmla="*/ 0 w 22"/>
                  <a:gd name="T19" fmla="*/ 8 h 28"/>
                  <a:gd name="T20" fmla="*/ 0 w 22"/>
                  <a:gd name="T21" fmla="*/ 0 h 28"/>
                  <a:gd name="T22" fmla="*/ 10 w 2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8">
                    <a:moveTo>
                      <a:pt x="10" y="0"/>
                    </a:moveTo>
                    <a:lnTo>
                      <a:pt x="12" y="10"/>
                    </a:lnTo>
                    <a:lnTo>
                      <a:pt x="16" y="16"/>
                    </a:lnTo>
                    <a:lnTo>
                      <a:pt x="20" y="18"/>
                    </a:lnTo>
                    <a:lnTo>
                      <a:pt x="22" y="26"/>
                    </a:lnTo>
                    <a:lnTo>
                      <a:pt x="18" y="28"/>
                    </a:lnTo>
                    <a:lnTo>
                      <a:pt x="12" y="24"/>
                    </a:lnTo>
                    <a:lnTo>
                      <a:pt x="10" y="16"/>
                    </a:lnTo>
                    <a:lnTo>
                      <a:pt x="6" y="10"/>
                    </a:lnTo>
                    <a:lnTo>
                      <a:pt x="0" y="8"/>
                    </a:lnTo>
                    <a:lnTo>
                      <a:pt x="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9" name="Freeform 942"/>
              <p:cNvSpPr>
                <a:spLocks/>
              </p:cNvSpPr>
              <p:nvPr/>
            </p:nvSpPr>
            <p:spPr bwMode="auto">
              <a:xfrm>
                <a:off x="4349" y="2541"/>
                <a:ext cx="30" cy="36"/>
              </a:xfrm>
              <a:custGeom>
                <a:avLst/>
                <a:gdLst>
                  <a:gd name="T0" fmla="*/ 14 w 30"/>
                  <a:gd name="T1" fmla="*/ 0 h 36"/>
                  <a:gd name="T2" fmla="*/ 4 w 30"/>
                  <a:gd name="T3" fmla="*/ 0 h 36"/>
                  <a:gd name="T4" fmla="*/ 4 w 30"/>
                  <a:gd name="T5" fmla="*/ 0 h 36"/>
                  <a:gd name="T6" fmla="*/ 2 w 30"/>
                  <a:gd name="T7" fmla="*/ 0 h 36"/>
                  <a:gd name="T8" fmla="*/ 0 w 30"/>
                  <a:gd name="T9" fmla="*/ 4 h 36"/>
                  <a:gd name="T10" fmla="*/ 0 w 30"/>
                  <a:gd name="T11" fmla="*/ 12 h 36"/>
                  <a:gd name="T12" fmla="*/ 0 w 30"/>
                  <a:gd name="T13" fmla="*/ 12 h 36"/>
                  <a:gd name="T14" fmla="*/ 2 w 30"/>
                  <a:gd name="T15" fmla="*/ 14 h 36"/>
                  <a:gd name="T16" fmla="*/ 2 w 30"/>
                  <a:gd name="T17" fmla="*/ 14 h 36"/>
                  <a:gd name="T18" fmla="*/ 8 w 30"/>
                  <a:gd name="T19" fmla="*/ 16 h 36"/>
                  <a:gd name="T20" fmla="*/ 10 w 30"/>
                  <a:gd name="T21" fmla="*/ 20 h 36"/>
                  <a:gd name="T22" fmla="*/ 12 w 30"/>
                  <a:gd name="T23" fmla="*/ 28 h 36"/>
                  <a:gd name="T24" fmla="*/ 12 w 30"/>
                  <a:gd name="T25" fmla="*/ 28 h 36"/>
                  <a:gd name="T26" fmla="*/ 14 w 30"/>
                  <a:gd name="T27" fmla="*/ 30 h 36"/>
                  <a:gd name="T28" fmla="*/ 20 w 30"/>
                  <a:gd name="T29" fmla="*/ 34 h 36"/>
                  <a:gd name="T30" fmla="*/ 20 w 30"/>
                  <a:gd name="T31" fmla="*/ 34 h 36"/>
                  <a:gd name="T32" fmla="*/ 22 w 30"/>
                  <a:gd name="T33" fmla="*/ 36 h 36"/>
                  <a:gd name="T34" fmla="*/ 22 w 30"/>
                  <a:gd name="T35" fmla="*/ 36 h 36"/>
                  <a:gd name="T36" fmla="*/ 22 w 30"/>
                  <a:gd name="T37" fmla="*/ 34 h 36"/>
                  <a:gd name="T38" fmla="*/ 28 w 30"/>
                  <a:gd name="T39" fmla="*/ 32 h 36"/>
                  <a:gd name="T40" fmla="*/ 28 w 30"/>
                  <a:gd name="T41" fmla="*/ 32 h 36"/>
                  <a:gd name="T42" fmla="*/ 30 w 30"/>
                  <a:gd name="T43" fmla="*/ 32 h 36"/>
                  <a:gd name="T44" fmla="*/ 30 w 30"/>
                  <a:gd name="T45" fmla="*/ 28 h 36"/>
                  <a:gd name="T46" fmla="*/ 28 w 30"/>
                  <a:gd name="T47" fmla="*/ 20 h 36"/>
                  <a:gd name="T48" fmla="*/ 28 w 30"/>
                  <a:gd name="T49" fmla="*/ 20 h 36"/>
                  <a:gd name="T50" fmla="*/ 26 w 30"/>
                  <a:gd name="T51" fmla="*/ 18 h 36"/>
                  <a:gd name="T52" fmla="*/ 22 w 30"/>
                  <a:gd name="T53" fmla="*/ 16 h 36"/>
                  <a:gd name="T54" fmla="*/ 20 w 30"/>
                  <a:gd name="T55" fmla="*/ 12 h 36"/>
                  <a:gd name="T56" fmla="*/ 18 w 30"/>
                  <a:gd name="T57" fmla="*/ 2 h 36"/>
                  <a:gd name="T58" fmla="*/ 18 w 30"/>
                  <a:gd name="T59" fmla="*/ 2 h 36"/>
                  <a:gd name="T60" fmla="*/ 18 w 30"/>
                  <a:gd name="T61" fmla="*/ 0 h 36"/>
                  <a:gd name="T62" fmla="*/ 14 w 30"/>
                  <a:gd name="T63" fmla="*/ 0 h 36"/>
                  <a:gd name="T64" fmla="*/ 14 w 30"/>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6">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0" name="Freeform 943"/>
              <p:cNvSpPr>
                <a:spLocks/>
              </p:cNvSpPr>
              <p:nvPr/>
            </p:nvSpPr>
            <p:spPr bwMode="auto">
              <a:xfrm>
                <a:off x="4357" y="2609"/>
                <a:ext cx="144" cy="44"/>
              </a:xfrm>
              <a:custGeom>
                <a:avLst/>
                <a:gdLst>
                  <a:gd name="T0" fmla="*/ 128 w 144"/>
                  <a:gd name="T1" fmla="*/ 44 h 44"/>
                  <a:gd name="T2" fmla="*/ 114 w 144"/>
                  <a:gd name="T3" fmla="*/ 40 h 44"/>
                  <a:gd name="T4" fmla="*/ 104 w 144"/>
                  <a:gd name="T5" fmla="*/ 38 h 44"/>
                  <a:gd name="T6" fmla="*/ 98 w 144"/>
                  <a:gd name="T7" fmla="*/ 38 h 44"/>
                  <a:gd name="T8" fmla="*/ 70 w 144"/>
                  <a:gd name="T9" fmla="*/ 36 h 44"/>
                  <a:gd name="T10" fmla="*/ 70 w 144"/>
                  <a:gd name="T11" fmla="*/ 36 h 44"/>
                  <a:gd name="T12" fmla="*/ 70 w 144"/>
                  <a:gd name="T13" fmla="*/ 36 h 44"/>
                  <a:gd name="T14" fmla="*/ 62 w 144"/>
                  <a:gd name="T15" fmla="*/ 30 h 44"/>
                  <a:gd name="T16" fmla="*/ 34 w 144"/>
                  <a:gd name="T17" fmla="*/ 30 h 44"/>
                  <a:gd name="T18" fmla="*/ 24 w 144"/>
                  <a:gd name="T19" fmla="*/ 26 h 44"/>
                  <a:gd name="T20" fmla="*/ 14 w 144"/>
                  <a:gd name="T21" fmla="*/ 22 h 44"/>
                  <a:gd name="T22" fmla="*/ 14 w 144"/>
                  <a:gd name="T23" fmla="*/ 22 h 44"/>
                  <a:gd name="T24" fmla="*/ 12 w 144"/>
                  <a:gd name="T25" fmla="*/ 22 h 44"/>
                  <a:gd name="T26" fmla="*/ 10 w 144"/>
                  <a:gd name="T27" fmla="*/ 18 h 44"/>
                  <a:gd name="T28" fmla="*/ 0 w 144"/>
                  <a:gd name="T29" fmla="*/ 14 h 44"/>
                  <a:gd name="T30" fmla="*/ 0 w 144"/>
                  <a:gd name="T31" fmla="*/ 14 h 44"/>
                  <a:gd name="T32" fmla="*/ 0 w 144"/>
                  <a:gd name="T33" fmla="*/ 12 h 44"/>
                  <a:gd name="T34" fmla="*/ 0 w 144"/>
                  <a:gd name="T35" fmla="*/ 12 h 44"/>
                  <a:gd name="T36" fmla="*/ 0 w 144"/>
                  <a:gd name="T37" fmla="*/ 10 h 44"/>
                  <a:gd name="T38" fmla="*/ 8 w 144"/>
                  <a:gd name="T39" fmla="*/ 2 h 44"/>
                  <a:gd name="T40" fmla="*/ 8 w 144"/>
                  <a:gd name="T41" fmla="*/ 2 h 44"/>
                  <a:gd name="T42" fmla="*/ 8 w 144"/>
                  <a:gd name="T43" fmla="*/ 2 h 44"/>
                  <a:gd name="T44" fmla="*/ 8 w 144"/>
                  <a:gd name="T45" fmla="*/ 2 h 44"/>
                  <a:gd name="T46" fmla="*/ 26 w 144"/>
                  <a:gd name="T47" fmla="*/ 0 h 44"/>
                  <a:gd name="T48" fmla="*/ 26 w 144"/>
                  <a:gd name="T49" fmla="*/ 0 h 44"/>
                  <a:gd name="T50" fmla="*/ 28 w 144"/>
                  <a:gd name="T51" fmla="*/ 0 h 44"/>
                  <a:gd name="T52" fmla="*/ 44 w 144"/>
                  <a:gd name="T53" fmla="*/ 10 h 44"/>
                  <a:gd name="T54" fmla="*/ 52 w 144"/>
                  <a:gd name="T55" fmla="*/ 14 h 44"/>
                  <a:gd name="T56" fmla="*/ 68 w 144"/>
                  <a:gd name="T57" fmla="*/ 12 h 44"/>
                  <a:gd name="T58" fmla="*/ 76 w 144"/>
                  <a:gd name="T59" fmla="*/ 10 h 44"/>
                  <a:gd name="T60" fmla="*/ 90 w 144"/>
                  <a:gd name="T61" fmla="*/ 10 h 44"/>
                  <a:gd name="T62" fmla="*/ 90 w 144"/>
                  <a:gd name="T63" fmla="*/ 10 h 44"/>
                  <a:gd name="T64" fmla="*/ 92 w 144"/>
                  <a:gd name="T65" fmla="*/ 10 h 44"/>
                  <a:gd name="T66" fmla="*/ 102 w 144"/>
                  <a:gd name="T67" fmla="*/ 16 h 44"/>
                  <a:gd name="T68" fmla="*/ 102 w 144"/>
                  <a:gd name="T69" fmla="*/ 16 h 44"/>
                  <a:gd name="T70" fmla="*/ 102 w 144"/>
                  <a:gd name="T71" fmla="*/ 18 h 44"/>
                  <a:gd name="T72" fmla="*/ 104 w 144"/>
                  <a:gd name="T73" fmla="*/ 22 h 44"/>
                  <a:gd name="T74" fmla="*/ 120 w 144"/>
                  <a:gd name="T75" fmla="*/ 24 h 44"/>
                  <a:gd name="T76" fmla="*/ 128 w 144"/>
                  <a:gd name="T77" fmla="*/ 24 h 44"/>
                  <a:gd name="T78" fmla="*/ 128 w 144"/>
                  <a:gd name="T79" fmla="*/ 24 h 44"/>
                  <a:gd name="T80" fmla="*/ 130 w 144"/>
                  <a:gd name="T81" fmla="*/ 24 h 44"/>
                  <a:gd name="T82" fmla="*/ 132 w 144"/>
                  <a:gd name="T83" fmla="*/ 30 h 44"/>
                  <a:gd name="T84" fmla="*/ 140 w 144"/>
                  <a:gd name="T85" fmla="*/ 32 h 44"/>
                  <a:gd name="T86" fmla="*/ 140 w 144"/>
                  <a:gd name="T87" fmla="*/ 32 h 44"/>
                  <a:gd name="T88" fmla="*/ 140 w 144"/>
                  <a:gd name="T89" fmla="*/ 34 h 44"/>
                  <a:gd name="T90" fmla="*/ 144 w 144"/>
                  <a:gd name="T91" fmla="*/ 38 h 44"/>
                  <a:gd name="T92" fmla="*/ 144 w 144"/>
                  <a:gd name="T93" fmla="*/ 38 h 44"/>
                  <a:gd name="T94" fmla="*/ 144 w 144"/>
                  <a:gd name="T95" fmla="*/ 40 h 44"/>
                  <a:gd name="T96" fmla="*/ 144 w 144"/>
                  <a:gd name="T97" fmla="*/ 40 h 44"/>
                  <a:gd name="T98" fmla="*/ 142 w 144"/>
                  <a:gd name="T99" fmla="*/ 42 h 44"/>
                  <a:gd name="T100" fmla="*/ 142 w 144"/>
                  <a:gd name="T101" fmla="*/ 42 h 44"/>
                  <a:gd name="T102" fmla="*/ 130 w 144"/>
                  <a:gd name="T103" fmla="*/ 44 h 44"/>
                  <a:gd name="T104" fmla="*/ 130 w 144"/>
                  <a:gd name="T105" fmla="*/ 44 h 44"/>
                  <a:gd name="T106" fmla="*/ 128 w 144"/>
                  <a:gd name="T107" fmla="*/ 44 h 44"/>
                  <a:gd name="T108" fmla="*/ 128 w 144"/>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44">
                    <a:moveTo>
                      <a:pt x="128" y="44"/>
                    </a:moveTo>
                    <a:lnTo>
                      <a:pt x="114" y="40"/>
                    </a:lnTo>
                    <a:lnTo>
                      <a:pt x="104" y="38"/>
                    </a:lnTo>
                    <a:lnTo>
                      <a:pt x="98" y="38"/>
                    </a:lnTo>
                    <a:lnTo>
                      <a:pt x="70" y="36"/>
                    </a:lnTo>
                    <a:lnTo>
                      <a:pt x="70" y="36"/>
                    </a:lnTo>
                    <a:lnTo>
                      <a:pt x="70" y="36"/>
                    </a:lnTo>
                    <a:lnTo>
                      <a:pt x="62" y="30"/>
                    </a:lnTo>
                    <a:lnTo>
                      <a:pt x="34" y="30"/>
                    </a:lnTo>
                    <a:lnTo>
                      <a:pt x="24" y="26"/>
                    </a:lnTo>
                    <a:lnTo>
                      <a:pt x="14" y="22"/>
                    </a:lnTo>
                    <a:lnTo>
                      <a:pt x="14" y="22"/>
                    </a:lnTo>
                    <a:lnTo>
                      <a:pt x="12" y="22"/>
                    </a:lnTo>
                    <a:lnTo>
                      <a:pt x="10" y="18"/>
                    </a:lnTo>
                    <a:lnTo>
                      <a:pt x="0" y="14"/>
                    </a:lnTo>
                    <a:lnTo>
                      <a:pt x="0" y="14"/>
                    </a:lnTo>
                    <a:lnTo>
                      <a:pt x="0" y="12"/>
                    </a:lnTo>
                    <a:lnTo>
                      <a:pt x="0" y="12"/>
                    </a:lnTo>
                    <a:lnTo>
                      <a:pt x="0" y="10"/>
                    </a:lnTo>
                    <a:lnTo>
                      <a:pt x="8" y="2"/>
                    </a:lnTo>
                    <a:lnTo>
                      <a:pt x="8" y="2"/>
                    </a:lnTo>
                    <a:lnTo>
                      <a:pt x="8" y="2"/>
                    </a:lnTo>
                    <a:lnTo>
                      <a:pt x="8" y="2"/>
                    </a:lnTo>
                    <a:lnTo>
                      <a:pt x="26" y="0"/>
                    </a:lnTo>
                    <a:lnTo>
                      <a:pt x="26" y="0"/>
                    </a:lnTo>
                    <a:lnTo>
                      <a:pt x="28" y="0"/>
                    </a:lnTo>
                    <a:lnTo>
                      <a:pt x="44" y="10"/>
                    </a:lnTo>
                    <a:lnTo>
                      <a:pt x="52" y="14"/>
                    </a:lnTo>
                    <a:lnTo>
                      <a:pt x="68" y="12"/>
                    </a:lnTo>
                    <a:lnTo>
                      <a:pt x="76" y="10"/>
                    </a:lnTo>
                    <a:lnTo>
                      <a:pt x="90" y="10"/>
                    </a:lnTo>
                    <a:lnTo>
                      <a:pt x="90" y="10"/>
                    </a:lnTo>
                    <a:lnTo>
                      <a:pt x="92" y="10"/>
                    </a:lnTo>
                    <a:lnTo>
                      <a:pt x="102" y="16"/>
                    </a:lnTo>
                    <a:lnTo>
                      <a:pt x="102" y="16"/>
                    </a:lnTo>
                    <a:lnTo>
                      <a:pt x="102" y="18"/>
                    </a:lnTo>
                    <a:lnTo>
                      <a:pt x="104" y="22"/>
                    </a:lnTo>
                    <a:lnTo>
                      <a:pt x="120" y="24"/>
                    </a:lnTo>
                    <a:lnTo>
                      <a:pt x="128" y="24"/>
                    </a:lnTo>
                    <a:lnTo>
                      <a:pt x="128" y="24"/>
                    </a:lnTo>
                    <a:lnTo>
                      <a:pt x="130" y="24"/>
                    </a:lnTo>
                    <a:lnTo>
                      <a:pt x="132" y="30"/>
                    </a:lnTo>
                    <a:lnTo>
                      <a:pt x="140" y="32"/>
                    </a:lnTo>
                    <a:lnTo>
                      <a:pt x="140" y="32"/>
                    </a:lnTo>
                    <a:lnTo>
                      <a:pt x="140" y="34"/>
                    </a:lnTo>
                    <a:lnTo>
                      <a:pt x="144" y="38"/>
                    </a:lnTo>
                    <a:lnTo>
                      <a:pt x="144" y="38"/>
                    </a:lnTo>
                    <a:lnTo>
                      <a:pt x="144" y="40"/>
                    </a:lnTo>
                    <a:lnTo>
                      <a:pt x="144" y="40"/>
                    </a:lnTo>
                    <a:lnTo>
                      <a:pt x="142" y="42"/>
                    </a:lnTo>
                    <a:lnTo>
                      <a:pt x="142" y="42"/>
                    </a:lnTo>
                    <a:lnTo>
                      <a:pt x="130" y="44"/>
                    </a:lnTo>
                    <a:lnTo>
                      <a:pt x="130" y="44"/>
                    </a:lnTo>
                    <a:lnTo>
                      <a:pt x="128" y="44"/>
                    </a:lnTo>
                    <a:lnTo>
                      <a:pt x="12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 name="Freeform 944"/>
              <p:cNvSpPr>
                <a:spLocks noEditPoints="1"/>
              </p:cNvSpPr>
              <p:nvPr/>
            </p:nvSpPr>
            <p:spPr bwMode="auto">
              <a:xfrm>
                <a:off x="4355" y="2607"/>
                <a:ext cx="148" cy="48"/>
              </a:xfrm>
              <a:custGeom>
                <a:avLst/>
                <a:gdLst>
                  <a:gd name="T0" fmla="*/ 44 w 148"/>
                  <a:gd name="T1" fmla="*/ 14 h 48"/>
                  <a:gd name="T2" fmla="*/ 70 w 148"/>
                  <a:gd name="T3" fmla="*/ 16 h 48"/>
                  <a:gd name="T4" fmla="*/ 92 w 148"/>
                  <a:gd name="T5" fmla="*/ 14 h 48"/>
                  <a:gd name="T6" fmla="*/ 104 w 148"/>
                  <a:gd name="T7" fmla="*/ 26 h 48"/>
                  <a:gd name="T8" fmla="*/ 130 w 148"/>
                  <a:gd name="T9" fmla="*/ 28 h 48"/>
                  <a:gd name="T10" fmla="*/ 140 w 148"/>
                  <a:gd name="T11" fmla="*/ 36 h 48"/>
                  <a:gd name="T12" fmla="*/ 132 w 148"/>
                  <a:gd name="T13" fmla="*/ 44 h 48"/>
                  <a:gd name="T14" fmla="*/ 106 w 148"/>
                  <a:gd name="T15" fmla="*/ 38 h 48"/>
                  <a:gd name="T16" fmla="*/ 72 w 148"/>
                  <a:gd name="T17" fmla="*/ 36 h 48"/>
                  <a:gd name="T18" fmla="*/ 36 w 148"/>
                  <a:gd name="T19" fmla="*/ 30 h 48"/>
                  <a:gd name="T20" fmla="*/ 16 w 148"/>
                  <a:gd name="T21" fmla="*/ 22 h 48"/>
                  <a:gd name="T22" fmla="*/ 4 w 148"/>
                  <a:gd name="T23" fmla="*/ 14 h 48"/>
                  <a:gd name="T24" fmla="*/ 28 w 148"/>
                  <a:gd name="T25" fmla="*/ 4 h 48"/>
                  <a:gd name="T26" fmla="*/ 28 w 148"/>
                  <a:gd name="T27" fmla="*/ 0 h 48"/>
                  <a:gd name="T28" fmla="*/ 10 w 148"/>
                  <a:gd name="T29" fmla="*/ 2 h 48"/>
                  <a:gd name="T30" fmla="*/ 8 w 148"/>
                  <a:gd name="T31" fmla="*/ 4 h 48"/>
                  <a:gd name="T32" fmla="*/ 2 w 148"/>
                  <a:gd name="T33" fmla="*/ 10 h 48"/>
                  <a:gd name="T34" fmla="*/ 0 w 148"/>
                  <a:gd name="T35" fmla="*/ 14 h 48"/>
                  <a:gd name="T36" fmla="*/ 10 w 148"/>
                  <a:gd name="T37" fmla="*/ 22 h 48"/>
                  <a:gd name="T38" fmla="*/ 14 w 148"/>
                  <a:gd name="T39" fmla="*/ 26 h 48"/>
                  <a:gd name="T40" fmla="*/ 26 w 148"/>
                  <a:gd name="T41" fmla="*/ 30 h 48"/>
                  <a:gd name="T42" fmla="*/ 34 w 148"/>
                  <a:gd name="T43" fmla="*/ 34 h 48"/>
                  <a:gd name="T44" fmla="*/ 62 w 148"/>
                  <a:gd name="T45" fmla="*/ 34 h 48"/>
                  <a:gd name="T46" fmla="*/ 70 w 148"/>
                  <a:gd name="T47" fmla="*/ 40 h 48"/>
                  <a:gd name="T48" fmla="*/ 100 w 148"/>
                  <a:gd name="T49" fmla="*/ 42 h 48"/>
                  <a:gd name="T50" fmla="*/ 114 w 148"/>
                  <a:gd name="T51" fmla="*/ 44 h 48"/>
                  <a:gd name="T52" fmla="*/ 130 w 148"/>
                  <a:gd name="T53" fmla="*/ 48 h 48"/>
                  <a:gd name="T54" fmla="*/ 132 w 148"/>
                  <a:gd name="T55" fmla="*/ 48 h 48"/>
                  <a:gd name="T56" fmla="*/ 144 w 148"/>
                  <a:gd name="T57" fmla="*/ 46 h 48"/>
                  <a:gd name="T58" fmla="*/ 148 w 148"/>
                  <a:gd name="T59" fmla="*/ 44 h 48"/>
                  <a:gd name="T60" fmla="*/ 148 w 148"/>
                  <a:gd name="T61" fmla="*/ 40 h 48"/>
                  <a:gd name="T62" fmla="*/ 144 w 148"/>
                  <a:gd name="T63" fmla="*/ 34 h 48"/>
                  <a:gd name="T64" fmla="*/ 134 w 148"/>
                  <a:gd name="T65" fmla="*/ 30 h 48"/>
                  <a:gd name="T66" fmla="*/ 134 w 148"/>
                  <a:gd name="T67" fmla="*/ 26 h 48"/>
                  <a:gd name="T68" fmla="*/ 130 w 148"/>
                  <a:gd name="T69" fmla="*/ 24 h 48"/>
                  <a:gd name="T70" fmla="*/ 108 w 148"/>
                  <a:gd name="T71" fmla="*/ 22 h 48"/>
                  <a:gd name="T72" fmla="*/ 106 w 148"/>
                  <a:gd name="T73" fmla="*/ 20 h 48"/>
                  <a:gd name="T74" fmla="*/ 94 w 148"/>
                  <a:gd name="T75" fmla="*/ 10 h 48"/>
                  <a:gd name="T76" fmla="*/ 92 w 148"/>
                  <a:gd name="T77" fmla="*/ 10 h 48"/>
                  <a:gd name="T78" fmla="*/ 78 w 148"/>
                  <a:gd name="T79" fmla="*/ 10 h 48"/>
                  <a:gd name="T80" fmla="*/ 68 w 148"/>
                  <a:gd name="T81" fmla="*/ 12 h 48"/>
                  <a:gd name="T82" fmla="*/ 46 w 148"/>
                  <a:gd name="T83" fmla="*/ 10 h 48"/>
                  <a:gd name="T84" fmla="*/ 30 w 148"/>
                  <a:gd name="T85" fmla="*/ 0 h 48"/>
                  <a:gd name="T86" fmla="*/ 28 w 148"/>
                  <a:gd name="T8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48">
                    <a:moveTo>
                      <a:pt x="28" y="4"/>
                    </a:moveTo>
                    <a:lnTo>
                      <a:pt x="44" y="14"/>
                    </a:lnTo>
                    <a:lnTo>
                      <a:pt x="54" y="16"/>
                    </a:lnTo>
                    <a:lnTo>
                      <a:pt x="70" y="16"/>
                    </a:lnTo>
                    <a:lnTo>
                      <a:pt x="78" y="14"/>
                    </a:lnTo>
                    <a:lnTo>
                      <a:pt x="92" y="14"/>
                    </a:lnTo>
                    <a:lnTo>
                      <a:pt x="104" y="20"/>
                    </a:lnTo>
                    <a:lnTo>
                      <a:pt x="104" y="26"/>
                    </a:lnTo>
                    <a:lnTo>
                      <a:pt x="122" y="28"/>
                    </a:lnTo>
                    <a:lnTo>
                      <a:pt x="130" y="28"/>
                    </a:lnTo>
                    <a:lnTo>
                      <a:pt x="132" y="32"/>
                    </a:lnTo>
                    <a:lnTo>
                      <a:pt x="140" y="36"/>
                    </a:lnTo>
                    <a:lnTo>
                      <a:pt x="144" y="42"/>
                    </a:lnTo>
                    <a:lnTo>
                      <a:pt x="132" y="44"/>
                    </a:lnTo>
                    <a:lnTo>
                      <a:pt x="116" y="40"/>
                    </a:lnTo>
                    <a:lnTo>
                      <a:pt x="106" y="38"/>
                    </a:lnTo>
                    <a:lnTo>
                      <a:pt x="100" y="38"/>
                    </a:lnTo>
                    <a:lnTo>
                      <a:pt x="72" y="36"/>
                    </a:lnTo>
                    <a:lnTo>
                      <a:pt x="64" y="30"/>
                    </a:lnTo>
                    <a:lnTo>
                      <a:pt x="36" y="30"/>
                    </a:lnTo>
                    <a:lnTo>
                      <a:pt x="26" y="26"/>
                    </a:lnTo>
                    <a:lnTo>
                      <a:pt x="16" y="22"/>
                    </a:lnTo>
                    <a:lnTo>
                      <a:pt x="12" y="18"/>
                    </a:lnTo>
                    <a:lnTo>
                      <a:pt x="4" y="14"/>
                    </a:lnTo>
                    <a:lnTo>
                      <a:pt x="12" y="6"/>
                    </a:lnTo>
                    <a:lnTo>
                      <a:pt x="28" y="4"/>
                    </a:lnTo>
                    <a:close/>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 name="Freeform 945"/>
              <p:cNvSpPr>
                <a:spLocks/>
              </p:cNvSpPr>
              <p:nvPr/>
            </p:nvSpPr>
            <p:spPr bwMode="auto">
              <a:xfrm>
                <a:off x="4359" y="2611"/>
                <a:ext cx="140" cy="40"/>
              </a:xfrm>
              <a:custGeom>
                <a:avLst/>
                <a:gdLst>
                  <a:gd name="T0" fmla="*/ 24 w 140"/>
                  <a:gd name="T1" fmla="*/ 0 h 40"/>
                  <a:gd name="T2" fmla="*/ 40 w 140"/>
                  <a:gd name="T3" fmla="*/ 10 h 40"/>
                  <a:gd name="T4" fmla="*/ 50 w 140"/>
                  <a:gd name="T5" fmla="*/ 12 h 40"/>
                  <a:gd name="T6" fmla="*/ 66 w 140"/>
                  <a:gd name="T7" fmla="*/ 12 h 40"/>
                  <a:gd name="T8" fmla="*/ 74 w 140"/>
                  <a:gd name="T9" fmla="*/ 10 h 40"/>
                  <a:gd name="T10" fmla="*/ 88 w 140"/>
                  <a:gd name="T11" fmla="*/ 10 h 40"/>
                  <a:gd name="T12" fmla="*/ 100 w 140"/>
                  <a:gd name="T13" fmla="*/ 16 h 40"/>
                  <a:gd name="T14" fmla="*/ 100 w 140"/>
                  <a:gd name="T15" fmla="*/ 22 h 40"/>
                  <a:gd name="T16" fmla="*/ 118 w 140"/>
                  <a:gd name="T17" fmla="*/ 24 h 40"/>
                  <a:gd name="T18" fmla="*/ 126 w 140"/>
                  <a:gd name="T19" fmla="*/ 24 h 40"/>
                  <a:gd name="T20" fmla="*/ 128 w 140"/>
                  <a:gd name="T21" fmla="*/ 28 h 40"/>
                  <a:gd name="T22" fmla="*/ 136 w 140"/>
                  <a:gd name="T23" fmla="*/ 32 h 40"/>
                  <a:gd name="T24" fmla="*/ 140 w 140"/>
                  <a:gd name="T25" fmla="*/ 38 h 40"/>
                  <a:gd name="T26" fmla="*/ 128 w 140"/>
                  <a:gd name="T27" fmla="*/ 40 h 40"/>
                  <a:gd name="T28" fmla="*/ 112 w 140"/>
                  <a:gd name="T29" fmla="*/ 36 h 40"/>
                  <a:gd name="T30" fmla="*/ 102 w 140"/>
                  <a:gd name="T31" fmla="*/ 34 h 40"/>
                  <a:gd name="T32" fmla="*/ 96 w 140"/>
                  <a:gd name="T33" fmla="*/ 34 h 40"/>
                  <a:gd name="T34" fmla="*/ 68 w 140"/>
                  <a:gd name="T35" fmla="*/ 32 h 40"/>
                  <a:gd name="T36" fmla="*/ 60 w 140"/>
                  <a:gd name="T37" fmla="*/ 26 h 40"/>
                  <a:gd name="T38" fmla="*/ 32 w 140"/>
                  <a:gd name="T39" fmla="*/ 26 h 40"/>
                  <a:gd name="T40" fmla="*/ 22 w 140"/>
                  <a:gd name="T41" fmla="*/ 22 h 40"/>
                  <a:gd name="T42" fmla="*/ 12 w 140"/>
                  <a:gd name="T43" fmla="*/ 18 h 40"/>
                  <a:gd name="T44" fmla="*/ 8 w 140"/>
                  <a:gd name="T45" fmla="*/ 14 h 40"/>
                  <a:gd name="T46" fmla="*/ 0 w 140"/>
                  <a:gd name="T47" fmla="*/ 10 h 40"/>
                  <a:gd name="T48" fmla="*/ 8 w 140"/>
                  <a:gd name="T49" fmla="*/ 2 h 40"/>
                  <a:gd name="T50" fmla="*/ 24 w 140"/>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40">
                    <a:moveTo>
                      <a:pt x="24" y="0"/>
                    </a:moveTo>
                    <a:lnTo>
                      <a:pt x="40" y="10"/>
                    </a:lnTo>
                    <a:lnTo>
                      <a:pt x="50" y="12"/>
                    </a:lnTo>
                    <a:lnTo>
                      <a:pt x="66" y="12"/>
                    </a:lnTo>
                    <a:lnTo>
                      <a:pt x="74" y="10"/>
                    </a:lnTo>
                    <a:lnTo>
                      <a:pt x="88" y="10"/>
                    </a:lnTo>
                    <a:lnTo>
                      <a:pt x="100" y="16"/>
                    </a:lnTo>
                    <a:lnTo>
                      <a:pt x="100" y="22"/>
                    </a:lnTo>
                    <a:lnTo>
                      <a:pt x="118" y="24"/>
                    </a:lnTo>
                    <a:lnTo>
                      <a:pt x="126" y="24"/>
                    </a:lnTo>
                    <a:lnTo>
                      <a:pt x="128" y="28"/>
                    </a:lnTo>
                    <a:lnTo>
                      <a:pt x="136" y="32"/>
                    </a:lnTo>
                    <a:lnTo>
                      <a:pt x="140" y="38"/>
                    </a:lnTo>
                    <a:lnTo>
                      <a:pt x="128" y="40"/>
                    </a:lnTo>
                    <a:lnTo>
                      <a:pt x="112" y="36"/>
                    </a:lnTo>
                    <a:lnTo>
                      <a:pt x="102" y="34"/>
                    </a:lnTo>
                    <a:lnTo>
                      <a:pt x="96" y="34"/>
                    </a:lnTo>
                    <a:lnTo>
                      <a:pt x="68" y="32"/>
                    </a:lnTo>
                    <a:lnTo>
                      <a:pt x="60" y="26"/>
                    </a:lnTo>
                    <a:lnTo>
                      <a:pt x="32" y="26"/>
                    </a:lnTo>
                    <a:lnTo>
                      <a:pt x="22" y="22"/>
                    </a:lnTo>
                    <a:lnTo>
                      <a:pt x="12" y="18"/>
                    </a:lnTo>
                    <a:lnTo>
                      <a:pt x="8" y="14"/>
                    </a:lnTo>
                    <a:lnTo>
                      <a:pt x="0" y="10"/>
                    </a:lnTo>
                    <a:lnTo>
                      <a:pt x="8"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3" name="Freeform 946"/>
              <p:cNvSpPr>
                <a:spLocks/>
              </p:cNvSpPr>
              <p:nvPr/>
            </p:nvSpPr>
            <p:spPr bwMode="auto">
              <a:xfrm>
                <a:off x="4355" y="2607"/>
                <a:ext cx="148" cy="48"/>
              </a:xfrm>
              <a:custGeom>
                <a:avLst/>
                <a:gdLst>
                  <a:gd name="T0" fmla="*/ 28 w 148"/>
                  <a:gd name="T1" fmla="*/ 0 h 48"/>
                  <a:gd name="T2" fmla="*/ 28 w 148"/>
                  <a:gd name="T3" fmla="*/ 0 h 48"/>
                  <a:gd name="T4" fmla="*/ 28 w 148"/>
                  <a:gd name="T5" fmla="*/ 0 h 48"/>
                  <a:gd name="T6" fmla="*/ 10 w 148"/>
                  <a:gd name="T7" fmla="*/ 2 h 48"/>
                  <a:gd name="T8" fmla="*/ 10 w 148"/>
                  <a:gd name="T9" fmla="*/ 2 h 48"/>
                  <a:gd name="T10" fmla="*/ 8 w 148"/>
                  <a:gd name="T11" fmla="*/ 4 h 48"/>
                  <a:gd name="T12" fmla="*/ 2 w 148"/>
                  <a:gd name="T13" fmla="*/ 10 h 48"/>
                  <a:gd name="T14" fmla="*/ 2 w 148"/>
                  <a:gd name="T15" fmla="*/ 10 h 48"/>
                  <a:gd name="T16" fmla="*/ 0 w 148"/>
                  <a:gd name="T17" fmla="*/ 14 h 48"/>
                  <a:gd name="T18" fmla="*/ 0 w 148"/>
                  <a:gd name="T19" fmla="*/ 14 h 48"/>
                  <a:gd name="T20" fmla="*/ 2 w 148"/>
                  <a:gd name="T21" fmla="*/ 16 h 48"/>
                  <a:gd name="T22" fmla="*/ 10 w 148"/>
                  <a:gd name="T23" fmla="*/ 22 h 48"/>
                  <a:gd name="T24" fmla="*/ 14 w 148"/>
                  <a:gd name="T25" fmla="*/ 26 h 48"/>
                  <a:gd name="T26" fmla="*/ 14 w 148"/>
                  <a:gd name="T27" fmla="*/ 26 h 48"/>
                  <a:gd name="T28" fmla="*/ 16 w 148"/>
                  <a:gd name="T29" fmla="*/ 26 h 48"/>
                  <a:gd name="T30" fmla="*/ 26 w 148"/>
                  <a:gd name="T31" fmla="*/ 30 h 48"/>
                  <a:gd name="T32" fmla="*/ 34 w 148"/>
                  <a:gd name="T33" fmla="*/ 34 h 48"/>
                  <a:gd name="T34" fmla="*/ 34 w 148"/>
                  <a:gd name="T35" fmla="*/ 34 h 48"/>
                  <a:gd name="T36" fmla="*/ 36 w 148"/>
                  <a:gd name="T37" fmla="*/ 34 h 48"/>
                  <a:gd name="T38" fmla="*/ 62 w 148"/>
                  <a:gd name="T39" fmla="*/ 34 h 48"/>
                  <a:gd name="T40" fmla="*/ 70 w 148"/>
                  <a:gd name="T41" fmla="*/ 40 h 48"/>
                  <a:gd name="T42" fmla="*/ 70 w 148"/>
                  <a:gd name="T43" fmla="*/ 40 h 48"/>
                  <a:gd name="T44" fmla="*/ 72 w 148"/>
                  <a:gd name="T45" fmla="*/ 40 h 48"/>
                  <a:gd name="T46" fmla="*/ 100 w 148"/>
                  <a:gd name="T47" fmla="*/ 42 h 48"/>
                  <a:gd name="T48" fmla="*/ 106 w 148"/>
                  <a:gd name="T49" fmla="*/ 42 h 48"/>
                  <a:gd name="T50" fmla="*/ 114 w 148"/>
                  <a:gd name="T51" fmla="*/ 44 h 48"/>
                  <a:gd name="T52" fmla="*/ 130 w 148"/>
                  <a:gd name="T53" fmla="*/ 48 h 48"/>
                  <a:gd name="T54" fmla="*/ 130 w 148"/>
                  <a:gd name="T55" fmla="*/ 48 h 48"/>
                  <a:gd name="T56" fmla="*/ 132 w 148"/>
                  <a:gd name="T57" fmla="*/ 48 h 48"/>
                  <a:gd name="T58" fmla="*/ 132 w 148"/>
                  <a:gd name="T59" fmla="*/ 48 h 48"/>
                  <a:gd name="T60" fmla="*/ 132 w 148"/>
                  <a:gd name="T61" fmla="*/ 48 h 48"/>
                  <a:gd name="T62" fmla="*/ 144 w 148"/>
                  <a:gd name="T63" fmla="*/ 46 h 48"/>
                  <a:gd name="T64" fmla="*/ 144 w 148"/>
                  <a:gd name="T65" fmla="*/ 46 h 48"/>
                  <a:gd name="T66" fmla="*/ 148 w 148"/>
                  <a:gd name="T67" fmla="*/ 44 h 48"/>
                  <a:gd name="T68" fmla="*/ 148 w 148"/>
                  <a:gd name="T69" fmla="*/ 44 h 48"/>
                  <a:gd name="T70" fmla="*/ 148 w 148"/>
                  <a:gd name="T71" fmla="*/ 40 h 48"/>
                  <a:gd name="T72" fmla="*/ 144 w 148"/>
                  <a:gd name="T73" fmla="*/ 34 h 48"/>
                  <a:gd name="T74" fmla="*/ 144 w 148"/>
                  <a:gd name="T75" fmla="*/ 34 h 48"/>
                  <a:gd name="T76" fmla="*/ 142 w 148"/>
                  <a:gd name="T77" fmla="*/ 32 h 48"/>
                  <a:gd name="T78" fmla="*/ 134 w 148"/>
                  <a:gd name="T79" fmla="*/ 30 h 48"/>
                  <a:gd name="T80" fmla="*/ 134 w 148"/>
                  <a:gd name="T81" fmla="*/ 26 h 48"/>
                  <a:gd name="T82" fmla="*/ 134 w 148"/>
                  <a:gd name="T83" fmla="*/ 26 h 48"/>
                  <a:gd name="T84" fmla="*/ 132 w 148"/>
                  <a:gd name="T85" fmla="*/ 24 h 48"/>
                  <a:gd name="T86" fmla="*/ 130 w 148"/>
                  <a:gd name="T87" fmla="*/ 24 h 48"/>
                  <a:gd name="T88" fmla="*/ 122 w 148"/>
                  <a:gd name="T89" fmla="*/ 24 h 48"/>
                  <a:gd name="T90" fmla="*/ 108 w 148"/>
                  <a:gd name="T91" fmla="*/ 22 h 48"/>
                  <a:gd name="T92" fmla="*/ 106 w 148"/>
                  <a:gd name="T93" fmla="*/ 20 h 48"/>
                  <a:gd name="T94" fmla="*/ 106 w 148"/>
                  <a:gd name="T95" fmla="*/ 20 h 48"/>
                  <a:gd name="T96" fmla="*/ 106 w 148"/>
                  <a:gd name="T97" fmla="*/ 18 h 48"/>
                  <a:gd name="T98" fmla="*/ 94 w 148"/>
                  <a:gd name="T99" fmla="*/ 10 h 48"/>
                  <a:gd name="T100" fmla="*/ 94 w 148"/>
                  <a:gd name="T101" fmla="*/ 10 h 48"/>
                  <a:gd name="T102" fmla="*/ 92 w 148"/>
                  <a:gd name="T103" fmla="*/ 10 h 48"/>
                  <a:gd name="T104" fmla="*/ 78 w 148"/>
                  <a:gd name="T105" fmla="*/ 10 h 48"/>
                  <a:gd name="T106" fmla="*/ 78 w 148"/>
                  <a:gd name="T107" fmla="*/ 10 h 48"/>
                  <a:gd name="T108" fmla="*/ 76 w 148"/>
                  <a:gd name="T109" fmla="*/ 10 h 48"/>
                  <a:gd name="T110" fmla="*/ 68 w 148"/>
                  <a:gd name="T111" fmla="*/ 12 h 48"/>
                  <a:gd name="T112" fmla="*/ 54 w 148"/>
                  <a:gd name="T113" fmla="*/ 12 h 48"/>
                  <a:gd name="T114" fmla="*/ 46 w 148"/>
                  <a:gd name="T115" fmla="*/ 10 h 48"/>
                  <a:gd name="T116" fmla="*/ 30 w 148"/>
                  <a:gd name="T117" fmla="*/ 0 h 48"/>
                  <a:gd name="T118" fmla="*/ 30 w 148"/>
                  <a:gd name="T119" fmla="*/ 0 h 48"/>
                  <a:gd name="T120" fmla="*/ 28 w 148"/>
                  <a:gd name="T121" fmla="*/ 0 h 48"/>
                  <a:gd name="T122" fmla="*/ 28 w 148"/>
                  <a:gd name="T1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48">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4" name="Freeform 947"/>
              <p:cNvSpPr>
                <a:spLocks/>
              </p:cNvSpPr>
              <p:nvPr/>
            </p:nvSpPr>
            <p:spPr bwMode="auto">
              <a:xfrm>
                <a:off x="4615" y="2637"/>
                <a:ext cx="54" cy="38"/>
              </a:xfrm>
              <a:custGeom>
                <a:avLst/>
                <a:gdLst>
                  <a:gd name="T0" fmla="*/ 2 w 54"/>
                  <a:gd name="T1" fmla="*/ 38 h 38"/>
                  <a:gd name="T2" fmla="*/ 2 w 54"/>
                  <a:gd name="T3" fmla="*/ 38 h 38"/>
                  <a:gd name="T4" fmla="*/ 0 w 54"/>
                  <a:gd name="T5" fmla="*/ 38 h 38"/>
                  <a:gd name="T6" fmla="*/ 0 w 54"/>
                  <a:gd name="T7" fmla="*/ 38 h 38"/>
                  <a:gd name="T8" fmla="*/ 0 w 54"/>
                  <a:gd name="T9" fmla="*/ 36 h 38"/>
                  <a:gd name="T10" fmla="*/ 2 w 54"/>
                  <a:gd name="T11" fmla="*/ 22 h 38"/>
                  <a:gd name="T12" fmla="*/ 2 w 54"/>
                  <a:gd name="T13" fmla="*/ 22 h 38"/>
                  <a:gd name="T14" fmla="*/ 2 w 54"/>
                  <a:gd name="T15" fmla="*/ 22 h 38"/>
                  <a:gd name="T16" fmla="*/ 8 w 54"/>
                  <a:gd name="T17" fmla="*/ 18 h 38"/>
                  <a:gd name="T18" fmla="*/ 14 w 54"/>
                  <a:gd name="T19" fmla="*/ 16 h 38"/>
                  <a:gd name="T20" fmla="*/ 22 w 54"/>
                  <a:gd name="T21" fmla="*/ 8 h 38"/>
                  <a:gd name="T22" fmla="*/ 34 w 54"/>
                  <a:gd name="T23" fmla="*/ 0 h 38"/>
                  <a:gd name="T24" fmla="*/ 34 w 54"/>
                  <a:gd name="T25" fmla="*/ 0 h 38"/>
                  <a:gd name="T26" fmla="*/ 36 w 54"/>
                  <a:gd name="T27" fmla="*/ 0 h 38"/>
                  <a:gd name="T28" fmla="*/ 36 w 54"/>
                  <a:gd name="T29" fmla="*/ 0 h 38"/>
                  <a:gd name="T30" fmla="*/ 52 w 54"/>
                  <a:gd name="T31" fmla="*/ 2 h 38"/>
                  <a:gd name="T32" fmla="*/ 52 w 54"/>
                  <a:gd name="T33" fmla="*/ 2 h 38"/>
                  <a:gd name="T34" fmla="*/ 54 w 54"/>
                  <a:gd name="T35" fmla="*/ 4 h 38"/>
                  <a:gd name="T36" fmla="*/ 54 w 54"/>
                  <a:gd name="T37" fmla="*/ 4 h 38"/>
                  <a:gd name="T38" fmla="*/ 54 w 54"/>
                  <a:gd name="T39" fmla="*/ 4 h 38"/>
                  <a:gd name="T40" fmla="*/ 52 w 54"/>
                  <a:gd name="T41" fmla="*/ 10 h 38"/>
                  <a:gd name="T42" fmla="*/ 52 w 54"/>
                  <a:gd name="T43" fmla="*/ 10 h 38"/>
                  <a:gd name="T44" fmla="*/ 50 w 54"/>
                  <a:gd name="T45" fmla="*/ 12 h 38"/>
                  <a:gd name="T46" fmla="*/ 30 w 54"/>
                  <a:gd name="T47" fmla="*/ 22 h 38"/>
                  <a:gd name="T48" fmla="*/ 18 w 54"/>
                  <a:gd name="T49" fmla="*/ 30 h 38"/>
                  <a:gd name="T50" fmla="*/ 2 w 54"/>
                  <a:gd name="T51" fmla="*/ 38 h 38"/>
                  <a:gd name="T52" fmla="*/ 2 w 54"/>
                  <a:gd name="T53" fmla="*/ 38 h 38"/>
                  <a:gd name="T54" fmla="*/ 2 w 54"/>
                  <a:gd name="T55" fmla="*/ 38 h 38"/>
                  <a:gd name="T56" fmla="*/ 2 w 54"/>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38">
                    <a:moveTo>
                      <a:pt x="2" y="38"/>
                    </a:moveTo>
                    <a:lnTo>
                      <a:pt x="2" y="38"/>
                    </a:lnTo>
                    <a:lnTo>
                      <a:pt x="0" y="38"/>
                    </a:lnTo>
                    <a:lnTo>
                      <a:pt x="0" y="38"/>
                    </a:lnTo>
                    <a:lnTo>
                      <a:pt x="0" y="36"/>
                    </a:lnTo>
                    <a:lnTo>
                      <a:pt x="2" y="22"/>
                    </a:lnTo>
                    <a:lnTo>
                      <a:pt x="2" y="22"/>
                    </a:lnTo>
                    <a:lnTo>
                      <a:pt x="2" y="22"/>
                    </a:lnTo>
                    <a:lnTo>
                      <a:pt x="8" y="18"/>
                    </a:lnTo>
                    <a:lnTo>
                      <a:pt x="14" y="16"/>
                    </a:lnTo>
                    <a:lnTo>
                      <a:pt x="22" y="8"/>
                    </a:lnTo>
                    <a:lnTo>
                      <a:pt x="34" y="0"/>
                    </a:lnTo>
                    <a:lnTo>
                      <a:pt x="34" y="0"/>
                    </a:lnTo>
                    <a:lnTo>
                      <a:pt x="36" y="0"/>
                    </a:lnTo>
                    <a:lnTo>
                      <a:pt x="36" y="0"/>
                    </a:lnTo>
                    <a:lnTo>
                      <a:pt x="52" y="2"/>
                    </a:lnTo>
                    <a:lnTo>
                      <a:pt x="52" y="2"/>
                    </a:lnTo>
                    <a:lnTo>
                      <a:pt x="54" y="4"/>
                    </a:lnTo>
                    <a:lnTo>
                      <a:pt x="54" y="4"/>
                    </a:lnTo>
                    <a:lnTo>
                      <a:pt x="54" y="4"/>
                    </a:lnTo>
                    <a:lnTo>
                      <a:pt x="52" y="10"/>
                    </a:lnTo>
                    <a:lnTo>
                      <a:pt x="52" y="10"/>
                    </a:lnTo>
                    <a:lnTo>
                      <a:pt x="50" y="12"/>
                    </a:lnTo>
                    <a:lnTo>
                      <a:pt x="30" y="22"/>
                    </a:lnTo>
                    <a:lnTo>
                      <a:pt x="18" y="30"/>
                    </a:lnTo>
                    <a:lnTo>
                      <a:pt x="2" y="38"/>
                    </a:lnTo>
                    <a:lnTo>
                      <a:pt x="2" y="38"/>
                    </a:lnTo>
                    <a:lnTo>
                      <a:pt x="2" y="38"/>
                    </a:lnTo>
                    <a:lnTo>
                      <a:pt x="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5" name="Freeform 948"/>
              <p:cNvSpPr>
                <a:spLocks noEditPoints="1"/>
              </p:cNvSpPr>
              <p:nvPr/>
            </p:nvSpPr>
            <p:spPr bwMode="auto">
              <a:xfrm>
                <a:off x="4613" y="2635"/>
                <a:ext cx="58" cy="42"/>
              </a:xfrm>
              <a:custGeom>
                <a:avLst/>
                <a:gdLst>
                  <a:gd name="T0" fmla="*/ 38 w 58"/>
                  <a:gd name="T1" fmla="*/ 4 h 42"/>
                  <a:gd name="T2" fmla="*/ 54 w 58"/>
                  <a:gd name="T3" fmla="*/ 6 h 42"/>
                  <a:gd name="T4" fmla="*/ 52 w 58"/>
                  <a:gd name="T5" fmla="*/ 12 h 42"/>
                  <a:gd name="T6" fmla="*/ 30 w 58"/>
                  <a:gd name="T7" fmla="*/ 22 h 42"/>
                  <a:gd name="T8" fmla="*/ 20 w 58"/>
                  <a:gd name="T9" fmla="*/ 30 h 42"/>
                  <a:gd name="T10" fmla="*/ 4 w 58"/>
                  <a:gd name="T11" fmla="*/ 38 h 42"/>
                  <a:gd name="T12" fmla="*/ 6 w 58"/>
                  <a:gd name="T13" fmla="*/ 26 h 42"/>
                  <a:gd name="T14" fmla="*/ 10 w 58"/>
                  <a:gd name="T15" fmla="*/ 22 h 42"/>
                  <a:gd name="T16" fmla="*/ 16 w 58"/>
                  <a:gd name="T17" fmla="*/ 20 h 42"/>
                  <a:gd name="T18" fmla="*/ 24 w 58"/>
                  <a:gd name="T19" fmla="*/ 12 h 42"/>
                  <a:gd name="T20" fmla="*/ 38 w 58"/>
                  <a:gd name="T21" fmla="*/ 4 h 42"/>
                  <a:gd name="T22" fmla="*/ 38 w 58"/>
                  <a:gd name="T23" fmla="*/ 0 h 42"/>
                  <a:gd name="T24" fmla="*/ 38 w 58"/>
                  <a:gd name="T25" fmla="*/ 0 h 42"/>
                  <a:gd name="T26" fmla="*/ 36 w 58"/>
                  <a:gd name="T27" fmla="*/ 2 h 42"/>
                  <a:gd name="T28" fmla="*/ 22 w 58"/>
                  <a:gd name="T29" fmla="*/ 8 h 42"/>
                  <a:gd name="T30" fmla="*/ 22 w 58"/>
                  <a:gd name="T31" fmla="*/ 8 h 42"/>
                  <a:gd name="T32" fmla="*/ 22 w 58"/>
                  <a:gd name="T33" fmla="*/ 8 h 42"/>
                  <a:gd name="T34" fmla="*/ 14 w 58"/>
                  <a:gd name="T35" fmla="*/ 16 h 42"/>
                  <a:gd name="T36" fmla="*/ 10 w 58"/>
                  <a:gd name="T37" fmla="*/ 18 h 42"/>
                  <a:gd name="T38" fmla="*/ 10 w 58"/>
                  <a:gd name="T39" fmla="*/ 18 h 42"/>
                  <a:gd name="T40" fmla="*/ 8 w 58"/>
                  <a:gd name="T41" fmla="*/ 18 h 42"/>
                  <a:gd name="T42" fmla="*/ 2 w 58"/>
                  <a:gd name="T43" fmla="*/ 22 h 42"/>
                  <a:gd name="T44" fmla="*/ 2 w 58"/>
                  <a:gd name="T45" fmla="*/ 22 h 42"/>
                  <a:gd name="T46" fmla="*/ 2 w 58"/>
                  <a:gd name="T47" fmla="*/ 24 h 42"/>
                  <a:gd name="T48" fmla="*/ 0 w 58"/>
                  <a:gd name="T49" fmla="*/ 38 h 42"/>
                  <a:gd name="T50" fmla="*/ 0 w 58"/>
                  <a:gd name="T51" fmla="*/ 38 h 42"/>
                  <a:gd name="T52" fmla="*/ 0 w 58"/>
                  <a:gd name="T53" fmla="*/ 42 h 42"/>
                  <a:gd name="T54" fmla="*/ 0 w 58"/>
                  <a:gd name="T55" fmla="*/ 42 h 42"/>
                  <a:gd name="T56" fmla="*/ 4 w 58"/>
                  <a:gd name="T57" fmla="*/ 42 h 42"/>
                  <a:gd name="T58" fmla="*/ 4 w 58"/>
                  <a:gd name="T59" fmla="*/ 42 h 42"/>
                  <a:gd name="T60" fmla="*/ 4 w 58"/>
                  <a:gd name="T61" fmla="*/ 42 h 42"/>
                  <a:gd name="T62" fmla="*/ 22 w 58"/>
                  <a:gd name="T63" fmla="*/ 34 h 42"/>
                  <a:gd name="T64" fmla="*/ 22 w 58"/>
                  <a:gd name="T65" fmla="*/ 34 h 42"/>
                  <a:gd name="T66" fmla="*/ 22 w 58"/>
                  <a:gd name="T67" fmla="*/ 34 h 42"/>
                  <a:gd name="T68" fmla="*/ 32 w 58"/>
                  <a:gd name="T69" fmla="*/ 24 h 42"/>
                  <a:gd name="T70" fmla="*/ 54 w 58"/>
                  <a:gd name="T71" fmla="*/ 16 h 42"/>
                  <a:gd name="T72" fmla="*/ 54 w 58"/>
                  <a:gd name="T73" fmla="*/ 16 h 42"/>
                  <a:gd name="T74" fmla="*/ 56 w 58"/>
                  <a:gd name="T75" fmla="*/ 14 h 42"/>
                  <a:gd name="T76" fmla="*/ 58 w 58"/>
                  <a:gd name="T77" fmla="*/ 8 h 42"/>
                  <a:gd name="T78" fmla="*/ 58 w 58"/>
                  <a:gd name="T79" fmla="*/ 8 h 42"/>
                  <a:gd name="T80" fmla="*/ 56 w 58"/>
                  <a:gd name="T81" fmla="*/ 4 h 42"/>
                  <a:gd name="T82" fmla="*/ 56 w 58"/>
                  <a:gd name="T83" fmla="*/ 4 h 42"/>
                  <a:gd name="T84" fmla="*/ 54 w 58"/>
                  <a:gd name="T85" fmla="*/ 2 h 42"/>
                  <a:gd name="T86" fmla="*/ 38 w 58"/>
                  <a:gd name="T87" fmla="*/ 0 h 42"/>
                  <a:gd name="T88" fmla="*/ 38 w 58"/>
                  <a:gd name="T89" fmla="*/ 0 h 42"/>
                  <a:gd name="T90" fmla="*/ 38 w 58"/>
                  <a:gd name="T91" fmla="*/ 0 h 42"/>
                  <a:gd name="T92" fmla="*/ 38 w 5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 h="42">
                    <a:moveTo>
                      <a:pt x="38" y="4"/>
                    </a:moveTo>
                    <a:lnTo>
                      <a:pt x="54" y="6"/>
                    </a:lnTo>
                    <a:lnTo>
                      <a:pt x="52" y="12"/>
                    </a:lnTo>
                    <a:lnTo>
                      <a:pt x="30" y="22"/>
                    </a:lnTo>
                    <a:lnTo>
                      <a:pt x="20" y="30"/>
                    </a:lnTo>
                    <a:lnTo>
                      <a:pt x="4" y="38"/>
                    </a:lnTo>
                    <a:lnTo>
                      <a:pt x="6" y="26"/>
                    </a:lnTo>
                    <a:lnTo>
                      <a:pt x="10" y="22"/>
                    </a:lnTo>
                    <a:lnTo>
                      <a:pt x="16" y="20"/>
                    </a:lnTo>
                    <a:lnTo>
                      <a:pt x="24" y="12"/>
                    </a:lnTo>
                    <a:lnTo>
                      <a:pt x="38" y="4"/>
                    </a:lnTo>
                    <a:close/>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6" name="Freeform 949"/>
              <p:cNvSpPr>
                <a:spLocks/>
              </p:cNvSpPr>
              <p:nvPr/>
            </p:nvSpPr>
            <p:spPr bwMode="auto">
              <a:xfrm>
                <a:off x="4617" y="2639"/>
                <a:ext cx="50" cy="34"/>
              </a:xfrm>
              <a:custGeom>
                <a:avLst/>
                <a:gdLst>
                  <a:gd name="T0" fmla="*/ 34 w 50"/>
                  <a:gd name="T1" fmla="*/ 0 h 34"/>
                  <a:gd name="T2" fmla="*/ 50 w 50"/>
                  <a:gd name="T3" fmla="*/ 2 h 34"/>
                  <a:gd name="T4" fmla="*/ 48 w 50"/>
                  <a:gd name="T5" fmla="*/ 8 h 34"/>
                  <a:gd name="T6" fmla="*/ 26 w 50"/>
                  <a:gd name="T7" fmla="*/ 18 h 34"/>
                  <a:gd name="T8" fmla="*/ 16 w 50"/>
                  <a:gd name="T9" fmla="*/ 26 h 34"/>
                  <a:gd name="T10" fmla="*/ 0 w 50"/>
                  <a:gd name="T11" fmla="*/ 34 h 34"/>
                  <a:gd name="T12" fmla="*/ 2 w 50"/>
                  <a:gd name="T13" fmla="*/ 22 h 34"/>
                  <a:gd name="T14" fmla="*/ 6 w 50"/>
                  <a:gd name="T15" fmla="*/ 18 h 34"/>
                  <a:gd name="T16" fmla="*/ 12 w 50"/>
                  <a:gd name="T17" fmla="*/ 16 h 34"/>
                  <a:gd name="T18" fmla="*/ 20 w 50"/>
                  <a:gd name="T19" fmla="*/ 8 h 34"/>
                  <a:gd name="T20" fmla="*/ 34 w 5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4">
                    <a:moveTo>
                      <a:pt x="34" y="0"/>
                    </a:moveTo>
                    <a:lnTo>
                      <a:pt x="50" y="2"/>
                    </a:lnTo>
                    <a:lnTo>
                      <a:pt x="48" y="8"/>
                    </a:lnTo>
                    <a:lnTo>
                      <a:pt x="26" y="18"/>
                    </a:lnTo>
                    <a:lnTo>
                      <a:pt x="16" y="26"/>
                    </a:lnTo>
                    <a:lnTo>
                      <a:pt x="0" y="34"/>
                    </a:lnTo>
                    <a:lnTo>
                      <a:pt x="2" y="22"/>
                    </a:lnTo>
                    <a:lnTo>
                      <a:pt x="6" y="18"/>
                    </a:lnTo>
                    <a:lnTo>
                      <a:pt x="12" y="16"/>
                    </a:lnTo>
                    <a:lnTo>
                      <a:pt x="20" y="8"/>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7" name="Freeform 950"/>
              <p:cNvSpPr>
                <a:spLocks/>
              </p:cNvSpPr>
              <p:nvPr/>
            </p:nvSpPr>
            <p:spPr bwMode="auto">
              <a:xfrm>
                <a:off x="4613" y="2635"/>
                <a:ext cx="58" cy="42"/>
              </a:xfrm>
              <a:custGeom>
                <a:avLst/>
                <a:gdLst>
                  <a:gd name="T0" fmla="*/ 38 w 58"/>
                  <a:gd name="T1" fmla="*/ 0 h 42"/>
                  <a:gd name="T2" fmla="*/ 38 w 58"/>
                  <a:gd name="T3" fmla="*/ 0 h 42"/>
                  <a:gd name="T4" fmla="*/ 36 w 58"/>
                  <a:gd name="T5" fmla="*/ 2 h 42"/>
                  <a:gd name="T6" fmla="*/ 22 w 58"/>
                  <a:gd name="T7" fmla="*/ 8 h 42"/>
                  <a:gd name="T8" fmla="*/ 22 w 58"/>
                  <a:gd name="T9" fmla="*/ 8 h 42"/>
                  <a:gd name="T10" fmla="*/ 22 w 58"/>
                  <a:gd name="T11" fmla="*/ 8 h 42"/>
                  <a:gd name="T12" fmla="*/ 14 w 58"/>
                  <a:gd name="T13" fmla="*/ 16 h 42"/>
                  <a:gd name="T14" fmla="*/ 10 w 58"/>
                  <a:gd name="T15" fmla="*/ 18 h 42"/>
                  <a:gd name="T16" fmla="*/ 10 w 58"/>
                  <a:gd name="T17" fmla="*/ 18 h 42"/>
                  <a:gd name="T18" fmla="*/ 8 w 58"/>
                  <a:gd name="T19" fmla="*/ 18 h 42"/>
                  <a:gd name="T20" fmla="*/ 2 w 58"/>
                  <a:gd name="T21" fmla="*/ 22 h 42"/>
                  <a:gd name="T22" fmla="*/ 2 w 58"/>
                  <a:gd name="T23" fmla="*/ 22 h 42"/>
                  <a:gd name="T24" fmla="*/ 2 w 58"/>
                  <a:gd name="T25" fmla="*/ 24 h 42"/>
                  <a:gd name="T26" fmla="*/ 0 w 58"/>
                  <a:gd name="T27" fmla="*/ 38 h 42"/>
                  <a:gd name="T28" fmla="*/ 0 w 58"/>
                  <a:gd name="T29" fmla="*/ 38 h 42"/>
                  <a:gd name="T30" fmla="*/ 0 w 58"/>
                  <a:gd name="T31" fmla="*/ 42 h 42"/>
                  <a:gd name="T32" fmla="*/ 0 w 58"/>
                  <a:gd name="T33" fmla="*/ 42 h 42"/>
                  <a:gd name="T34" fmla="*/ 4 w 58"/>
                  <a:gd name="T35" fmla="*/ 42 h 42"/>
                  <a:gd name="T36" fmla="*/ 4 w 58"/>
                  <a:gd name="T37" fmla="*/ 42 h 42"/>
                  <a:gd name="T38" fmla="*/ 4 w 58"/>
                  <a:gd name="T39" fmla="*/ 42 h 42"/>
                  <a:gd name="T40" fmla="*/ 22 w 58"/>
                  <a:gd name="T41" fmla="*/ 34 h 42"/>
                  <a:gd name="T42" fmla="*/ 22 w 58"/>
                  <a:gd name="T43" fmla="*/ 34 h 42"/>
                  <a:gd name="T44" fmla="*/ 22 w 58"/>
                  <a:gd name="T45" fmla="*/ 34 h 42"/>
                  <a:gd name="T46" fmla="*/ 32 w 58"/>
                  <a:gd name="T47" fmla="*/ 24 h 42"/>
                  <a:gd name="T48" fmla="*/ 54 w 58"/>
                  <a:gd name="T49" fmla="*/ 16 h 42"/>
                  <a:gd name="T50" fmla="*/ 54 w 58"/>
                  <a:gd name="T51" fmla="*/ 16 h 42"/>
                  <a:gd name="T52" fmla="*/ 56 w 58"/>
                  <a:gd name="T53" fmla="*/ 14 h 42"/>
                  <a:gd name="T54" fmla="*/ 58 w 58"/>
                  <a:gd name="T55" fmla="*/ 8 h 42"/>
                  <a:gd name="T56" fmla="*/ 58 w 58"/>
                  <a:gd name="T57" fmla="*/ 8 h 42"/>
                  <a:gd name="T58" fmla="*/ 56 w 58"/>
                  <a:gd name="T59" fmla="*/ 4 h 42"/>
                  <a:gd name="T60" fmla="*/ 56 w 58"/>
                  <a:gd name="T61" fmla="*/ 4 h 42"/>
                  <a:gd name="T62" fmla="*/ 54 w 58"/>
                  <a:gd name="T63" fmla="*/ 2 h 42"/>
                  <a:gd name="T64" fmla="*/ 38 w 58"/>
                  <a:gd name="T65" fmla="*/ 0 h 42"/>
                  <a:gd name="T66" fmla="*/ 38 w 58"/>
                  <a:gd name="T67" fmla="*/ 0 h 42"/>
                  <a:gd name="T68" fmla="*/ 38 w 58"/>
                  <a:gd name="T69" fmla="*/ 0 h 42"/>
                  <a:gd name="T70" fmla="*/ 38 w 58"/>
                  <a:gd name="T7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2">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8" name="Freeform 951"/>
              <p:cNvSpPr>
                <a:spLocks/>
              </p:cNvSpPr>
              <p:nvPr/>
            </p:nvSpPr>
            <p:spPr bwMode="auto">
              <a:xfrm>
                <a:off x="4547" y="2655"/>
                <a:ext cx="32" cy="20"/>
              </a:xfrm>
              <a:custGeom>
                <a:avLst/>
                <a:gdLst>
                  <a:gd name="T0" fmla="*/ 26 w 32"/>
                  <a:gd name="T1" fmla="*/ 20 h 20"/>
                  <a:gd name="T2" fmla="*/ 14 w 32"/>
                  <a:gd name="T3" fmla="*/ 18 h 20"/>
                  <a:gd name="T4" fmla="*/ 14 w 32"/>
                  <a:gd name="T5" fmla="*/ 18 h 20"/>
                  <a:gd name="T6" fmla="*/ 14 w 32"/>
                  <a:gd name="T7" fmla="*/ 18 h 20"/>
                  <a:gd name="T8" fmla="*/ 4 w 32"/>
                  <a:gd name="T9" fmla="*/ 12 h 20"/>
                  <a:gd name="T10" fmla="*/ 0 w 32"/>
                  <a:gd name="T11" fmla="*/ 6 h 20"/>
                  <a:gd name="T12" fmla="*/ 0 w 32"/>
                  <a:gd name="T13" fmla="*/ 6 h 20"/>
                  <a:gd name="T14" fmla="*/ 0 w 32"/>
                  <a:gd name="T15" fmla="*/ 4 h 20"/>
                  <a:gd name="T16" fmla="*/ 2 w 32"/>
                  <a:gd name="T17" fmla="*/ 0 h 20"/>
                  <a:gd name="T18" fmla="*/ 2 w 32"/>
                  <a:gd name="T19" fmla="*/ 0 h 20"/>
                  <a:gd name="T20" fmla="*/ 4 w 32"/>
                  <a:gd name="T21" fmla="*/ 0 h 20"/>
                  <a:gd name="T22" fmla="*/ 16 w 32"/>
                  <a:gd name="T23" fmla="*/ 0 h 20"/>
                  <a:gd name="T24" fmla="*/ 16 w 32"/>
                  <a:gd name="T25" fmla="*/ 0 h 20"/>
                  <a:gd name="T26" fmla="*/ 16 w 32"/>
                  <a:gd name="T27" fmla="*/ 0 h 20"/>
                  <a:gd name="T28" fmla="*/ 26 w 32"/>
                  <a:gd name="T29" fmla="*/ 6 h 20"/>
                  <a:gd name="T30" fmla="*/ 32 w 32"/>
                  <a:gd name="T31" fmla="*/ 12 h 20"/>
                  <a:gd name="T32" fmla="*/ 32 w 32"/>
                  <a:gd name="T33" fmla="*/ 12 h 20"/>
                  <a:gd name="T34" fmla="*/ 32 w 32"/>
                  <a:gd name="T35" fmla="*/ 16 h 20"/>
                  <a:gd name="T36" fmla="*/ 28 w 32"/>
                  <a:gd name="T37" fmla="*/ 20 h 20"/>
                  <a:gd name="T38" fmla="*/ 28 w 32"/>
                  <a:gd name="T39" fmla="*/ 20 h 20"/>
                  <a:gd name="T40" fmla="*/ 26 w 32"/>
                  <a:gd name="T41" fmla="*/ 20 h 20"/>
                  <a:gd name="T42" fmla="*/ 26 w 32"/>
                  <a:gd name="T43" fmla="*/ 20 h 20"/>
                  <a:gd name="T44" fmla="*/ 26 w 32"/>
                  <a:gd name="T45" fmla="*/ 20 h 20"/>
                  <a:gd name="T46" fmla="*/ 26 w 3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20">
                    <a:moveTo>
                      <a:pt x="26" y="20"/>
                    </a:moveTo>
                    <a:lnTo>
                      <a:pt x="14" y="18"/>
                    </a:lnTo>
                    <a:lnTo>
                      <a:pt x="14" y="18"/>
                    </a:lnTo>
                    <a:lnTo>
                      <a:pt x="14" y="18"/>
                    </a:lnTo>
                    <a:lnTo>
                      <a:pt x="4" y="12"/>
                    </a:lnTo>
                    <a:lnTo>
                      <a:pt x="0" y="6"/>
                    </a:lnTo>
                    <a:lnTo>
                      <a:pt x="0" y="6"/>
                    </a:lnTo>
                    <a:lnTo>
                      <a:pt x="0" y="4"/>
                    </a:lnTo>
                    <a:lnTo>
                      <a:pt x="2" y="0"/>
                    </a:lnTo>
                    <a:lnTo>
                      <a:pt x="2" y="0"/>
                    </a:lnTo>
                    <a:lnTo>
                      <a:pt x="4" y="0"/>
                    </a:lnTo>
                    <a:lnTo>
                      <a:pt x="16" y="0"/>
                    </a:lnTo>
                    <a:lnTo>
                      <a:pt x="16" y="0"/>
                    </a:lnTo>
                    <a:lnTo>
                      <a:pt x="16" y="0"/>
                    </a:lnTo>
                    <a:lnTo>
                      <a:pt x="26" y="6"/>
                    </a:lnTo>
                    <a:lnTo>
                      <a:pt x="32" y="12"/>
                    </a:lnTo>
                    <a:lnTo>
                      <a:pt x="32" y="12"/>
                    </a:lnTo>
                    <a:lnTo>
                      <a:pt x="32" y="16"/>
                    </a:lnTo>
                    <a:lnTo>
                      <a:pt x="28" y="20"/>
                    </a:lnTo>
                    <a:lnTo>
                      <a:pt x="28" y="20"/>
                    </a:lnTo>
                    <a:lnTo>
                      <a:pt x="26" y="20"/>
                    </a:lnTo>
                    <a:lnTo>
                      <a:pt x="26" y="20"/>
                    </a:lnTo>
                    <a:lnTo>
                      <a:pt x="26" y="20"/>
                    </a:lnTo>
                    <a:lnTo>
                      <a:pt x="2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9" name="Freeform 952"/>
              <p:cNvSpPr>
                <a:spLocks noEditPoints="1"/>
              </p:cNvSpPr>
              <p:nvPr/>
            </p:nvSpPr>
            <p:spPr bwMode="auto">
              <a:xfrm>
                <a:off x="4545" y="2653"/>
                <a:ext cx="36" cy="24"/>
              </a:xfrm>
              <a:custGeom>
                <a:avLst/>
                <a:gdLst>
                  <a:gd name="T0" fmla="*/ 18 w 36"/>
                  <a:gd name="T1" fmla="*/ 4 h 24"/>
                  <a:gd name="T2" fmla="*/ 26 w 36"/>
                  <a:gd name="T3" fmla="*/ 10 h 24"/>
                  <a:gd name="T4" fmla="*/ 32 w 36"/>
                  <a:gd name="T5" fmla="*/ 16 h 24"/>
                  <a:gd name="T6" fmla="*/ 28 w 36"/>
                  <a:gd name="T7" fmla="*/ 20 h 24"/>
                  <a:gd name="T8" fmla="*/ 18 w 36"/>
                  <a:gd name="T9" fmla="*/ 18 h 24"/>
                  <a:gd name="T10" fmla="*/ 8 w 36"/>
                  <a:gd name="T11" fmla="*/ 12 h 24"/>
                  <a:gd name="T12" fmla="*/ 4 w 36"/>
                  <a:gd name="T13" fmla="*/ 8 h 24"/>
                  <a:gd name="T14" fmla="*/ 6 w 36"/>
                  <a:gd name="T15" fmla="*/ 4 h 24"/>
                  <a:gd name="T16" fmla="*/ 18 w 36"/>
                  <a:gd name="T17" fmla="*/ 4 h 24"/>
                  <a:gd name="T18" fmla="*/ 18 w 36"/>
                  <a:gd name="T19" fmla="*/ 0 h 24"/>
                  <a:gd name="T20" fmla="*/ 6 w 36"/>
                  <a:gd name="T21" fmla="*/ 0 h 24"/>
                  <a:gd name="T22" fmla="*/ 6 w 36"/>
                  <a:gd name="T23" fmla="*/ 0 h 24"/>
                  <a:gd name="T24" fmla="*/ 4 w 36"/>
                  <a:gd name="T25" fmla="*/ 0 h 24"/>
                  <a:gd name="T26" fmla="*/ 2 w 36"/>
                  <a:gd name="T27" fmla="*/ 2 h 24"/>
                  <a:gd name="T28" fmla="*/ 0 w 36"/>
                  <a:gd name="T29" fmla="*/ 6 h 24"/>
                  <a:gd name="T30" fmla="*/ 0 w 36"/>
                  <a:gd name="T31" fmla="*/ 6 h 24"/>
                  <a:gd name="T32" fmla="*/ 0 w 36"/>
                  <a:gd name="T33" fmla="*/ 8 h 24"/>
                  <a:gd name="T34" fmla="*/ 2 w 36"/>
                  <a:gd name="T35" fmla="*/ 10 h 24"/>
                  <a:gd name="T36" fmla="*/ 4 w 36"/>
                  <a:gd name="T37" fmla="*/ 14 h 24"/>
                  <a:gd name="T38" fmla="*/ 4 w 36"/>
                  <a:gd name="T39" fmla="*/ 14 h 24"/>
                  <a:gd name="T40" fmla="*/ 6 w 36"/>
                  <a:gd name="T41" fmla="*/ 16 h 24"/>
                  <a:gd name="T42" fmla="*/ 14 w 36"/>
                  <a:gd name="T43" fmla="*/ 22 h 24"/>
                  <a:gd name="T44" fmla="*/ 14 w 36"/>
                  <a:gd name="T45" fmla="*/ 22 h 24"/>
                  <a:gd name="T46" fmla="*/ 16 w 36"/>
                  <a:gd name="T47" fmla="*/ 22 h 24"/>
                  <a:gd name="T48" fmla="*/ 28 w 36"/>
                  <a:gd name="T49" fmla="*/ 24 h 24"/>
                  <a:gd name="T50" fmla="*/ 28 w 36"/>
                  <a:gd name="T51" fmla="*/ 24 h 24"/>
                  <a:gd name="T52" fmla="*/ 28 w 36"/>
                  <a:gd name="T53" fmla="*/ 24 h 24"/>
                  <a:gd name="T54" fmla="*/ 28 w 36"/>
                  <a:gd name="T55" fmla="*/ 24 h 24"/>
                  <a:gd name="T56" fmla="*/ 32 w 36"/>
                  <a:gd name="T57" fmla="*/ 22 h 24"/>
                  <a:gd name="T58" fmla="*/ 36 w 36"/>
                  <a:gd name="T59" fmla="*/ 18 h 24"/>
                  <a:gd name="T60" fmla="*/ 36 w 36"/>
                  <a:gd name="T61" fmla="*/ 18 h 24"/>
                  <a:gd name="T62" fmla="*/ 36 w 36"/>
                  <a:gd name="T63" fmla="*/ 16 h 24"/>
                  <a:gd name="T64" fmla="*/ 36 w 36"/>
                  <a:gd name="T65" fmla="*/ 14 h 24"/>
                  <a:gd name="T66" fmla="*/ 30 w 36"/>
                  <a:gd name="T67" fmla="*/ 6 h 24"/>
                  <a:gd name="T68" fmla="*/ 30 w 36"/>
                  <a:gd name="T69" fmla="*/ 6 h 24"/>
                  <a:gd name="T70" fmla="*/ 28 w 36"/>
                  <a:gd name="T71" fmla="*/ 6 h 24"/>
                  <a:gd name="T72" fmla="*/ 20 w 36"/>
                  <a:gd name="T73" fmla="*/ 0 h 24"/>
                  <a:gd name="T74" fmla="*/ 20 w 36"/>
                  <a:gd name="T75" fmla="*/ 0 h 24"/>
                  <a:gd name="T76" fmla="*/ 18 w 36"/>
                  <a:gd name="T77" fmla="*/ 0 h 24"/>
                  <a:gd name="T78" fmla="*/ 18 w 36"/>
                  <a:gd name="T7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24">
                    <a:moveTo>
                      <a:pt x="18" y="4"/>
                    </a:moveTo>
                    <a:lnTo>
                      <a:pt x="26" y="10"/>
                    </a:lnTo>
                    <a:lnTo>
                      <a:pt x="32" y="16"/>
                    </a:lnTo>
                    <a:lnTo>
                      <a:pt x="28" y="20"/>
                    </a:lnTo>
                    <a:lnTo>
                      <a:pt x="18" y="18"/>
                    </a:lnTo>
                    <a:lnTo>
                      <a:pt x="8" y="12"/>
                    </a:lnTo>
                    <a:lnTo>
                      <a:pt x="4" y="8"/>
                    </a:lnTo>
                    <a:lnTo>
                      <a:pt x="6" y="4"/>
                    </a:lnTo>
                    <a:lnTo>
                      <a:pt x="18" y="4"/>
                    </a:lnTo>
                    <a:close/>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0" name="Freeform 953"/>
              <p:cNvSpPr>
                <a:spLocks/>
              </p:cNvSpPr>
              <p:nvPr/>
            </p:nvSpPr>
            <p:spPr bwMode="auto">
              <a:xfrm>
                <a:off x="4549" y="2657"/>
                <a:ext cx="28" cy="16"/>
              </a:xfrm>
              <a:custGeom>
                <a:avLst/>
                <a:gdLst>
                  <a:gd name="T0" fmla="*/ 14 w 28"/>
                  <a:gd name="T1" fmla="*/ 0 h 16"/>
                  <a:gd name="T2" fmla="*/ 22 w 28"/>
                  <a:gd name="T3" fmla="*/ 6 h 16"/>
                  <a:gd name="T4" fmla="*/ 28 w 28"/>
                  <a:gd name="T5" fmla="*/ 12 h 16"/>
                  <a:gd name="T6" fmla="*/ 24 w 28"/>
                  <a:gd name="T7" fmla="*/ 16 h 16"/>
                  <a:gd name="T8" fmla="*/ 14 w 28"/>
                  <a:gd name="T9" fmla="*/ 14 h 16"/>
                  <a:gd name="T10" fmla="*/ 4 w 28"/>
                  <a:gd name="T11" fmla="*/ 8 h 16"/>
                  <a:gd name="T12" fmla="*/ 0 w 28"/>
                  <a:gd name="T13" fmla="*/ 4 h 16"/>
                  <a:gd name="T14" fmla="*/ 2 w 28"/>
                  <a:gd name="T15" fmla="*/ 0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lnTo>
                      <a:pt x="22" y="6"/>
                    </a:lnTo>
                    <a:lnTo>
                      <a:pt x="28" y="12"/>
                    </a:lnTo>
                    <a:lnTo>
                      <a:pt x="24" y="16"/>
                    </a:lnTo>
                    <a:lnTo>
                      <a:pt x="14" y="14"/>
                    </a:lnTo>
                    <a:lnTo>
                      <a:pt x="4" y="8"/>
                    </a:lnTo>
                    <a:lnTo>
                      <a:pt x="0" y="4"/>
                    </a:lnTo>
                    <a:lnTo>
                      <a:pt x="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1" name="Freeform 954"/>
              <p:cNvSpPr>
                <a:spLocks/>
              </p:cNvSpPr>
              <p:nvPr/>
            </p:nvSpPr>
            <p:spPr bwMode="auto">
              <a:xfrm>
                <a:off x="4545" y="2653"/>
                <a:ext cx="36" cy="24"/>
              </a:xfrm>
              <a:custGeom>
                <a:avLst/>
                <a:gdLst>
                  <a:gd name="T0" fmla="*/ 18 w 36"/>
                  <a:gd name="T1" fmla="*/ 0 h 24"/>
                  <a:gd name="T2" fmla="*/ 6 w 36"/>
                  <a:gd name="T3" fmla="*/ 0 h 24"/>
                  <a:gd name="T4" fmla="*/ 6 w 36"/>
                  <a:gd name="T5" fmla="*/ 0 h 24"/>
                  <a:gd name="T6" fmla="*/ 4 w 36"/>
                  <a:gd name="T7" fmla="*/ 0 h 24"/>
                  <a:gd name="T8" fmla="*/ 2 w 36"/>
                  <a:gd name="T9" fmla="*/ 2 h 24"/>
                  <a:gd name="T10" fmla="*/ 0 w 36"/>
                  <a:gd name="T11" fmla="*/ 6 h 24"/>
                  <a:gd name="T12" fmla="*/ 0 w 36"/>
                  <a:gd name="T13" fmla="*/ 6 h 24"/>
                  <a:gd name="T14" fmla="*/ 0 w 36"/>
                  <a:gd name="T15" fmla="*/ 8 h 24"/>
                  <a:gd name="T16" fmla="*/ 2 w 36"/>
                  <a:gd name="T17" fmla="*/ 10 h 24"/>
                  <a:gd name="T18" fmla="*/ 4 w 36"/>
                  <a:gd name="T19" fmla="*/ 14 h 24"/>
                  <a:gd name="T20" fmla="*/ 4 w 36"/>
                  <a:gd name="T21" fmla="*/ 14 h 24"/>
                  <a:gd name="T22" fmla="*/ 6 w 36"/>
                  <a:gd name="T23" fmla="*/ 16 h 24"/>
                  <a:gd name="T24" fmla="*/ 14 w 36"/>
                  <a:gd name="T25" fmla="*/ 22 h 24"/>
                  <a:gd name="T26" fmla="*/ 14 w 36"/>
                  <a:gd name="T27" fmla="*/ 22 h 24"/>
                  <a:gd name="T28" fmla="*/ 16 w 36"/>
                  <a:gd name="T29" fmla="*/ 22 h 24"/>
                  <a:gd name="T30" fmla="*/ 28 w 36"/>
                  <a:gd name="T31" fmla="*/ 24 h 24"/>
                  <a:gd name="T32" fmla="*/ 28 w 36"/>
                  <a:gd name="T33" fmla="*/ 24 h 24"/>
                  <a:gd name="T34" fmla="*/ 28 w 36"/>
                  <a:gd name="T35" fmla="*/ 24 h 24"/>
                  <a:gd name="T36" fmla="*/ 28 w 36"/>
                  <a:gd name="T37" fmla="*/ 24 h 24"/>
                  <a:gd name="T38" fmla="*/ 32 w 36"/>
                  <a:gd name="T39" fmla="*/ 22 h 24"/>
                  <a:gd name="T40" fmla="*/ 36 w 36"/>
                  <a:gd name="T41" fmla="*/ 18 h 24"/>
                  <a:gd name="T42" fmla="*/ 36 w 36"/>
                  <a:gd name="T43" fmla="*/ 18 h 24"/>
                  <a:gd name="T44" fmla="*/ 36 w 36"/>
                  <a:gd name="T45" fmla="*/ 16 h 24"/>
                  <a:gd name="T46" fmla="*/ 36 w 36"/>
                  <a:gd name="T47" fmla="*/ 14 h 24"/>
                  <a:gd name="T48" fmla="*/ 30 w 36"/>
                  <a:gd name="T49" fmla="*/ 6 h 24"/>
                  <a:gd name="T50" fmla="*/ 30 w 36"/>
                  <a:gd name="T51" fmla="*/ 6 h 24"/>
                  <a:gd name="T52" fmla="*/ 28 w 36"/>
                  <a:gd name="T53" fmla="*/ 6 h 24"/>
                  <a:gd name="T54" fmla="*/ 20 w 36"/>
                  <a:gd name="T55" fmla="*/ 0 h 24"/>
                  <a:gd name="T56" fmla="*/ 20 w 36"/>
                  <a:gd name="T57" fmla="*/ 0 h 24"/>
                  <a:gd name="T58" fmla="*/ 18 w 36"/>
                  <a:gd name="T59" fmla="*/ 0 h 24"/>
                  <a:gd name="T60" fmla="*/ 18 w 36"/>
                  <a:gd name="T6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4">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2" name="Freeform 955"/>
              <p:cNvSpPr>
                <a:spLocks/>
              </p:cNvSpPr>
              <p:nvPr/>
            </p:nvSpPr>
            <p:spPr bwMode="auto">
              <a:xfrm>
                <a:off x="4559" y="2637"/>
                <a:ext cx="36" cy="16"/>
              </a:xfrm>
              <a:custGeom>
                <a:avLst/>
                <a:gdLst>
                  <a:gd name="T0" fmla="*/ 2 w 36"/>
                  <a:gd name="T1" fmla="*/ 16 h 16"/>
                  <a:gd name="T2" fmla="*/ 2 w 36"/>
                  <a:gd name="T3" fmla="*/ 16 h 16"/>
                  <a:gd name="T4" fmla="*/ 0 w 36"/>
                  <a:gd name="T5" fmla="*/ 14 h 16"/>
                  <a:gd name="T6" fmla="*/ 0 w 36"/>
                  <a:gd name="T7" fmla="*/ 14 h 16"/>
                  <a:gd name="T8" fmla="*/ 0 w 36"/>
                  <a:gd name="T9" fmla="*/ 12 h 16"/>
                  <a:gd name="T10" fmla="*/ 4 w 36"/>
                  <a:gd name="T11" fmla="*/ 4 h 16"/>
                  <a:gd name="T12" fmla="*/ 4 w 36"/>
                  <a:gd name="T13" fmla="*/ 4 h 16"/>
                  <a:gd name="T14" fmla="*/ 4 w 36"/>
                  <a:gd name="T15" fmla="*/ 4 h 16"/>
                  <a:gd name="T16" fmla="*/ 8 w 36"/>
                  <a:gd name="T17" fmla="*/ 0 h 16"/>
                  <a:gd name="T18" fmla="*/ 8 w 36"/>
                  <a:gd name="T19" fmla="*/ 0 h 16"/>
                  <a:gd name="T20" fmla="*/ 8 w 36"/>
                  <a:gd name="T21" fmla="*/ 0 h 16"/>
                  <a:gd name="T22" fmla="*/ 8 w 36"/>
                  <a:gd name="T23" fmla="*/ 0 h 16"/>
                  <a:gd name="T24" fmla="*/ 8 w 36"/>
                  <a:gd name="T25" fmla="*/ 0 h 16"/>
                  <a:gd name="T26" fmla="*/ 18 w 36"/>
                  <a:gd name="T27" fmla="*/ 2 h 16"/>
                  <a:gd name="T28" fmla="*/ 24 w 36"/>
                  <a:gd name="T29" fmla="*/ 6 h 16"/>
                  <a:gd name="T30" fmla="*/ 34 w 36"/>
                  <a:gd name="T31" fmla="*/ 4 h 16"/>
                  <a:gd name="T32" fmla="*/ 34 w 36"/>
                  <a:gd name="T33" fmla="*/ 4 h 16"/>
                  <a:gd name="T34" fmla="*/ 36 w 36"/>
                  <a:gd name="T35" fmla="*/ 6 h 16"/>
                  <a:gd name="T36" fmla="*/ 36 w 36"/>
                  <a:gd name="T37" fmla="*/ 14 h 16"/>
                  <a:gd name="T38" fmla="*/ 36 w 36"/>
                  <a:gd name="T39" fmla="*/ 14 h 16"/>
                  <a:gd name="T40" fmla="*/ 34 w 36"/>
                  <a:gd name="T41" fmla="*/ 16 h 16"/>
                  <a:gd name="T42" fmla="*/ 2 w 3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16">
                    <a:moveTo>
                      <a:pt x="2" y="16"/>
                    </a:moveTo>
                    <a:lnTo>
                      <a:pt x="2" y="16"/>
                    </a:lnTo>
                    <a:lnTo>
                      <a:pt x="0" y="14"/>
                    </a:lnTo>
                    <a:lnTo>
                      <a:pt x="0" y="14"/>
                    </a:lnTo>
                    <a:lnTo>
                      <a:pt x="0" y="12"/>
                    </a:lnTo>
                    <a:lnTo>
                      <a:pt x="4" y="4"/>
                    </a:lnTo>
                    <a:lnTo>
                      <a:pt x="4" y="4"/>
                    </a:lnTo>
                    <a:lnTo>
                      <a:pt x="4" y="4"/>
                    </a:lnTo>
                    <a:lnTo>
                      <a:pt x="8" y="0"/>
                    </a:lnTo>
                    <a:lnTo>
                      <a:pt x="8" y="0"/>
                    </a:lnTo>
                    <a:lnTo>
                      <a:pt x="8" y="0"/>
                    </a:lnTo>
                    <a:lnTo>
                      <a:pt x="8" y="0"/>
                    </a:lnTo>
                    <a:lnTo>
                      <a:pt x="8" y="0"/>
                    </a:lnTo>
                    <a:lnTo>
                      <a:pt x="18" y="2"/>
                    </a:lnTo>
                    <a:lnTo>
                      <a:pt x="24" y="6"/>
                    </a:lnTo>
                    <a:lnTo>
                      <a:pt x="34" y="4"/>
                    </a:lnTo>
                    <a:lnTo>
                      <a:pt x="34" y="4"/>
                    </a:lnTo>
                    <a:lnTo>
                      <a:pt x="36" y="6"/>
                    </a:lnTo>
                    <a:lnTo>
                      <a:pt x="36" y="14"/>
                    </a:lnTo>
                    <a:lnTo>
                      <a:pt x="36" y="14"/>
                    </a:lnTo>
                    <a:lnTo>
                      <a:pt x="3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3" name="Freeform 956"/>
              <p:cNvSpPr>
                <a:spLocks noEditPoints="1"/>
              </p:cNvSpPr>
              <p:nvPr/>
            </p:nvSpPr>
            <p:spPr bwMode="auto">
              <a:xfrm>
                <a:off x="4557" y="2635"/>
                <a:ext cx="40" cy="20"/>
              </a:xfrm>
              <a:custGeom>
                <a:avLst/>
                <a:gdLst>
                  <a:gd name="T0" fmla="*/ 10 w 40"/>
                  <a:gd name="T1" fmla="*/ 4 h 20"/>
                  <a:gd name="T2" fmla="*/ 20 w 40"/>
                  <a:gd name="T3" fmla="*/ 6 h 20"/>
                  <a:gd name="T4" fmla="*/ 24 w 40"/>
                  <a:gd name="T5" fmla="*/ 8 h 20"/>
                  <a:gd name="T6" fmla="*/ 36 w 40"/>
                  <a:gd name="T7" fmla="*/ 8 h 20"/>
                  <a:gd name="T8" fmla="*/ 36 w 40"/>
                  <a:gd name="T9" fmla="*/ 16 h 20"/>
                  <a:gd name="T10" fmla="*/ 20 w 40"/>
                  <a:gd name="T11" fmla="*/ 16 h 20"/>
                  <a:gd name="T12" fmla="*/ 4 w 40"/>
                  <a:gd name="T13" fmla="*/ 16 h 20"/>
                  <a:gd name="T14" fmla="*/ 6 w 40"/>
                  <a:gd name="T15" fmla="*/ 6 h 20"/>
                  <a:gd name="T16" fmla="*/ 10 w 40"/>
                  <a:gd name="T17" fmla="*/ 4 h 20"/>
                  <a:gd name="T18" fmla="*/ 10 w 40"/>
                  <a:gd name="T19" fmla="*/ 0 h 20"/>
                  <a:gd name="T20" fmla="*/ 10 w 40"/>
                  <a:gd name="T21" fmla="*/ 0 h 20"/>
                  <a:gd name="T22" fmla="*/ 8 w 40"/>
                  <a:gd name="T23" fmla="*/ 2 h 20"/>
                  <a:gd name="T24" fmla="*/ 4 w 40"/>
                  <a:gd name="T25" fmla="*/ 4 h 20"/>
                  <a:gd name="T26" fmla="*/ 4 w 40"/>
                  <a:gd name="T27" fmla="*/ 4 h 20"/>
                  <a:gd name="T28" fmla="*/ 4 w 40"/>
                  <a:gd name="T29" fmla="*/ 6 h 20"/>
                  <a:gd name="T30" fmla="*/ 0 w 40"/>
                  <a:gd name="T31" fmla="*/ 14 h 20"/>
                  <a:gd name="T32" fmla="*/ 0 w 40"/>
                  <a:gd name="T33" fmla="*/ 14 h 20"/>
                  <a:gd name="T34" fmla="*/ 0 w 40"/>
                  <a:gd name="T35" fmla="*/ 18 h 20"/>
                  <a:gd name="T36" fmla="*/ 0 w 40"/>
                  <a:gd name="T37" fmla="*/ 18 h 20"/>
                  <a:gd name="T38" fmla="*/ 4 w 40"/>
                  <a:gd name="T39" fmla="*/ 20 h 20"/>
                  <a:gd name="T40" fmla="*/ 20 w 40"/>
                  <a:gd name="T41" fmla="*/ 20 h 20"/>
                  <a:gd name="T42" fmla="*/ 36 w 40"/>
                  <a:gd name="T43" fmla="*/ 20 h 20"/>
                  <a:gd name="T44" fmla="*/ 36 w 40"/>
                  <a:gd name="T45" fmla="*/ 20 h 20"/>
                  <a:gd name="T46" fmla="*/ 40 w 40"/>
                  <a:gd name="T47" fmla="*/ 18 h 20"/>
                  <a:gd name="T48" fmla="*/ 40 w 40"/>
                  <a:gd name="T49" fmla="*/ 16 h 20"/>
                  <a:gd name="T50" fmla="*/ 40 w 40"/>
                  <a:gd name="T51" fmla="*/ 8 h 20"/>
                  <a:gd name="T52" fmla="*/ 40 w 40"/>
                  <a:gd name="T53" fmla="*/ 8 h 20"/>
                  <a:gd name="T54" fmla="*/ 40 w 40"/>
                  <a:gd name="T55" fmla="*/ 6 h 20"/>
                  <a:gd name="T56" fmla="*/ 36 w 40"/>
                  <a:gd name="T57" fmla="*/ 4 h 20"/>
                  <a:gd name="T58" fmla="*/ 26 w 40"/>
                  <a:gd name="T59" fmla="*/ 4 h 20"/>
                  <a:gd name="T60" fmla="*/ 20 w 40"/>
                  <a:gd name="T61" fmla="*/ 4 h 20"/>
                  <a:gd name="T62" fmla="*/ 20 w 40"/>
                  <a:gd name="T63" fmla="*/ 4 h 20"/>
                  <a:gd name="T64" fmla="*/ 20 w 40"/>
                  <a:gd name="T65" fmla="*/ 2 h 20"/>
                  <a:gd name="T66" fmla="*/ 12 w 40"/>
                  <a:gd name="T67" fmla="*/ 0 h 20"/>
                  <a:gd name="T68" fmla="*/ 12 w 40"/>
                  <a:gd name="T69" fmla="*/ 0 h 20"/>
                  <a:gd name="T70" fmla="*/ 10 w 40"/>
                  <a:gd name="T71" fmla="*/ 0 h 20"/>
                  <a:gd name="T72" fmla="*/ 10 w 40"/>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20">
                    <a:moveTo>
                      <a:pt x="10" y="4"/>
                    </a:moveTo>
                    <a:lnTo>
                      <a:pt x="20" y="6"/>
                    </a:lnTo>
                    <a:lnTo>
                      <a:pt x="24" y="8"/>
                    </a:lnTo>
                    <a:lnTo>
                      <a:pt x="36" y="8"/>
                    </a:lnTo>
                    <a:lnTo>
                      <a:pt x="36" y="16"/>
                    </a:lnTo>
                    <a:lnTo>
                      <a:pt x="20" y="16"/>
                    </a:lnTo>
                    <a:lnTo>
                      <a:pt x="4" y="16"/>
                    </a:lnTo>
                    <a:lnTo>
                      <a:pt x="6" y="6"/>
                    </a:lnTo>
                    <a:lnTo>
                      <a:pt x="10" y="4"/>
                    </a:lnTo>
                    <a:close/>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4" name="Freeform 957"/>
              <p:cNvSpPr>
                <a:spLocks/>
              </p:cNvSpPr>
              <p:nvPr/>
            </p:nvSpPr>
            <p:spPr bwMode="auto">
              <a:xfrm>
                <a:off x="4561" y="2639"/>
                <a:ext cx="32" cy="12"/>
              </a:xfrm>
              <a:custGeom>
                <a:avLst/>
                <a:gdLst>
                  <a:gd name="T0" fmla="*/ 6 w 32"/>
                  <a:gd name="T1" fmla="*/ 0 h 12"/>
                  <a:gd name="T2" fmla="*/ 16 w 32"/>
                  <a:gd name="T3" fmla="*/ 2 h 12"/>
                  <a:gd name="T4" fmla="*/ 20 w 32"/>
                  <a:gd name="T5" fmla="*/ 4 h 12"/>
                  <a:gd name="T6" fmla="*/ 32 w 32"/>
                  <a:gd name="T7" fmla="*/ 4 h 12"/>
                  <a:gd name="T8" fmla="*/ 32 w 32"/>
                  <a:gd name="T9" fmla="*/ 12 h 12"/>
                  <a:gd name="T10" fmla="*/ 16 w 32"/>
                  <a:gd name="T11" fmla="*/ 12 h 12"/>
                  <a:gd name="T12" fmla="*/ 0 w 32"/>
                  <a:gd name="T13" fmla="*/ 12 h 12"/>
                  <a:gd name="T14" fmla="*/ 2 w 32"/>
                  <a:gd name="T15" fmla="*/ 2 h 12"/>
                  <a:gd name="T16" fmla="*/ 6 w 3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
                    <a:moveTo>
                      <a:pt x="6" y="0"/>
                    </a:moveTo>
                    <a:lnTo>
                      <a:pt x="16" y="2"/>
                    </a:lnTo>
                    <a:lnTo>
                      <a:pt x="20" y="4"/>
                    </a:lnTo>
                    <a:lnTo>
                      <a:pt x="32" y="4"/>
                    </a:lnTo>
                    <a:lnTo>
                      <a:pt x="32" y="12"/>
                    </a:lnTo>
                    <a:lnTo>
                      <a:pt x="16" y="12"/>
                    </a:lnTo>
                    <a:lnTo>
                      <a:pt x="0" y="12"/>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5" name="Freeform 958"/>
              <p:cNvSpPr>
                <a:spLocks/>
              </p:cNvSpPr>
              <p:nvPr/>
            </p:nvSpPr>
            <p:spPr bwMode="auto">
              <a:xfrm>
                <a:off x="4557" y="2635"/>
                <a:ext cx="40" cy="20"/>
              </a:xfrm>
              <a:custGeom>
                <a:avLst/>
                <a:gdLst>
                  <a:gd name="T0" fmla="*/ 10 w 40"/>
                  <a:gd name="T1" fmla="*/ 0 h 20"/>
                  <a:gd name="T2" fmla="*/ 10 w 40"/>
                  <a:gd name="T3" fmla="*/ 0 h 20"/>
                  <a:gd name="T4" fmla="*/ 8 w 40"/>
                  <a:gd name="T5" fmla="*/ 2 h 20"/>
                  <a:gd name="T6" fmla="*/ 4 w 40"/>
                  <a:gd name="T7" fmla="*/ 4 h 20"/>
                  <a:gd name="T8" fmla="*/ 4 w 40"/>
                  <a:gd name="T9" fmla="*/ 4 h 20"/>
                  <a:gd name="T10" fmla="*/ 4 w 40"/>
                  <a:gd name="T11" fmla="*/ 6 h 20"/>
                  <a:gd name="T12" fmla="*/ 0 w 40"/>
                  <a:gd name="T13" fmla="*/ 14 h 20"/>
                  <a:gd name="T14" fmla="*/ 0 w 40"/>
                  <a:gd name="T15" fmla="*/ 14 h 20"/>
                  <a:gd name="T16" fmla="*/ 0 w 40"/>
                  <a:gd name="T17" fmla="*/ 18 h 20"/>
                  <a:gd name="T18" fmla="*/ 0 w 40"/>
                  <a:gd name="T19" fmla="*/ 18 h 20"/>
                  <a:gd name="T20" fmla="*/ 4 w 40"/>
                  <a:gd name="T21" fmla="*/ 20 h 20"/>
                  <a:gd name="T22" fmla="*/ 20 w 40"/>
                  <a:gd name="T23" fmla="*/ 20 h 20"/>
                  <a:gd name="T24" fmla="*/ 36 w 40"/>
                  <a:gd name="T25" fmla="*/ 20 h 20"/>
                  <a:gd name="T26" fmla="*/ 36 w 40"/>
                  <a:gd name="T27" fmla="*/ 20 h 20"/>
                  <a:gd name="T28" fmla="*/ 40 w 40"/>
                  <a:gd name="T29" fmla="*/ 18 h 20"/>
                  <a:gd name="T30" fmla="*/ 40 w 40"/>
                  <a:gd name="T31" fmla="*/ 16 h 20"/>
                  <a:gd name="T32" fmla="*/ 40 w 40"/>
                  <a:gd name="T33" fmla="*/ 8 h 20"/>
                  <a:gd name="T34" fmla="*/ 40 w 40"/>
                  <a:gd name="T35" fmla="*/ 8 h 20"/>
                  <a:gd name="T36" fmla="*/ 40 w 40"/>
                  <a:gd name="T37" fmla="*/ 6 h 20"/>
                  <a:gd name="T38" fmla="*/ 36 w 40"/>
                  <a:gd name="T39" fmla="*/ 4 h 20"/>
                  <a:gd name="T40" fmla="*/ 26 w 40"/>
                  <a:gd name="T41" fmla="*/ 4 h 20"/>
                  <a:gd name="T42" fmla="*/ 20 w 40"/>
                  <a:gd name="T43" fmla="*/ 4 h 20"/>
                  <a:gd name="T44" fmla="*/ 20 w 40"/>
                  <a:gd name="T45" fmla="*/ 4 h 20"/>
                  <a:gd name="T46" fmla="*/ 20 w 40"/>
                  <a:gd name="T47" fmla="*/ 2 h 20"/>
                  <a:gd name="T48" fmla="*/ 12 w 40"/>
                  <a:gd name="T49" fmla="*/ 0 h 20"/>
                  <a:gd name="T50" fmla="*/ 12 w 40"/>
                  <a:gd name="T51" fmla="*/ 0 h 20"/>
                  <a:gd name="T52" fmla="*/ 10 w 40"/>
                  <a:gd name="T53" fmla="*/ 0 h 20"/>
                  <a:gd name="T54" fmla="*/ 10 w 4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0">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6" name="Freeform 959"/>
              <p:cNvSpPr>
                <a:spLocks/>
              </p:cNvSpPr>
              <p:nvPr/>
            </p:nvSpPr>
            <p:spPr bwMode="auto">
              <a:xfrm>
                <a:off x="4531" y="2637"/>
                <a:ext cx="26" cy="16"/>
              </a:xfrm>
              <a:custGeom>
                <a:avLst/>
                <a:gdLst>
                  <a:gd name="T0" fmla="*/ 2 w 26"/>
                  <a:gd name="T1" fmla="*/ 16 h 16"/>
                  <a:gd name="T2" fmla="*/ 2 w 26"/>
                  <a:gd name="T3" fmla="*/ 16 h 16"/>
                  <a:gd name="T4" fmla="*/ 0 w 26"/>
                  <a:gd name="T5" fmla="*/ 14 h 16"/>
                  <a:gd name="T6" fmla="*/ 0 w 26"/>
                  <a:gd name="T7" fmla="*/ 4 h 16"/>
                  <a:gd name="T8" fmla="*/ 0 w 26"/>
                  <a:gd name="T9" fmla="*/ 4 h 16"/>
                  <a:gd name="T10" fmla="*/ 0 w 26"/>
                  <a:gd name="T11" fmla="*/ 2 h 16"/>
                  <a:gd name="T12" fmla="*/ 10 w 26"/>
                  <a:gd name="T13" fmla="*/ 0 h 16"/>
                  <a:gd name="T14" fmla="*/ 10 w 26"/>
                  <a:gd name="T15" fmla="*/ 0 h 16"/>
                  <a:gd name="T16" fmla="*/ 10 w 26"/>
                  <a:gd name="T17" fmla="*/ 0 h 16"/>
                  <a:gd name="T18" fmla="*/ 10 w 26"/>
                  <a:gd name="T19" fmla="*/ 0 h 16"/>
                  <a:gd name="T20" fmla="*/ 10 w 26"/>
                  <a:gd name="T21" fmla="*/ 0 h 16"/>
                  <a:gd name="T22" fmla="*/ 22 w 26"/>
                  <a:gd name="T23" fmla="*/ 2 h 16"/>
                  <a:gd name="T24" fmla="*/ 22 w 26"/>
                  <a:gd name="T25" fmla="*/ 2 h 16"/>
                  <a:gd name="T26" fmla="*/ 24 w 26"/>
                  <a:gd name="T27" fmla="*/ 4 h 16"/>
                  <a:gd name="T28" fmla="*/ 26 w 26"/>
                  <a:gd name="T29" fmla="*/ 14 h 16"/>
                  <a:gd name="T30" fmla="*/ 26 w 26"/>
                  <a:gd name="T31" fmla="*/ 14 h 16"/>
                  <a:gd name="T32" fmla="*/ 26 w 26"/>
                  <a:gd name="T33" fmla="*/ 14 h 16"/>
                  <a:gd name="T34" fmla="*/ 26 w 26"/>
                  <a:gd name="T35" fmla="*/ 14 h 16"/>
                  <a:gd name="T36" fmla="*/ 24 w 26"/>
                  <a:gd name="T37" fmla="*/ 16 h 16"/>
                  <a:gd name="T38" fmla="*/ 2 w 26"/>
                  <a:gd name="T3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6">
                    <a:moveTo>
                      <a:pt x="2" y="16"/>
                    </a:moveTo>
                    <a:lnTo>
                      <a:pt x="2" y="16"/>
                    </a:lnTo>
                    <a:lnTo>
                      <a:pt x="0" y="14"/>
                    </a:lnTo>
                    <a:lnTo>
                      <a:pt x="0" y="4"/>
                    </a:lnTo>
                    <a:lnTo>
                      <a:pt x="0" y="4"/>
                    </a:lnTo>
                    <a:lnTo>
                      <a:pt x="0" y="2"/>
                    </a:lnTo>
                    <a:lnTo>
                      <a:pt x="10" y="0"/>
                    </a:lnTo>
                    <a:lnTo>
                      <a:pt x="10" y="0"/>
                    </a:lnTo>
                    <a:lnTo>
                      <a:pt x="10" y="0"/>
                    </a:lnTo>
                    <a:lnTo>
                      <a:pt x="10" y="0"/>
                    </a:lnTo>
                    <a:lnTo>
                      <a:pt x="10" y="0"/>
                    </a:lnTo>
                    <a:lnTo>
                      <a:pt x="22" y="2"/>
                    </a:lnTo>
                    <a:lnTo>
                      <a:pt x="22" y="2"/>
                    </a:lnTo>
                    <a:lnTo>
                      <a:pt x="24" y="4"/>
                    </a:lnTo>
                    <a:lnTo>
                      <a:pt x="26" y="14"/>
                    </a:lnTo>
                    <a:lnTo>
                      <a:pt x="26" y="14"/>
                    </a:lnTo>
                    <a:lnTo>
                      <a:pt x="26" y="14"/>
                    </a:lnTo>
                    <a:lnTo>
                      <a:pt x="26" y="14"/>
                    </a:lnTo>
                    <a:lnTo>
                      <a:pt x="2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7" name="Freeform 960"/>
              <p:cNvSpPr>
                <a:spLocks noEditPoints="1"/>
              </p:cNvSpPr>
              <p:nvPr/>
            </p:nvSpPr>
            <p:spPr bwMode="auto">
              <a:xfrm>
                <a:off x="4529" y="2635"/>
                <a:ext cx="30" cy="20"/>
              </a:xfrm>
              <a:custGeom>
                <a:avLst/>
                <a:gdLst>
                  <a:gd name="T0" fmla="*/ 12 w 30"/>
                  <a:gd name="T1" fmla="*/ 4 h 20"/>
                  <a:gd name="T2" fmla="*/ 24 w 30"/>
                  <a:gd name="T3" fmla="*/ 6 h 20"/>
                  <a:gd name="T4" fmla="*/ 26 w 30"/>
                  <a:gd name="T5" fmla="*/ 16 h 20"/>
                  <a:gd name="T6" fmla="*/ 4 w 30"/>
                  <a:gd name="T7" fmla="*/ 16 h 20"/>
                  <a:gd name="T8" fmla="*/ 4 w 30"/>
                  <a:gd name="T9" fmla="*/ 6 h 20"/>
                  <a:gd name="T10" fmla="*/ 12 w 30"/>
                  <a:gd name="T11" fmla="*/ 4 h 20"/>
                  <a:gd name="T12" fmla="*/ 12 w 30"/>
                  <a:gd name="T13" fmla="*/ 0 h 20"/>
                  <a:gd name="T14" fmla="*/ 12 w 30"/>
                  <a:gd name="T15" fmla="*/ 0 h 20"/>
                  <a:gd name="T16" fmla="*/ 12 w 30"/>
                  <a:gd name="T17" fmla="*/ 0 h 20"/>
                  <a:gd name="T18" fmla="*/ 2 w 30"/>
                  <a:gd name="T19" fmla="*/ 2 h 20"/>
                  <a:gd name="T20" fmla="*/ 2 w 30"/>
                  <a:gd name="T21" fmla="*/ 2 h 20"/>
                  <a:gd name="T22" fmla="*/ 0 w 30"/>
                  <a:gd name="T23" fmla="*/ 4 h 20"/>
                  <a:gd name="T24" fmla="*/ 0 w 30"/>
                  <a:gd name="T25" fmla="*/ 6 h 20"/>
                  <a:gd name="T26" fmla="*/ 0 w 30"/>
                  <a:gd name="T27" fmla="*/ 16 h 20"/>
                  <a:gd name="T28" fmla="*/ 0 w 30"/>
                  <a:gd name="T29" fmla="*/ 16 h 20"/>
                  <a:gd name="T30" fmla="*/ 0 w 30"/>
                  <a:gd name="T31" fmla="*/ 18 h 20"/>
                  <a:gd name="T32" fmla="*/ 4 w 30"/>
                  <a:gd name="T33" fmla="*/ 20 h 20"/>
                  <a:gd name="T34" fmla="*/ 26 w 30"/>
                  <a:gd name="T35" fmla="*/ 20 h 20"/>
                  <a:gd name="T36" fmla="*/ 26 w 30"/>
                  <a:gd name="T37" fmla="*/ 20 h 20"/>
                  <a:gd name="T38" fmla="*/ 28 w 30"/>
                  <a:gd name="T39" fmla="*/ 18 h 20"/>
                  <a:gd name="T40" fmla="*/ 28 w 30"/>
                  <a:gd name="T41" fmla="*/ 18 h 20"/>
                  <a:gd name="T42" fmla="*/ 30 w 30"/>
                  <a:gd name="T43" fmla="*/ 14 h 20"/>
                  <a:gd name="T44" fmla="*/ 28 w 30"/>
                  <a:gd name="T45" fmla="*/ 6 h 20"/>
                  <a:gd name="T46" fmla="*/ 28 w 30"/>
                  <a:gd name="T47" fmla="*/ 6 h 20"/>
                  <a:gd name="T48" fmla="*/ 26 w 30"/>
                  <a:gd name="T49" fmla="*/ 4 h 20"/>
                  <a:gd name="T50" fmla="*/ 24 w 30"/>
                  <a:gd name="T51" fmla="*/ 2 h 20"/>
                  <a:gd name="T52" fmla="*/ 14 w 30"/>
                  <a:gd name="T53" fmla="*/ 0 h 20"/>
                  <a:gd name="T54" fmla="*/ 14 w 30"/>
                  <a:gd name="T55" fmla="*/ 0 h 20"/>
                  <a:gd name="T56" fmla="*/ 12 w 30"/>
                  <a:gd name="T57" fmla="*/ 0 h 20"/>
                  <a:gd name="T58" fmla="*/ 12 w 3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20">
                    <a:moveTo>
                      <a:pt x="12" y="4"/>
                    </a:moveTo>
                    <a:lnTo>
                      <a:pt x="24" y="6"/>
                    </a:lnTo>
                    <a:lnTo>
                      <a:pt x="26" y="16"/>
                    </a:lnTo>
                    <a:lnTo>
                      <a:pt x="4" y="16"/>
                    </a:lnTo>
                    <a:lnTo>
                      <a:pt x="4" y="6"/>
                    </a:lnTo>
                    <a:lnTo>
                      <a:pt x="12" y="4"/>
                    </a:lnTo>
                    <a:close/>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8" name="Freeform 961"/>
              <p:cNvSpPr>
                <a:spLocks/>
              </p:cNvSpPr>
              <p:nvPr/>
            </p:nvSpPr>
            <p:spPr bwMode="auto">
              <a:xfrm>
                <a:off x="4533" y="2639"/>
                <a:ext cx="22" cy="12"/>
              </a:xfrm>
              <a:custGeom>
                <a:avLst/>
                <a:gdLst>
                  <a:gd name="T0" fmla="*/ 8 w 22"/>
                  <a:gd name="T1" fmla="*/ 0 h 12"/>
                  <a:gd name="T2" fmla="*/ 20 w 22"/>
                  <a:gd name="T3" fmla="*/ 2 h 12"/>
                  <a:gd name="T4" fmla="*/ 22 w 22"/>
                  <a:gd name="T5" fmla="*/ 12 h 12"/>
                  <a:gd name="T6" fmla="*/ 0 w 22"/>
                  <a:gd name="T7" fmla="*/ 12 h 12"/>
                  <a:gd name="T8" fmla="*/ 0 w 22"/>
                  <a:gd name="T9" fmla="*/ 2 h 12"/>
                  <a:gd name="T10" fmla="*/ 8 w 22"/>
                  <a:gd name="T11" fmla="*/ 0 h 12"/>
                </a:gdLst>
                <a:ahLst/>
                <a:cxnLst>
                  <a:cxn ang="0">
                    <a:pos x="T0" y="T1"/>
                  </a:cxn>
                  <a:cxn ang="0">
                    <a:pos x="T2" y="T3"/>
                  </a:cxn>
                  <a:cxn ang="0">
                    <a:pos x="T4" y="T5"/>
                  </a:cxn>
                  <a:cxn ang="0">
                    <a:pos x="T6" y="T7"/>
                  </a:cxn>
                  <a:cxn ang="0">
                    <a:pos x="T8" y="T9"/>
                  </a:cxn>
                  <a:cxn ang="0">
                    <a:pos x="T10" y="T11"/>
                  </a:cxn>
                </a:cxnLst>
                <a:rect l="0" t="0" r="r" b="b"/>
                <a:pathLst>
                  <a:path w="22" h="12">
                    <a:moveTo>
                      <a:pt x="8" y="0"/>
                    </a:moveTo>
                    <a:lnTo>
                      <a:pt x="20" y="2"/>
                    </a:lnTo>
                    <a:lnTo>
                      <a:pt x="22" y="12"/>
                    </a:lnTo>
                    <a:lnTo>
                      <a:pt x="0" y="12"/>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9" name="Freeform 962"/>
              <p:cNvSpPr>
                <a:spLocks/>
              </p:cNvSpPr>
              <p:nvPr/>
            </p:nvSpPr>
            <p:spPr bwMode="auto">
              <a:xfrm>
                <a:off x="4529" y="2635"/>
                <a:ext cx="30" cy="20"/>
              </a:xfrm>
              <a:custGeom>
                <a:avLst/>
                <a:gdLst>
                  <a:gd name="T0" fmla="*/ 12 w 30"/>
                  <a:gd name="T1" fmla="*/ 0 h 20"/>
                  <a:gd name="T2" fmla="*/ 12 w 30"/>
                  <a:gd name="T3" fmla="*/ 0 h 20"/>
                  <a:gd name="T4" fmla="*/ 12 w 30"/>
                  <a:gd name="T5" fmla="*/ 0 h 20"/>
                  <a:gd name="T6" fmla="*/ 2 w 30"/>
                  <a:gd name="T7" fmla="*/ 2 h 20"/>
                  <a:gd name="T8" fmla="*/ 2 w 30"/>
                  <a:gd name="T9" fmla="*/ 2 h 20"/>
                  <a:gd name="T10" fmla="*/ 0 w 30"/>
                  <a:gd name="T11" fmla="*/ 4 h 20"/>
                  <a:gd name="T12" fmla="*/ 0 w 30"/>
                  <a:gd name="T13" fmla="*/ 6 h 20"/>
                  <a:gd name="T14" fmla="*/ 0 w 30"/>
                  <a:gd name="T15" fmla="*/ 16 h 20"/>
                  <a:gd name="T16" fmla="*/ 0 w 30"/>
                  <a:gd name="T17" fmla="*/ 16 h 20"/>
                  <a:gd name="T18" fmla="*/ 0 w 30"/>
                  <a:gd name="T19" fmla="*/ 18 h 20"/>
                  <a:gd name="T20" fmla="*/ 4 w 30"/>
                  <a:gd name="T21" fmla="*/ 20 h 20"/>
                  <a:gd name="T22" fmla="*/ 26 w 30"/>
                  <a:gd name="T23" fmla="*/ 20 h 20"/>
                  <a:gd name="T24" fmla="*/ 26 w 30"/>
                  <a:gd name="T25" fmla="*/ 20 h 20"/>
                  <a:gd name="T26" fmla="*/ 28 w 30"/>
                  <a:gd name="T27" fmla="*/ 18 h 20"/>
                  <a:gd name="T28" fmla="*/ 28 w 30"/>
                  <a:gd name="T29" fmla="*/ 18 h 20"/>
                  <a:gd name="T30" fmla="*/ 30 w 30"/>
                  <a:gd name="T31" fmla="*/ 14 h 20"/>
                  <a:gd name="T32" fmla="*/ 28 w 30"/>
                  <a:gd name="T33" fmla="*/ 6 h 20"/>
                  <a:gd name="T34" fmla="*/ 28 w 30"/>
                  <a:gd name="T35" fmla="*/ 6 h 20"/>
                  <a:gd name="T36" fmla="*/ 26 w 30"/>
                  <a:gd name="T37" fmla="*/ 4 h 20"/>
                  <a:gd name="T38" fmla="*/ 24 w 30"/>
                  <a:gd name="T39" fmla="*/ 2 h 20"/>
                  <a:gd name="T40" fmla="*/ 14 w 30"/>
                  <a:gd name="T41" fmla="*/ 0 h 20"/>
                  <a:gd name="T42" fmla="*/ 14 w 30"/>
                  <a:gd name="T43" fmla="*/ 0 h 20"/>
                  <a:gd name="T44" fmla="*/ 12 w 30"/>
                  <a:gd name="T45" fmla="*/ 0 h 20"/>
                  <a:gd name="T46" fmla="*/ 12 w 30"/>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20">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0" name="Freeform 963"/>
              <p:cNvSpPr>
                <a:spLocks/>
              </p:cNvSpPr>
              <p:nvPr/>
            </p:nvSpPr>
            <p:spPr bwMode="auto">
              <a:xfrm>
                <a:off x="4503" y="2637"/>
                <a:ext cx="26" cy="22"/>
              </a:xfrm>
              <a:custGeom>
                <a:avLst/>
                <a:gdLst>
                  <a:gd name="T0" fmla="*/ 22 w 26"/>
                  <a:gd name="T1" fmla="*/ 22 h 22"/>
                  <a:gd name="T2" fmla="*/ 22 w 26"/>
                  <a:gd name="T3" fmla="*/ 22 h 22"/>
                  <a:gd name="T4" fmla="*/ 22 w 26"/>
                  <a:gd name="T5" fmla="*/ 22 h 22"/>
                  <a:gd name="T6" fmla="*/ 0 w 26"/>
                  <a:gd name="T7" fmla="*/ 14 h 22"/>
                  <a:gd name="T8" fmla="*/ 0 w 26"/>
                  <a:gd name="T9" fmla="*/ 14 h 22"/>
                  <a:gd name="T10" fmla="*/ 0 w 26"/>
                  <a:gd name="T11" fmla="*/ 12 h 22"/>
                  <a:gd name="T12" fmla="*/ 2 w 26"/>
                  <a:gd name="T13" fmla="*/ 2 h 22"/>
                  <a:gd name="T14" fmla="*/ 2 w 26"/>
                  <a:gd name="T15" fmla="*/ 2 h 22"/>
                  <a:gd name="T16" fmla="*/ 4 w 26"/>
                  <a:gd name="T17" fmla="*/ 0 h 22"/>
                  <a:gd name="T18" fmla="*/ 4 w 26"/>
                  <a:gd name="T19" fmla="*/ 0 h 22"/>
                  <a:gd name="T20" fmla="*/ 4 w 26"/>
                  <a:gd name="T21" fmla="*/ 0 h 22"/>
                  <a:gd name="T22" fmla="*/ 24 w 26"/>
                  <a:gd name="T23" fmla="*/ 4 h 22"/>
                  <a:gd name="T24" fmla="*/ 24 w 26"/>
                  <a:gd name="T25" fmla="*/ 4 h 22"/>
                  <a:gd name="T26" fmla="*/ 26 w 26"/>
                  <a:gd name="T27" fmla="*/ 6 h 22"/>
                  <a:gd name="T28" fmla="*/ 26 w 26"/>
                  <a:gd name="T29" fmla="*/ 12 h 22"/>
                  <a:gd name="T30" fmla="*/ 24 w 26"/>
                  <a:gd name="T31" fmla="*/ 20 h 22"/>
                  <a:gd name="T32" fmla="*/ 24 w 26"/>
                  <a:gd name="T33" fmla="*/ 20 h 22"/>
                  <a:gd name="T34" fmla="*/ 24 w 26"/>
                  <a:gd name="T35" fmla="*/ 22 h 22"/>
                  <a:gd name="T36" fmla="*/ 24 w 26"/>
                  <a:gd name="T37" fmla="*/ 22 h 22"/>
                  <a:gd name="T38" fmla="*/ 22 w 26"/>
                  <a:gd name="T39" fmla="*/ 22 h 22"/>
                  <a:gd name="T40" fmla="*/ 22 w 2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2">
                    <a:moveTo>
                      <a:pt x="22" y="22"/>
                    </a:moveTo>
                    <a:lnTo>
                      <a:pt x="22" y="22"/>
                    </a:lnTo>
                    <a:lnTo>
                      <a:pt x="22" y="22"/>
                    </a:lnTo>
                    <a:lnTo>
                      <a:pt x="0" y="14"/>
                    </a:lnTo>
                    <a:lnTo>
                      <a:pt x="0" y="14"/>
                    </a:lnTo>
                    <a:lnTo>
                      <a:pt x="0" y="12"/>
                    </a:lnTo>
                    <a:lnTo>
                      <a:pt x="2" y="2"/>
                    </a:lnTo>
                    <a:lnTo>
                      <a:pt x="2" y="2"/>
                    </a:lnTo>
                    <a:lnTo>
                      <a:pt x="4" y="0"/>
                    </a:lnTo>
                    <a:lnTo>
                      <a:pt x="4" y="0"/>
                    </a:lnTo>
                    <a:lnTo>
                      <a:pt x="4" y="0"/>
                    </a:lnTo>
                    <a:lnTo>
                      <a:pt x="24" y="4"/>
                    </a:lnTo>
                    <a:lnTo>
                      <a:pt x="24" y="4"/>
                    </a:lnTo>
                    <a:lnTo>
                      <a:pt x="26" y="6"/>
                    </a:lnTo>
                    <a:lnTo>
                      <a:pt x="26" y="12"/>
                    </a:lnTo>
                    <a:lnTo>
                      <a:pt x="24" y="20"/>
                    </a:lnTo>
                    <a:lnTo>
                      <a:pt x="24" y="20"/>
                    </a:lnTo>
                    <a:lnTo>
                      <a:pt x="24" y="22"/>
                    </a:lnTo>
                    <a:lnTo>
                      <a:pt x="24" y="22"/>
                    </a:lnTo>
                    <a:lnTo>
                      <a:pt x="22" y="22"/>
                    </a:lnTo>
                    <a:lnTo>
                      <a:pt x="22"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1" name="Freeform 964"/>
              <p:cNvSpPr>
                <a:spLocks noEditPoints="1"/>
              </p:cNvSpPr>
              <p:nvPr/>
            </p:nvSpPr>
            <p:spPr bwMode="auto">
              <a:xfrm>
                <a:off x="4501" y="2635"/>
                <a:ext cx="30" cy="26"/>
              </a:xfrm>
              <a:custGeom>
                <a:avLst/>
                <a:gdLst>
                  <a:gd name="T0" fmla="*/ 6 w 30"/>
                  <a:gd name="T1" fmla="*/ 4 h 26"/>
                  <a:gd name="T2" fmla="*/ 16 w 30"/>
                  <a:gd name="T3" fmla="*/ 6 h 26"/>
                  <a:gd name="T4" fmla="*/ 26 w 30"/>
                  <a:gd name="T5" fmla="*/ 8 h 26"/>
                  <a:gd name="T6" fmla="*/ 26 w 30"/>
                  <a:gd name="T7" fmla="*/ 14 h 26"/>
                  <a:gd name="T8" fmla="*/ 24 w 30"/>
                  <a:gd name="T9" fmla="*/ 22 h 26"/>
                  <a:gd name="T10" fmla="*/ 14 w 30"/>
                  <a:gd name="T11" fmla="*/ 18 h 26"/>
                  <a:gd name="T12" fmla="*/ 4 w 30"/>
                  <a:gd name="T13" fmla="*/ 14 h 26"/>
                  <a:gd name="T14" fmla="*/ 6 w 30"/>
                  <a:gd name="T15" fmla="*/ 4 h 26"/>
                  <a:gd name="T16" fmla="*/ 6 w 30"/>
                  <a:gd name="T17" fmla="*/ 0 h 26"/>
                  <a:gd name="T18" fmla="*/ 6 w 30"/>
                  <a:gd name="T19" fmla="*/ 0 h 26"/>
                  <a:gd name="T20" fmla="*/ 2 w 30"/>
                  <a:gd name="T21" fmla="*/ 2 h 26"/>
                  <a:gd name="T22" fmla="*/ 2 w 30"/>
                  <a:gd name="T23" fmla="*/ 4 h 26"/>
                  <a:gd name="T24" fmla="*/ 0 w 30"/>
                  <a:gd name="T25" fmla="*/ 14 h 26"/>
                  <a:gd name="T26" fmla="*/ 0 w 30"/>
                  <a:gd name="T27" fmla="*/ 14 h 26"/>
                  <a:gd name="T28" fmla="*/ 0 w 30"/>
                  <a:gd name="T29" fmla="*/ 16 h 26"/>
                  <a:gd name="T30" fmla="*/ 2 w 30"/>
                  <a:gd name="T31" fmla="*/ 18 h 26"/>
                  <a:gd name="T32" fmla="*/ 12 w 30"/>
                  <a:gd name="T33" fmla="*/ 22 h 26"/>
                  <a:gd name="T34" fmla="*/ 22 w 30"/>
                  <a:gd name="T35" fmla="*/ 26 h 26"/>
                  <a:gd name="T36" fmla="*/ 22 w 30"/>
                  <a:gd name="T37" fmla="*/ 26 h 26"/>
                  <a:gd name="T38" fmla="*/ 24 w 30"/>
                  <a:gd name="T39" fmla="*/ 26 h 26"/>
                  <a:gd name="T40" fmla="*/ 24 w 30"/>
                  <a:gd name="T41" fmla="*/ 26 h 26"/>
                  <a:gd name="T42" fmla="*/ 26 w 30"/>
                  <a:gd name="T43" fmla="*/ 24 h 26"/>
                  <a:gd name="T44" fmla="*/ 26 w 30"/>
                  <a:gd name="T45" fmla="*/ 24 h 26"/>
                  <a:gd name="T46" fmla="*/ 28 w 30"/>
                  <a:gd name="T47" fmla="*/ 22 h 26"/>
                  <a:gd name="T48" fmla="*/ 30 w 30"/>
                  <a:gd name="T49" fmla="*/ 14 h 26"/>
                  <a:gd name="T50" fmla="*/ 30 w 30"/>
                  <a:gd name="T51" fmla="*/ 14 h 26"/>
                  <a:gd name="T52" fmla="*/ 30 w 30"/>
                  <a:gd name="T53" fmla="*/ 14 h 26"/>
                  <a:gd name="T54" fmla="*/ 30 w 30"/>
                  <a:gd name="T55" fmla="*/ 8 h 26"/>
                  <a:gd name="T56" fmla="*/ 30 w 30"/>
                  <a:gd name="T57" fmla="*/ 8 h 26"/>
                  <a:gd name="T58" fmla="*/ 28 w 30"/>
                  <a:gd name="T59" fmla="*/ 6 h 26"/>
                  <a:gd name="T60" fmla="*/ 26 w 30"/>
                  <a:gd name="T61" fmla="*/ 4 h 26"/>
                  <a:gd name="T62" fmla="*/ 16 w 30"/>
                  <a:gd name="T63" fmla="*/ 2 h 26"/>
                  <a:gd name="T64" fmla="*/ 6 w 30"/>
                  <a:gd name="T65" fmla="*/ 0 h 26"/>
                  <a:gd name="T66" fmla="*/ 6 w 30"/>
                  <a:gd name="T67" fmla="*/ 0 h 26"/>
                  <a:gd name="T68" fmla="*/ 6 w 30"/>
                  <a:gd name="T69" fmla="*/ 0 h 26"/>
                  <a:gd name="T70" fmla="*/ 6 w 30"/>
                  <a:gd name="T7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6">
                    <a:moveTo>
                      <a:pt x="6" y="4"/>
                    </a:moveTo>
                    <a:lnTo>
                      <a:pt x="16" y="6"/>
                    </a:lnTo>
                    <a:lnTo>
                      <a:pt x="26" y="8"/>
                    </a:lnTo>
                    <a:lnTo>
                      <a:pt x="26" y="14"/>
                    </a:lnTo>
                    <a:lnTo>
                      <a:pt x="24" y="22"/>
                    </a:lnTo>
                    <a:lnTo>
                      <a:pt x="14" y="18"/>
                    </a:lnTo>
                    <a:lnTo>
                      <a:pt x="4" y="14"/>
                    </a:lnTo>
                    <a:lnTo>
                      <a:pt x="6" y="4"/>
                    </a:lnTo>
                    <a:close/>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2" name="Freeform 965"/>
              <p:cNvSpPr>
                <a:spLocks/>
              </p:cNvSpPr>
              <p:nvPr/>
            </p:nvSpPr>
            <p:spPr bwMode="auto">
              <a:xfrm>
                <a:off x="4505" y="2639"/>
                <a:ext cx="22" cy="18"/>
              </a:xfrm>
              <a:custGeom>
                <a:avLst/>
                <a:gdLst>
                  <a:gd name="T0" fmla="*/ 2 w 22"/>
                  <a:gd name="T1" fmla="*/ 0 h 18"/>
                  <a:gd name="T2" fmla="*/ 12 w 22"/>
                  <a:gd name="T3" fmla="*/ 2 h 18"/>
                  <a:gd name="T4" fmla="*/ 22 w 22"/>
                  <a:gd name="T5" fmla="*/ 4 h 18"/>
                  <a:gd name="T6" fmla="*/ 22 w 22"/>
                  <a:gd name="T7" fmla="*/ 10 h 18"/>
                  <a:gd name="T8" fmla="*/ 20 w 22"/>
                  <a:gd name="T9" fmla="*/ 18 h 18"/>
                  <a:gd name="T10" fmla="*/ 10 w 22"/>
                  <a:gd name="T11" fmla="*/ 14 h 18"/>
                  <a:gd name="T12" fmla="*/ 0 w 22"/>
                  <a:gd name="T13" fmla="*/ 10 h 18"/>
                  <a:gd name="T14" fmla="*/ 2 w 2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 y="0"/>
                    </a:moveTo>
                    <a:lnTo>
                      <a:pt x="12" y="2"/>
                    </a:lnTo>
                    <a:lnTo>
                      <a:pt x="22" y="4"/>
                    </a:lnTo>
                    <a:lnTo>
                      <a:pt x="22" y="10"/>
                    </a:lnTo>
                    <a:lnTo>
                      <a:pt x="20" y="18"/>
                    </a:lnTo>
                    <a:lnTo>
                      <a:pt x="10" y="14"/>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3" name="Freeform 966"/>
              <p:cNvSpPr>
                <a:spLocks/>
              </p:cNvSpPr>
              <p:nvPr/>
            </p:nvSpPr>
            <p:spPr bwMode="auto">
              <a:xfrm>
                <a:off x="4501" y="2635"/>
                <a:ext cx="30" cy="26"/>
              </a:xfrm>
              <a:custGeom>
                <a:avLst/>
                <a:gdLst>
                  <a:gd name="T0" fmla="*/ 6 w 30"/>
                  <a:gd name="T1" fmla="*/ 0 h 26"/>
                  <a:gd name="T2" fmla="*/ 6 w 30"/>
                  <a:gd name="T3" fmla="*/ 0 h 26"/>
                  <a:gd name="T4" fmla="*/ 2 w 30"/>
                  <a:gd name="T5" fmla="*/ 2 h 26"/>
                  <a:gd name="T6" fmla="*/ 2 w 30"/>
                  <a:gd name="T7" fmla="*/ 4 h 26"/>
                  <a:gd name="T8" fmla="*/ 0 w 30"/>
                  <a:gd name="T9" fmla="*/ 14 h 26"/>
                  <a:gd name="T10" fmla="*/ 0 w 30"/>
                  <a:gd name="T11" fmla="*/ 14 h 26"/>
                  <a:gd name="T12" fmla="*/ 0 w 30"/>
                  <a:gd name="T13" fmla="*/ 16 h 26"/>
                  <a:gd name="T14" fmla="*/ 2 w 30"/>
                  <a:gd name="T15" fmla="*/ 18 h 26"/>
                  <a:gd name="T16" fmla="*/ 12 w 30"/>
                  <a:gd name="T17" fmla="*/ 22 h 26"/>
                  <a:gd name="T18" fmla="*/ 22 w 30"/>
                  <a:gd name="T19" fmla="*/ 26 h 26"/>
                  <a:gd name="T20" fmla="*/ 22 w 30"/>
                  <a:gd name="T21" fmla="*/ 26 h 26"/>
                  <a:gd name="T22" fmla="*/ 24 w 30"/>
                  <a:gd name="T23" fmla="*/ 26 h 26"/>
                  <a:gd name="T24" fmla="*/ 24 w 30"/>
                  <a:gd name="T25" fmla="*/ 26 h 26"/>
                  <a:gd name="T26" fmla="*/ 26 w 30"/>
                  <a:gd name="T27" fmla="*/ 24 h 26"/>
                  <a:gd name="T28" fmla="*/ 26 w 30"/>
                  <a:gd name="T29" fmla="*/ 24 h 26"/>
                  <a:gd name="T30" fmla="*/ 28 w 30"/>
                  <a:gd name="T31" fmla="*/ 22 h 26"/>
                  <a:gd name="T32" fmla="*/ 30 w 30"/>
                  <a:gd name="T33" fmla="*/ 14 h 26"/>
                  <a:gd name="T34" fmla="*/ 30 w 30"/>
                  <a:gd name="T35" fmla="*/ 14 h 26"/>
                  <a:gd name="T36" fmla="*/ 30 w 30"/>
                  <a:gd name="T37" fmla="*/ 14 h 26"/>
                  <a:gd name="T38" fmla="*/ 30 w 30"/>
                  <a:gd name="T39" fmla="*/ 8 h 26"/>
                  <a:gd name="T40" fmla="*/ 30 w 30"/>
                  <a:gd name="T41" fmla="*/ 8 h 26"/>
                  <a:gd name="T42" fmla="*/ 28 w 30"/>
                  <a:gd name="T43" fmla="*/ 6 h 26"/>
                  <a:gd name="T44" fmla="*/ 26 w 30"/>
                  <a:gd name="T45" fmla="*/ 4 h 26"/>
                  <a:gd name="T46" fmla="*/ 16 w 30"/>
                  <a:gd name="T47" fmla="*/ 2 h 26"/>
                  <a:gd name="T48" fmla="*/ 6 w 30"/>
                  <a:gd name="T49" fmla="*/ 0 h 26"/>
                  <a:gd name="T50" fmla="*/ 6 w 30"/>
                  <a:gd name="T51" fmla="*/ 0 h 26"/>
                  <a:gd name="T52" fmla="*/ 6 w 30"/>
                  <a:gd name="T53" fmla="*/ 0 h 26"/>
                  <a:gd name="T54" fmla="*/ 6 w 30"/>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26">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4" name="Freeform 967"/>
              <p:cNvSpPr>
                <a:spLocks/>
              </p:cNvSpPr>
              <p:nvPr/>
            </p:nvSpPr>
            <p:spPr bwMode="auto">
              <a:xfrm>
                <a:off x="4541" y="2497"/>
                <a:ext cx="94" cy="110"/>
              </a:xfrm>
              <a:custGeom>
                <a:avLst/>
                <a:gdLst>
                  <a:gd name="T0" fmla="*/ 12 w 94"/>
                  <a:gd name="T1" fmla="*/ 108 h 110"/>
                  <a:gd name="T2" fmla="*/ 10 w 94"/>
                  <a:gd name="T3" fmla="*/ 108 h 110"/>
                  <a:gd name="T4" fmla="*/ 12 w 94"/>
                  <a:gd name="T5" fmla="*/ 84 h 110"/>
                  <a:gd name="T6" fmla="*/ 2 w 94"/>
                  <a:gd name="T7" fmla="*/ 76 h 110"/>
                  <a:gd name="T8" fmla="*/ 0 w 94"/>
                  <a:gd name="T9" fmla="*/ 74 h 110"/>
                  <a:gd name="T10" fmla="*/ 4 w 94"/>
                  <a:gd name="T11" fmla="*/ 54 h 110"/>
                  <a:gd name="T12" fmla="*/ 12 w 94"/>
                  <a:gd name="T13" fmla="*/ 34 h 110"/>
                  <a:gd name="T14" fmla="*/ 12 w 94"/>
                  <a:gd name="T15" fmla="*/ 26 h 110"/>
                  <a:gd name="T16" fmla="*/ 20 w 94"/>
                  <a:gd name="T17" fmla="*/ 14 h 110"/>
                  <a:gd name="T18" fmla="*/ 20 w 94"/>
                  <a:gd name="T19" fmla="*/ 14 h 110"/>
                  <a:gd name="T20" fmla="*/ 30 w 94"/>
                  <a:gd name="T21" fmla="*/ 8 h 110"/>
                  <a:gd name="T22" fmla="*/ 32 w 94"/>
                  <a:gd name="T23" fmla="*/ 8 h 110"/>
                  <a:gd name="T24" fmla="*/ 56 w 94"/>
                  <a:gd name="T25" fmla="*/ 12 h 110"/>
                  <a:gd name="T26" fmla="*/ 78 w 94"/>
                  <a:gd name="T27" fmla="*/ 12 h 110"/>
                  <a:gd name="T28" fmla="*/ 90 w 94"/>
                  <a:gd name="T29" fmla="*/ 0 h 110"/>
                  <a:gd name="T30" fmla="*/ 92 w 94"/>
                  <a:gd name="T31" fmla="*/ 0 h 110"/>
                  <a:gd name="T32" fmla="*/ 92 w 94"/>
                  <a:gd name="T33" fmla="*/ 0 h 110"/>
                  <a:gd name="T34" fmla="*/ 94 w 94"/>
                  <a:gd name="T35" fmla="*/ 2 h 110"/>
                  <a:gd name="T36" fmla="*/ 94 w 94"/>
                  <a:gd name="T37" fmla="*/ 10 h 110"/>
                  <a:gd name="T38" fmla="*/ 84 w 94"/>
                  <a:gd name="T39" fmla="*/ 22 h 110"/>
                  <a:gd name="T40" fmla="*/ 76 w 94"/>
                  <a:gd name="T41" fmla="*/ 28 h 110"/>
                  <a:gd name="T42" fmla="*/ 76 w 94"/>
                  <a:gd name="T43" fmla="*/ 28 h 110"/>
                  <a:gd name="T44" fmla="*/ 54 w 94"/>
                  <a:gd name="T45" fmla="*/ 24 h 110"/>
                  <a:gd name="T46" fmla="*/ 26 w 94"/>
                  <a:gd name="T47" fmla="*/ 22 h 110"/>
                  <a:gd name="T48" fmla="*/ 20 w 94"/>
                  <a:gd name="T49" fmla="*/ 34 h 110"/>
                  <a:gd name="T50" fmla="*/ 28 w 94"/>
                  <a:gd name="T51" fmla="*/ 42 h 110"/>
                  <a:gd name="T52" fmla="*/ 32 w 94"/>
                  <a:gd name="T53" fmla="*/ 46 h 110"/>
                  <a:gd name="T54" fmla="*/ 36 w 94"/>
                  <a:gd name="T55" fmla="*/ 40 h 110"/>
                  <a:gd name="T56" fmla="*/ 40 w 94"/>
                  <a:gd name="T57" fmla="*/ 38 h 110"/>
                  <a:gd name="T58" fmla="*/ 40 w 94"/>
                  <a:gd name="T59" fmla="*/ 38 h 110"/>
                  <a:gd name="T60" fmla="*/ 42 w 94"/>
                  <a:gd name="T61" fmla="*/ 38 h 110"/>
                  <a:gd name="T62" fmla="*/ 56 w 94"/>
                  <a:gd name="T63" fmla="*/ 36 h 110"/>
                  <a:gd name="T64" fmla="*/ 58 w 94"/>
                  <a:gd name="T65" fmla="*/ 36 h 110"/>
                  <a:gd name="T66" fmla="*/ 66 w 94"/>
                  <a:gd name="T67" fmla="*/ 36 h 110"/>
                  <a:gd name="T68" fmla="*/ 68 w 94"/>
                  <a:gd name="T69" fmla="*/ 38 h 110"/>
                  <a:gd name="T70" fmla="*/ 66 w 94"/>
                  <a:gd name="T71" fmla="*/ 44 h 110"/>
                  <a:gd name="T72" fmla="*/ 64 w 94"/>
                  <a:gd name="T73" fmla="*/ 46 h 110"/>
                  <a:gd name="T74" fmla="*/ 44 w 94"/>
                  <a:gd name="T75" fmla="*/ 58 h 110"/>
                  <a:gd name="T76" fmla="*/ 48 w 94"/>
                  <a:gd name="T77" fmla="*/ 62 h 110"/>
                  <a:gd name="T78" fmla="*/ 54 w 94"/>
                  <a:gd name="T79" fmla="*/ 74 h 110"/>
                  <a:gd name="T80" fmla="*/ 54 w 94"/>
                  <a:gd name="T81" fmla="*/ 78 h 110"/>
                  <a:gd name="T82" fmla="*/ 60 w 94"/>
                  <a:gd name="T83" fmla="*/ 88 h 110"/>
                  <a:gd name="T84" fmla="*/ 62 w 94"/>
                  <a:gd name="T85" fmla="*/ 90 h 110"/>
                  <a:gd name="T86" fmla="*/ 60 w 94"/>
                  <a:gd name="T87" fmla="*/ 90 h 110"/>
                  <a:gd name="T88" fmla="*/ 52 w 94"/>
                  <a:gd name="T89" fmla="*/ 94 h 110"/>
                  <a:gd name="T90" fmla="*/ 52 w 94"/>
                  <a:gd name="T91" fmla="*/ 94 h 110"/>
                  <a:gd name="T92" fmla="*/ 46 w 94"/>
                  <a:gd name="T93" fmla="*/ 94 h 110"/>
                  <a:gd name="T94" fmla="*/ 44 w 94"/>
                  <a:gd name="T95" fmla="*/ 96 h 110"/>
                  <a:gd name="T96" fmla="*/ 42 w 94"/>
                  <a:gd name="T97" fmla="*/ 98 h 110"/>
                  <a:gd name="T98" fmla="*/ 42 w 94"/>
                  <a:gd name="T99" fmla="*/ 98 h 110"/>
                  <a:gd name="T100" fmla="*/ 36 w 94"/>
                  <a:gd name="T101" fmla="*/ 88 h 110"/>
                  <a:gd name="T102" fmla="*/ 30 w 94"/>
                  <a:gd name="T103" fmla="*/ 68 h 110"/>
                  <a:gd name="T104" fmla="*/ 24 w 94"/>
                  <a:gd name="T105" fmla="*/ 72 h 110"/>
                  <a:gd name="T106" fmla="*/ 26 w 94"/>
                  <a:gd name="T107" fmla="*/ 104 h 110"/>
                  <a:gd name="T108" fmla="*/ 24 w 94"/>
                  <a:gd name="T109" fmla="*/ 110 h 110"/>
                  <a:gd name="T110" fmla="*/ 22 w 94"/>
                  <a:gd name="T111" fmla="*/ 110 h 110"/>
                  <a:gd name="T112" fmla="*/ 22 w 94"/>
                  <a:gd name="T11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10">
                    <a:moveTo>
                      <a:pt x="22" y="110"/>
                    </a:moveTo>
                    <a:lnTo>
                      <a:pt x="12" y="108"/>
                    </a:lnTo>
                    <a:lnTo>
                      <a:pt x="12" y="108"/>
                    </a:lnTo>
                    <a:lnTo>
                      <a:pt x="10" y="108"/>
                    </a:lnTo>
                    <a:lnTo>
                      <a:pt x="10" y="94"/>
                    </a:lnTo>
                    <a:lnTo>
                      <a:pt x="12" y="84"/>
                    </a:lnTo>
                    <a:lnTo>
                      <a:pt x="10" y="80"/>
                    </a:lnTo>
                    <a:lnTo>
                      <a:pt x="2" y="76"/>
                    </a:lnTo>
                    <a:lnTo>
                      <a:pt x="2" y="76"/>
                    </a:lnTo>
                    <a:lnTo>
                      <a:pt x="0" y="74"/>
                    </a:lnTo>
                    <a:lnTo>
                      <a:pt x="0" y="64"/>
                    </a:lnTo>
                    <a:lnTo>
                      <a:pt x="4" y="54"/>
                    </a:lnTo>
                    <a:lnTo>
                      <a:pt x="8" y="40"/>
                    </a:lnTo>
                    <a:lnTo>
                      <a:pt x="12" y="34"/>
                    </a:lnTo>
                    <a:lnTo>
                      <a:pt x="12" y="26"/>
                    </a:lnTo>
                    <a:lnTo>
                      <a:pt x="12" y="26"/>
                    </a:lnTo>
                    <a:lnTo>
                      <a:pt x="12" y="24"/>
                    </a:lnTo>
                    <a:lnTo>
                      <a:pt x="20" y="14"/>
                    </a:lnTo>
                    <a:lnTo>
                      <a:pt x="20" y="14"/>
                    </a:lnTo>
                    <a:lnTo>
                      <a:pt x="20" y="14"/>
                    </a:lnTo>
                    <a:lnTo>
                      <a:pt x="30" y="8"/>
                    </a:lnTo>
                    <a:lnTo>
                      <a:pt x="30" y="8"/>
                    </a:lnTo>
                    <a:lnTo>
                      <a:pt x="32" y="8"/>
                    </a:lnTo>
                    <a:lnTo>
                      <a:pt x="32" y="8"/>
                    </a:lnTo>
                    <a:lnTo>
                      <a:pt x="46" y="10"/>
                    </a:lnTo>
                    <a:lnTo>
                      <a:pt x="56" y="12"/>
                    </a:lnTo>
                    <a:lnTo>
                      <a:pt x="70" y="12"/>
                    </a:lnTo>
                    <a:lnTo>
                      <a:pt x="78" y="12"/>
                    </a:lnTo>
                    <a:lnTo>
                      <a:pt x="84" y="8"/>
                    </a:lnTo>
                    <a:lnTo>
                      <a:pt x="90" y="0"/>
                    </a:lnTo>
                    <a:lnTo>
                      <a:pt x="90" y="0"/>
                    </a:lnTo>
                    <a:lnTo>
                      <a:pt x="92" y="0"/>
                    </a:lnTo>
                    <a:lnTo>
                      <a:pt x="92" y="0"/>
                    </a:lnTo>
                    <a:lnTo>
                      <a:pt x="92" y="0"/>
                    </a:lnTo>
                    <a:lnTo>
                      <a:pt x="92" y="0"/>
                    </a:lnTo>
                    <a:lnTo>
                      <a:pt x="94" y="2"/>
                    </a:lnTo>
                    <a:lnTo>
                      <a:pt x="94" y="10"/>
                    </a:lnTo>
                    <a:lnTo>
                      <a:pt x="94" y="10"/>
                    </a:lnTo>
                    <a:lnTo>
                      <a:pt x="94" y="10"/>
                    </a:lnTo>
                    <a:lnTo>
                      <a:pt x="84" y="22"/>
                    </a:lnTo>
                    <a:lnTo>
                      <a:pt x="76" y="28"/>
                    </a:lnTo>
                    <a:lnTo>
                      <a:pt x="76" y="28"/>
                    </a:lnTo>
                    <a:lnTo>
                      <a:pt x="76" y="28"/>
                    </a:lnTo>
                    <a:lnTo>
                      <a:pt x="76" y="28"/>
                    </a:lnTo>
                    <a:lnTo>
                      <a:pt x="76" y="28"/>
                    </a:lnTo>
                    <a:lnTo>
                      <a:pt x="54" y="24"/>
                    </a:lnTo>
                    <a:lnTo>
                      <a:pt x="40" y="22"/>
                    </a:lnTo>
                    <a:lnTo>
                      <a:pt x="26" y="22"/>
                    </a:lnTo>
                    <a:lnTo>
                      <a:pt x="20" y="26"/>
                    </a:lnTo>
                    <a:lnTo>
                      <a:pt x="20" y="34"/>
                    </a:lnTo>
                    <a:lnTo>
                      <a:pt x="24" y="40"/>
                    </a:lnTo>
                    <a:lnTo>
                      <a:pt x="28" y="42"/>
                    </a:lnTo>
                    <a:lnTo>
                      <a:pt x="30" y="46"/>
                    </a:lnTo>
                    <a:lnTo>
                      <a:pt x="32" y="46"/>
                    </a:lnTo>
                    <a:lnTo>
                      <a:pt x="36" y="40"/>
                    </a:lnTo>
                    <a:lnTo>
                      <a:pt x="36" y="40"/>
                    </a:lnTo>
                    <a:lnTo>
                      <a:pt x="36" y="40"/>
                    </a:lnTo>
                    <a:lnTo>
                      <a:pt x="40" y="38"/>
                    </a:lnTo>
                    <a:lnTo>
                      <a:pt x="40" y="38"/>
                    </a:lnTo>
                    <a:lnTo>
                      <a:pt x="40" y="38"/>
                    </a:lnTo>
                    <a:lnTo>
                      <a:pt x="40" y="38"/>
                    </a:lnTo>
                    <a:lnTo>
                      <a:pt x="42" y="38"/>
                    </a:lnTo>
                    <a:lnTo>
                      <a:pt x="50" y="40"/>
                    </a:lnTo>
                    <a:lnTo>
                      <a:pt x="56" y="36"/>
                    </a:lnTo>
                    <a:lnTo>
                      <a:pt x="56" y="36"/>
                    </a:lnTo>
                    <a:lnTo>
                      <a:pt x="58" y="36"/>
                    </a:lnTo>
                    <a:lnTo>
                      <a:pt x="66" y="36"/>
                    </a:lnTo>
                    <a:lnTo>
                      <a:pt x="66" y="36"/>
                    </a:lnTo>
                    <a:lnTo>
                      <a:pt x="68" y="38"/>
                    </a:lnTo>
                    <a:lnTo>
                      <a:pt x="68" y="38"/>
                    </a:lnTo>
                    <a:lnTo>
                      <a:pt x="68" y="38"/>
                    </a:lnTo>
                    <a:lnTo>
                      <a:pt x="66" y="44"/>
                    </a:lnTo>
                    <a:lnTo>
                      <a:pt x="66" y="44"/>
                    </a:lnTo>
                    <a:lnTo>
                      <a:pt x="64" y="46"/>
                    </a:lnTo>
                    <a:lnTo>
                      <a:pt x="54" y="48"/>
                    </a:lnTo>
                    <a:lnTo>
                      <a:pt x="44" y="58"/>
                    </a:lnTo>
                    <a:lnTo>
                      <a:pt x="44" y="58"/>
                    </a:lnTo>
                    <a:lnTo>
                      <a:pt x="48" y="62"/>
                    </a:lnTo>
                    <a:lnTo>
                      <a:pt x="54" y="74"/>
                    </a:lnTo>
                    <a:lnTo>
                      <a:pt x="54" y="74"/>
                    </a:lnTo>
                    <a:lnTo>
                      <a:pt x="54" y="74"/>
                    </a:lnTo>
                    <a:lnTo>
                      <a:pt x="54" y="78"/>
                    </a:lnTo>
                    <a:lnTo>
                      <a:pt x="56" y="84"/>
                    </a:lnTo>
                    <a:lnTo>
                      <a:pt x="60" y="88"/>
                    </a:lnTo>
                    <a:lnTo>
                      <a:pt x="60" y="88"/>
                    </a:lnTo>
                    <a:lnTo>
                      <a:pt x="62" y="90"/>
                    </a:lnTo>
                    <a:lnTo>
                      <a:pt x="62" y="90"/>
                    </a:lnTo>
                    <a:lnTo>
                      <a:pt x="60" y="90"/>
                    </a:lnTo>
                    <a:lnTo>
                      <a:pt x="52" y="94"/>
                    </a:lnTo>
                    <a:lnTo>
                      <a:pt x="52" y="94"/>
                    </a:lnTo>
                    <a:lnTo>
                      <a:pt x="52" y="94"/>
                    </a:lnTo>
                    <a:lnTo>
                      <a:pt x="52" y="94"/>
                    </a:lnTo>
                    <a:lnTo>
                      <a:pt x="52" y="94"/>
                    </a:lnTo>
                    <a:lnTo>
                      <a:pt x="46" y="94"/>
                    </a:lnTo>
                    <a:lnTo>
                      <a:pt x="44" y="96"/>
                    </a:lnTo>
                    <a:lnTo>
                      <a:pt x="44" y="96"/>
                    </a:lnTo>
                    <a:lnTo>
                      <a:pt x="42" y="98"/>
                    </a:lnTo>
                    <a:lnTo>
                      <a:pt x="42" y="98"/>
                    </a:lnTo>
                    <a:lnTo>
                      <a:pt x="42" y="98"/>
                    </a:lnTo>
                    <a:lnTo>
                      <a:pt x="42" y="98"/>
                    </a:lnTo>
                    <a:lnTo>
                      <a:pt x="42" y="98"/>
                    </a:lnTo>
                    <a:lnTo>
                      <a:pt x="36" y="88"/>
                    </a:lnTo>
                    <a:lnTo>
                      <a:pt x="32" y="78"/>
                    </a:lnTo>
                    <a:lnTo>
                      <a:pt x="30" y="68"/>
                    </a:lnTo>
                    <a:lnTo>
                      <a:pt x="26" y="68"/>
                    </a:lnTo>
                    <a:lnTo>
                      <a:pt x="24" y="72"/>
                    </a:lnTo>
                    <a:lnTo>
                      <a:pt x="26" y="86"/>
                    </a:lnTo>
                    <a:lnTo>
                      <a:pt x="26" y="104"/>
                    </a:lnTo>
                    <a:lnTo>
                      <a:pt x="24" y="110"/>
                    </a:lnTo>
                    <a:lnTo>
                      <a:pt x="24" y="110"/>
                    </a:lnTo>
                    <a:lnTo>
                      <a:pt x="22" y="110"/>
                    </a:lnTo>
                    <a:lnTo>
                      <a:pt x="22" y="110"/>
                    </a:lnTo>
                    <a:lnTo>
                      <a:pt x="22" y="110"/>
                    </a:lnTo>
                    <a:lnTo>
                      <a:pt x="22"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5" name="Freeform 968"/>
              <p:cNvSpPr>
                <a:spLocks noEditPoints="1"/>
              </p:cNvSpPr>
              <p:nvPr/>
            </p:nvSpPr>
            <p:spPr bwMode="auto">
              <a:xfrm>
                <a:off x="4539" y="2495"/>
                <a:ext cx="98" cy="114"/>
              </a:xfrm>
              <a:custGeom>
                <a:avLst/>
                <a:gdLst>
                  <a:gd name="T0" fmla="*/ 78 w 98"/>
                  <a:gd name="T1" fmla="*/ 28 h 114"/>
                  <a:gd name="T2" fmla="*/ 26 w 98"/>
                  <a:gd name="T3" fmla="*/ 22 h 114"/>
                  <a:gd name="T4" fmla="*/ 28 w 98"/>
                  <a:gd name="T5" fmla="*/ 46 h 114"/>
                  <a:gd name="T6" fmla="*/ 42 w 98"/>
                  <a:gd name="T7" fmla="*/ 42 h 114"/>
                  <a:gd name="T8" fmla="*/ 66 w 98"/>
                  <a:gd name="T9" fmla="*/ 46 h 114"/>
                  <a:gd name="T10" fmla="*/ 44 w 98"/>
                  <a:gd name="T11" fmla="*/ 60 h 114"/>
                  <a:gd name="T12" fmla="*/ 56 w 98"/>
                  <a:gd name="T13" fmla="*/ 88 h 114"/>
                  <a:gd name="T14" fmla="*/ 44 w 98"/>
                  <a:gd name="T15" fmla="*/ 98 h 114"/>
                  <a:gd name="T16" fmla="*/ 26 w 98"/>
                  <a:gd name="T17" fmla="*/ 68 h 114"/>
                  <a:gd name="T18" fmla="*/ 26 w 98"/>
                  <a:gd name="T19" fmla="*/ 106 h 114"/>
                  <a:gd name="T20" fmla="*/ 16 w 98"/>
                  <a:gd name="T21" fmla="*/ 86 h 114"/>
                  <a:gd name="T22" fmla="*/ 8 w 98"/>
                  <a:gd name="T23" fmla="*/ 56 h 114"/>
                  <a:gd name="T24" fmla="*/ 22 w 98"/>
                  <a:gd name="T25" fmla="*/ 16 h 114"/>
                  <a:gd name="T26" fmla="*/ 72 w 98"/>
                  <a:gd name="T27" fmla="*/ 16 h 114"/>
                  <a:gd name="T28" fmla="*/ 68 w 98"/>
                  <a:gd name="T29" fmla="*/ 40 h 114"/>
                  <a:gd name="T30" fmla="*/ 92 w 98"/>
                  <a:gd name="T31" fmla="*/ 2 h 114"/>
                  <a:gd name="T32" fmla="*/ 58 w 98"/>
                  <a:gd name="T33" fmla="*/ 12 h 114"/>
                  <a:gd name="T34" fmla="*/ 34 w 98"/>
                  <a:gd name="T35" fmla="*/ 8 h 114"/>
                  <a:gd name="T36" fmla="*/ 32 w 98"/>
                  <a:gd name="T37" fmla="*/ 8 h 114"/>
                  <a:gd name="T38" fmla="*/ 12 w 98"/>
                  <a:gd name="T39" fmla="*/ 26 h 114"/>
                  <a:gd name="T40" fmla="*/ 8 w 98"/>
                  <a:gd name="T41" fmla="*/ 40 h 114"/>
                  <a:gd name="T42" fmla="*/ 0 w 98"/>
                  <a:gd name="T43" fmla="*/ 64 h 114"/>
                  <a:gd name="T44" fmla="*/ 0 w 98"/>
                  <a:gd name="T45" fmla="*/ 76 h 114"/>
                  <a:gd name="T46" fmla="*/ 12 w 98"/>
                  <a:gd name="T47" fmla="*/ 86 h 114"/>
                  <a:gd name="T48" fmla="*/ 10 w 98"/>
                  <a:gd name="T49" fmla="*/ 110 h 114"/>
                  <a:gd name="T50" fmla="*/ 24 w 98"/>
                  <a:gd name="T51" fmla="*/ 114 h 114"/>
                  <a:gd name="T52" fmla="*/ 26 w 98"/>
                  <a:gd name="T53" fmla="*/ 114 h 114"/>
                  <a:gd name="T54" fmla="*/ 30 w 98"/>
                  <a:gd name="T55" fmla="*/ 106 h 114"/>
                  <a:gd name="T56" fmla="*/ 30 w 98"/>
                  <a:gd name="T57" fmla="*/ 86 h 114"/>
                  <a:gd name="T58" fmla="*/ 32 w 98"/>
                  <a:gd name="T59" fmla="*/ 80 h 114"/>
                  <a:gd name="T60" fmla="*/ 36 w 98"/>
                  <a:gd name="T61" fmla="*/ 90 h 114"/>
                  <a:gd name="T62" fmla="*/ 44 w 98"/>
                  <a:gd name="T63" fmla="*/ 102 h 114"/>
                  <a:gd name="T64" fmla="*/ 48 w 98"/>
                  <a:gd name="T65" fmla="*/ 102 h 114"/>
                  <a:gd name="T66" fmla="*/ 52 w 98"/>
                  <a:gd name="T67" fmla="*/ 98 h 114"/>
                  <a:gd name="T68" fmla="*/ 62 w 98"/>
                  <a:gd name="T69" fmla="*/ 94 h 114"/>
                  <a:gd name="T70" fmla="*/ 64 w 98"/>
                  <a:gd name="T71" fmla="*/ 88 h 114"/>
                  <a:gd name="T72" fmla="*/ 58 w 98"/>
                  <a:gd name="T73" fmla="*/ 76 h 114"/>
                  <a:gd name="T74" fmla="*/ 52 w 98"/>
                  <a:gd name="T75" fmla="*/ 64 h 114"/>
                  <a:gd name="T76" fmla="*/ 68 w 98"/>
                  <a:gd name="T77" fmla="*/ 50 h 114"/>
                  <a:gd name="T78" fmla="*/ 72 w 98"/>
                  <a:gd name="T79" fmla="*/ 42 h 114"/>
                  <a:gd name="T80" fmla="*/ 68 w 98"/>
                  <a:gd name="T81" fmla="*/ 36 h 114"/>
                  <a:gd name="T82" fmla="*/ 58 w 98"/>
                  <a:gd name="T83" fmla="*/ 36 h 114"/>
                  <a:gd name="T84" fmla="*/ 42 w 98"/>
                  <a:gd name="T85" fmla="*/ 38 h 114"/>
                  <a:gd name="T86" fmla="*/ 38 w 98"/>
                  <a:gd name="T87" fmla="*/ 40 h 114"/>
                  <a:gd name="T88" fmla="*/ 32 w 98"/>
                  <a:gd name="T89" fmla="*/ 44 h 114"/>
                  <a:gd name="T90" fmla="*/ 24 w 98"/>
                  <a:gd name="T91" fmla="*/ 30 h 114"/>
                  <a:gd name="T92" fmla="*/ 56 w 98"/>
                  <a:gd name="T93" fmla="*/ 28 h 114"/>
                  <a:gd name="T94" fmla="*/ 78 w 98"/>
                  <a:gd name="T95" fmla="*/ 32 h 114"/>
                  <a:gd name="T96" fmla="*/ 88 w 98"/>
                  <a:gd name="T97" fmla="*/ 24 h 114"/>
                  <a:gd name="T98" fmla="*/ 98 w 98"/>
                  <a:gd name="T99" fmla="*/ 4 h 114"/>
                  <a:gd name="T100" fmla="*/ 96 w 98"/>
                  <a:gd name="T10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 h="114">
                    <a:moveTo>
                      <a:pt x="94" y="4"/>
                    </a:moveTo>
                    <a:lnTo>
                      <a:pt x="94" y="12"/>
                    </a:lnTo>
                    <a:lnTo>
                      <a:pt x="84" y="22"/>
                    </a:lnTo>
                    <a:lnTo>
                      <a:pt x="78" y="28"/>
                    </a:lnTo>
                    <a:lnTo>
                      <a:pt x="56" y="24"/>
                    </a:lnTo>
                    <a:lnTo>
                      <a:pt x="42" y="22"/>
                    </a:lnTo>
                    <a:lnTo>
                      <a:pt x="32" y="22"/>
                    </a:lnTo>
                    <a:lnTo>
                      <a:pt x="26" y="22"/>
                    </a:lnTo>
                    <a:lnTo>
                      <a:pt x="20" y="28"/>
                    </a:lnTo>
                    <a:lnTo>
                      <a:pt x="20" y="36"/>
                    </a:lnTo>
                    <a:lnTo>
                      <a:pt x="24" y="42"/>
                    </a:lnTo>
                    <a:lnTo>
                      <a:pt x="28" y="46"/>
                    </a:lnTo>
                    <a:lnTo>
                      <a:pt x="30" y="50"/>
                    </a:lnTo>
                    <a:lnTo>
                      <a:pt x="34" y="52"/>
                    </a:lnTo>
                    <a:lnTo>
                      <a:pt x="40" y="44"/>
                    </a:lnTo>
                    <a:lnTo>
                      <a:pt x="42" y="42"/>
                    </a:lnTo>
                    <a:lnTo>
                      <a:pt x="52" y="44"/>
                    </a:lnTo>
                    <a:lnTo>
                      <a:pt x="60" y="40"/>
                    </a:lnTo>
                    <a:lnTo>
                      <a:pt x="68" y="40"/>
                    </a:lnTo>
                    <a:lnTo>
                      <a:pt x="66" y="46"/>
                    </a:lnTo>
                    <a:lnTo>
                      <a:pt x="56" y="48"/>
                    </a:lnTo>
                    <a:lnTo>
                      <a:pt x="50" y="52"/>
                    </a:lnTo>
                    <a:lnTo>
                      <a:pt x="44" y="58"/>
                    </a:lnTo>
                    <a:lnTo>
                      <a:pt x="44" y="60"/>
                    </a:lnTo>
                    <a:lnTo>
                      <a:pt x="48" y="66"/>
                    </a:lnTo>
                    <a:lnTo>
                      <a:pt x="54" y="76"/>
                    </a:lnTo>
                    <a:lnTo>
                      <a:pt x="54" y="80"/>
                    </a:lnTo>
                    <a:lnTo>
                      <a:pt x="56" y="88"/>
                    </a:lnTo>
                    <a:lnTo>
                      <a:pt x="62" y="90"/>
                    </a:lnTo>
                    <a:lnTo>
                      <a:pt x="54" y="94"/>
                    </a:lnTo>
                    <a:lnTo>
                      <a:pt x="46" y="92"/>
                    </a:lnTo>
                    <a:lnTo>
                      <a:pt x="44" y="98"/>
                    </a:lnTo>
                    <a:lnTo>
                      <a:pt x="40" y="90"/>
                    </a:lnTo>
                    <a:lnTo>
                      <a:pt x="36" y="80"/>
                    </a:lnTo>
                    <a:lnTo>
                      <a:pt x="34" y="68"/>
                    </a:lnTo>
                    <a:lnTo>
                      <a:pt x="26" y="68"/>
                    </a:lnTo>
                    <a:lnTo>
                      <a:pt x="24" y="72"/>
                    </a:lnTo>
                    <a:lnTo>
                      <a:pt x="26" y="88"/>
                    </a:lnTo>
                    <a:lnTo>
                      <a:pt x="26" y="92"/>
                    </a:lnTo>
                    <a:lnTo>
                      <a:pt x="26" y="106"/>
                    </a:lnTo>
                    <a:lnTo>
                      <a:pt x="24" y="110"/>
                    </a:lnTo>
                    <a:lnTo>
                      <a:pt x="14" y="110"/>
                    </a:lnTo>
                    <a:lnTo>
                      <a:pt x="14" y="96"/>
                    </a:lnTo>
                    <a:lnTo>
                      <a:pt x="16" y="86"/>
                    </a:lnTo>
                    <a:lnTo>
                      <a:pt x="14" y="80"/>
                    </a:lnTo>
                    <a:lnTo>
                      <a:pt x="4" y="76"/>
                    </a:lnTo>
                    <a:lnTo>
                      <a:pt x="4" y="66"/>
                    </a:lnTo>
                    <a:lnTo>
                      <a:pt x="8" y="56"/>
                    </a:lnTo>
                    <a:lnTo>
                      <a:pt x="12" y="42"/>
                    </a:lnTo>
                    <a:lnTo>
                      <a:pt x="16" y="36"/>
                    </a:lnTo>
                    <a:lnTo>
                      <a:pt x="16" y="28"/>
                    </a:lnTo>
                    <a:lnTo>
                      <a:pt x="22" y="16"/>
                    </a:lnTo>
                    <a:lnTo>
                      <a:pt x="34" y="12"/>
                    </a:lnTo>
                    <a:lnTo>
                      <a:pt x="48" y="14"/>
                    </a:lnTo>
                    <a:lnTo>
                      <a:pt x="58" y="16"/>
                    </a:lnTo>
                    <a:lnTo>
                      <a:pt x="72" y="16"/>
                    </a:lnTo>
                    <a:lnTo>
                      <a:pt x="82" y="16"/>
                    </a:lnTo>
                    <a:lnTo>
                      <a:pt x="86" y="12"/>
                    </a:lnTo>
                    <a:lnTo>
                      <a:pt x="94" y="4"/>
                    </a:lnTo>
                    <a:close/>
                    <a:moveTo>
                      <a:pt x="68" y="40"/>
                    </a:moveTo>
                    <a:lnTo>
                      <a:pt x="68" y="40"/>
                    </a:lnTo>
                    <a:close/>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6" name="Freeform 969"/>
              <p:cNvSpPr>
                <a:spLocks/>
              </p:cNvSpPr>
              <p:nvPr/>
            </p:nvSpPr>
            <p:spPr bwMode="auto">
              <a:xfrm>
                <a:off x="4543" y="2499"/>
                <a:ext cx="90" cy="106"/>
              </a:xfrm>
              <a:custGeom>
                <a:avLst/>
                <a:gdLst>
                  <a:gd name="T0" fmla="*/ 90 w 90"/>
                  <a:gd name="T1" fmla="*/ 0 h 106"/>
                  <a:gd name="T2" fmla="*/ 90 w 90"/>
                  <a:gd name="T3" fmla="*/ 8 h 106"/>
                  <a:gd name="T4" fmla="*/ 80 w 90"/>
                  <a:gd name="T5" fmla="*/ 18 h 106"/>
                  <a:gd name="T6" fmla="*/ 74 w 90"/>
                  <a:gd name="T7" fmla="*/ 24 h 106"/>
                  <a:gd name="T8" fmla="*/ 52 w 90"/>
                  <a:gd name="T9" fmla="*/ 20 h 106"/>
                  <a:gd name="T10" fmla="*/ 38 w 90"/>
                  <a:gd name="T11" fmla="*/ 18 h 106"/>
                  <a:gd name="T12" fmla="*/ 28 w 90"/>
                  <a:gd name="T13" fmla="*/ 18 h 106"/>
                  <a:gd name="T14" fmla="*/ 22 w 90"/>
                  <a:gd name="T15" fmla="*/ 18 h 106"/>
                  <a:gd name="T16" fmla="*/ 16 w 90"/>
                  <a:gd name="T17" fmla="*/ 24 h 106"/>
                  <a:gd name="T18" fmla="*/ 16 w 90"/>
                  <a:gd name="T19" fmla="*/ 32 h 106"/>
                  <a:gd name="T20" fmla="*/ 20 w 90"/>
                  <a:gd name="T21" fmla="*/ 38 h 106"/>
                  <a:gd name="T22" fmla="*/ 24 w 90"/>
                  <a:gd name="T23" fmla="*/ 42 h 106"/>
                  <a:gd name="T24" fmla="*/ 26 w 90"/>
                  <a:gd name="T25" fmla="*/ 46 h 106"/>
                  <a:gd name="T26" fmla="*/ 30 w 90"/>
                  <a:gd name="T27" fmla="*/ 48 h 106"/>
                  <a:gd name="T28" fmla="*/ 36 w 90"/>
                  <a:gd name="T29" fmla="*/ 40 h 106"/>
                  <a:gd name="T30" fmla="*/ 38 w 90"/>
                  <a:gd name="T31" fmla="*/ 38 h 106"/>
                  <a:gd name="T32" fmla="*/ 48 w 90"/>
                  <a:gd name="T33" fmla="*/ 40 h 106"/>
                  <a:gd name="T34" fmla="*/ 56 w 90"/>
                  <a:gd name="T35" fmla="*/ 36 h 106"/>
                  <a:gd name="T36" fmla="*/ 64 w 90"/>
                  <a:gd name="T37" fmla="*/ 36 h 106"/>
                  <a:gd name="T38" fmla="*/ 62 w 90"/>
                  <a:gd name="T39" fmla="*/ 42 h 106"/>
                  <a:gd name="T40" fmla="*/ 52 w 90"/>
                  <a:gd name="T41" fmla="*/ 44 h 106"/>
                  <a:gd name="T42" fmla="*/ 46 w 90"/>
                  <a:gd name="T43" fmla="*/ 48 h 106"/>
                  <a:gd name="T44" fmla="*/ 40 w 90"/>
                  <a:gd name="T45" fmla="*/ 54 h 106"/>
                  <a:gd name="T46" fmla="*/ 40 w 90"/>
                  <a:gd name="T47" fmla="*/ 56 h 106"/>
                  <a:gd name="T48" fmla="*/ 44 w 90"/>
                  <a:gd name="T49" fmla="*/ 62 h 106"/>
                  <a:gd name="T50" fmla="*/ 50 w 90"/>
                  <a:gd name="T51" fmla="*/ 72 h 106"/>
                  <a:gd name="T52" fmla="*/ 50 w 90"/>
                  <a:gd name="T53" fmla="*/ 76 h 106"/>
                  <a:gd name="T54" fmla="*/ 52 w 90"/>
                  <a:gd name="T55" fmla="*/ 84 h 106"/>
                  <a:gd name="T56" fmla="*/ 58 w 90"/>
                  <a:gd name="T57" fmla="*/ 86 h 106"/>
                  <a:gd name="T58" fmla="*/ 50 w 90"/>
                  <a:gd name="T59" fmla="*/ 90 h 106"/>
                  <a:gd name="T60" fmla="*/ 42 w 90"/>
                  <a:gd name="T61" fmla="*/ 88 h 106"/>
                  <a:gd name="T62" fmla="*/ 40 w 90"/>
                  <a:gd name="T63" fmla="*/ 94 h 106"/>
                  <a:gd name="T64" fmla="*/ 36 w 90"/>
                  <a:gd name="T65" fmla="*/ 86 h 106"/>
                  <a:gd name="T66" fmla="*/ 32 w 90"/>
                  <a:gd name="T67" fmla="*/ 76 h 106"/>
                  <a:gd name="T68" fmla="*/ 30 w 90"/>
                  <a:gd name="T69" fmla="*/ 64 h 106"/>
                  <a:gd name="T70" fmla="*/ 22 w 90"/>
                  <a:gd name="T71" fmla="*/ 64 h 106"/>
                  <a:gd name="T72" fmla="*/ 20 w 90"/>
                  <a:gd name="T73" fmla="*/ 68 h 106"/>
                  <a:gd name="T74" fmla="*/ 22 w 90"/>
                  <a:gd name="T75" fmla="*/ 84 h 106"/>
                  <a:gd name="T76" fmla="*/ 22 w 90"/>
                  <a:gd name="T77" fmla="*/ 88 h 106"/>
                  <a:gd name="T78" fmla="*/ 22 w 90"/>
                  <a:gd name="T79" fmla="*/ 102 h 106"/>
                  <a:gd name="T80" fmla="*/ 20 w 90"/>
                  <a:gd name="T81" fmla="*/ 106 h 106"/>
                  <a:gd name="T82" fmla="*/ 10 w 90"/>
                  <a:gd name="T83" fmla="*/ 106 h 106"/>
                  <a:gd name="T84" fmla="*/ 10 w 90"/>
                  <a:gd name="T85" fmla="*/ 92 h 106"/>
                  <a:gd name="T86" fmla="*/ 12 w 90"/>
                  <a:gd name="T87" fmla="*/ 82 h 106"/>
                  <a:gd name="T88" fmla="*/ 10 w 90"/>
                  <a:gd name="T89" fmla="*/ 76 h 106"/>
                  <a:gd name="T90" fmla="*/ 0 w 90"/>
                  <a:gd name="T91" fmla="*/ 72 h 106"/>
                  <a:gd name="T92" fmla="*/ 0 w 90"/>
                  <a:gd name="T93" fmla="*/ 62 h 106"/>
                  <a:gd name="T94" fmla="*/ 4 w 90"/>
                  <a:gd name="T95" fmla="*/ 52 h 106"/>
                  <a:gd name="T96" fmla="*/ 8 w 90"/>
                  <a:gd name="T97" fmla="*/ 38 h 106"/>
                  <a:gd name="T98" fmla="*/ 12 w 90"/>
                  <a:gd name="T99" fmla="*/ 32 h 106"/>
                  <a:gd name="T100" fmla="*/ 12 w 90"/>
                  <a:gd name="T101" fmla="*/ 24 h 106"/>
                  <a:gd name="T102" fmla="*/ 18 w 90"/>
                  <a:gd name="T103" fmla="*/ 12 h 106"/>
                  <a:gd name="T104" fmla="*/ 30 w 90"/>
                  <a:gd name="T105" fmla="*/ 8 h 106"/>
                  <a:gd name="T106" fmla="*/ 44 w 90"/>
                  <a:gd name="T107" fmla="*/ 10 h 106"/>
                  <a:gd name="T108" fmla="*/ 54 w 90"/>
                  <a:gd name="T109" fmla="*/ 12 h 106"/>
                  <a:gd name="T110" fmla="*/ 68 w 90"/>
                  <a:gd name="T111" fmla="*/ 12 h 106"/>
                  <a:gd name="T112" fmla="*/ 78 w 90"/>
                  <a:gd name="T113" fmla="*/ 12 h 106"/>
                  <a:gd name="T114" fmla="*/ 82 w 90"/>
                  <a:gd name="T115" fmla="*/ 8 h 106"/>
                  <a:gd name="T116" fmla="*/ 90 w 90"/>
                  <a:gd name="T1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6">
                    <a:moveTo>
                      <a:pt x="90" y="0"/>
                    </a:moveTo>
                    <a:lnTo>
                      <a:pt x="90" y="8"/>
                    </a:lnTo>
                    <a:lnTo>
                      <a:pt x="80" y="18"/>
                    </a:lnTo>
                    <a:lnTo>
                      <a:pt x="74" y="24"/>
                    </a:lnTo>
                    <a:lnTo>
                      <a:pt x="52" y="20"/>
                    </a:lnTo>
                    <a:lnTo>
                      <a:pt x="38" y="18"/>
                    </a:lnTo>
                    <a:lnTo>
                      <a:pt x="28" y="18"/>
                    </a:lnTo>
                    <a:lnTo>
                      <a:pt x="22" y="18"/>
                    </a:lnTo>
                    <a:lnTo>
                      <a:pt x="16" y="24"/>
                    </a:lnTo>
                    <a:lnTo>
                      <a:pt x="16" y="32"/>
                    </a:lnTo>
                    <a:lnTo>
                      <a:pt x="20" y="38"/>
                    </a:lnTo>
                    <a:lnTo>
                      <a:pt x="24" y="42"/>
                    </a:lnTo>
                    <a:lnTo>
                      <a:pt x="26" y="46"/>
                    </a:lnTo>
                    <a:lnTo>
                      <a:pt x="30" y="48"/>
                    </a:lnTo>
                    <a:lnTo>
                      <a:pt x="36" y="40"/>
                    </a:lnTo>
                    <a:lnTo>
                      <a:pt x="38" y="38"/>
                    </a:lnTo>
                    <a:lnTo>
                      <a:pt x="48" y="40"/>
                    </a:lnTo>
                    <a:lnTo>
                      <a:pt x="56" y="36"/>
                    </a:lnTo>
                    <a:lnTo>
                      <a:pt x="64" y="36"/>
                    </a:lnTo>
                    <a:lnTo>
                      <a:pt x="62" y="42"/>
                    </a:lnTo>
                    <a:lnTo>
                      <a:pt x="52" y="44"/>
                    </a:lnTo>
                    <a:lnTo>
                      <a:pt x="46" y="48"/>
                    </a:lnTo>
                    <a:lnTo>
                      <a:pt x="40" y="54"/>
                    </a:lnTo>
                    <a:lnTo>
                      <a:pt x="40" y="56"/>
                    </a:lnTo>
                    <a:lnTo>
                      <a:pt x="44" y="62"/>
                    </a:lnTo>
                    <a:lnTo>
                      <a:pt x="50" y="72"/>
                    </a:lnTo>
                    <a:lnTo>
                      <a:pt x="50" y="76"/>
                    </a:lnTo>
                    <a:lnTo>
                      <a:pt x="52" y="84"/>
                    </a:lnTo>
                    <a:lnTo>
                      <a:pt x="58" y="86"/>
                    </a:lnTo>
                    <a:lnTo>
                      <a:pt x="50" y="90"/>
                    </a:lnTo>
                    <a:lnTo>
                      <a:pt x="42" y="88"/>
                    </a:lnTo>
                    <a:lnTo>
                      <a:pt x="40" y="94"/>
                    </a:lnTo>
                    <a:lnTo>
                      <a:pt x="36" y="86"/>
                    </a:lnTo>
                    <a:lnTo>
                      <a:pt x="32" y="76"/>
                    </a:lnTo>
                    <a:lnTo>
                      <a:pt x="30" y="64"/>
                    </a:lnTo>
                    <a:lnTo>
                      <a:pt x="22" y="64"/>
                    </a:lnTo>
                    <a:lnTo>
                      <a:pt x="20" y="68"/>
                    </a:lnTo>
                    <a:lnTo>
                      <a:pt x="22" y="84"/>
                    </a:lnTo>
                    <a:lnTo>
                      <a:pt x="22" y="88"/>
                    </a:lnTo>
                    <a:lnTo>
                      <a:pt x="22" y="102"/>
                    </a:lnTo>
                    <a:lnTo>
                      <a:pt x="20" y="106"/>
                    </a:lnTo>
                    <a:lnTo>
                      <a:pt x="10" y="106"/>
                    </a:lnTo>
                    <a:lnTo>
                      <a:pt x="10" y="92"/>
                    </a:lnTo>
                    <a:lnTo>
                      <a:pt x="12" y="82"/>
                    </a:lnTo>
                    <a:lnTo>
                      <a:pt x="10" y="76"/>
                    </a:lnTo>
                    <a:lnTo>
                      <a:pt x="0" y="72"/>
                    </a:lnTo>
                    <a:lnTo>
                      <a:pt x="0" y="62"/>
                    </a:lnTo>
                    <a:lnTo>
                      <a:pt x="4" y="52"/>
                    </a:lnTo>
                    <a:lnTo>
                      <a:pt x="8" y="38"/>
                    </a:lnTo>
                    <a:lnTo>
                      <a:pt x="12" y="32"/>
                    </a:lnTo>
                    <a:lnTo>
                      <a:pt x="12" y="24"/>
                    </a:lnTo>
                    <a:lnTo>
                      <a:pt x="18" y="12"/>
                    </a:lnTo>
                    <a:lnTo>
                      <a:pt x="30" y="8"/>
                    </a:lnTo>
                    <a:lnTo>
                      <a:pt x="44" y="10"/>
                    </a:lnTo>
                    <a:lnTo>
                      <a:pt x="54" y="12"/>
                    </a:lnTo>
                    <a:lnTo>
                      <a:pt x="68" y="12"/>
                    </a:lnTo>
                    <a:lnTo>
                      <a:pt x="78" y="12"/>
                    </a:lnTo>
                    <a:lnTo>
                      <a:pt x="82" y="8"/>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7" name="Line 970"/>
              <p:cNvSpPr>
                <a:spLocks noChangeShapeType="1"/>
              </p:cNvSpPr>
              <p:nvPr/>
            </p:nvSpPr>
            <p:spPr bwMode="auto">
              <a:xfrm>
                <a:off x="4607" y="253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8" name="Freeform 971"/>
              <p:cNvSpPr>
                <a:spLocks/>
              </p:cNvSpPr>
              <p:nvPr/>
            </p:nvSpPr>
            <p:spPr bwMode="auto">
              <a:xfrm>
                <a:off x="4539" y="2495"/>
                <a:ext cx="98" cy="114"/>
              </a:xfrm>
              <a:custGeom>
                <a:avLst/>
                <a:gdLst>
                  <a:gd name="T0" fmla="*/ 92 w 98"/>
                  <a:gd name="T1" fmla="*/ 2 h 114"/>
                  <a:gd name="T2" fmla="*/ 72 w 98"/>
                  <a:gd name="T3" fmla="*/ 12 h 114"/>
                  <a:gd name="T4" fmla="*/ 50 w 98"/>
                  <a:gd name="T5" fmla="*/ 10 h 114"/>
                  <a:gd name="T6" fmla="*/ 34 w 98"/>
                  <a:gd name="T7" fmla="*/ 8 h 114"/>
                  <a:gd name="T8" fmla="*/ 32 w 98"/>
                  <a:gd name="T9" fmla="*/ 8 h 114"/>
                  <a:gd name="T10" fmla="*/ 20 w 98"/>
                  <a:gd name="T11" fmla="*/ 14 h 114"/>
                  <a:gd name="T12" fmla="*/ 12 w 98"/>
                  <a:gd name="T13" fmla="*/ 28 h 114"/>
                  <a:gd name="T14" fmla="*/ 8 w 98"/>
                  <a:gd name="T15" fmla="*/ 40 h 114"/>
                  <a:gd name="T16" fmla="*/ 0 w 98"/>
                  <a:gd name="T17" fmla="*/ 64 h 114"/>
                  <a:gd name="T18" fmla="*/ 0 w 98"/>
                  <a:gd name="T19" fmla="*/ 76 h 114"/>
                  <a:gd name="T20" fmla="*/ 4 w 98"/>
                  <a:gd name="T21" fmla="*/ 80 h 114"/>
                  <a:gd name="T22" fmla="*/ 10 w 98"/>
                  <a:gd name="T23" fmla="*/ 96 h 114"/>
                  <a:gd name="T24" fmla="*/ 10 w 98"/>
                  <a:gd name="T25" fmla="*/ 110 h 114"/>
                  <a:gd name="T26" fmla="*/ 14 w 98"/>
                  <a:gd name="T27" fmla="*/ 112 h 114"/>
                  <a:gd name="T28" fmla="*/ 24 w 98"/>
                  <a:gd name="T29" fmla="*/ 114 h 114"/>
                  <a:gd name="T30" fmla="*/ 28 w 98"/>
                  <a:gd name="T31" fmla="*/ 112 h 114"/>
                  <a:gd name="T32" fmla="*/ 30 w 98"/>
                  <a:gd name="T33" fmla="*/ 106 h 114"/>
                  <a:gd name="T34" fmla="*/ 30 w 98"/>
                  <a:gd name="T35" fmla="*/ 88 h 114"/>
                  <a:gd name="T36" fmla="*/ 30 w 98"/>
                  <a:gd name="T37" fmla="*/ 72 h 114"/>
                  <a:gd name="T38" fmla="*/ 32 w 98"/>
                  <a:gd name="T39" fmla="*/ 80 h 114"/>
                  <a:gd name="T40" fmla="*/ 36 w 98"/>
                  <a:gd name="T41" fmla="*/ 90 h 114"/>
                  <a:gd name="T42" fmla="*/ 42 w 98"/>
                  <a:gd name="T43" fmla="*/ 100 h 114"/>
                  <a:gd name="T44" fmla="*/ 46 w 98"/>
                  <a:gd name="T45" fmla="*/ 102 h 114"/>
                  <a:gd name="T46" fmla="*/ 48 w 98"/>
                  <a:gd name="T47" fmla="*/ 100 h 114"/>
                  <a:gd name="T48" fmla="*/ 52 w 98"/>
                  <a:gd name="T49" fmla="*/ 98 h 114"/>
                  <a:gd name="T50" fmla="*/ 56 w 98"/>
                  <a:gd name="T51" fmla="*/ 98 h 114"/>
                  <a:gd name="T52" fmla="*/ 66 w 98"/>
                  <a:gd name="T53" fmla="*/ 92 h 114"/>
                  <a:gd name="T54" fmla="*/ 60 w 98"/>
                  <a:gd name="T55" fmla="*/ 84 h 114"/>
                  <a:gd name="T56" fmla="*/ 58 w 98"/>
                  <a:gd name="T57" fmla="*/ 76 h 114"/>
                  <a:gd name="T58" fmla="*/ 52 w 98"/>
                  <a:gd name="T59" fmla="*/ 64 h 114"/>
                  <a:gd name="T60" fmla="*/ 54 w 98"/>
                  <a:gd name="T61" fmla="*/ 56 h 114"/>
                  <a:gd name="T62" fmla="*/ 68 w 98"/>
                  <a:gd name="T63" fmla="*/ 50 h 114"/>
                  <a:gd name="T64" fmla="*/ 72 w 98"/>
                  <a:gd name="T65" fmla="*/ 42 h 114"/>
                  <a:gd name="T66" fmla="*/ 72 w 98"/>
                  <a:gd name="T67" fmla="*/ 38 h 114"/>
                  <a:gd name="T68" fmla="*/ 60 w 98"/>
                  <a:gd name="T69" fmla="*/ 36 h 114"/>
                  <a:gd name="T70" fmla="*/ 52 w 98"/>
                  <a:gd name="T71" fmla="*/ 40 h 114"/>
                  <a:gd name="T72" fmla="*/ 42 w 98"/>
                  <a:gd name="T73" fmla="*/ 38 h 114"/>
                  <a:gd name="T74" fmla="*/ 38 w 98"/>
                  <a:gd name="T75" fmla="*/ 40 h 114"/>
                  <a:gd name="T76" fmla="*/ 32 w 98"/>
                  <a:gd name="T77" fmla="*/ 46 h 114"/>
                  <a:gd name="T78" fmla="*/ 32 w 98"/>
                  <a:gd name="T79" fmla="*/ 42 h 114"/>
                  <a:gd name="T80" fmla="*/ 24 w 98"/>
                  <a:gd name="T81" fmla="*/ 30 h 114"/>
                  <a:gd name="T82" fmla="*/ 42 w 98"/>
                  <a:gd name="T83" fmla="*/ 26 h 114"/>
                  <a:gd name="T84" fmla="*/ 76 w 98"/>
                  <a:gd name="T85" fmla="*/ 32 h 114"/>
                  <a:gd name="T86" fmla="*/ 80 w 98"/>
                  <a:gd name="T87" fmla="*/ 30 h 114"/>
                  <a:gd name="T88" fmla="*/ 88 w 98"/>
                  <a:gd name="T89" fmla="*/ 24 h 114"/>
                  <a:gd name="T90" fmla="*/ 98 w 98"/>
                  <a:gd name="T91" fmla="*/ 12 h 114"/>
                  <a:gd name="T92" fmla="*/ 98 w 98"/>
                  <a:gd name="T93" fmla="*/ 2 h 114"/>
                  <a:gd name="T94" fmla="*/ 94 w 98"/>
                  <a:gd name="T9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114">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9" name="Freeform 972"/>
              <p:cNvSpPr>
                <a:spLocks/>
              </p:cNvSpPr>
              <p:nvPr/>
            </p:nvSpPr>
            <p:spPr bwMode="auto">
              <a:xfrm>
                <a:off x="4715" y="2531"/>
                <a:ext cx="144" cy="122"/>
              </a:xfrm>
              <a:custGeom>
                <a:avLst/>
                <a:gdLst>
                  <a:gd name="T0" fmla="*/ 142 w 144"/>
                  <a:gd name="T1" fmla="*/ 122 h 122"/>
                  <a:gd name="T2" fmla="*/ 128 w 144"/>
                  <a:gd name="T3" fmla="*/ 110 h 122"/>
                  <a:gd name="T4" fmla="*/ 114 w 144"/>
                  <a:gd name="T5" fmla="*/ 108 h 122"/>
                  <a:gd name="T6" fmla="*/ 110 w 144"/>
                  <a:gd name="T7" fmla="*/ 110 h 122"/>
                  <a:gd name="T8" fmla="*/ 110 w 144"/>
                  <a:gd name="T9" fmla="*/ 112 h 122"/>
                  <a:gd name="T10" fmla="*/ 96 w 144"/>
                  <a:gd name="T11" fmla="*/ 114 h 122"/>
                  <a:gd name="T12" fmla="*/ 94 w 144"/>
                  <a:gd name="T13" fmla="*/ 104 h 122"/>
                  <a:gd name="T14" fmla="*/ 94 w 144"/>
                  <a:gd name="T15" fmla="*/ 104 h 122"/>
                  <a:gd name="T16" fmla="*/ 96 w 144"/>
                  <a:gd name="T17" fmla="*/ 100 h 122"/>
                  <a:gd name="T18" fmla="*/ 102 w 144"/>
                  <a:gd name="T19" fmla="*/ 96 h 122"/>
                  <a:gd name="T20" fmla="*/ 108 w 144"/>
                  <a:gd name="T21" fmla="*/ 88 h 122"/>
                  <a:gd name="T22" fmla="*/ 98 w 144"/>
                  <a:gd name="T23" fmla="*/ 72 h 122"/>
                  <a:gd name="T24" fmla="*/ 58 w 144"/>
                  <a:gd name="T25" fmla="*/ 58 h 122"/>
                  <a:gd name="T26" fmla="*/ 58 w 144"/>
                  <a:gd name="T27" fmla="*/ 56 h 122"/>
                  <a:gd name="T28" fmla="*/ 48 w 144"/>
                  <a:gd name="T29" fmla="*/ 50 h 122"/>
                  <a:gd name="T30" fmla="*/ 46 w 144"/>
                  <a:gd name="T31" fmla="*/ 50 h 122"/>
                  <a:gd name="T32" fmla="*/ 40 w 144"/>
                  <a:gd name="T33" fmla="*/ 40 h 122"/>
                  <a:gd name="T34" fmla="*/ 40 w 144"/>
                  <a:gd name="T35" fmla="*/ 52 h 122"/>
                  <a:gd name="T36" fmla="*/ 40 w 144"/>
                  <a:gd name="T37" fmla="*/ 54 h 122"/>
                  <a:gd name="T38" fmla="*/ 38 w 144"/>
                  <a:gd name="T39" fmla="*/ 54 h 122"/>
                  <a:gd name="T40" fmla="*/ 30 w 144"/>
                  <a:gd name="T41" fmla="*/ 52 h 122"/>
                  <a:gd name="T42" fmla="*/ 28 w 144"/>
                  <a:gd name="T43" fmla="*/ 50 h 122"/>
                  <a:gd name="T44" fmla="*/ 26 w 144"/>
                  <a:gd name="T45" fmla="*/ 38 h 122"/>
                  <a:gd name="T46" fmla="*/ 18 w 144"/>
                  <a:gd name="T47" fmla="*/ 36 h 122"/>
                  <a:gd name="T48" fmla="*/ 18 w 144"/>
                  <a:gd name="T49" fmla="*/ 36 h 122"/>
                  <a:gd name="T50" fmla="*/ 26 w 144"/>
                  <a:gd name="T51" fmla="*/ 28 h 122"/>
                  <a:gd name="T52" fmla="*/ 28 w 144"/>
                  <a:gd name="T53" fmla="*/ 28 h 122"/>
                  <a:gd name="T54" fmla="*/ 28 w 144"/>
                  <a:gd name="T55" fmla="*/ 28 h 122"/>
                  <a:gd name="T56" fmla="*/ 42 w 144"/>
                  <a:gd name="T57" fmla="*/ 28 h 122"/>
                  <a:gd name="T58" fmla="*/ 28 w 144"/>
                  <a:gd name="T59" fmla="*/ 24 h 122"/>
                  <a:gd name="T60" fmla="*/ 20 w 144"/>
                  <a:gd name="T61" fmla="*/ 26 h 122"/>
                  <a:gd name="T62" fmla="*/ 20 w 144"/>
                  <a:gd name="T63" fmla="*/ 26 h 122"/>
                  <a:gd name="T64" fmla="*/ 14 w 144"/>
                  <a:gd name="T65" fmla="*/ 18 h 122"/>
                  <a:gd name="T66" fmla="*/ 2 w 144"/>
                  <a:gd name="T67" fmla="*/ 16 h 122"/>
                  <a:gd name="T68" fmla="*/ 0 w 144"/>
                  <a:gd name="T69" fmla="*/ 14 h 122"/>
                  <a:gd name="T70" fmla="*/ 2 w 144"/>
                  <a:gd name="T71" fmla="*/ 8 h 122"/>
                  <a:gd name="T72" fmla="*/ 18 w 144"/>
                  <a:gd name="T73" fmla="*/ 2 h 122"/>
                  <a:gd name="T74" fmla="*/ 44 w 144"/>
                  <a:gd name="T75" fmla="*/ 2 h 122"/>
                  <a:gd name="T76" fmla="*/ 44 w 144"/>
                  <a:gd name="T77" fmla="*/ 2 h 122"/>
                  <a:gd name="T78" fmla="*/ 52 w 144"/>
                  <a:gd name="T79" fmla="*/ 10 h 122"/>
                  <a:gd name="T80" fmla="*/ 50 w 144"/>
                  <a:gd name="T81" fmla="*/ 22 h 122"/>
                  <a:gd name="T82" fmla="*/ 54 w 144"/>
                  <a:gd name="T83" fmla="*/ 30 h 122"/>
                  <a:gd name="T84" fmla="*/ 56 w 144"/>
                  <a:gd name="T85" fmla="*/ 30 h 122"/>
                  <a:gd name="T86" fmla="*/ 62 w 144"/>
                  <a:gd name="T87" fmla="*/ 38 h 122"/>
                  <a:gd name="T88" fmla="*/ 74 w 144"/>
                  <a:gd name="T89" fmla="*/ 28 h 122"/>
                  <a:gd name="T90" fmla="*/ 90 w 144"/>
                  <a:gd name="T91" fmla="*/ 20 h 122"/>
                  <a:gd name="T92" fmla="*/ 96 w 144"/>
                  <a:gd name="T93" fmla="*/ 14 h 122"/>
                  <a:gd name="T94" fmla="*/ 96 w 144"/>
                  <a:gd name="T95" fmla="*/ 14 h 122"/>
                  <a:gd name="T96" fmla="*/ 114 w 144"/>
                  <a:gd name="T97" fmla="*/ 20 h 122"/>
                  <a:gd name="T98" fmla="*/ 140 w 144"/>
                  <a:gd name="T99" fmla="*/ 28 h 122"/>
                  <a:gd name="T100" fmla="*/ 142 w 144"/>
                  <a:gd name="T101" fmla="*/ 30 h 122"/>
                  <a:gd name="T102" fmla="*/ 144 w 144"/>
                  <a:gd name="T103" fmla="*/ 120 h 122"/>
                  <a:gd name="T104" fmla="*/ 142 w 144"/>
                  <a:gd name="T105" fmla="*/ 122 h 122"/>
                  <a:gd name="T106" fmla="*/ 142 w 144"/>
                  <a:gd name="T10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122">
                    <a:moveTo>
                      <a:pt x="142" y="122"/>
                    </a:moveTo>
                    <a:lnTo>
                      <a:pt x="142" y="122"/>
                    </a:lnTo>
                    <a:lnTo>
                      <a:pt x="140" y="122"/>
                    </a:lnTo>
                    <a:lnTo>
                      <a:pt x="128" y="110"/>
                    </a:lnTo>
                    <a:lnTo>
                      <a:pt x="120" y="108"/>
                    </a:lnTo>
                    <a:lnTo>
                      <a:pt x="114" y="108"/>
                    </a:lnTo>
                    <a:lnTo>
                      <a:pt x="110" y="110"/>
                    </a:lnTo>
                    <a:lnTo>
                      <a:pt x="110" y="110"/>
                    </a:lnTo>
                    <a:lnTo>
                      <a:pt x="110" y="112"/>
                    </a:lnTo>
                    <a:lnTo>
                      <a:pt x="110" y="112"/>
                    </a:lnTo>
                    <a:lnTo>
                      <a:pt x="96" y="114"/>
                    </a:lnTo>
                    <a:lnTo>
                      <a:pt x="96" y="114"/>
                    </a:lnTo>
                    <a:lnTo>
                      <a:pt x="96" y="112"/>
                    </a:lnTo>
                    <a:lnTo>
                      <a:pt x="94" y="104"/>
                    </a:lnTo>
                    <a:lnTo>
                      <a:pt x="94" y="104"/>
                    </a:lnTo>
                    <a:lnTo>
                      <a:pt x="94" y="104"/>
                    </a:lnTo>
                    <a:lnTo>
                      <a:pt x="96" y="100"/>
                    </a:lnTo>
                    <a:lnTo>
                      <a:pt x="96" y="100"/>
                    </a:lnTo>
                    <a:lnTo>
                      <a:pt x="96" y="98"/>
                    </a:lnTo>
                    <a:lnTo>
                      <a:pt x="102" y="96"/>
                    </a:lnTo>
                    <a:lnTo>
                      <a:pt x="108" y="96"/>
                    </a:lnTo>
                    <a:lnTo>
                      <a:pt x="108" y="88"/>
                    </a:lnTo>
                    <a:lnTo>
                      <a:pt x="106" y="80"/>
                    </a:lnTo>
                    <a:lnTo>
                      <a:pt x="98" y="72"/>
                    </a:lnTo>
                    <a:lnTo>
                      <a:pt x="78" y="62"/>
                    </a:lnTo>
                    <a:lnTo>
                      <a:pt x="58" y="58"/>
                    </a:lnTo>
                    <a:lnTo>
                      <a:pt x="58" y="58"/>
                    </a:lnTo>
                    <a:lnTo>
                      <a:pt x="58" y="56"/>
                    </a:lnTo>
                    <a:lnTo>
                      <a:pt x="52" y="52"/>
                    </a:lnTo>
                    <a:lnTo>
                      <a:pt x="48" y="50"/>
                    </a:lnTo>
                    <a:lnTo>
                      <a:pt x="48" y="50"/>
                    </a:lnTo>
                    <a:lnTo>
                      <a:pt x="46" y="50"/>
                    </a:lnTo>
                    <a:lnTo>
                      <a:pt x="42" y="40"/>
                    </a:lnTo>
                    <a:lnTo>
                      <a:pt x="40" y="40"/>
                    </a:lnTo>
                    <a:lnTo>
                      <a:pt x="40" y="52"/>
                    </a:lnTo>
                    <a:lnTo>
                      <a:pt x="40" y="52"/>
                    </a:lnTo>
                    <a:lnTo>
                      <a:pt x="40" y="54"/>
                    </a:lnTo>
                    <a:lnTo>
                      <a:pt x="40" y="54"/>
                    </a:lnTo>
                    <a:lnTo>
                      <a:pt x="38" y="54"/>
                    </a:lnTo>
                    <a:lnTo>
                      <a:pt x="38" y="54"/>
                    </a:lnTo>
                    <a:lnTo>
                      <a:pt x="38" y="54"/>
                    </a:lnTo>
                    <a:lnTo>
                      <a:pt x="30" y="52"/>
                    </a:lnTo>
                    <a:lnTo>
                      <a:pt x="30" y="52"/>
                    </a:lnTo>
                    <a:lnTo>
                      <a:pt x="28" y="50"/>
                    </a:lnTo>
                    <a:lnTo>
                      <a:pt x="28" y="42"/>
                    </a:lnTo>
                    <a:lnTo>
                      <a:pt x="26" y="38"/>
                    </a:lnTo>
                    <a:lnTo>
                      <a:pt x="18" y="36"/>
                    </a:lnTo>
                    <a:lnTo>
                      <a:pt x="18" y="36"/>
                    </a:lnTo>
                    <a:lnTo>
                      <a:pt x="18" y="36"/>
                    </a:lnTo>
                    <a:lnTo>
                      <a:pt x="18" y="36"/>
                    </a:lnTo>
                    <a:lnTo>
                      <a:pt x="18" y="34"/>
                    </a:lnTo>
                    <a:lnTo>
                      <a:pt x="26" y="28"/>
                    </a:lnTo>
                    <a:lnTo>
                      <a:pt x="26" y="28"/>
                    </a:lnTo>
                    <a:lnTo>
                      <a:pt x="28" y="28"/>
                    </a:lnTo>
                    <a:lnTo>
                      <a:pt x="28" y="28"/>
                    </a:lnTo>
                    <a:lnTo>
                      <a:pt x="28" y="28"/>
                    </a:lnTo>
                    <a:lnTo>
                      <a:pt x="38" y="30"/>
                    </a:lnTo>
                    <a:lnTo>
                      <a:pt x="42" y="28"/>
                    </a:lnTo>
                    <a:lnTo>
                      <a:pt x="40" y="24"/>
                    </a:lnTo>
                    <a:lnTo>
                      <a:pt x="28" y="24"/>
                    </a:lnTo>
                    <a:lnTo>
                      <a:pt x="20" y="26"/>
                    </a:lnTo>
                    <a:lnTo>
                      <a:pt x="20" y="26"/>
                    </a:lnTo>
                    <a:lnTo>
                      <a:pt x="20" y="26"/>
                    </a:lnTo>
                    <a:lnTo>
                      <a:pt x="20" y="26"/>
                    </a:lnTo>
                    <a:lnTo>
                      <a:pt x="18" y="26"/>
                    </a:lnTo>
                    <a:lnTo>
                      <a:pt x="14" y="18"/>
                    </a:lnTo>
                    <a:lnTo>
                      <a:pt x="8" y="18"/>
                    </a:lnTo>
                    <a:lnTo>
                      <a:pt x="2" y="16"/>
                    </a:lnTo>
                    <a:lnTo>
                      <a:pt x="2" y="16"/>
                    </a:lnTo>
                    <a:lnTo>
                      <a:pt x="0" y="14"/>
                    </a:lnTo>
                    <a:lnTo>
                      <a:pt x="2" y="8"/>
                    </a:lnTo>
                    <a:lnTo>
                      <a:pt x="2" y="8"/>
                    </a:lnTo>
                    <a:lnTo>
                      <a:pt x="4" y="6"/>
                    </a:lnTo>
                    <a:lnTo>
                      <a:pt x="18" y="2"/>
                    </a:lnTo>
                    <a:lnTo>
                      <a:pt x="28" y="0"/>
                    </a:lnTo>
                    <a:lnTo>
                      <a:pt x="44" y="2"/>
                    </a:lnTo>
                    <a:lnTo>
                      <a:pt x="44" y="2"/>
                    </a:lnTo>
                    <a:lnTo>
                      <a:pt x="44" y="2"/>
                    </a:lnTo>
                    <a:lnTo>
                      <a:pt x="52" y="10"/>
                    </a:lnTo>
                    <a:lnTo>
                      <a:pt x="52" y="10"/>
                    </a:lnTo>
                    <a:lnTo>
                      <a:pt x="52" y="10"/>
                    </a:lnTo>
                    <a:lnTo>
                      <a:pt x="50" y="22"/>
                    </a:lnTo>
                    <a:lnTo>
                      <a:pt x="50" y="26"/>
                    </a:lnTo>
                    <a:lnTo>
                      <a:pt x="54" y="30"/>
                    </a:lnTo>
                    <a:lnTo>
                      <a:pt x="54" y="30"/>
                    </a:lnTo>
                    <a:lnTo>
                      <a:pt x="56" y="30"/>
                    </a:lnTo>
                    <a:lnTo>
                      <a:pt x="58" y="36"/>
                    </a:lnTo>
                    <a:lnTo>
                      <a:pt x="62" y="38"/>
                    </a:lnTo>
                    <a:lnTo>
                      <a:pt x="70" y="36"/>
                    </a:lnTo>
                    <a:lnTo>
                      <a:pt x="74" y="28"/>
                    </a:lnTo>
                    <a:lnTo>
                      <a:pt x="82" y="22"/>
                    </a:lnTo>
                    <a:lnTo>
                      <a:pt x="90" y="20"/>
                    </a:lnTo>
                    <a:lnTo>
                      <a:pt x="96" y="14"/>
                    </a:lnTo>
                    <a:lnTo>
                      <a:pt x="96" y="14"/>
                    </a:lnTo>
                    <a:lnTo>
                      <a:pt x="96" y="14"/>
                    </a:lnTo>
                    <a:lnTo>
                      <a:pt x="96" y="14"/>
                    </a:lnTo>
                    <a:lnTo>
                      <a:pt x="98" y="14"/>
                    </a:lnTo>
                    <a:lnTo>
                      <a:pt x="114" y="20"/>
                    </a:lnTo>
                    <a:lnTo>
                      <a:pt x="126" y="22"/>
                    </a:lnTo>
                    <a:lnTo>
                      <a:pt x="140" y="28"/>
                    </a:lnTo>
                    <a:lnTo>
                      <a:pt x="142" y="30"/>
                    </a:lnTo>
                    <a:lnTo>
                      <a:pt x="142" y="30"/>
                    </a:lnTo>
                    <a:lnTo>
                      <a:pt x="144" y="32"/>
                    </a:lnTo>
                    <a:lnTo>
                      <a:pt x="144" y="120"/>
                    </a:lnTo>
                    <a:lnTo>
                      <a:pt x="144" y="120"/>
                    </a:lnTo>
                    <a:lnTo>
                      <a:pt x="142" y="122"/>
                    </a:lnTo>
                    <a:lnTo>
                      <a:pt x="142" y="122"/>
                    </a:lnTo>
                    <a:lnTo>
                      <a:pt x="142" y="122"/>
                    </a:lnTo>
                    <a:lnTo>
                      <a:pt x="142"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0" name="Freeform 973"/>
              <p:cNvSpPr>
                <a:spLocks noEditPoints="1"/>
              </p:cNvSpPr>
              <p:nvPr/>
            </p:nvSpPr>
            <p:spPr bwMode="auto">
              <a:xfrm>
                <a:off x="4713" y="2529"/>
                <a:ext cx="148" cy="126"/>
              </a:xfrm>
              <a:custGeom>
                <a:avLst/>
                <a:gdLst>
                  <a:gd name="T0" fmla="*/ 52 w 148"/>
                  <a:gd name="T1" fmla="*/ 12 h 126"/>
                  <a:gd name="T2" fmla="*/ 56 w 148"/>
                  <a:gd name="T3" fmla="*/ 34 h 126"/>
                  <a:gd name="T4" fmla="*/ 74 w 148"/>
                  <a:gd name="T5" fmla="*/ 40 h 126"/>
                  <a:gd name="T6" fmla="*/ 94 w 148"/>
                  <a:gd name="T7" fmla="*/ 22 h 126"/>
                  <a:gd name="T8" fmla="*/ 126 w 148"/>
                  <a:gd name="T9" fmla="*/ 26 h 126"/>
                  <a:gd name="T10" fmla="*/ 144 w 148"/>
                  <a:gd name="T11" fmla="*/ 122 h 126"/>
                  <a:gd name="T12" fmla="*/ 116 w 148"/>
                  <a:gd name="T13" fmla="*/ 108 h 126"/>
                  <a:gd name="T14" fmla="*/ 98 w 148"/>
                  <a:gd name="T15" fmla="*/ 106 h 126"/>
                  <a:gd name="T16" fmla="*/ 112 w 148"/>
                  <a:gd name="T17" fmla="*/ 100 h 126"/>
                  <a:gd name="T18" fmla="*/ 100 w 148"/>
                  <a:gd name="T19" fmla="*/ 74 h 126"/>
                  <a:gd name="T20" fmla="*/ 56 w 148"/>
                  <a:gd name="T21" fmla="*/ 52 h 126"/>
                  <a:gd name="T22" fmla="*/ 40 w 148"/>
                  <a:gd name="T23" fmla="*/ 40 h 126"/>
                  <a:gd name="T24" fmla="*/ 32 w 148"/>
                  <a:gd name="T25" fmla="*/ 52 h 126"/>
                  <a:gd name="T26" fmla="*/ 22 w 148"/>
                  <a:gd name="T27" fmla="*/ 36 h 126"/>
                  <a:gd name="T28" fmla="*/ 48 w 148"/>
                  <a:gd name="T29" fmla="*/ 32 h 126"/>
                  <a:gd name="T30" fmla="*/ 22 w 148"/>
                  <a:gd name="T31" fmla="*/ 26 h 126"/>
                  <a:gd name="T32" fmla="*/ 4 w 148"/>
                  <a:gd name="T33" fmla="*/ 16 h 126"/>
                  <a:gd name="T34" fmla="*/ 30 w 148"/>
                  <a:gd name="T35" fmla="*/ 4 h 126"/>
                  <a:gd name="T36" fmla="*/ 30 w 148"/>
                  <a:gd name="T37" fmla="*/ 0 h 126"/>
                  <a:gd name="T38" fmla="*/ 20 w 148"/>
                  <a:gd name="T39" fmla="*/ 2 h 126"/>
                  <a:gd name="T40" fmla="*/ 2 w 148"/>
                  <a:gd name="T41" fmla="*/ 10 h 126"/>
                  <a:gd name="T42" fmla="*/ 0 w 148"/>
                  <a:gd name="T43" fmla="*/ 18 h 126"/>
                  <a:gd name="T44" fmla="*/ 8 w 148"/>
                  <a:gd name="T45" fmla="*/ 22 h 126"/>
                  <a:gd name="T46" fmla="*/ 18 w 148"/>
                  <a:gd name="T47" fmla="*/ 28 h 126"/>
                  <a:gd name="T48" fmla="*/ 22 w 148"/>
                  <a:gd name="T49" fmla="*/ 30 h 126"/>
                  <a:gd name="T50" fmla="*/ 26 w 148"/>
                  <a:gd name="T51" fmla="*/ 30 h 126"/>
                  <a:gd name="T52" fmla="*/ 18 w 148"/>
                  <a:gd name="T53" fmla="*/ 36 h 126"/>
                  <a:gd name="T54" fmla="*/ 18 w 148"/>
                  <a:gd name="T55" fmla="*/ 40 h 126"/>
                  <a:gd name="T56" fmla="*/ 28 w 148"/>
                  <a:gd name="T57" fmla="*/ 44 h 126"/>
                  <a:gd name="T58" fmla="*/ 28 w 148"/>
                  <a:gd name="T59" fmla="*/ 54 h 126"/>
                  <a:gd name="T60" fmla="*/ 40 w 148"/>
                  <a:gd name="T61" fmla="*/ 58 h 126"/>
                  <a:gd name="T62" fmla="*/ 42 w 148"/>
                  <a:gd name="T63" fmla="*/ 58 h 126"/>
                  <a:gd name="T64" fmla="*/ 44 w 148"/>
                  <a:gd name="T65" fmla="*/ 46 h 126"/>
                  <a:gd name="T66" fmla="*/ 50 w 148"/>
                  <a:gd name="T67" fmla="*/ 54 h 126"/>
                  <a:gd name="T68" fmla="*/ 58 w 148"/>
                  <a:gd name="T69" fmla="*/ 60 h 126"/>
                  <a:gd name="T70" fmla="*/ 98 w 148"/>
                  <a:gd name="T71" fmla="*/ 76 h 126"/>
                  <a:gd name="T72" fmla="*/ 108 w 148"/>
                  <a:gd name="T73" fmla="*/ 96 h 126"/>
                  <a:gd name="T74" fmla="*/ 98 w 148"/>
                  <a:gd name="T75" fmla="*/ 98 h 126"/>
                  <a:gd name="T76" fmla="*/ 94 w 148"/>
                  <a:gd name="T77" fmla="*/ 104 h 126"/>
                  <a:gd name="T78" fmla="*/ 96 w 148"/>
                  <a:gd name="T79" fmla="*/ 114 h 126"/>
                  <a:gd name="T80" fmla="*/ 98 w 148"/>
                  <a:gd name="T81" fmla="*/ 118 h 126"/>
                  <a:gd name="T82" fmla="*/ 112 w 148"/>
                  <a:gd name="T83" fmla="*/ 116 h 126"/>
                  <a:gd name="T84" fmla="*/ 122 w 148"/>
                  <a:gd name="T85" fmla="*/ 112 h 126"/>
                  <a:gd name="T86" fmla="*/ 142 w 148"/>
                  <a:gd name="T87" fmla="*/ 124 h 126"/>
                  <a:gd name="T88" fmla="*/ 146 w 148"/>
                  <a:gd name="T89" fmla="*/ 126 h 126"/>
                  <a:gd name="T90" fmla="*/ 148 w 148"/>
                  <a:gd name="T91" fmla="*/ 122 h 126"/>
                  <a:gd name="T92" fmla="*/ 146 w 148"/>
                  <a:gd name="T93" fmla="*/ 30 h 126"/>
                  <a:gd name="T94" fmla="*/ 142 w 148"/>
                  <a:gd name="T95" fmla="*/ 28 h 126"/>
                  <a:gd name="T96" fmla="*/ 100 w 148"/>
                  <a:gd name="T97" fmla="*/ 14 h 126"/>
                  <a:gd name="T98" fmla="*/ 98 w 148"/>
                  <a:gd name="T99" fmla="*/ 14 h 126"/>
                  <a:gd name="T100" fmla="*/ 84 w 148"/>
                  <a:gd name="T101" fmla="*/ 22 h 126"/>
                  <a:gd name="T102" fmla="*/ 76 w 148"/>
                  <a:gd name="T103" fmla="*/ 28 h 126"/>
                  <a:gd name="T104" fmla="*/ 70 w 148"/>
                  <a:gd name="T105" fmla="*/ 36 h 126"/>
                  <a:gd name="T106" fmla="*/ 60 w 148"/>
                  <a:gd name="T107" fmla="*/ 32 h 126"/>
                  <a:gd name="T108" fmla="*/ 54 w 148"/>
                  <a:gd name="T109" fmla="*/ 28 h 126"/>
                  <a:gd name="T110" fmla="*/ 56 w 148"/>
                  <a:gd name="T111" fmla="*/ 14 h 126"/>
                  <a:gd name="T112" fmla="*/ 48 w 148"/>
                  <a:gd name="T113" fmla="*/ 2 h 126"/>
                  <a:gd name="T114" fmla="*/ 30 w 148"/>
                  <a:gd name="T11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26">
                    <a:moveTo>
                      <a:pt x="30" y="4"/>
                    </a:moveTo>
                    <a:lnTo>
                      <a:pt x="46" y="6"/>
                    </a:lnTo>
                    <a:lnTo>
                      <a:pt x="52" y="12"/>
                    </a:lnTo>
                    <a:lnTo>
                      <a:pt x="50" y="22"/>
                    </a:lnTo>
                    <a:lnTo>
                      <a:pt x="50" y="30"/>
                    </a:lnTo>
                    <a:lnTo>
                      <a:pt x="56" y="34"/>
                    </a:lnTo>
                    <a:lnTo>
                      <a:pt x="58" y="40"/>
                    </a:lnTo>
                    <a:lnTo>
                      <a:pt x="64" y="42"/>
                    </a:lnTo>
                    <a:lnTo>
                      <a:pt x="74" y="40"/>
                    </a:lnTo>
                    <a:lnTo>
                      <a:pt x="78" y="32"/>
                    </a:lnTo>
                    <a:lnTo>
                      <a:pt x="86" y="26"/>
                    </a:lnTo>
                    <a:lnTo>
                      <a:pt x="94" y="22"/>
                    </a:lnTo>
                    <a:lnTo>
                      <a:pt x="98" y="18"/>
                    </a:lnTo>
                    <a:lnTo>
                      <a:pt x="114" y="22"/>
                    </a:lnTo>
                    <a:lnTo>
                      <a:pt x="126" y="26"/>
                    </a:lnTo>
                    <a:lnTo>
                      <a:pt x="140" y="32"/>
                    </a:lnTo>
                    <a:lnTo>
                      <a:pt x="144" y="34"/>
                    </a:lnTo>
                    <a:lnTo>
                      <a:pt x="144" y="122"/>
                    </a:lnTo>
                    <a:lnTo>
                      <a:pt x="132" y="112"/>
                    </a:lnTo>
                    <a:lnTo>
                      <a:pt x="124" y="108"/>
                    </a:lnTo>
                    <a:lnTo>
                      <a:pt x="116" y="108"/>
                    </a:lnTo>
                    <a:lnTo>
                      <a:pt x="112" y="112"/>
                    </a:lnTo>
                    <a:lnTo>
                      <a:pt x="98" y="114"/>
                    </a:lnTo>
                    <a:lnTo>
                      <a:pt x="98" y="106"/>
                    </a:lnTo>
                    <a:lnTo>
                      <a:pt x="98" y="102"/>
                    </a:lnTo>
                    <a:lnTo>
                      <a:pt x="104" y="100"/>
                    </a:lnTo>
                    <a:lnTo>
                      <a:pt x="112" y="100"/>
                    </a:lnTo>
                    <a:lnTo>
                      <a:pt x="112" y="88"/>
                    </a:lnTo>
                    <a:lnTo>
                      <a:pt x="110" y="82"/>
                    </a:lnTo>
                    <a:lnTo>
                      <a:pt x="100" y="74"/>
                    </a:lnTo>
                    <a:lnTo>
                      <a:pt x="82" y="62"/>
                    </a:lnTo>
                    <a:lnTo>
                      <a:pt x="60" y="58"/>
                    </a:lnTo>
                    <a:lnTo>
                      <a:pt x="56" y="52"/>
                    </a:lnTo>
                    <a:lnTo>
                      <a:pt x="50" y="50"/>
                    </a:lnTo>
                    <a:lnTo>
                      <a:pt x="46" y="38"/>
                    </a:lnTo>
                    <a:lnTo>
                      <a:pt x="40" y="40"/>
                    </a:lnTo>
                    <a:lnTo>
                      <a:pt x="40" y="46"/>
                    </a:lnTo>
                    <a:lnTo>
                      <a:pt x="40" y="54"/>
                    </a:lnTo>
                    <a:lnTo>
                      <a:pt x="32" y="52"/>
                    </a:lnTo>
                    <a:lnTo>
                      <a:pt x="32" y="44"/>
                    </a:lnTo>
                    <a:lnTo>
                      <a:pt x="30" y="38"/>
                    </a:lnTo>
                    <a:lnTo>
                      <a:pt x="22" y="36"/>
                    </a:lnTo>
                    <a:lnTo>
                      <a:pt x="30" y="32"/>
                    </a:lnTo>
                    <a:lnTo>
                      <a:pt x="40" y="34"/>
                    </a:lnTo>
                    <a:lnTo>
                      <a:pt x="48" y="32"/>
                    </a:lnTo>
                    <a:lnTo>
                      <a:pt x="44" y="24"/>
                    </a:lnTo>
                    <a:lnTo>
                      <a:pt x="30" y="24"/>
                    </a:lnTo>
                    <a:lnTo>
                      <a:pt x="22" y="26"/>
                    </a:lnTo>
                    <a:lnTo>
                      <a:pt x="18" y="18"/>
                    </a:lnTo>
                    <a:lnTo>
                      <a:pt x="10" y="18"/>
                    </a:lnTo>
                    <a:lnTo>
                      <a:pt x="4" y="16"/>
                    </a:lnTo>
                    <a:lnTo>
                      <a:pt x="6" y="10"/>
                    </a:lnTo>
                    <a:lnTo>
                      <a:pt x="22" y="6"/>
                    </a:lnTo>
                    <a:lnTo>
                      <a:pt x="30" y="4"/>
                    </a:lnTo>
                    <a:close/>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1" name="Freeform 974"/>
              <p:cNvSpPr>
                <a:spLocks/>
              </p:cNvSpPr>
              <p:nvPr/>
            </p:nvSpPr>
            <p:spPr bwMode="auto">
              <a:xfrm>
                <a:off x="4717" y="2533"/>
                <a:ext cx="140" cy="118"/>
              </a:xfrm>
              <a:custGeom>
                <a:avLst/>
                <a:gdLst>
                  <a:gd name="T0" fmla="*/ 26 w 140"/>
                  <a:gd name="T1" fmla="*/ 0 h 118"/>
                  <a:gd name="T2" fmla="*/ 42 w 140"/>
                  <a:gd name="T3" fmla="*/ 2 h 118"/>
                  <a:gd name="T4" fmla="*/ 48 w 140"/>
                  <a:gd name="T5" fmla="*/ 8 h 118"/>
                  <a:gd name="T6" fmla="*/ 46 w 140"/>
                  <a:gd name="T7" fmla="*/ 18 h 118"/>
                  <a:gd name="T8" fmla="*/ 46 w 140"/>
                  <a:gd name="T9" fmla="*/ 26 h 118"/>
                  <a:gd name="T10" fmla="*/ 52 w 140"/>
                  <a:gd name="T11" fmla="*/ 30 h 118"/>
                  <a:gd name="T12" fmla="*/ 54 w 140"/>
                  <a:gd name="T13" fmla="*/ 36 h 118"/>
                  <a:gd name="T14" fmla="*/ 60 w 140"/>
                  <a:gd name="T15" fmla="*/ 38 h 118"/>
                  <a:gd name="T16" fmla="*/ 70 w 140"/>
                  <a:gd name="T17" fmla="*/ 36 h 118"/>
                  <a:gd name="T18" fmla="*/ 74 w 140"/>
                  <a:gd name="T19" fmla="*/ 28 h 118"/>
                  <a:gd name="T20" fmla="*/ 82 w 140"/>
                  <a:gd name="T21" fmla="*/ 22 h 118"/>
                  <a:gd name="T22" fmla="*/ 90 w 140"/>
                  <a:gd name="T23" fmla="*/ 18 h 118"/>
                  <a:gd name="T24" fmla="*/ 94 w 140"/>
                  <a:gd name="T25" fmla="*/ 14 h 118"/>
                  <a:gd name="T26" fmla="*/ 110 w 140"/>
                  <a:gd name="T27" fmla="*/ 18 h 118"/>
                  <a:gd name="T28" fmla="*/ 122 w 140"/>
                  <a:gd name="T29" fmla="*/ 22 h 118"/>
                  <a:gd name="T30" fmla="*/ 136 w 140"/>
                  <a:gd name="T31" fmla="*/ 28 h 118"/>
                  <a:gd name="T32" fmla="*/ 140 w 140"/>
                  <a:gd name="T33" fmla="*/ 30 h 118"/>
                  <a:gd name="T34" fmla="*/ 140 w 140"/>
                  <a:gd name="T35" fmla="*/ 118 h 118"/>
                  <a:gd name="T36" fmla="*/ 128 w 140"/>
                  <a:gd name="T37" fmla="*/ 108 h 118"/>
                  <a:gd name="T38" fmla="*/ 120 w 140"/>
                  <a:gd name="T39" fmla="*/ 104 h 118"/>
                  <a:gd name="T40" fmla="*/ 112 w 140"/>
                  <a:gd name="T41" fmla="*/ 104 h 118"/>
                  <a:gd name="T42" fmla="*/ 108 w 140"/>
                  <a:gd name="T43" fmla="*/ 108 h 118"/>
                  <a:gd name="T44" fmla="*/ 94 w 140"/>
                  <a:gd name="T45" fmla="*/ 110 h 118"/>
                  <a:gd name="T46" fmla="*/ 94 w 140"/>
                  <a:gd name="T47" fmla="*/ 102 h 118"/>
                  <a:gd name="T48" fmla="*/ 94 w 140"/>
                  <a:gd name="T49" fmla="*/ 98 h 118"/>
                  <a:gd name="T50" fmla="*/ 100 w 140"/>
                  <a:gd name="T51" fmla="*/ 96 h 118"/>
                  <a:gd name="T52" fmla="*/ 108 w 140"/>
                  <a:gd name="T53" fmla="*/ 96 h 118"/>
                  <a:gd name="T54" fmla="*/ 108 w 140"/>
                  <a:gd name="T55" fmla="*/ 84 h 118"/>
                  <a:gd name="T56" fmla="*/ 106 w 140"/>
                  <a:gd name="T57" fmla="*/ 78 h 118"/>
                  <a:gd name="T58" fmla="*/ 96 w 140"/>
                  <a:gd name="T59" fmla="*/ 70 h 118"/>
                  <a:gd name="T60" fmla="*/ 78 w 140"/>
                  <a:gd name="T61" fmla="*/ 58 h 118"/>
                  <a:gd name="T62" fmla="*/ 56 w 140"/>
                  <a:gd name="T63" fmla="*/ 54 h 118"/>
                  <a:gd name="T64" fmla="*/ 52 w 140"/>
                  <a:gd name="T65" fmla="*/ 48 h 118"/>
                  <a:gd name="T66" fmla="*/ 46 w 140"/>
                  <a:gd name="T67" fmla="*/ 46 h 118"/>
                  <a:gd name="T68" fmla="*/ 42 w 140"/>
                  <a:gd name="T69" fmla="*/ 34 h 118"/>
                  <a:gd name="T70" fmla="*/ 36 w 140"/>
                  <a:gd name="T71" fmla="*/ 36 h 118"/>
                  <a:gd name="T72" fmla="*/ 36 w 140"/>
                  <a:gd name="T73" fmla="*/ 42 h 118"/>
                  <a:gd name="T74" fmla="*/ 36 w 140"/>
                  <a:gd name="T75" fmla="*/ 50 h 118"/>
                  <a:gd name="T76" fmla="*/ 28 w 140"/>
                  <a:gd name="T77" fmla="*/ 48 h 118"/>
                  <a:gd name="T78" fmla="*/ 28 w 140"/>
                  <a:gd name="T79" fmla="*/ 40 h 118"/>
                  <a:gd name="T80" fmla="*/ 26 w 140"/>
                  <a:gd name="T81" fmla="*/ 34 h 118"/>
                  <a:gd name="T82" fmla="*/ 18 w 140"/>
                  <a:gd name="T83" fmla="*/ 32 h 118"/>
                  <a:gd name="T84" fmla="*/ 26 w 140"/>
                  <a:gd name="T85" fmla="*/ 28 h 118"/>
                  <a:gd name="T86" fmla="*/ 36 w 140"/>
                  <a:gd name="T87" fmla="*/ 30 h 118"/>
                  <a:gd name="T88" fmla="*/ 44 w 140"/>
                  <a:gd name="T89" fmla="*/ 28 h 118"/>
                  <a:gd name="T90" fmla="*/ 40 w 140"/>
                  <a:gd name="T91" fmla="*/ 20 h 118"/>
                  <a:gd name="T92" fmla="*/ 26 w 140"/>
                  <a:gd name="T93" fmla="*/ 20 h 118"/>
                  <a:gd name="T94" fmla="*/ 18 w 140"/>
                  <a:gd name="T95" fmla="*/ 22 h 118"/>
                  <a:gd name="T96" fmla="*/ 14 w 140"/>
                  <a:gd name="T97" fmla="*/ 14 h 118"/>
                  <a:gd name="T98" fmla="*/ 6 w 140"/>
                  <a:gd name="T99" fmla="*/ 14 h 118"/>
                  <a:gd name="T100" fmla="*/ 0 w 140"/>
                  <a:gd name="T101" fmla="*/ 12 h 118"/>
                  <a:gd name="T102" fmla="*/ 2 w 140"/>
                  <a:gd name="T103" fmla="*/ 6 h 118"/>
                  <a:gd name="T104" fmla="*/ 18 w 140"/>
                  <a:gd name="T105" fmla="*/ 2 h 118"/>
                  <a:gd name="T106" fmla="*/ 26 w 140"/>
                  <a:gd name="T10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118">
                    <a:moveTo>
                      <a:pt x="26" y="0"/>
                    </a:moveTo>
                    <a:lnTo>
                      <a:pt x="42" y="2"/>
                    </a:lnTo>
                    <a:lnTo>
                      <a:pt x="48" y="8"/>
                    </a:lnTo>
                    <a:lnTo>
                      <a:pt x="46" y="18"/>
                    </a:lnTo>
                    <a:lnTo>
                      <a:pt x="46" y="26"/>
                    </a:lnTo>
                    <a:lnTo>
                      <a:pt x="52" y="30"/>
                    </a:lnTo>
                    <a:lnTo>
                      <a:pt x="54" y="36"/>
                    </a:lnTo>
                    <a:lnTo>
                      <a:pt x="60" y="38"/>
                    </a:lnTo>
                    <a:lnTo>
                      <a:pt x="70" y="36"/>
                    </a:lnTo>
                    <a:lnTo>
                      <a:pt x="74" y="28"/>
                    </a:lnTo>
                    <a:lnTo>
                      <a:pt x="82" y="22"/>
                    </a:lnTo>
                    <a:lnTo>
                      <a:pt x="90" y="18"/>
                    </a:lnTo>
                    <a:lnTo>
                      <a:pt x="94" y="14"/>
                    </a:lnTo>
                    <a:lnTo>
                      <a:pt x="110" y="18"/>
                    </a:lnTo>
                    <a:lnTo>
                      <a:pt x="122" y="22"/>
                    </a:lnTo>
                    <a:lnTo>
                      <a:pt x="136" y="28"/>
                    </a:lnTo>
                    <a:lnTo>
                      <a:pt x="140" y="30"/>
                    </a:lnTo>
                    <a:lnTo>
                      <a:pt x="140" y="118"/>
                    </a:lnTo>
                    <a:lnTo>
                      <a:pt x="128" y="108"/>
                    </a:lnTo>
                    <a:lnTo>
                      <a:pt x="120" y="104"/>
                    </a:lnTo>
                    <a:lnTo>
                      <a:pt x="112" y="104"/>
                    </a:lnTo>
                    <a:lnTo>
                      <a:pt x="108" y="108"/>
                    </a:lnTo>
                    <a:lnTo>
                      <a:pt x="94" y="110"/>
                    </a:lnTo>
                    <a:lnTo>
                      <a:pt x="94" y="102"/>
                    </a:lnTo>
                    <a:lnTo>
                      <a:pt x="94" y="98"/>
                    </a:lnTo>
                    <a:lnTo>
                      <a:pt x="100" y="96"/>
                    </a:lnTo>
                    <a:lnTo>
                      <a:pt x="108" y="96"/>
                    </a:lnTo>
                    <a:lnTo>
                      <a:pt x="108" y="84"/>
                    </a:lnTo>
                    <a:lnTo>
                      <a:pt x="106" y="78"/>
                    </a:lnTo>
                    <a:lnTo>
                      <a:pt x="96" y="70"/>
                    </a:lnTo>
                    <a:lnTo>
                      <a:pt x="78" y="58"/>
                    </a:lnTo>
                    <a:lnTo>
                      <a:pt x="56" y="54"/>
                    </a:lnTo>
                    <a:lnTo>
                      <a:pt x="52" y="48"/>
                    </a:lnTo>
                    <a:lnTo>
                      <a:pt x="46" y="46"/>
                    </a:lnTo>
                    <a:lnTo>
                      <a:pt x="42" y="34"/>
                    </a:lnTo>
                    <a:lnTo>
                      <a:pt x="36" y="36"/>
                    </a:lnTo>
                    <a:lnTo>
                      <a:pt x="36" y="42"/>
                    </a:lnTo>
                    <a:lnTo>
                      <a:pt x="36" y="50"/>
                    </a:lnTo>
                    <a:lnTo>
                      <a:pt x="28" y="48"/>
                    </a:lnTo>
                    <a:lnTo>
                      <a:pt x="28" y="40"/>
                    </a:lnTo>
                    <a:lnTo>
                      <a:pt x="26" y="34"/>
                    </a:lnTo>
                    <a:lnTo>
                      <a:pt x="18" y="32"/>
                    </a:lnTo>
                    <a:lnTo>
                      <a:pt x="26" y="28"/>
                    </a:lnTo>
                    <a:lnTo>
                      <a:pt x="36" y="30"/>
                    </a:lnTo>
                    <a:lnTo>
                      <a:pt x="44" y="28"/>
                    </a:lnTo>
                    <a:lnTo>
                      <a:pt x="40" y="20"/>
                    </a:lnTo>
                    <a:lnTo>
                      <a:pt x="26" y="20"/>
                    </a:lnTo>
                    <a:lnTo>
                      <a:pt x="18" y="22"/>
                    </a:lnTo>
                    <a:lnTo>
                      <a:pt x="14" y="14"/>
                    </a:lnTo>
                    <a:lnTo>
                      <a:pt x="6" y="14"/>
                    </a:lnTo>
                    <a:lnTo>
                      <a:pt x="0" y="12"/>
                    </a:lnTo>
                    <a:lnTo>
                      <a:pt x="2" y="6"/>
                    </a:lnTo>
                    <a:lnTo>
                      <a:pt x="18"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2" name="Freeform 975"/>
              <p:cNvSpPr>
                <a:spLocks/>
              </p:cNvSpPr>
              <p:nvPr/>
            </p:nvSpPr>
            <p:spPr bwMode="auto">
              <a:xfrm>
                <a:off x="4713" y="2529"/>
                <a:ext cx="148" cy="126"/>
              </a:xfrm>
              <a:custGeom>
                <a:avLst/>
                <a:gdLst>
                  <a:gd name="T0" fmla="*/ 30 w 148"/>
                  <a:gd name="T1" fmla="*/ 0 h 126"/>
                  <a:gd name="T2" fmla="*/ 20 w 148"/>
                  <a:gd name="T3" fmla="*/ 2 h 126"/>
                  <a:gd name="T4" fmla="*/ 20 w 148"/>
                  <a:gd name="T5" fmla="*/ 2 h 126"/>
                  <a:gd name="T6" fmla="*/ 4 w 148"/>
                  <a:gd name="T7" fmla="*/ 8 h 126"/>
                  <a:gd name="T8" fmla="*/ 0 w 148"/>
                  <a:gd name="T9" fmla="*/ 14 h 126"/>
                  <a:gd name="T10" fmla="*/ 0 w 148"/>
                  <a:gd name="T11" fmla="*/ 18 h 126"/>
                  <a:gd name="T12" fmla="*/ 8 w 148"/>
                  <a:gd name="T13" fmla="*/ 22 h 126"/>
                  <a:gd name="T14" fmla="*/ 10 w 148"/>
                  <a:gd name="T15" fmla="*/ 22 h 126"/>
                  <a:gd name="T16" fmla="*/ 18 w 148"/>
                  <a:gd name="T17" fmla="*/ 28 h 126"/>
                  <a:gd name="T18" fmla="*/ 20 w 148"/>
                  <a:gd name="T19" fmla="*/ 30 h 126"/>
                  <a:gd name="T20" fmla="*/ 22 w 148"/>
                  <a:gd name="T21" fmla="*/ 30 h 126"/>
                  <a:gd name="T22" fmla="*/ 26 w 148"/>
                  <a:gd name="T23" fmla="*/ 30 h 126"/>
                  <a:gd name="T24" fmla="*/ 20 w 148"/>
                  <a:gd name="T25" fmla="*/ 34 h 126"/>
                  <a:gd name="T26" fmla="*/ 18 w 148"/>
                  <a:gd name="T27" fmla="*/ 38 h 126"/>
                  <a:gd name="T28" fmla="*/ 18 w 148"/>
                  <a:gd name="T29" fmla="*/ 40 h 126"/>
                  <a:gd name="T30" fmla="*/ 26 w 148"/>
                  <a:gd name="T31" fmla="*/ 42 h 126"/>
                  <a:gd name="T32" fmla="*/ 28 w 148"/>
                  <a:gd name="T33" fmla="*/ 52 h 126"/>
                  <a:gd name="T34" fmla="*/ 28 w 148"/>
                  <a:gd name="T35" fmla="*/ 54 h 126"/>
                  <a:gd name="T36" fmla="*/ 40 w 148"/>
                  <a:gd name="T37" fmla="*/ 58 h 126"/>
                  <a:gd name="T38" fmla="*/ 40 w 148"/>
                  <a:gd name="T39" fmla="*/ 58 h 126"/>
                  <a:gd name="T40" fmla="*/ 42 w 148"/>
                  <a:gd name="T41" fmla="*/ 58 h 126"/>
                  <a:gd name="T42" fmla="*/ 44 w 148"/>
                  <a:gd name="T43" fmla="*/ 54 h 126"/>
                  <a:gd name="T44" fmla="*/ 46 w 148"/>
                  <a:gd name="T45" fmla="*/ 52 h 126"/>
                  <a:gd name="T46" fmla="*/ 50 w 148"/>
                  <a:gd name="T47" fmla="*/ 54 h 126"/>
                  <a:gd name="T48" fmla="*/ 58 w 148"/>
                  <a:gd name="T49" fmla="*/ 60 h 126"/>
                  <a:gd name="T50" fmla="*/ 60 w 148"/>
                  <a:gd name="T51" fmla="*/ 62 h 126"/>
                  <a:gd name="T52" fmla="*/ 98 w 148"/>
                  <a:gd name="T53" fmla="*/ 76 h 126"/>
                  <a:gd name="T54" fmla="*/ 108 w 148"/>
                  <a:gd name="T55" fmla="*/ 90 h 126"/>
                  <a:gd name="T56" fmla="*/ 104 w 148"/>
                  <a:gd name="T57" fmla="*/ 98 h 126"/>
                  <a:gd name="T58" fmla="*/ 98 w 148"/>
                  <a:gd name="T59" fmla="*/ 98 h 126"/>
                  <a:gd name="T60" fmla="*/ 94 w 148"/>
                  <a:gd name="T61" fmla="*/ 104 h 126"/>
                  <a:gd name="T62" fmla="*/ 94 w 148"/>
                  <a:gd name="T63" fmla="*/ 108 h 126"/>
                  <a:gd name="T64" fmla="*/ 96 w 148"/>
                  <a:gd name="T65" fmla="*/ 114 h 126"/>
                  <a:gd name="T66" fmla="*/ 98 w 148"/>
                  <a:gd name="T67" fmla="*/ 118 h 126"/>
                  <a:gd name="T68" fmla="*/ 100 w 148"/>
                  <a:gd name="T69" fmla="*/ 116 h 126"/>
                  <a:gd name="T70" fmla="*/ 112 w 148"/>
                  <a:gd name="T71" fmla="*/ 116 h 126"/>
                  <a:gd name="T72" fmla="*/ 118 w 148"/>
                  <a:gd name="T73" fmla="*/ 112 h 126"/>
                  <a:gd name="T74" fmla="*/ 130 w 148"/>
                  <a:gd name="T75" fmla="*/ 114 h 126"/>
                  <a:gd name="T76" fmla="*/ 142 w 148"/>
                  <a:gd name="T77" fmla="*/ 124 h 126"/>
                  <a:gd name="T78" fmla="*/ 144 w 148"/>
                  <a:gd name="T79" fmla="*/ 126 h 126"/>
                  <a:gd name="T80" fmla="*/ 146 w 148"/>
                  <a:gd name="T81" fmla="*/ 126 h 126"/>
                  <a:gd name="T82" fmla="*/ 148 w 148"/>
                  <a:gd name="T83" fmla="*/ 122 h 126"/>
                  <a:gd name="T84" fmla="*/ 148 w 148"/>
                  <a:gd name="T85" fmla="*/ 34 h 126"/>
                  <a:gd name="T86" fmla="*/ 142 w 148"/>
                  <a:gd name="T87" fmla="*/ 28 h 126"/>
                  <a:gd name="T88" fmla="*/ 142 w 148"/>
                  <a:gd name="T89" fmla="*/ 28 h 126"/>
                  <a:gd name="T90" fmla="*/ 116 w 148"/>
                  <a:gd name="T91" fmla="*/ 20 h 126"/>
                  <a:gd name="T92" fmla="*/ 100 w 148"/>
                  <a:gd name="T93" fmla="*/ 14 h 126"/>
                  <a:gd name="T94" fmla="*/ 98 w 148"/>
                  <a:gd name="T95" fmla="*/ 14 h 126"/>
                  <a:gd name="T96" fmla="*/ 92 w 148"/>
                  <a:gd name="T97" fmla="*/ 20 h 126"/>
                  <a:gd name="T98" fmla="*/ 84 w 148"/>
                  <a:gd name="T99" fmla="*/ 22 h 126"/>
                  <a:gd name="T100" fmla="*/ 76 w 148"/>
                  <a:gd name="T101" fmla="*/ 28 h 126"/>
                  <a:gd name="T102" fmla="*/ 74 w 148"/>
                  <a:gd name="T103" fmla="*/ 30 h 126"/>
                  <a:gd name="T104" fmla="*/ 64 w 148"/>
                  <a:gd name="T105" fmla="*/ 38 h 126"/>
                  <a:gd name="T106" fmla="*/ 60 w 148"/>
                  <a:gd name="T107" fmla="*/ 32 h 126"/>
                  <a:gd name="T108" fmla="*/ 58 w 148"/>
                  <a:gd name="T109" fmla="*/ 30 h 126"/>
                  <a:gd name="T110" fmla="*/ 54 w 148"/>
                  <a:gd name="T111" fmla="*/ 24 h 126"/>
                  <a:gd name="T112" fmla="*/ 56 w 148"/>
                  <a:gd name="T113" fmla="*/ 14 h 126"/>
                  <a:gd name="T114" fmla="*/ 48 w 148"/>
                  <a:gd name="T115" fmla="*/ 2 h 126"/>
                  <a:gd name="T116" fmla="*/ 46 w 148"/>
                  <a:gd name="T117" fmla="*/ 2 h 126"/>
                  <a:gd name="T118" fmla="*/ 30 w 148"/>
                  <a:gd name="T119" fmla="*/ 0 h 126"/>
                  <a:gd name="T120" fmla="*/ 30 w 148"/>
                  <a:gd name="T1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26">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3" name="Freeform 976"/>
              <p:cNvSpPr>
                <a:spLocks/>
              </p:cNvSpPr>
              <p:nvPr/>
            </p:nvSpPr>
            <p:spPr bwMode="auto">
              <a:xfrm>
                <a:off x="4671" y="2565"/>
                <a:ext cx="48" cy="14"/>
              </a:xfrm>
              <a:custGeom>
                <a:avLst/>
                <a:gdLst>
                  <a:gd name="T0" fmla="*/ 44 w 48"/>
                  <a:gd name="T1" fmla="*/ 14 h 14"/>
                  <a:gd name="T2" fmla="*/ 44 w 48"/>
                  <a:gd name="T3" fmla="*/ 14 h 14"/>
                  <a:gd name="T4" fmla="*/ 44 w 48"/>
                  <a:gd name="T5" fmla="*/ 14 h 14"/>
                  <a:gd name="T6" fmla="*/ 32 w 48"/>
                  <a:gd name="T7" fmla="*/ 12 h 14"/>
                  <a:gd name="T8" fmla="*/ 24 w 48"/>
                  <a:gd name="T9" fmla="*/ 10 h 14"/>
                  <a:gd name="T10" fmla="*/ 14 w 48"/>
                  <a:gd name="T11" fmla="*/ 10 h 14"/>
                  <a:gd name="T12" fmla="*/ 10 w 48"/>
                  <a:gd name="T13" fmla="*/ 12 h 14"/>
                  <a:gd name="T14" fmla="*/ 10 w 48"/>
                  <a:gd name="T15" fmla="*/ 12 h 14"/>
                  <a:gd name="T16" fmla="*/ 8 w 48"/>
                  <a:gd name="T17" fmla="*/ 14 h 14"/>
                  <a:gd name="T18" fmla="*/ 4 w 48"/>
                  <a:gd name="T19" fmla="*/ 14 h 14"/>
                  <a:gd name="T20" fmla="*/ 4 w 48"/>
                  <a:gd name="T21" fmla="*/ 14 h 14"/>
                  <a:gd name="T22" fmla="*/ 2 w 48"/>
                  <a:gd name="T23" fmla="*/ 12 h 14"/>
                  <a:gd name="T24" fmla="*/ 0 w 48"/>
                  <a:gd name="T25" fmla="*/ 6 h 14"/>
                  <a:gd name="T26" fmla="*/ 0 w 48"/>
                  <a:gd name="T27" fmla="*/ 6 h 14"/>
                  <a:gd name="T28" fmla="*/ 0 w 48"/>
                  <a:gd name="T29" fmla="*/ 4 h 14"/>
                  <a:gd name="T30" fmla="*/ 4 w 48"/>
                  <a:gd name="T31" fmla="*/ 2 h 14"/>
                  <a:gd name="T32" fmla="*/ 4 w 48"/>
                  <a:gd name="T33" fmla="*/ 2 h 14"/>
                  <a:gd name="T34" fmla="*/ 4 w 48"/>
                  <a:gd name="T35" fmla="*/ 0 h 14"/>
                  <a:gd name="T36" fmla="*/ 20 w 48"/>
                  <a:gd name="T37" fmla="*/ 0 h 14"/>
                  <a:gd name="T38" fmla="*/ 36 w 48"/>
                  <a:gd name="T39" fmla="*/ 0 h 14"/>
                  <a:gd name="T40" fmla="*/ 36 w 48"/>
                  <a:gd name="T41" fmla="*/ 0 h 14"/>
                  <a:gd name="T42" fmla="*/ 38 w 48"/>
                  <a:gd name="T43" fmla="*/ 2 h 14"/>
                  <a:gd name="T44" fmla="*/ 48 w 48"/>
                  <a:gd name="T45" fmla="*/ 6 h 14"/>
                  <a:gd name="T46" fmla="*/ 48 w 48"/>
                  <a:gd name="T47" fmla="*/ 6 h 14"/>
                  <a:gd name="T48" fmla="*/ 48 w 48"/>
                  <a:gd name="T49" fmla="*/ 10 h 14"/>
                  <a:gd name="T50" fmla="*/ 46 w 48"/>
                  <a:gd name="T51" fmla="*/ 14 h 14"/>
                  <a:gd name="T52" fmla="*/ 46 w 48"/>
                  <a:gd name="T53" fmla="*/ 14 h 14"/>
                  <a:gd name="T54" fmla="*/ 44 w 48"/>
                  <a:gd name="T55" fmla="*/ 14 h 14"/>
                  <a:gd name="T56" fmla="*/ 44 w 48"/>
                  <a:gd name="T5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14">
                    <a:moveTo>
                      <a:pt x="44" y="14"/>
                    </a:moveTo>
                    <a:lnTo>
                      <a:pt x="44" y="14"/>
                    </a:lnTo>
                    <a:lnTo>
                      <a:pt x="44" y="14"/>
                    </a:lnTo>
                    <a:lnTo>
                      <a:pt x="32" y="12"/>
                    </a:lnTo>
                    <a:lnTo>
                      <a:pt x="24" y="10"/>
                    </a:lnTo>
                    <a:lnTo>
                      <a:pt x="14" y="10"/>
                    </a:lnTo>
                    <a:lnTo>
                      <a:pt x="10" y="12"/>
                    </a:lnTo>
                    <a:lnTo>
                      <a:pt x="10" y="12"/>
                    </a:lnTo>
                    <a:lnTo>
                      <a:pt x="8" y="14"/>
                    </a:lnTo>
                    <a:lnTo>
                      <a:pt x="4" y="14"/>
                    </a:lnTo>
                    <a:lnTo>
                      <a:pt x="4" y="14"/>
                    </a:lnTo>
                    <a:lnTo>
                      <a:pt x="2" y="12"/>
                    </a:lnTo>
                    <a:lnTo>
                      <a:pt x="0" y="6"/>
                    </a:lnTo>
                    <a:lnTo>
                      <a:pt x="0" y="6"/>
                    </a:lnTo>
                    <a:lnTo>
                      <a:pt x="0" y="4"/>
                    </a:lnTo>
                    <a:lnTo>
                      <a:pt x="4" y="2"/>
                    </a:lnTo>
                    <a:lnTo>
                      <a:pt x="4" y="2"/>
                    </a:lnTo>
                    <a:lnTo>
                      <a:pt x="4" y="0"/>
                    </a:lnTo>
                    <a:lnTo>
                      <a:pt x="20" y="0"/>
                    </a:lnTo>
                    <a:lnTo>
                      <a:pt x="36" y="0"/>
                    </a:lnTo>
                    <a:lnTo>
                      <a:pt x="36" y="0"/>
                    </a:lnTo>
                    <a:lnTo>
                      <a:pt x="38" y="2"/>
                    </a:lnTo>
                    <a:lnTo>
                      <a:pt x="48" y="6"/>
                    </a:lnTo>
                    <a:lnTo>
                      <a:pt x="48" y="6"/>
                    </a:lnTo>
                    <a:lnTo>
                      <a:pt x="48" y="10"/>
                    </a:lnTo>
                    <a:lnTo>
                      <a:pt x="46" y="14"/>
                    </a:lnTo>
                    <a:lnTo>
                      <a:pt x="46" y="14"/>
                    </a:lnTo>
                    <a:lnTo>
                      <a:pt x="44" y="14"/>
                    </a:lnTo>
                    <a:lnTo>
                      <a:pt x="4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4" name="Freeform 977"/>
              <p:cNvSpPr>
                <a:spLocks noEditPoints="1"/>
              </p:cNvSpPr>
              <p:nvPr/>
            </p:nvSpPr>
            <p:spPr bwMode="auto">
              <a:xfrm>
                <a:off x="4669" y="2563"/>
                <a:ext cx="52" cy="18"/>
              </a:xfrm>
              <a:custGeom>
                <a:avLst/>
                <a:gdLst>
                  <a:gd name="T0" fmla="*/ 22 w 52"/>
                  <a:gd name="T1" fmla="*/ 4 h 18"/>
                  <a:gd name="T2" fmla="*/ 38 w 52"/>
                  <a:gd name="T3" fmla="*/ 4 h 18"/>
                  <a:gd name="T4" fmla="*/ 48 w 52"/>
                  <a:gd name="T5" fmla="*/ 10 h 18"/>
                  <a:gd name="T6" fmla="*/ 46 w 52"/>
                  <a:gd name="T7" fmla="*/ 14 h 18"/>
                  <a:gd name="T8" fmla="*/ 34 w 52"/>
                  <a:gd name="T9" fmla="*/ 12 h 18"/>
                  <a:gd name="T10" fmla="*/ 26 w 52"/>
                  <a:gd name="T11" fmla="*/ 10 h 18"/>
                  <a:gd name="T12" fmla="*/ 14 w 52"/>
                  <a:gd name="T13" fmla="*/ 10 h 18"/>
                  <a:gd name="T14" fmla="*/ 10 w 52"/>
                  <a:gd name="T15" fmla="*/ 14 h 18"/>
                  <a:gd name="T16" fmla="*/ 6 w 52"/>
                  <a:gd name="T17" fmla="*/ 14 h 18"/>
                  <a:gd name="T18" fmla="*/ 4 w 52"/>
                  <a:gd name="T19" fmla="*/ 8 h 18"/>
                  <a:gd name="T20" fmla="*/ 6 w 52"/>
                  <a:gd name="T21" fmla="*/ 4 h 18"/>
                  <a:gd name="T22" fmla="*/ 22 w 52"/>
                  <a:gd name="T23" fmla="*/ 4 h 18"/>
                  <a:gd name="T24" fmla="*/ 22 w 52"/>
                  <a:gd name="T25" fmla="*/ 0 h 18"/>
                  <a:gd name="T26" fmla="*/ 22 w 52"/>
                  <a:gd name="T27" fmla="*/ 0 h 18"/>
                  <a:gd name="T28" fmla="*/ 22 w 52"/>
                  <a:gd name="T29" fmla="*/ 0 h 18"/>
                  <a:gd name="T30" fmla="*/ 6 w 52"/>
                  <a:gd name="T31" fmla="*/ 0 h 18"/>
                  <a:gd name="T32" fmla="*/ 6 w 52"/>
                  <a:gd name="T33" fmla="*/ 0 h 18"/>
                  <a:gd name="T34" fmla="*/ 4 w 52"/>
                  <a:gd name="T35" fmla="*/ 2 h 18"/>
                  <a:gd name="T36" fmla="*/ 0 w 52"/>
                  <a:gd name="T37" fmla="*/ 4 h 18"/>
                  <a:gd name="T38" fmla="*/ 0 w 52"/>
                  <a:gd name="T39" fmla="*/ 4 h 18"/>
                  <a:gd name="T40" fmla="*/ 0 w 52"/>
                  <a:gd name="T41" fmla="*/ 6 h 18"/>
                  <a:gd name="T42" fmla="*/ 0 w 52"/>
                  <a:gd name="T43" fmla="*/ 10 h 18"/>
                  <a:gd name="T44" fmla="*/ 2 w 52"/>
                  <a:gd name="T45" fmla="*/ 14 h 18"/>
                  <a:gd name="T46" fmla="*/ 2 w 52"/>
                  <a:gd name="T47" fmla="*/ 14 h 18"/>
                  <a:gd name="T48" fmla="*/ 2 w 52"/>
                  <a:gd name="T49" fmla="*/ 16 h 18"/>
                  <a:gd name="T50" fmla="*/ 6 w 52"/>
                  <a:gd name="T51" fmla="*/ 18 h 18"/>
                  <a:gd name="T52" fmla="*/ 10 w 52"/>
                  <a:gd name="T53" fmla="*/ 18 h 18"/>
                  <a:gd name="T54" fmla="*/ 10 w 52"/>
                  <a:gd name="T55" fmla="*/ 18 h 18"/>
                  <a:gd name="T56" fmla="*/ 14 w 52"/>
                  <a:gd name="T57" fmla="*/ 16 h 18"/>
                  <a:gd name="T58" fmla="*/ 16 w 52"/>
                  <a:gd name="T59" fmla="*/ 14 h 18"/>
                  <a:gd name="T60" fmla="*/ 26 w 52"/>
                  <a:gd name="T61" fmla="*/ 14 h 18"/>
                  <a:gd name="T62" fmla="*/ 34 w 52"/>
                  <a:gd name="T63" fmla="*/ 16 h 18"/>
                  <a:gd name="T64" fmla="*/ 46 w 52"/>
                  <a:gd name="T65" fmla="*/ 18 h 18"/>
                  <a:gd name="T66" fmla="*/ 46 w 52"/>
                  <a:gd name="T67" fmla="*/ 18 h 18"/>
                  <a:gd name="T68" fmla="*/ 46 w 52"/>
                  <a:gd name="T69" fmla="*/ 18 h 18"/>
                  <a:gd name="T70" fmla="*/ 46 w 52"/>
                  <a:gd name="T71" fmla="*/ 18 h 18"/>
                  <a:gd name="T72" fmla="*/ 48 w 52"/>
                  <a:gd name="T73" fmla="*/ 18 h 18"/>
                  <a:gd name="T74" fmla="*/ 50 w 52"/>
                  <a:gd name="T75" fmla="*/ 16 h 18"/>
                  <a:gd name="T76" fmla="*/ 52 w 52"/>
                  <a:gd name="T77" fmla="*/ 12 h 18"/>
                  <a:gd name="T78" fmla="*/ 52 w 52"/>
                  <a:gd name="T79" fmla="*/ 12 h 18"/>
                  <a:gd name="T80" fmla="*/ 52 w 52"/>
                  <a:gd name="T81" fmla="*/ 10 h 18"/>
                  <a:gd name="T82" fmla="*/ 50 w 52"/>
                  <a:gd name="T83" fmla="*/ 8 h 18"/>
                  <a:gd name="T84" fmla="*/ 40 w 52"/>
                  <a:gd name="T85" fmla="*/ 2 h 18"/>
                  <a:gd name="T86" fmla="*/ 40 w 52"/>
                  <a:gd name="T87" fmla="*/ 2 h 18"/>
                  <a:gd name="T88" fmla="*/ 38 w 52"/>
                  <a:gd name="T89" fmla="*/ 0 h 18"/>
                  <a:gd name="T90" fmla="*/ 22 w 52"/>
                  <a:gd name="T91" fmla="*/ 0 h 18"/>
                  <a:gd name="T92" fmla="*/ 22 w 52"/>
                  <a:gd name="T93" fmla="*/ 0 h 18"/>
                  <a:gd name="T94" fmla="*/ 22 w 52"/>
                  <a:gd name="T95" fmla="*/ 0 h 18"/>
                  <a:gd name="T96" fmla="*/ 22 w 52"/>
                  <a:gd name="T9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18">
                    <a:moveTo>
                      <a:pt x="22" y="4"/>
                    </a:moveTo>
                    <a:lnTo>
                      <a:pt x="38" y="4"/>
                    </a:lnTo>
                    <a:lnTo>
                      <a:pt x="48" y="10"/>
                    </a:lnTo>
                    <a:lnTo>
                      <a:pt x="46" y="14"/>
                    </a:lnTo>
                    <a:lnTo>
                      <a:pt x="34" y="12"/>
                    </a:lnTo>
                    <a:lnTo>
                      <a:pt x="26" y="10"/>
                    </a:lnTo>
                    <a:lnTo>
                      <a:pt x="14" y="10"/>
                    </a:lnTo>
                    <a:lnTo>
                      <a:pt x="10" y="14"/>
                    </a:lnTo>
                    <a:lnTo>
                      <a:pt x="6" y="14"/>
                    </a:lnTo>
                    <a:lnTo>
                      <a:pt x="4" y="8"/>
                    </a:lnTo>
                    <a:lnTo>
                      <a:pt x="6" y="4"/>
                    </a:lnTo>
                    <a:lnTo>
                      <a:pt x="22" y="4"/>
                    </a:lnTo>
                    <a:close/>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5" name="Freeform 978"/>
              <p:cNvSpPr>
                <a:spLocks/>
              </p:cNvSpPr>
              <p:nvPr/>
            </p:nvSpPr>
            <p:spPr bwMode="auto">
              <a:xfrm>
                <a:off x="4673" y="2567"/>
                <a:ext cx="44" cy="10"/>
              </a:xfrm>
              <a:custGeom>
                <a:avLst/>
                <a:gdLst>
                  <a:gd name="T0" fmla="*/ 18 w 44"/>
                  <a:gd name="T1" fmla="*/ 0 h 10"/>
                  <a:gd name="T2" fmla="*/ 34 w 44"/>
                  <a:gd name="T3" fmla="*/ 0 h 10"/>
                  <a:gd name="T4" fmla="*/ 44 w 44"/>
                  <a:gd name="T5" fmla="*/ 6 h 10"/>
                  <a:gd name="T6" fmla="*/ 42 w 44"/>
                  <a:gd name="T7" fmla="*/ 10 h 10"/>
                  <a:gd name="T8" fmla="*/ 30 w 44"/>
                  <a:gd name="T9" fmla="*/ 8 h 10"/>
                  <a:gd name="T10" fmla="*/ 22 w 44"/>
                  <a:gd name="T11" fmla="*/ 6 h 10"/>
                  <a:gd name="T12" fmla="*/ 10 w 44"/>
                  <a:gd name="T13" fmla="*/ 6 h 10"/>
                  <a:gd name="T14" fmla="*/ 6 w 44"/>
                  <a:gd name="T15" fmla="*/ 10 h 10"/>
                  <a:gd name="T16" fmla="*/ 2 w 44"/>
                  <a:gd name="T17" fmla="*/ 10 h 10"/>
                  <a:gd name="T18" fmla="*/ 0 w 44"/>
                  <a:gd name="T19" fmla="*/ 4 h 10"/>
                  <a:gd name="T20" fmla="*/ 2 w 44"/>
                  <a:gd name="T21" fmla="*/ 0 h 10"/>
                  <a:gd name="T22" fmla="*/ 18 w 44"/>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0">
                    <a:moveTo>
                      <a:pt x="18" y="0"/>
                    </a:moveTo>
                    <a:lnTo>
                      <a:pt x="34" y="0"/>
                    </a:lnTo>
                    <a:lnTo>
                      <a:pt x="44" y="6"/>
                    </a:lnTo>
                    <a:lnTo>
                      <a:pt x="42" y="10"/>
                    </a:lnTo>
                    <a:lnTo>
                      <a:pt x="30" y="8"/>
                    </a:lnTo>
                    <a:lnTo>
                      <a:pt x="22" y="6"/>
                    </a:lnTo>
                    <a:lnTo>
                      <a:pt x="10" y="6"/>
                    </a:lnTo>
                    <a:lnTo>
                      <a:pt x="6" y="10"/>
                    </a:lnTo>
                    <a:lnTo>
                      <a:pt x="2" y="10"/>
                    </a:lnTo>
                    <a:lnTo>
                      <a:pt x="0" y="4"/>
                    </a:lnTo>
                    <a:lnTo>
                      <a:pt x="2"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6" name="Freeform 979"/>
              <p:cNvSpPr>
                <a:spLocks/>
              </p:cNvSpPr>
              <p:nvPr/>
            </p:nvSpPr>
            <p:spPr bwMode="auto">
              <a:xfrm>
                <a:off x="4669" y="2563"/>
                <a:ext cx="52" cy="18"/>
              </a:xfrm>
              <a:custGeom>
                <a:avLst/>
                <a:gdLst>
                  <a:gd name="T0" fmla="*/ 22 w 52"/>
                  <a:gd name="T1" fmla="*/ 0 h 18"/>
                  <a:gd name="T2" fmla="*/ 22 w 52"/>
                  <a:gd name="T3" fmla="*/ 0 h 18"/>
                  <a:gd name="T4" fmla="*/ 22 w 52"/>
                  <a:gd name="T5" fmla="*/ 0 h 18"/>
                  <a:gd name="T6" fmla="*/ 6 w 52"/>
                  <a:gd name="T7" fmla="*/ 0 h 18"/>
                  <a:gd name="T8" fmla="*/ 6 w 52"/>
                  <a:gd name="T9" fmla="*/ 0 h 18"/>
                  <a:gd name="T10" fmla="*/ 4 w 52"/>
                  <a:gd name="T11" fmla="*/ 2 h 18"/>
                  <a:gd name="T12" fmla="*/ 0 w 52"/>
                  <a:gd name="T13" fmla="*/ 4 h 18"/>
                  <a:gd name="T14" fmla="*/ 0 w 52"/>
                  <a:gd name="T15" fmla="*/ 4 h 18"/>
                  <a:gd name="T16" fmla="*/ 0 w 52"/>
                  <a:gd name="T17" fmla="*/ 6 h 18"/>
                  <a:gd name="T18" fmla="*/ 0 w 52"/>
                  <a:gd name="T19" fmla="*/ 10 h 18"/>
                  <a:gd name="T20" fmla="*/ 2 w 52"/>
                  <a:gd name="T21" fmla="*/ 14 h 18"/>
                  <a:gd name="T22" fmla="*/ 2 w 52"/>
                  <a:gd name="T23" fmla="*/ 14 h 18"/>
                  <a:gd name="T24" fmla="*/ 2 w 52"/>
                  <a:gd name="T25" fmla="*/ 16 h 18"/>
                  <a:gd name="T26" fmla="*/ 6 w 52"/>
                  <a:gd name="T27" fmla="*/ 18 h 18"/>
                  <a:gd name="T28" fmla="*/ 10 w 52"/>
                  <a:gd name="T29" fmla="*/ 18 h 18"/>
                  <a:gd name="T30" fmla="*/ 10 w 52"/>
                  <a:gd name="T31" fmla="*/ 18 h 18"/>
                  <a:gd name="T32" fmla="*/ 14 w 52"/>
                  <a:gd name="T33" fmla="*/ 16 h 18"/>
                  <a:gd name="T34" fmla="*/ 16 w 52"/>
                  <a:gd name="T35" fmla="*/ 14 h 18"/>
                  <a:gd name="T36" fmla="*/ 26 w 52"/>
                  <a:gd name="T37" fmla="*/ 14 h 18"/>
                  <a:gd name="T38" fmla="*/ 34 w 52"/>
                  <a:gd name="T39" fmla="*/ 16 h 18"/>
                  <a:gd name="T40" fmla="*/ 46 w 52"/>
                  <a:gd name="T41" fmla="*/ 18 h 18"/>
                  <a:gd name="T42" fmla="*/ 46 w 52"/>
                  <a:gd name="T43" fmla="*/ 18 h 18"/>
                  <a:gd name="T44" fmla="*/ 46 w 52"/>
                  <a:gd name="T45" fmla="*/ 18 h 18"/>
                  <a:gd name="T46" fmla="*/ 46 w 52"/>
                  <a:gd name="T47" fmla="*/ 18 h 18"/>
                  <a:gd name="T48" fmla="*/ 48 w 52"/>
                  <a:gd name="T49" fmla="*/ 18 h 18"/>
                  <a:gd name="T50" fmla="*/ 50 w 52"/>
                  <a:gd name="T51" fmla="*/ 16 h 18"/>
                  <a:gd name="T52" fmla="*/ 52 w 52"/>
                  <a:gd name="T53" fmla="*/ 12 h 18"/>
                  <a:gd name="T54" fmla="*/ 52 w 52"/>
                  <a:gd name="T55" fmla="*/ 12 h 18"/>
                  <a:gd name="T56" fmla="*/ 52 w 52"/>
                  <a:gd name="T57" fmla="*/ 10 h 18"/>
                  <a:gd name="T58" fmla="*/ 50 w 52"/>
                  <a:gd name="T59" fmla="*/ 8 h 18"/>
                  <a:gd name="T60" fmla="*/ 40 w 52"/>
                  <a:gd name="T61" fmla="*/ 2 h 18"/>
                  <a:gd name="T62" fmla="*/ 40 w 52"/>
                  <a:gd name="T63" fmla="*/ 2 h 18"/>
                  <a:gd name="T64" fmla="*/ 38 w 52"/>
                  <a:gd name="T65" fmla="*/ 0 h 18"/>
                  <a:gd name="T66" fmla="*/ 22 w 52"/>
                  <a:gd name="T67" fmla="*/ 0 h 18"/>
                  <a:gd name="T68" fmla="*/ 22 w 52"/>
                  <a:gd name="T69" fmla="*/ 0 h 18"/>
                  <a:gd name="T70" fmla="*/ 22 w 52"/>
                  <a:gd name="T71" fmla="*/ 0 h 18"/>
                  <a:gd name="T72" fmla="*/ 22 w 52"/>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8">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7" name="Freeform 980"/>
              <p:cNvSpPr>
                <a:spLocks/>
              </p:cNvSpPr>
              <p:nvPr/>
            </p:nvSpPr>
            <p:spPr bwMode="auto">
              <a:xfrm>
                <a:off x="4647" y="2565"/>
                <a:ext cx="22" cy="14"/>
              </a:xfrm>
              <a:custGeom>
                <a:avLst/>
                <a:gdLst>
                  <a:gd name="T0" fmla="*/ 6 w 22"/>
                  <a:gd name="T1" fmla="*/ 14 h 14"/>
                  <a:gd name="T2" fmla="*/ 6 w 22"/>
                  <a:gd name="T3" fmla="*/ 14 h 14"/>
                  <a:gd name="T4" fmla="*/ 6 w 22"/>
                  <a:gd name="T5" fmla="*/ 14 h 14"/>
                  <a:gd name="T6" fmla="*/ 2 w 22"/>
                  <a:gd name="T7" fmla="*/ 10 h 14"/>
                  <a:gd name="T8" fmla="*/ 2 w 22"/>
                  <a:gd name="T9" fmla="*/ 10 h 14"/>
                  <a:gd name="T10" fmla="*/ 0 w 22"/>
                  <a:gd name="T11" fmla="*/ 8 h 14"/>
                  <a:gd name="T12" fmla="*/ 2 w 22"/>
                  <a:gd name="T13" fmla="*/ 0 h 14"/>
                  <a:gd name="T14" fmla="*/ 2 w 22"/>
                  <a:gd name="T15" fmla="*/ 0 h 14"/>
                  <a:gd name="T16" fmla="*/ 4 w 22"/>
                  <a:gd name="T17" fmla="*/ 0 h 14"/>
                  <a:gd name="T18" fmla="*/ 14 w 22"/>
                  <a:gd name="T19" fmla="*/ 0 h 14"/>
                  <a:gd name="T20" fmla="*/ 14 w 22"/>
                  <a:gd name="T21" fmla="*/ 0 h 14"/>
                  <a:gd name="T22" fmla="*/ 16 w 22"/>
                  <a:gd name="T23" fmla="*/ 0 h 14"/>
                  <a:gd name="T24" fmla="*/ 20 w 22"/>
                  <a:gd name="T25" fmla="*/ 4 h 14"/>
                  <a:gd name="T26" fmla="*/ 20 w 22"/>
                  <a:gd name="T27" fmla="*/ 4 h 14"/>
                  <a:gd name="T28" fmla="*/ 22 w 22"/>
                  <a:gd name="T29" fmla="*/ 6 h 14"/>
                  <a:gd name="T30" fmla="*/ 18 w 22"/>
                  <a:gd name="T31" fmla="*/ 14 h 14"/>
                  <a:gd name="T32" fmla="*/ 18 w 22"/>
                  <a:gd name="T33" fmla="*/ 14 h 14"/>
                  <a:gd name="T34" fmla="*/ 16 w 22"/>
                  <a:gd name="T35" fmla="*/ 14 h 14"/>
                  <a:gd name="T36" fmla="*/ 6 w 22"/>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4">
                    <a:moveTo>
                      <a:pt x="6" y="14"/>
                    </a:moveTo>
                    <a:lnTo>
                      <a:pt x="6" y="14"/>
                    </a:lnTo>
                    <a:lnTo>
                      <a:pt x="6" y="14"/>
                    </a:lnTo>
                    <a:lnTo>
                      <a:pt x="2" y="10"/>
                    </a:lnTo>
                    <a:lnTo>
                      <a:pt x="2" y="10"/>
                    </a:lnTo>
                    <a:lnTo>
                      <a:pt x="0" y="8"/>
                    </a:lnTo>
                    <a:lnTo>
                      <a:pt x="2" y="0"/>
                    </a:lnTo>
                    <a:lnTo>
                      <a:pt x="2" y="0"/>
                    </a:lnTo>
                    <a:lnTo>
                      <a:pt x="4" y="0"/>
                    </a:lnTo>
                    <a:lnTo>
                      <a:pt x="14" y="0"/>
                    </a:lnTo>
                    <a:lnTo>
                      <a:pt x="14" y="0"/>
                    </a:lnTo>
                    <a:lnTo>
                      <a:pt x="16" y="0"/>
                    </a:lnTo>
                    <a:lnTo>
                      <a:pt x="20" y="4"/>
                    </a:lnTo>
                    <a:lnTo>
                      <a:pt x="20" y="4"/>
                    </a:lnTo>
                    <a:lnTo>
                      <a:pt x="22" y="6"/>
                    </a:lnTo>
                    <a:lnTo>
                      <a:pt x="18" y="14"/>
                    </a:lnTo>
                    <a:lnTo>
                      <a:pt x="18" y="14"/>
                    </a:lnTo>
                    <a:lnTo>
                      <a:pt x="1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8" name="Freeform 981"/>
              <p:cNvSpPr>
                <a:spLocks noEditPoints="1"/>
              </p:cNvSpPr>
              <p:nvPr/>
            </p:nvSpPr>
            <p:spPr bwMode="auto">
              <a:xfrm>
                <a:off x="4645" y="2563"/>
                <a:ext cx="26" cy="18"/>
              </a:xfrm>
              <a:custGeom>
                <a:avLst/>
                <a:gdLst>
                  <a:gd name="T0" fmla="*/ 16 w 26"/>
                  <a:gd name="T1" fmla="*/ 4 h 18"/>
                  <a:gd name="T2" fmla="*/ 22 w 26"/>
                  <a:gd name="T3" fmla="*/ 8 h 18"/>
                  <a:gd name="T4" fmla="*/ 18 w 26"/>
                  <a:gd name="T5" fmla="*/ 14 h 18"/>
                  <a:gd name="T6" fmla="*/ 8 w 26"/>
                  <a:gd name="T7" fmla="*/ 14 h 18"/>
                  <a:gd name="T8" fmla="*/ 4 w 26"/>
                  <a:gd name="T9" fmla="*/ 10 h 18"/>
                  <a:gd name="T10" fmla="*/ 6 w 26"/>
                  <a:gd name="T11" fmla="*/ 4 h 18"/>
                  <a:gd name="T12" fmla="*/ 16 w 26"/>
                  <a:gd name="T13" fmla="*/ 4 h 18"/>
                  <a:gd name="T14" fmla="*/ 16 w 26"/>
                  <a:gd name="T15" fmla="*/ 0 h 18"/>
                  <a:gd name="T16" fmla="*/ 6 w 26"/>
                  <a:gd name="T17" fmla="*/ 0 h 18"/>
                  <a:gd name="T18" fmla="*/ 6 w 26"/>
                  <a:gd name="T19" fmla="*/ 0 h 18"/>
                  <a:gd name="T20" fmla="*/ 4 w 26"/>
                  <a:gd name="T21" fmla="*/ 0 h 18"/>
                  <a:gd name="T22" fmla="*/ 2 w 26"/>
                  <a:gd name="T23" fmla="*/ 2 h 18"/>
                  <a:gd name="T24" fmla="*/ 0 w 26"/>
                  <a:gd name="T25" fmla="*/ 10 h 18"/>
                  <a:gd name="T26" fmla="*/ 0 w 26"/>
                  <a:gd name="T27" fmla="*/ 10 h 18"/>
                  <a:gd name="T28" fmla="*/ 2 w 26"/>
                  <a:gd name="T29" fmla="*/ 12 h 18"/>
                  <a:gd name="T30" fmla="*/ 6 w 26"/>
                  <a:gd name="T31" fmla="*/ 18 h 18"/>
                  <a:gd name="T32" fmla="*/ 6 w 26"/>
                  <a:gd name="T33" fmla="*/ 18 h 18"/>
                  <a:gd name="T34" fmla="*/ 8 w 26"/>
                  <a:gd name="T35" fmla="*/ 18 h 18"/>
                  <a:gd name="T36" fmla="*/ 18 w 26"/>
                  <a:gd name="T37" fmla="*/ 18 h 18"/>
                  <a:gd name="T38" fmla="*/ 18 w 26"/>
                  <a:gd name="T39" fmla="*/ 18 h 18"/>
                  <a:gd name="T40" fmla="*/ 22 w 26"/>
                  <a:gd name="T41" fmla="*/ 16 h 18"/>
                  <a:gd name="T42" fmla="*/ 26 w 26"/>
                  <a:gd name="T43" fmla="*/ 10 h 18"/>
                  <a:gd name="T44" fmla="*/ 26 w 26"/>
                  <a:gd name="T45" fmla="*/ 10 h 18"/>
                  <a:gd name="T46" fmla="*/ 26 w 26"/>
                  <a:gd name="T47" fmla="*/ 8 h 18"/>
                  <a:gd name="T48" fmla="*/ 24 w 26"/>
                  <a:gd name="T49" fmla="*/ 4 h 18"/>
                  <a:gd name="T50" fmla="*/ 18 w 26"/>
                  <a:gd name="T51" fmla="*/ 0 h 18"/>
                  <a:gd name="T52" fmla="*/ 18 w 26"/>
                  <a:gd name="T53" fmla="*/ 0 h 18"/>
                  <a:gd name="T54" fmla="*/ 16 w 26"/>
                  <a:gd name="T55" fmla="*/ 0 h 18"/>
                  <a:gd name="T56" fmla="*/ 16 w 26"/>
                  <a:gd name="T5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8">
                    <a:moveTo>
                      <a:pt x="16" y="4"/>
                    </a:moveTo>
                    <a:lnTo>
                      <a:pt x="22" y="8"/>
                    </a:lnTo>
                    <a:lnTo>
                      <a:pt x="18" y="14"/>
                    </a:lnTo>
                    <a:lnTo>
                      <a:pt x="8" y="14"/>
                    </a:lnTo>
                    <a:lnTo>
                      <a:pt x="4" y="10"/>
                    </a:lnTo>
                    <a:lnTo>
                      <a:pt x="6" y="4"/>
                    </a:lnTo>
                    <a:lnTo>
                      <a:pt x="16" y="4"/>
                    </a:lnTo>
                    <a:close/>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9" name="Freeform 982"/>
              <p:cNvSpPr>
                <a:spLocks/>
              </p:cNvSpPr>
              <p:nvPr/>
            </p:nvSpPr>
            <p:spPr bwMode="auto">
              <a:xfrm>
                <a:off x="4649" y="2567"/>
                <a:ext cx="18" cy="10"/>
              </a:xfrm>
              <a:custGeom>
                <a:avLst/>
                <a:gdLst>
                  <a:gd name="T0" fmla="*/ 12 w 18"/>
                  <a:gd name="T1" fmla="*/ 0 h 10"/>
                  <a:gd name="T2" fmla="*/ 18 w 18"/>
                  <a:gd name="T3" fmla="*/ 4 h 10"/>
                  <a:gd name="T4" fmla="*/ 14 w 18"/>
                  <a:gd name="T5" fmla="*/ 10 h 10"/>
                  <a:gd name="T6" fmla="*/ 4 w 18"/>
                  <a:gd name="T7" fmla="*/ 10 h 10"/>
                  <a:gd name="T8" fmla="*/ 0 w 18"/>
                  <a:gd name="T9" fmla="*/ 6 h 10"/>
                  <a:gd name="T10" fmla="*/ 2 w 18"/>
                  <a:gd name="T11" fmla="*/ 0 h 10"/>
                  <a:gd name="T12" fmla="*/ 1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12" y="0"/>
                    </a:moveTo>
                    <a:lnTo>
                      <a:pt x="18" y="4"/>
                    </a:lnTo>
                    <a:lnTo>
                      <a:pt x="14" y="10"/>
                    </a:lnTo>
                    <a:lnTo>
                      <a:pt x="4" y="10"/>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0" name="Freeform 983"/>
              <p:cNvSpPr>
                <a:spLocks/>
              </p:cNvSpPr>
              <p:nvPr/>
            </p:nvSpPr>
            <p:spPr bwMode="auto">
              <a:xfrm>
                <a:off x="4645" y="2563"/>
                <a:ext cx="26" cy="18"/>
              </a:xfrm>
              <a:custGeom>
                <a:avLst/>
                <a:gdLst>
                  <a:gd name="T0" fmla="*/ 16 w 26"/>
                  <a:gd name="T1" fmla="*/ 0 h 18"/>
                  <a:gd name="T2" fmla="*/ 6 w 26"/>
                  <a:gd name="T3" fmla="*/ 0 h 18"/>
                  <a:gd name="T4" fmla="*/ 6 w 26"/>
                  <a:gd name="T5" fmla="*/ 0 h 18"/>
                  <a:gd name="T6" fmla="*/ 4 w 26"/>
                  <a:gd name="T7" fmla="*/ 0 h 18"/>
                  <a:gd name="T8" fmla="*/ 2 w 26"/>
                  <a:gd name="T9" fmla="*/ 2 h 18"/>
                  <a:gd name="T10" fmla="*/ 0 w 26"/>
                  <a:gd name="T11" fmla="*/ 10 h 18"/>
                  <a:gd name="T12" fmla="*/ 0 w 26"/>
                  <a:gd name="T13" fmla="*/ 10 h 18"/>
                  <a:gd name="T14" fmla="*/ 2 w 26"/>
                  <a:gd name="T15" fmla="*/ 12 h 18"/>
                  <a:gd name="T16" fmla="*/ 6 w 26"/>
                  <a:gd name="T17" fmla="*/ 18 h 18"/>
                  <a:gd name="T18" fmla="*/ 6 w 26"/>
                  <a:gd name="T19" fmla="*/ 18 h 18"/>
                  <a:gd name="T20" fmla="*/ 8 w 26"/>
                  <a:gd name="T21" fmla="*/ 18 h 18"/>
                  <a:gd name="T22" fmla="*/ 18 w 26"/>
                  <a:gd name="T23" fmla="*/ 18 h 18"/>
                  <a:gd name="T24" fmla="*/ 18 w 26"/>
                  <a:gd name="T25" fmla="*/ 18 h 18"/>
                  <a:gd name="T26" fmla="*/ 22 w 26"/>
                  <a:gd name="T27" fmla="*/ 16 h 18"/>
                  <a:gd name="T28" fmla="*/ 26 w 26"/>
                  <a:gd name="T29" fmla="*/ 10 h 18"/>
                  <a:gd name="T30" fmla="*/ 26 w 26"/>
                  <a:gd name="T31" fmla="*/ 10 h 18"/>
                  <a:gd name="T32" fmla="*/ 26 w 26"/>
                  <a:gd name="T33" fmla="*/ 8 h 18"/>
                  <a:gd name="T34" fmla="*/ 24 w 26"/>
                  <a:gd name="T35" fmla="*/ 4 h 18"/>
                  <a:gd name="T36" fmla="*/ 18 w 26"/>
                  <a:gd name="T37" fmla="*/ 0 h 18"/>
                  <a:gd name="T38" fmla="*/ 18 w 26"/>
                  <a:gd name="T39" fmla="*/ 0 h 18"/>
                  <a:gd name="T40" fmla="*/ 16 w 26"/>
                  <a:gd name="T41" fmla="*/ 0 h 18"/>
                  <a:gd name="T42" fmla="*/ 16 w 26"/>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8">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1" name="Freeform 984"/>
              <p:cNvSpPr>
                <a:spLocks/>
              </p:cNvSpPr>
              <p:nvPr/>
            </p:nvSpPr>
            <p:spPr bwMode="auto">
              <a:xfrm>
                <a:off x="4665" y="2491"/>
                <a:ext cx="26" cy="50"/>
              </a:xfrm>
              <a:custGeom>
                <a:avLst/>
                <a:gdLst>
                  <a:gd name="T0" fmla="*/ 14 w 26"/>
                  <a:gd name="T1" fmla="*/ 50 h 50"/>
                  <a:gd name="T2" fmla="*/ 14 w 26"/>
                  <a:gd name="T3" fmla="*/ 50 h 50"/>
                  <a:gd name="T4" fmla="*/ 14 w 26"/>
                  <a:gd name="T5" fmla="*/ 50 h 50"/>
                  <a:gd name="T6" fmla="*/ 8 w 26"/>
                  <a:gd name="T7" fmla="*/ 48 h 50"/>
                  <a:gd name="T8" fmla="*/ 6 w 26"/>
                  <a:gd name="T9" fmla="*/ 46 h 50"/>
                  <a:gd name="T10" fmla="*/ 6 w 26"/>
                  <a:gd name="T11" fmla="*/ 46 h 50"/>
                  <a:gd name="T12" fmla="*/ 6 w 26"/>
                  <a:gd name="T13" fmla="*/ 44 h 50"/>
                  <a:gd name="T14" fmla="*/ 2 w 26"/>
                  <a:gd name="T15" fmla="*/ 32 h 50"/>
                  <a:gd name="T16" fmla="*/ 0 w 26"/>
                  <a:gd name="T17" fmla="*/ 22 h 50"/>
                  <a:gd name="T18" fmla="*/ 0 w 26"/>
                  <a:gd name="T19" fmla="*/ 22 h 50"/>
                  <a:gd name="T20" fmla="*/ 0 w 26"/>
                  <a:gd name="T21" fmla="*/ 22 h 50"/>
                  <a:gd name="T22" fmla="*/ 2 w 26"/>
                  <a:gd name="T23" fmla="*/ 14 h 50"/>
                  <a:gd name="T24" fmla="*/ 0 w 26"/>
                  <a:gd name="T25" fmla="*/ 2 h 50"/>
                  <a:gd name="T26" fmla="*/ 0 w 26"/>
                  <a:gd name="T27" fmla="*/ 2 h 50"/>
                  <a:gd name="T28" fmla="*/ 0 w 26"/>
                  <a:gd name="T29" fmla="*/ 2 h 50"/>
                  <a:gd name="T30" fmla="*/ 0 w 26"/>
                  <a:gd name="T31" fmla="*/ 2 h 50"/>
                  <a:gd name="T32" fmla="*/ 2 w 26"/>
                  <a:gd name="T33" fmla="*/ 0 h 50"/>
                  <a:gd name="T34" fmla="*/ 2 w 26"/>
                  <a:gd name="T35" fmla="*/ 0 h 50"/>
                  <a:gd name="T36" fmla="*/ 2 w 26"/>
                  <a:gd name="T37" fmla="*/ 0 h 50"/>
                  <a:gd name="T38" fmla="*/ 8 w 26"/>
                  <a:gd name="T39" fmla="*/ 2 h 50"/>
                  <a:gd name="T40" fmla="*/ 8 w 26"/>
                  <a:gd name="T41" fmla="*/ 2 h 50"/>
                  <a:gd name="T42" fmla="*/ 10 w 26"/>
                  <a:gd name="T43" fmla="*/ 4 h 50"/>
                  <a:gd name="T44" fmla="*/ 12 w 26"/>
                  <a:gd name="T45" fmla="*/ 10 h 50"/>
                  <a:gd name="T46" fmla="*/ 14 w 26"/>
                  <a:gd name="T47" fmla="*/ 6 h 50"/>
                  <a:gd name="T48" fmla="*/ 14 w 26"/>
                  <a:gd name="T49" fmla="*/ 6 h 50"/>
                  <a:gd name="T50" fmla="*/ 16 w 26"/>
                  <a:gd name="T51" fmla="*/ 6 h 50"/>
                  <a:gd name="T52" fmla="*/ 22 w 26"/>
                  <a:gd name="T53" fmla="*/ 4 h 50"/>
                  <a:gd name="T54" fmla="*/ 22 w 26"/>
                  <a:gd name="T55" fmla="*/ 4 h 50"/>
                  <a:gd name="T56" fmla="*/ 22 w 26"/>
                  <a:gd name="T57" fmla="*/ 4 h 50"/>
                  <a:gd name="T58" fmla="*/ 22 w 26"/>
                  <a:gd name="T59" fmla="*/ 4 h 50"/>
                  <a:gd name="T60" fmla="*/ 22 w 26"/>
                  <a:gd name="T61" fmla="*/ 4 h 50"/>
                  <a:gd name="T62" fmla="*/ 22 w 26"/>
                  <a:gd name="T63" fmla="*/ 4 h 50"/>
                  <a:gd name="T64" fmla="*/ 24 w 26"/>
                  <a:gd name="T65" fmla="*/ 6 h 50"/>
                  <a:gd name="T66" fmla="*/ 26 w 26"/>
                  <a:gd name="T67" fmla="*/ 14 h 50"/>
                  <a:gd name="T68" fmla="*/ 26 w 26"/>
                  <a:gd name="T69" fmla="*/ 14 h 50"/>
                  <a:gd name="T70" fmla="*/ 24 w 26"/>
                  <a:gd name="T71" fmla="*/ 18 h 50"/>
                  <a:gd name="T72" fmla="*/ 20 w 26"/>
                  <a:gd name="T73" fmla="*/ 18 h 50"/>
                  <a:gd name="T74" fmla="*/ 18 w 26"/>
                  <a:gd name="T75" fmla="*/ 20 h 50"/>
                  <a:gd name="T76" fmla="*/ 20 w 26"/>
                  <a:gd name="T77" fmla="*/ 20 h 50"/>
                  <a:gd name="T78" fmla="*/ 20 w 26"/>
                  <a:gd name="T79" fmla="*/ 20 h 50"/>
                  <a:gd name="T80" fmla="*/ 22 w 26"/>
                  <a:gd name="T81" fmla="*/ 22 h 50"/>
                  <a:gd name="T82" fmla="*/ 24 w 26"/>
                  <a:gd name="T83" fmla="*/ 24 h 50"/>
                  <a:gd name="T84" fmla="*/ 24 w 26"/>
                  <a:gd name="T85" fmla="*/ 24 h 50"/>
                  <a:gd name="T86" fmla="*/ 24 w 26"/>
                  <a:gd name="T87" fmla="*/ 26 h 50"/>
                  <a:gd name="T88" fmla="*/ 24 w 26"/>
                  <a:gd name="T89" fmla="*/ 26 h 50"/>
                  <a:gd name="T90" fmla="*/ 22 w 26"/>
                  <a:gd name="T91" fmla="*/ 28 h 50"/>
                  <a:gd name="T92" fmla="*/ 12 w 26"/>
                  <a:gd name="T93" fmla="*/ 28 h 50"/>
                  <a:gd name="T94" fmla="*/ 12 w 26"/>
                  <a:gd name="T95" fmla="*/ 30 h 50"/>
                  <a:gd name="T96" fmla="*/ 14 w 26"/>
                  <a:gd name="T97" fmla="*/ 36 h 50"/>
                  <a:gd name="T98" fmla="*/ 22 w 26"/>
                  <a:gd name="T99" fmla="*/ 42 h 50"/>
                  <a:gd name="T100" fmla="*/ 22 w 26"/>
                  <a:gd name="T101" fmla="*/ 42 h 50"/>
                  <a:gd name="T102" fmla="*/ 22 w 26"/>
                  <a:gd name="T103" fmla="*/ 44 h 50"/>
                  <a:gd name="T104" fmla="*/ 22 w 26"/>
                  <a:gd name="T105" fmla="*/ 46 h 50"/>
                  <a:gd name="T106" fmla="*/ 22 w 26"/>
                  <a:gd name="T107" fmla="*/ 46 h 50"/>
                  <a:gd name="T108" fmla="*/ 22 w 26"/>
                  <a:gd name="T109" fmla="*/ 48 h 50"/>
                  <a:gd name="T110" fmla="*/ 20 w 26"/>
                  <a:gd name="T111" fmla="*/ 48 h 50"/>
                  <a:gd name="T112" fmla="*/ 20 w 26"/>
                  <a:gd name="T113" fmla="*/ 48 h 50"/>
                  <a:gd name="T114" fmla="*/ 18 w 26"/>
                  <a:gd name="T115" fmla="*/ 50 h 50"/>
                  <a:gd name="T116" fmla="*/ 14 w 26"/>
                  <a:gd name="T1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50">
                    <a:moveTo>
                      <a:pt x="14" y="50"/>
                    </a:moveTo>
                    <a:lnTo>
                      <a:pt x="14" y="50"/>
                    </a:lnTo>
                    <a:lnTo>
                      <a:pt x="14" y="50"/>
                    </a:lnTo>
                    <a:lnTo>
                      <a:pt x="8" y="48"/>
                    </a:lnTo>
                    <a:lnTo>
                      <a:pt x="6" y="46"/>
                    </a:lnTo>
                    <a:lnTo>
                      <a:pt x="6" y="46"/>
                    </a:lnTo>
                    <a:lnTo>
                      <a:pt x="6" y="44"/>
                    </a:lnTo>
                    <a:lnTo>
                      <a:pt x="2" y="32"/>
                    </a:lnTo>
                    <a:lnTo>
                      <a:pt x="0" y="22"/>
                    </a:lnTo>
                    <a:lnTo>
                      <a:pt x="0" y="22"/>
                    </a:lnTo>
                    <a:lnTo>
                      <a:pt x="0" y="22"/>
                    </a:lnTo>
                    <a:lnTo>
                      <a:pt x="2" y="14"/>
                    </a:lnTo>
                    <a:lnTo>
                      <a:pt x="0" y="2"/>
                    </a:lnTo>
                    <a:lnTo>
                      <a:pt x="0" y="2"/>
                    </a:lnTo>
                    <a:lnTo>
                      <a:pt x="0" y="2"/>
                    </a:lnTo>
                    <a:lnTo>
                      <a:pt x="0" y="2"/>
                    </a:lnTo>
                    <a:lnTo>
                      <a:pt x="2" y="0"/>
                    </a:lnTo>
                    <a:lnTo>
                      <a:pt x="2" y="0"/>
                    </a:lnTo>
                    <a:lnTo>
                      <a:pt x="2" y="0"/>
                    </a:lnTo>
                    <a:lnTo>
                      <a:pt x="8" y="2"/>
                    </a:lnTo>
                    <a:lnTo>
                      <a:pt x="8" y="2"/>
                    </a:lnTo>
                    <a:lnTo>
                      <a:pt x="10" y="4"/>
                    </a:lnTo>
                    <a:lnTo>
                      <a:pt x="12" y="10"/>
                    </a:lnTo>
                    <a:lnTo>
                      <a:pt x="14" y="6"/>
                    </a:lnTo>
                    <a:lnTo>
                      <a:pt x="14" y="6"/>
                    </a:lnTo>
                    <a:lnTo>
                      <a:pt x="16" y="6"/>
                    </a:lnTo>
                    <a:lnTo>
                      <a:pt x="22" y="4"/>
                    </a:lnTo>
                    <a:lnTo>
                      <a:pt x="22" y="4"/>
                    </a:lnTo>
                    <a:lnTo>
                      <a:pt x="22" y="4"/>
                    </a:lnTo>
                    <a:lnTo>
                      <a:pt x="22" y="4"/>
                    </a:lnTo>
                    <a:lnTo>
                      <a:pt x="22" y="4"/>
                    </a:lnTo>
                    <a:lnTo>
                      <a:pt x="22" y="4"/>
                    </a:lnTo>
                    <a:lnTo>
                      <a:pt x="24" y="6"/>
                    </a:lnTo>
                    <a:lnTo>
                      <a:pt x="26" y="14"/>
                    </a:lnTo>
                    <a:lnTo>
                      <a:pt x="26" y="14"/>
                    </a:lnTo>
                    <a:lnTo>
                      <a:pt x="24" y="18"/>
                    </a:lnTo>
                    <a:lnTo>
                      <a:pt x="20" y="18"/>
                    </a:lnTo>
                    <a:lnTo>
                      <a:pt x="18" y="20"/>
                    </a:lnTo>
                    <a:lnTo>
                      <a:pt x="20" y="20"/>
                    </a:lnTo>
                    <a:lnTo>
                      <a:pt x="20" y="20"/>
                    </a:lnTo>
                    <a:lnTo>
                      <a:pt x="22" y="22"/>
                    </a:lnTo>
                    <a:lnTo>
                      <a:pt x="24" y="24"/>
                    </a:lnTo>
                    <a:lnTo>
                      <a:pt x="24" y="24"/>
                    </a:lnTo>
                    <a:lnTo>
                      <a:pt x="24" y="26"/>
                    </a:lnTo>
                    <a:lnTo>
                      <a:pt x="24" y="26"/>
                    </a:lnTo>
                    <a:lnTo>
                      <a:pt x="22" y="28"/>
                    </a:lnTo>
                    <a:lnTo>
                      <a:pt x="12" y="28"/>
                    </a:lnTo>
                    <a:lnTo>
                      <a:pt x="12" y="30"/>
                    </a:lnTo>
                    <a:lnTo>
                      <a:pt x="14" y="36"/>
                    </a:lnTo>
                    <a:lnTo>
                      <a:pt x="22" y="42"/>
                    </a:lnTo>
                    <a:lnTo>
                      <a:pt x="22" y="42"/>
                    </a:lnTo>
                    <a:lnTo>
                      <a:pt x="22" y="44"/>
                    </a:lnTo>
                    <a:lnTo>
                      <a:pt x="22" y="46"/>
                    </a:lnTo>
                    <a:lnTo>
                      <a:pt x="22" y="46"/>
                    </a:lnTo>
                    <a:lnTo>
                      <a:pt x="22" y="48"/>
                    </a:lnTo>
                    <a:lnTo>
                      <a:pt x="20" y="48"/>
                    </a:lnTo>
                    <a:lnTo>
                      <a:pt x="20" y="48"/>
                    </a:lnTo>
                    <a:lnTo>
                      <a:pt x="18" y="50"/>
                    </a:lnTo>
                    <a:lnTo>
                      <a:pt x="1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2" name="Freeform 985"/>
              <p:cNvSpPr>
                <a:spLocks noEditPoints="1"/>
              </p:cNvSpPr>
              <p:nvPr/>
            </p:nvSpPr>
            <p:spPr bwMode="auto">
              <a:xfrm>
                <a:off x="4663" y="2489"/>
                <a:ext cx="30" cy="54"/>
              </a:xfrm>
              <a:custGeom>
                <a:avLst/>
                <a:gdLst>
                  <a:gd name="T0" fmla="*/ 10 w 30"/>
                  <a:gd name="T1" fmla="*/ 6 h 54"/>
                  <a:gd name="T2" fmla="*/ 12 w 30"/>
                  <a:gd name="T3" fmla="*/ 18 h 54"/>
                  <a:gd name="T4" fmla="*/ 24 w 30"/>
                  <a:gd name="T5" fmla="*/ 8 h 54"/>
                  <a:gd name="T6" fmla="*/ 20 w 30"/>
                  <a:gd name="T7" fmla="*/ 18 h 54"/>
                  <a:gd name="T8" fmla="*/ 22 w 30"/>
                  <a:gd name="T9" fmla="*/ 24 h 54"/>
                  <a:gd name="T10" fmla="*/ 12 w 30"/>
                  <a:gd name="T11" fmla="*/ 28 h 54"/>
                  <a:gd name="T12" fmla="*/ 14 w 30"/>
                  <a:gd name="T13" fmla="*/ 38 h 54"/>
                  <a:gd name="T14" fmla="*/ 22 w 30"/>
                  <a:gd name="T15" fmla="*/ 46 h 54"/>
                  <a:gd name="T16" fmla="*/ 20 w 30"/>
                  <a:gd name="T17" fmla="*/ 50 h 54"/>
                  <a:gd name="T18" fmla="*/ 12 w 30"/>
                  <a:gd name="T19" fmla="*/ 48 h 54"/>
                  <a:gd name="T20" fmla="*/ 6 w 30"/>
                  <a:gd name="T21" fmla="*/ 34 h 54"/>
                  <a:gd name="T22" fmla="*/ 6 w 30"/>
                  <a:gd name="T23" fmla="*/ 16 h 54"/>
                  <a:gd name="T24" fmla="*/ 4 w 30"/>
                  <a:gd name="T25" fmla="*/ 0 h 54"/>
                  <a:gd name="T26" fmla="*/ 0 w 30"/>
                  <a:gd name="T27" fmla="*/ 2 h 54"/>
                  <a:gd name="T28" fmla="*/ 0 w 30"/>
                  <a:gd name="T29" fmla="*/ 6 h 54"/>
                  <a:gd name="T30" fmla="*/ 0 w 30"/>
                  <a:gd name="T31" fmla="*/ 24 h 54"/>
                  <a:gd name="T32" fmla="*/ 0 w 30"/>
                  <a:gd name="T33" fmla="*/ 26 h 54"/>
                  <a:gd name="T34" fmla="*/ 6 w 30"/>
                  <a:gd name="T35" fmla="*/ 48 h 54"/>
                  <a:gd name="T36" fmla="*/ 8 w 30"/>
                  <a:gd name="T37" fmla="*/ 48 h 54"/>
                  <a:gd name="T38" fmla="*/ 10 w 30"/>
                  <a:gd name="T39" fmla="*/ 50 h 54"/>
                  <a:gd name="T40" fmla="*/ 14 w 30"/>
                  <a:gd name="T41" fmla="*/ 54 h 54"/>
                  <a:gd name="T42" fmla="*/ 16 w 30"/>
                  <a:gd name="T43" fmla="*/ 54 h 54"/>
                  <a:gd name="T44" fmla="*/ 20 w 30"/>
                  <a:gd name="T45" fmla="*/ 54 h 54"/>
                  <a:gd name="T46" fmla="*/ 24 w 30"/>
                  <a:gd name="T47" fmla="*/ 50 h 54"/>
                  <a:gd name="T48" fmla="*/ 26 w 30"/>
                  <a:gd name="T49" fmla="*/ 48 h 54"/>
                  <a:gd name="T50" fmla="*/ 26 w 30"/>
                  <a:gd name="T51" fmla="*/ 46 h 54"/>
                  <a:gd name="T52" fmla="*/ 22 w 30"/>
                  <a:gd name="T53" fmla="*/ 42 h 54"/>
                  <a:gd name="T54" fmla="*/ 16 w 30"/>
                  <a:gd name="T55" fmla="*/ 32 h 54"/>
                  <a:gd name="T56" fmla="*/ 24 w 30"/>
                  <a:gd name="T57" fmla="*/ 32 h 54"/>
                  <a:gd name="T58" fmla="*/ 28 w 30"/>
                  <a:gd name="T59" fmla="*/ 30 h 54"/>
                  <a:gd name="T60" fmla="*/ 26 w 30"/>
                  <a:gd name="T61" fmla="*/ 22 h 54"/>
                  <a:gd name="T62" fmla="*/ 24 w 30"/>
                  <a:gd name="T63" fmla="*/ 22 h 54"/>
                  <a:gd name="T64" fmla="*/ 28 w 30"/>
                  <a:gd name="T65" fmla="*/ 22 h 54"/>
                  <a:gd name="T66" fmla="*/ 30 w 30"/>
                  <a:gd name="T67" fmla="*/ 16 h 54"/>
                  <a:gd name="T68" fmla="*/ 28 w 30"/>
                  <a:gd name="T69" fmla="*/ 8 h 54"/>
                  <a:gd name="T70" fmla="*/ 26 w 30"/>
                  <a:gd name="T71" fmla="*/ 4 h 54"/>
                  <a:gd name="T72" fmla="*/ 24 w 30"/>
                  <a:gd name="T73" fmla="*/ 4 h 54"/>
                  <a:gd name="T74" fmla="*/ 16 w 30"/>
                  <a:gd name="T75" fmla="*/ 6 h 54"/>
                  <a:gd name="T76" fmla="*/ 14 w 30"/>
                  <a:gd name="T77" fmla="*/ 8 h 54"/>
                  <a:gd name="T78" fmla="*/ 14 w 30"/>
                  <a:gd name="T79" fmla="*/ 6 h 54"/>
                  <a:gd name="T80" fmla="*/ 10 w 30"/>
                  <a:gd name="T81" fmla="*/ 2 h 54"/>
                  <a:gd name="T82" fmla="*/ 4 w 30"/>
                  <a:gd name="T83" fmla="*/ 0 h 54"/>
                  <a:gd name="T84" fmla="*/ 4 w 30"/>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 h="54">
                    <a:moveTo>
                      <a:pt x="4" y="4"/>
                    </a:moveTo>
                    <a:lnTo>
                      <a:pt x="10" y="6"/>
                    </a:lnTo>
                    <a:lnTo>
                      <a:pt x="12" y="14"/>
                    </a:lnTo>
                    <a:lnTo>
                      <a:pt x="12" y="18"/>
                    </a:lnTo>
                    <a:lnTo>
                      <a:pt x="18" y="10"/>
                    </a:lnTo>
                    <a:lnTo>
                      <a:pt x="24" y="8"/>
                    </a:lnTo>
                    <a:lnTo>
                      <a:pt x="26" y="18"/>
                    </a:lnTo>
                    <a:lnTo>
                      <a:pt x="20" y="18"/>
                    </a:lnTo>
                    <a:lnTo>
                      <a:pt x="18" y="22"/>
                    </a:lnTo>
                    <a:lnTo>
                      <a:pt x="22" y="24"/>
                    </a:lnTo>
                    <a:lnTo>
                      <a:pt x="24" y="28"/>
                    </a:lnTo>
                    <a:lnTo>
                      <a:pt x="12" y="28"/>
                    </a:lnTo>
                    <a:lnTo>
                      <a:pt x="12" y="32"/>
                    </a:lnTo>
                    <a:lnTo>
                      <a:pt x="14" y="38"/>
                    </a:lnTo>
                    <a:lnTo>
                      <a:pt x="20" y="44"/>
                    </a:lnTo>
                    <a:lnTo>
                      <a:pt x="22" y="46"/>
                    </a:lnTo>
                    <a:lnTo>
                      <a:pt x="22" y="48"/>
                    </a:lnTo>
                    <a:lnTo>
                      <a:pt x="20" y="50"/>
                    </a:lnTo>
                    <a:lnTo>
                      <a:pt x="16" y="50"/>
                    </a:lnTo>
                    <a:lnTo>
                      <a:pt x="12" y="48"/>
                    </a:lnTo>
                    <a:lnTo>
                      <a:pt x="10" y="46"/>
                    </a:lnTo>
                    <a:lnTo>
                      <a:pt x="6" y="34"/>
                    </a:lnTo>
                    <a:lnTo>
                      <a:pt x="4" y="24"/>
                    </a:lnTo>
                    <a:lnTo>
                      <a:pt x="6" y="16"/>
                    </a:lnTo>
                    <a:lnTo>
                      <a:pt x="4" y="4"/>
                    </a:lnTo>
                    <a:close/>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3" name="Freeform 986"/>
              <p:cNvSpPr>
                <a:spLocks/>
              </p:cNvSpPr>
              <p:nvPr/>
            </p:nvSpPr>
            <p:spPr bwMode="auto">
              <a:xfrm>
                <a:off x="4667" y="2493"/>
                <a:ext cx="22" cy="46"/>
              </a:xfrm>
              <a:custGeom>
                <a:avLst/>
                <a:gdLst>
                  <a:gd name="T0" fmla="*/ 0 w 22"/>
                  <a:gd name="T1" fmla="*/ 0 h 46"/>
                  <a:gd name="T2" fmla="*/ 6 w 22"/>
                  <a:gd name="T3" fmla="*/ 2 h 46"/>
                  <a:gd name="T4" fmla="*/ 8 w 22"/>
                  <a:gd name="T5" fmla="*/ 10 h 46"/>
                  <a:gd name="T6" fmla="*/ 8 w 22"/>
                  <a:gd name="T7" fmla="*/ 14 h 46"/>
                  <a:gd name="T8" fmla="*/ 14 w 22"/>
                  <a:gd name="T9" fmla="*/ 6 h 46"/>
                  <a:gd name="T10" fmla="*/ 20 w 22"/>
                  <a:gd name="T11" fmla="*/ 4 h 46"/>
                  <a:gd name="T12" fmla="*/ 22 w 22"/>
                  <a:gd name="T13" fmla="*/ 14 h 46"/>
                  <a:gd name="T14" fmla="*/ 16 w 22"/>
                  <a:gd name="T15" fmla="*/ 14 h 46"/>
                  <a:gd name="T16" fmla="*/ 14 w 22"/>
                  <a:gd name="T17" fmla="*/ 18 h 46"/>
                  <a:gd name="T18" fmla="*/ 18 w 22"/>
                  <a:gd name="T19" fmla="*/ 20 h 46"/>
                  <a:gd name="T20" fmla="*/ 20 w 22"/>
                  <a:gd name="T21" fmla="*/ 24 h 46"/>
                  <a:gd name="T22" fmla="*/ 8 w 22"/>
                  <a:gd name="T23" fmla="*/ 24 h 46"/>
                  <a:gd name="T24" fmla="*/ 8 w 22"/>
                  <a:gd name="T25" fmla="*/ 28 h 46"/>
                  <a:gd name="T26" fmla="*/ 10 w 22"/>
                  <a:gd name="T27" fmla="*/ 34 h 46"/>
                  <a:gd name="T28" fmla="*/ 16 w 22"/>
                  <a:gd name="T29" fmla="*/ 40 h 46"/>
                  <a:gd name="T30" fmla="*/ 18 w 22"/>
                  <a:gd name="T31" fmla="*/ 42 h 46"/>
                  <a:gd name="T32" fmla="*/ 18 w 22"/>
                  <a:gd name="T33" fmla="*/ 44 h 46"/>
                  <a:gd name="T34" fmla="*/ 16 w 22"/>
                  <a:gd name="T35" fmla="*/ 46 h 46"/>
                  <a:gd name="T36" fmla="*/ 12 w 22"/>
                  <a:gd name="T37" fmla="*/ 46 h 46"/>
                  <a:gd name="T38" fmla="*/ 8 w 22"/>
                  <a:gd name="T39" fmla="*/ 44 h 46"/>
                  <a:gd name="T40" fmla="*/ 6 w 22"/>
                  <a:gd name="T41" fmla="*/ 42 h 46"/>
                  <a:gd name="T42" fmla="*/ 2 w 22"/>
                  <a:gd name="T43" fmla="*/ 30 h 46"/>
                  <a:gd name="T44" fmla="*/ 0 w 22"/>
                  <a:gd name="T45" fmla="*/ 20 h 46"/>
                  <a:gd name="T46" fmla="*/ 2 w 22"/>
                  <a:gd name="T47" fmla="*/ 12 h 46"/>
                  <a:gd name="T48" fmla="*/ 0 w 22"/>
                  <a:gd name="T4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0" y="0"/>
                    </a:moveTo>
                    <a:lnTo>
                      <a:pt x="6" y="2"/>
                    </a:lnTo>
                    <a:lnTo>
                      <a:pt x="8" y="10"/>
                    </a:lnTo>
                    <a:lnTo>
                      <a:pt x="8" y="14"/>
                    </a:lnTo>
                    <a:lnTo>
                      <a:pt x="14" y="6"/>
                    </a:lnTo>
                    <a:lnTo>
                      <a:pt x="20" y="4"/>
                    </a:lnTo>
                    <a:lnTo>
                      <a:pt x="22" y="14"/>
                    </a:lnTo>
                    <a:lnTo>
                      <a:pt x="16" y="14"/>
                    </a:lnTo>
                    <a:lnTo>
                      <a:pt x="14" y="18"/>
                    </a:lnTo>
                    <a:lnTo>
                      <a:pt x="18" y="20"/>
                    </a:lnTo>
                    <a:lnTo>
                      <a:pt x="20" y="24"/>
                    </a:lnTo>
                    <a:lnTo>
                      <a:pt x="8" y="24"/>
                    </a:lnTo>
                    <a:lnTo>
                      <a:pt x="8" y="28"/>
                    </a:lnTo>
                    <a:lnTo>
                      <a:pt x="10" y="34"/>
                    </a:lnTo>
                    <a:lnTo>
                      <a:pt x="16" y="40"/>
                    </a:lnTo>
                    <a:lnTo>
                      <a:pt x="18" y="42"/>
                    </a:lnTo>
                    <a:lnTo>
                      <a:pt x="18" y="44"/>
                    </a:lnTo>
                    <a:lnTo>
                      <a:pt x="16" y="46"/>
                    </a:lnTo>
                    <a:lnTo>
                      <a:pt x="12" y="46"/>
                    </a:lnTo>
                    <a:lnTo>
                      <a:pt x="8" y="44"/>
                    </a:lnTo>
                    <a:lnTo>
                      <a:pt x="6" y="42"/>
                    </a:lnTo>
                    <a:lnTo>
                      <a:pt x="2" y="30"/>
                    </a:lnTo>
                    <a:lnTo>
                      <a:pt x="0"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4" name="Freeform 987"/>
              <p:cNvSpPr>
                <a:spLocks/>
              </p:cNvSpPr>
              <p:nvPr/>
            </p:nvSpPr>
            <p:spPr bwMode="auto">
              <a:xfrm>
                <a:off x="4663" y="2489"/>
                <a:ext cx="30" cy="54"/>
              </a:xfrm>
              <a:custGeom>
                <a:avLst/>
                <a:gdLst>
                  <a:gd name="T0" fmla="*/ 4 w 30"/>
                  <a:gd name="T1" fmla="*/ 0 h 54"/>
                  <a:gd name="T2" fmla="*/ 4 w 30"/>
                  <a:gd name="T3" fmla="*/ 0 h 54"/>
                  <a:gd name="T4" fmla="*/ 0 w 30"/>
                  <a:gd name="T5" fmla="*/ 2 h 54"/>
                  <a:gd name="T6" fmla="*/ 0 w 30"/>
                  <a:gd name="T7" fmla="*/ 2 h 54"/>
                  <a:gd name="T8" fmla="*/ 0 w 30"/>
                  <a:gd name="T9" fmla="*/ 6 h 54"/>
                  <a:gd name="T10" fmla="*/ 2 w 30"/>
                  <a:gd name="T11" fmla="*/ 16 h 54"/>
                  <a:gd name="T12" fmla="*/ 0 w 30"/>
                  <a:gd name="T13" fmla="*/ 24 h 54"/>
                  <a:gd name="T14" fmla="*/ 0 w 30"/>
                  <a:gd name="T15" fmla="*/ 24 h 54"/>
                  <a:gd name="T16" fmla="*/ 0 w 30"/>
                  <a:gd name="T17" fmla="*/ 26 h 54"/>
                  <a:gd name="T18" fmla="*/ 2 w 30"/>
                  <a:gd name="T19" fmla="*/ 34 h 54"/>
                  <a:gd name="T20" fmla="*/ 6 w 30"/>
                  <a:gd name="T21" fmla="*/ 48 h 54"/>
                  <a:gd name="T22" fmla="*/ 6 w 30"/>
                  <a:gd name="T23" fmla="*/ 48 h 54"/>
                  <a:gd name="T24" fmla="*/ 8 w 30"/>
                  <a:gd name="T25" fmla="*/ 48 h 54"/>
                  <a:gd name="T26" fmla="*/ 10 w 30"/>
                  <a:gd name="T27" fmla="*/ 50 h 54"/>
                  <a:gd name="T28" fmla="*/ 10 w 30"/>
                  <a:gd name="T29" fmla="*/ 50 h 54"/>
                  <a:gd name="T30" fmla="*/ 10 w 30"/>
                  <a:gd name="T31" fmla="*/ 52 h 54"/>
                  <a:gd name="T32" fmla="*/ 14 w 30"/>
                  <a:gd name="T33" fmla="*/ 54 h 54"/>
                  <a:gd name="T34" fmla="*/ 14 w 30"/>
                  <a:gd name="T35" fmla="*/ 54 h 54"/>
                  <a:gd name="T36" fmla="*/ 16 w 30"/>
                  <a:gd name="T37" fmla="*/ 54 h 54"/>
                  <a:gd name="T38" fmla="*/ 20 w 30"/>
                  <a:gd name="T39" fmla="*/ 54 h 54"/>
                  <a:gd name="T40" fmla="*/ 20 w 30"/>
                  <a:gd name="T41" fmla="*/ 54 h 54"/>
                  <a:gd name="T42" fmla="*/ 22 w 30"/>
                  <a:gd name="T43" fmla="*/ 52 h 54"/>
                  <a:gd name="T44" fmla="*/ 24 w 30"/>
                  <a:gd name="T45" fmla="*/ 50 h 54"/>
                  <a:gd name="T46" fmla="*/ 24 w 30"/>
                  <a:gd name="T47" fmla="*/ 50 h 54"/>
                  <a:gd name="T48" fmla="*/ 26 w 30"/>
                  <a:gd name="T49" fmla="*/ 48 h 54"/>
                  <a:gd name="T50" fmla="*/ 26 w 30"/>
                  <a:gd name="T51" fmla="*/ 46 h 54"/>
                  <a:gd name="T52" fmla="*/ 26 w 30"/>
                  <a:gd name="T53" fmla="*/ 46 h 54"/>
                  <a:gd name="T54" fmla="*/ 24 w 30"/>
                  <a:gd name="T55" fmla="*/ 42 h 54"/>
                  <a:gd name="T56" fmla="*/ 22 w 30"/>
                  <a:gd name="T57" fmla="*/ 42 h 54"/>
                  <a:gd name="T58" fmla="*/ 18 w 30"/>
                  <a:gd name="T59" fmla="*/ 36 h 54"/>
                  <a:gd name="T60" fmla="*/ 16 w 30"/>
                  <a:gd name="T61" fmla="*/ 32 h 54"/>
                  <a:gd name="T62" fmla="*/ 24 w 30"/>
                  <a:gd name="T63" fmla="*/ 32 h 54"/>
                  <a:gd name="T64" fmla="*/ 24 w 30"/>
                  <a:gd name="T65" fmla="*/ 32 h 54"/>
                  <a:gd name="T66" fmla="*/ 28 w 30"/>
                  <a:gd name="T67" fmla="*/ 30 h 54"/>
                  <a:gd name="T68" fmla="*/ 28 w 30"/>
                  <a:gd name="T69" fmla="*/ 30 h 54"/>
                  <a:gd name="T70" fmla="*/ 28 w 30"/>
                  <a:gd name="T71" fmla="*/ 26 h 54"/>
                  <a:gd name="T72" fmla="*/ 26 w 30"/>
                  <a:gd name="T73" fmla="*/ 22 h 54"/>
                  <a:gd name="T74" fmla="*/ 26 w 30"/>
                  <a:gd name="T75" fmla="*/ 22 h 54"/>
                  <a:gd name="T76" fmla="*/ 24 w 30"/>
                  <a:gd name="T77" fmla="*/ 22 h 54"/>
                  <a:gd name="T78" fmla="*/ 28 w 30"/>
                  <a:gd name="T79" fmla="*/ 22 h 54"/>
                  <a:gd name="T80" fmla="*/ 28 w 30"/>
                  <a:gd name="T81" fmla="*/ 22 h 54"/>
                  <a:gd name="T82" fmla="*/ 30 w 30"/>
                  <a:gd name="T83" fmla="*/ 20 h 54"/>
                  <a:gd name="T84" fmla="*/ 30 w 30"/>
                  <a:gd name="T85" fmla="*/ 16 h 54"/>
                  <a:gd name="T86" fmla="*/ 28 w 30"/>
                  <a:gd name="T87" fmla="*/ 8 h 54"/>
                  <a:gd name="T88" fmla="*/ 28 w 30"/>
                  <a:gd name="T89" fmla="*/ 8 h 54"/>
                  <a:gd name="T90" fmla="*/ 26 w 30"/>
                  <a:gd name="T91" fmla="*/ 4 h 54"/>
                  <a:gd name="T92" fmla="*/ 26 w 30"/>
                  <a:gd name="T93" fmla="*/ 4 h 54"/>
                  <a:gd name="T94" fmla="*/ 24 w 30"/>
                  <a:gd name="T95" fmla="*/ 4 h 54"/>
                  <a:gd name="T96" fmla="*/ 24 w 30"/>
                  <a:gd name="T97" fmla="*/ 4 h 54"/>
                  <a:gd name="T98" fmla="*/ 22 w 30"/>
                  <a:gd name="T99" fmla="*/ 4 h 54"/>
                  <a:gd name="T100" fmla="*/ 16 w 30"/>
                  <a:gd name="T101" fmla="*/ 6 h 54"/>
                  <a:gd name="T102" fmla="*/ 16 w 30"/>
                  <a:gd name="T103" fmla="*/ 6 h 54"/>
                  <a:gd name="T104" fmla="*/ 14 w 30"/>
                  <a:gd name="T105" fmla="*/ 8 h 54"/>
                  <a:gd name="T106" fmla="*/ 14 w 30"/>
                  <a:gd name="T107" fmla="*/ 8 h 54"/>
                  <a:gd name="T108" fmla="*/ 14 w 30"/>
                  <a:gd name="T109" fmla="*/ 6 h 54"/>
                  <a:gd name="T110" fmla="*/ 14 w 30"/>
                  <a:gd name="T111" fmla="*/ 6 h 54"/>
                  <a:gd name="T112" fmla="*/ 10 w 30"/>
                  <a:gd name="T113" fmla="*/ 2 h 54"/>
                  <a:gd name="T114" fmla="*/ 4 w 30"/>
                  <a:gd name="T115" fmla="*/ 0 h 54"/>
                  <a:gd name="T116" fmla="*/ 4 w 30"/>
                  <a:gd name="T117" fmla="*/ 0 h 54"/>
                  <a:gd name="T118" fmla="*/ 4 w 30"/>
                  <a:gd name="T119" fmla="*/ 0 h 54"/>
                  <a:gd name="T120" fmla="*/ 4 w 30"/>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 h="54">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5" name="Freeform 988"/>
              <p:cNvSpPr>
                <a:spLocks/>
              </p:cNvSpPr>
              <p:nvPr/>
            </p:nvSpPr>
            <p:spPr bwMode="auto">
              <a:xfrm>
                <a:off x="4855" y="2559"/>
                <a:ext cx="144" cy="122"/>
              </a:xfrm>
              <a:custGeom>
                <a:avLst/>
                <a:gdLst>
                  <a:gd name="T0" fmla="*/ 140 w 144"/>
                  <a:gd name="T1" fmla="*/ 122 h 122"/>
                  <a:gd name="T2" fmla="*/ 124 w 144"/>
                  <a:gd name="T3" fmla="*/ 114 h 122"/>
                  <a:gd name="T4" fmla="*/ 96 w 144"/>
                  <a:gd name="T5" fmla="*/ 110 h 122"/>
                  <a:gd name="T6" fmla="*/ 94 w 144"/>
                  <a:gd name="T7" fmla="*/ 110 h 122"/>
                  <a:gd name="T8" fmla="*/ 76 w 144"/>
                  <a:gd name="T9" fmla="*/ 86 h 122"/>
                  <a:gd name="T10" fmla="*/ 56 w 144"/>
                  <a:gd name="T11" fmla="*/ 72 h 122"/>
                  <a:gd name="T12" fmla="*/ 46 w 144"/>
                  <a:gd name="T13" fmla="*/ 74 h 122"/>
                  <a:gd name="T14" fmla="*/ 46 w 144"/>
                  <a:gd name="T15" fmla="*/ 76 h 122"/>
                  <a:gd name="T16" fmla="*/ 42 w 144"/>
                  <a:gd name="T17" fmla="*/ 80 h 122"/>
                  <a:gd name="T18" fmla="*/ 30 w 144"/>
                  <a:gd name="T19" fmla="*/ 84 h 122"/>
                  <a:gd name="T20" fmla="*/ 38 w 144"/>
                  <a:gd name="T21" fmla="*/ 90 h 122"/>
                  <a:gd name="T22" fmla="*/ 38 w 144"/>
                  <a:gd name="T23" fmla="*/ 92 h 122"/>
                  <a:gd name="T24" fmla="*/ 38 w 144"/>
                  <a:gd name="T25" fmla="*/ 94 h 122"/>
                  <a:gd name="T26" fmla="*/ 32 w 144"/>
                  <a:gd name="T27" fmla="*/ 100 h 122"/>
                  <a:gd name="T28" fmla="*/ 30 w 144"/>
                  <a:gd name="T29" fmla="*/ 100 h 122"/>
                  <a:gd name="T30" fmla="*/ 18 w 144"/>
                  <a:gd name="T31" fmla="*/ 96 h 122"/>
                  <a:gd name="T32" fmla="*/ 2 w 144"/>
                  <a:gd name="T33" fmla="*/ 96 h 122"/>
                  <a:gd name="T34" fmla="*/ 0 w 144"/>
                  <a:gd name="T35" fmla="*/ 94 h 122"/>
                  <a:gd name="T36" fmla="*/ 0 w 144"/>
                  <a:gd name="T37" fmla="*/ 2 h 122"/>
                  <a:gd name="T38" fmla="*/ 0 w 144"/>
                  <a:gd name="T39" fmla="*/ 0 h 122"/>
                  <a:gd name="T40" fmla="*/ 2 w 144"/>
                  <a:gd name="T41" fmla="*/ 0 h 122"/>
                  <a:gd name="T42" fmla="*/ 16 w 144"/>
                  <a:gd name="T43" fmla="*/ 4 h 122"/>
                  <a:gd name="T44" fmla="*/ 48 w 144"/>
                  <a:gd name="T45" fmla="*/ 16 h 122"/>
                  <a:gd name="T46" fmla="*/ 70 w 144"/>
                  <a:gd name="T47" fmla="*/ 36 h 122"/>
                  <a:gd name="T48" fmla="*/ 94 w 144"/>
                  <a:gd name="T49" fmla="*/ 48 h 122"/>
                  <a:gd name="T50" fmla="*/ 102 w 144"/>
                  <a:gd name="T51" fmla="*/ 52 h 122"/>
                  <a:gd name="T52" fmla="*/ 102 w 144"/>
                  <a:gd name="T53" fmla="*/ 58 h 122"/>
                  <a:gd name="T54" fmla="*/ 104 w 144"/>
                  <a:gd name="T55" fmla="*/ 58 h 122"/>
                  <a:gd name="T56" fmla="*/ 102 w 144"/>
                  <a:gd name="T57" fmla="*/ 64 h 122"/>
                  <a:gd name="T58" fmla="*/ 100 w 144"/>
                  <a:gd name="T59" fmla="*/ 64 h 122"/>
                  <a:gd name="T60" fmla="*/ 94 w 144"/>
                  <a:gd name="T61" fmla="*/ 66 h 122"/>
                  <a:gd name="T62" fmla="*/ 116 w 144"/>
                  <a:gd name="T63" fmla="*/ 94 h 122"/>
                  <a:gd name="T64" fmla="*/ 128 w 144"/>
                  <a:gd name="T65" fmla="*/ 104 h 122"/>
                  <a:gd name="T66" fmla="*/ 142 w 144"/>
                  <a:gd name="T67" fmla="*/ 112 h 122"/>
                  <a:gd name="T68" fmla="*/ 142 w 144"/>
                  <a:gd name="T69" fmla="*/ 120 h 122"/>
                  <a:gd name="T70" fmla="*/ 140 w 144"/>
                  <a:gd name="T71" fmla="*/ 122 h 122"/>
                  <a:gd name="T72" fmla="*/ 140 w 144"/>
                  <a:gd name="T7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122">
                    <a:moveTo>
                      <a:pt x="140" y="122"/>
                    </a:moveTo>
                    <a:lnTo>
                      <a:pt x="140" y="122"/>
                    </a:lnTo>
                    <a:lnTo>
                      <a:pt x="140" y="122"/>
                    </a:lnTo>
                    <a:lnTo>
                      <a:pt x="124" y="114"/>
                    </a:lnTo>
                    <a:lnTo>
                      <a:pt x="114" y="112"/>
                    </a:lnTo>
                    <a:lnTo>
                      <a:pt x="96" y="110"/>
                    </a:lnTo>
                    <a:lnTo>
                      <a:pt x="96" y="110"/>
                    </a:lnTo>
                    <a:lnTo>
                      <a:pt x="94" y="110"/>
                    </a:lnTo>
                    <a:lnTo>
                      <a:pt x="86" y="100"/>
                    </a:lnTo>
                    <a:lnTo>
                      <a:pt x="76" y="86"/>
                    </a:lnTo>
                    <a:lnTo>
                      <a:pt x="66" y="80"/>
                    </a:lnTo>
                    <a:lnTo>
                      <a:pt x="56" y="72"/>
                    </a:lnTo>
                    <a:lnTo>
                      <a:pt x="46" y="68"/>
                    </a:lnTo>
                    <a:lnTo>
                      <a:pt x="46" y="74"/>
                    </a:lnTo>
                    <a:lnTo>
                      <a:pt x="46" y="74"/>
                    </a:lnTo>
                    <a:lnTo>
                      <a:pt x="46" y="76"/>
                    </a:lnTo>
                    <a:lnTo>
                      <a:pt x="42" y="80"/>
                    </a:lnTo>
                    <a:lnTo>
                      <a:pt x="42" y="80"/>
                    </a:lnTo>
                    <a:lnTo>
                      <a:pt x="40" y="82"/>
                    </a:lnTo>
                    <a:lnTo>
                      <a:pt x="30" y="84"/>
                    </a:lnTo>
                    <a:lnTo>
                      <a:pt x="30" y="88"/>
                    </a:lnTo>
                    <a:lnTo>
                      <a:pt x="38" y="90"/>
                    </a:lnTo>
                    <a:lnTo>
                      <a:pt x="38" y="90"/>
                    </a:lnTo>
                    <a:lnTo>
                      <a:pt x="38" y="92"/>
                    </a:lnTo>
                    <a:lnTo>
                      <a:pt x="38" y="92"/>
                    </a:lnTo>
                    <a:lnTo>
                      <a:pt x="38" y="94"/>
                    </a:lnTo>
                    <a:lnTo>
                      <a:pt x="32" y="100"/>
                    </a:lnTo>
                    <a:lnTo>
                      <a:pt x="32" y="100"/>
                    </a:lnTo>
                    <a:lnTo>
                      <a:pt x="30" y="100"/>
                    </a:lnTo>
                    <a:lnTo>
                      <a:pt x="30" y="100"/>
                    </a:lnTo>
                    <a:lnTo>
                      <a:pt x="30" y="100"/>
                    </a:lnTo>
                    <a:lnTo>
                      <a:pt x="18" y="96"/>
                    </a:lnTo>
                    <a:lnTo>
                      <a:pt x="10" y="96"/>
                    </a:lnTo>
                    <a:lnTo>
                      <a:pt x="2" y="96"/>
                    </a:lnTo>
                    <a:lnTo>
                      <a:pt x="2" y="96"/>
                    </a:lnTo>
                    <a:lnTo>
                      <a:pt x="0" y="94"/>
                    </a:lnTo>
                    <a:lnTo>
                      <a:pt x="0" y="2"/>
                    </a:lnTo>
                    <a:lnTo>
                      <a:pt x="0" y="2"/>
                    </a:lnTo>
                    <a:lnTo>
                      <a:pt x="0" y="0"/>
                    </a:lnTo>
                    <a:lnTo>
                      <a:pt x="0" y="0"/>
                    </a:lnTo>
                    <a:lnTo>
                      <a:pt x="2" y="0"/>
                    </a:lnTo>
                    <a:lnTo>
                      <a:pt x="2" y="0"/>
                    </a:lnTo>
                    <a:lnTo>
                      <a:pt x="2" y="0"/>
                    </a:lnTo>
                    <a:lnTo>
                      <a:pt x="16" y="4"/>
                    </a:lnTo>
                    <a:lnTo>
                      <a:pt x="32" y="10"/>
                    </a:lnTo>
                    <a:lnTo>
                      <a:pt x="48" y="16"/>
                    </a:lnTo>
                    <a:lnTo>
                      <a:pt x="62" y="26"/>
                    </a:lnTo>
                    <a:lnTo>
                      <a:pt x="70" y="36"/>
                    </a:lnTo>
                    <a:lnTo>
                      <a:pt x="80" y="40"/>
                    </a:lnTo>
                    <a:lnTo>
                      <a:pt x="94" y="48"/>
                    </a:lnTo>
                    <a:lnTo>
                      <a:pt x="102" y="52"/>
                    </a:lnTo>
                    <a:lnTo>
                      <a:pt x="102" y="52"/>
                    </a:lnTo>
                    <a:lnTo>
                      <a:pt x="102" y="54"/>
                    </a:lnTo>
                    <a:lnTo>
                      <a:pt x="102" y="58"/>
                    </a:lnTo>
                    <a:lnTo>
                      <a:pt x="104" y="58"/>
                    </a:lnTo>
                    <a:lnTo>
                      <a:pt x="104" y="58"/>
                    </a:lnTo>
                    <a:lnTo>
                      <a:pt x="104" y="62"/>
                    </a:lnTo>
                    <a:lnTo>
                      <a:pt x="102" y="64"/>
                    </a:lnTo>
                    <a:lnTo>
                      <a:pt x="102" y="64"/>
                    </a:lnTo>
                    <a:lnTo>
                      <a:pt x="100" y="64"/>
                    </a:lnTo>
                    <a:lnTo>
                      <a:pt x="92" y="64"/>
                    </a:lnTo>
                    <a:lnTo>
                      <a:pt x="94" y="66"/>
                    </a:lnTo>
                    <a:lnTo>
                      <a:pt x="104" y="78"/>
                    </a:lnTo>
                    <a:lnTo>
                      <a:pt x="116" y="94"/>
                    </a:lnTo>
                    <a:lnTo>
                      <a:pt x="122" y="96"/>
                    </a:lnTo>
                    <a:lnTo>
                      <a:pt x="128" y="104"/>
                    </a:lnTo>
                    <a:lnTo>
                      <a:pt x="142" y="112"/>
                    </a:lnTo>
                    <a:lnTo>
                      <a:pt x="142" y="112"/>
                    </a:lnTo>
                    <a:lnTo>
                      <a:pt x="144" y="114"/>
                    </a:lnTo>
                    <a:lnTo>
                      <a:pt x="142" y="120"/>
                    </a:lnTo>
                    <a:lnTo>
                      <a:pt x="142" y="120"/>
                    </a:lnTo>
                    <a:lnTo>
                      <a:pt x="140" y="122"/>
                    </a:lnTo>
                    <a:lnTo>
                      <a:pt x="140" y="122"/>
                    </a:lnTo>
                    <a:lnTo>
                      <a:pt x="140" y="122"/>
                    </a:lnTo>
                    <a:lnTo>
                      <a:pt x="140"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6" name="Freeform 989"/>
              <p:cNvSpPr>
                <a:spLocks noEditPoints="1"/>
              </p:cNvSpPr>
              <p:nvPr/>
            </p:nvSpPr>
            <p:spPr bwMode="auto">
              <a:xfrm>
                <a:off x="4853" y="2557"/>
                <a:ext cx="148" cy="126"/>
              </a:xfrm>
              <a:custGeom>
                <a:avLst/>
                <a:gdLst>
                  <a:gd name="T0" fmla="*/ 16 w 148"/>
                  <a:gd name="T1" fmla="*/ 8 h 126"/>
                  <a:gd name="T2" fmla="*/ 50 w 148"/>
                  <a:gd name="T3" fmla="*/ 20 h 126"/>
                  <a:gd name="T4" fmla="*/ 72 w 148"/>
                  <a:gd name="T5" fmla="*/ 38 h 126"/>
                  <a:gd name="T6" fmla="*/ 94 w 148"/>
                  <a:gd name="T7" fmla="*/ 52 h 126"/>
                  <a:gd name="T8" fmla="*/ 102 w 148"/>
                  <a:gd name="T9" fmla="*/ 60 h 126"/>
                  <a:gd name="T10" fmla="*/ 102 w 148"/>
                  <a:gd name="T11" fmla="*/ 64 h 126"/>
                  <a:gd name="T12" fmla="*/ 94 w 148"/>
                  <a:gd name="T13" fmla="*/ 70 h 126"/>
                  <a:gd name="T14" fmla="*/ 116 w 148"/>
                  <a:gd name="T15" fmla="*/ 96 h 126"/>
                  <a:gd name="T16" fmla="*/ 130 w 148"/>
                  <a:gd name="T17" fmla="*/ 108 h 126"/>
                  <a:gd name="T18" fmla="*/ 142 w 148"/>
                  <a:gd name="T19" fmla="*/ 122 h 126"/>
                  <a:gd name="T20" fmla="*/ 116 w 148"/>
                  <a:gd name="T21" fmla="*/ 112 h 126"/>
                  <a:gd name="T22" fmla="*/ 90 w 148"/>
                  <a:gd name="T23" fmla="*/ 100 h 126"/>
                  <a:gd name="T24" fmla="*/ 70 w 148"/>
                  <a:gd name="T25" fmla="*/ 80 h 126"/>
                  <a:gd name="T26" fmla="*/ 46 w 148"/>
                  <a:gd name="T27" fmla="*/ 68 h 126"/>
                  <a:gd name="T28" fmla="*/ 42 w 148"/>
                  <a:gd name="T29" fmla="*/ 82 h 126"/>
                  <a:gd name="T30" fmla="*/ 32 w 148"/>
                  <a:gd name="T31" fmla="*/ 90 h 126"/>
                  <a:gd name="T32" fmla="*/ 32 w 148"/>
                  <a:gd name="T33" fmla="*/ 100 h 126"/>
                  <a:gd name="T34" fmla="*/ 12 w 148"/>
                  <a:gd name="T35" fmla="*/ 96 h 126"/>
                  <a:gd name="T36" fmla="*/ 4 w 148"/>
                  <a:gd name="T37" fmla="*/ 4 h 126"/>
                  <a:gd name="T38" fmla="*/ 4 w 148"/>
                  <a:gd name="T39" fmla="*/ 0 h 126"/>
                  <a:gd name="T40" fmla="*/ 2 w 148"/>
                  <a:gd name="T41" fmla="*/ 0 h 126"/>
                  <a:gd name="T42" fmla="*/ 0 w 148"/>
                  <a:gd name="T43" fmla="*/ 96 h 126"/>
                  <a:gd name="T44" fmla="*/ 2 w 148"/>
                  <a:gd name="T45" fmla="*/ 100 h 126"/>
                  <a:gd name="T46" fmla="*/ 12 w 148"/>
                  <a:gd name="T47" fmla="*/ 100 h 126"/>
                  <a:gd name="T48" fmla="*/ 32 w 148"/>
                  <a:gd name="T49" fmla="*/ 104 h 126"/>
                  <a:gd name="T50" fmla="*/ 32 w 148"/>
                  <a:gd name="T51" fmla="*/ 104 h 126"/>
                  <a:gd name="T52" fmla="*/ 36 w 148"/>
                  <a:gd name="T53" fmla="*/ 102 h 126"/>
                  <a:gd name="T54" fmla="*/ 42 w 148"/>
                  <a:gd name="T55" fmla="*/ 98 h 126"/>
                  <a:gd name="T56" fmla="*/ 42 w 148"/>
                  <a:gd name="T57" fmla="*/ 94 h 126"/>
                  <a:gd name="T58" fmla="*/ 34 w 148"/>
                  <a:gd name="T59" fmla="*/ 88 h 126"/>
                  <a:gd name="T60" fmla="*/ 42 w 148"/>
                  <a:gd name="T61" fmla="*/ 86 h 126"/>
                  <a:gd name="T62" fmla="*/ 46 w 148"/>
                  <a:gd name="T63" fmla="*/ 84 h 126"/>
                  <a:gd name="T64" fmla="*/ 48 w 148"/>
                  <a:gd name="T65" fmla="*/ 78 h 126"/>
                  <a:gd name="T66" fmla="*/ 50 w 148"/>
                  <a:gd name="T67" fmla="*/ 74 h 126"/>
                  <a:gd name="T68" fmla="*/ 68 w 148"/>
                  <a:gd name="T69" fmla="*/ 84 h 126"/>
                  <a:gd name="T70" fmla="*/ 86 w 148"/>
                  <a:gd name="T71" fmla="*/ 102 h 126"/>
                  <a:gd name="T72" fmla="*/ 96 w 148"/>
                  <a:gd name="T73" fmla="*/ 114 h 126"/>
                  <a:gd name="T74" fmla="*/ 116 w 148"/>
                  <a:gd name="T75" fmla="*/ 116 h 126"/>
                  <a:gd name="T76" fmla="*/ 140 w 148"/>
                  <a:gd name="T77" fmla="*/ 126 h 126"/>
                  <a:gd name="T78" fmla="*/ 142 w 148"/>
                  <a:gd name="T79" fmla="*/ 126 h 126"/>
                  <a:gd name="T80" fmla="*/ 144 w 148"/>
                  <a:gd name="T81" fmla="*/ 126 h 126"/>
                  <a:gd name="T82" fmla="*/ 146 w 148"/>
                  <a:gd name="T83" fmla="*/ 122 h 126"/>
                  <a:gd name="T84" fmla="*/ 148 w 148"/>
                  <a:gd name="T85" fmla="*/ 118 h 126"/>
                  <a:gd name="T86" fmla="*/ 146 w 148"/>
                  <a:gd name="T87" fmla="*/ 112 h 126"/>
                  <a:gd name="T88" fmla="*/ 124 w 148"/>
                  <a:gd name="T89" fmla="*/ 98 h 126"/>
                  <a:gd name="T90" fmla="*/ 124 w 148"/>
                  <a:gd name="T91" fmla="*/ 96 h 126"/>
                  <a:gd name="T92" fmla="*/ 106 w 148"/>
                  <a:gd name="T93" fmla="*/ 80 h 126"/>
                  <a:gd name="T94" fmla="*/ 102 w 148"/>
                  <a:gd name="T95" fmla="*/ 68 h 126"/>
                  <a:gd name="T96" fmla="*/ 104 w 148"/>
                  <a:gd name="T97" fmla="*/ 66 h 126"/>
                  <a:gd name="T98" fmla="*/ 106 w 148"/>
                  <a:gd name="T99" fmla="*/ 64 h 126"/>
                  <a:gd name="T100" fmla="*/ 108 w 148"/>
                  <a:gd name="T101" fmla="*/ 62 h 126"/>
                  <a:gd name="T102" fmla="*/ 106 w 148"/>
                  <a:gd name="T103" fmla="*/ 58 h 126"/>
                  <a:gd name="T104" fmla="*/ 106 w 148"/>
                  <a:gd name="T105" fmla="*/ 56 h 126"/>
                  <a:gd name="T106" fmla="*/ 98 w 148"/>
                  <a:gd name="T107" fmla="*/ 48 h 126"/>
                  <a:gd name="T108" fmla="*/ 96 w 148"/>
                  <a:gd name="T109" fmla="*/ 48 h 126"/>
                  <a:gd name="T110" fmla="*/ 74 w 148"/>
                  <a:gd name="T111" fmla="*/ 36 h 126"/>
                  <a:gd name="T112" fmla="*/ 66 w 148"/>
                  <a:gd name="T113" fmla="*/ 26 h 126"/>
                  <a:gd name="T114" fmla="*/ 52 w 148"/>
                  <a:gd name="T115" fmla="*/ 16 h 126"/>
                  <a:gd name="T116" fmla="*/ 50 w 148"/>
                  <a:gd name="T117" fmla="*/ 16 h 126"/>
                  <a:gd name="T118" fmla="*/ 18 w 148"/>
                  <a:gd name="T119" fmla="*/ 4 h 126"/>
                  <a:gd name="T120" fmla="*/ 4 w 148"/>
                  <a:gd name="T121" fmla="*/ 0 h 126"/>
                  <a:gd name="T122" fmla="*/ 4 w 148"/>
                  <a:gd name="T12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26">
                    <a:moveTo>
                      <a:pt x="4" y="4"/>
                    </a:moveTo>
                    <a:lnTo>
                      <a:pt x="16" y="8"/>
                    </a:lnTo>
                    <a:lnTo>
                      <a:pt x="32" y="12"/>
                    </a:lnTo>
                    <a:lnTo>
                      <a:pt x="50" y="20"/>
                    </a:lnTo>
                    <a:lnTo>
                      <a:pt x="64" y="30"/>
                    </a:lnTo>
                    <a:lnTo>
                      <a:pt x="72" y="38"/>
                    </a:lnTo>
                    <a:lnTo>
                      <a:pt x="80" y="44"/>
                    </a:lnTo>
                    <a:lnTo>
                      <a:pt x="94" y="52"/>
                    </a:lnTo>
                    <a:lnTo>
                      <a:pt x="102" y="56"/>
                    </a:lnTo>
                    <a:lnTo>
                      <a:pt x="102" y="60"/>
                    </a:lnTo>
                    <a:lnTo>
                      <a:pt x="104" y="62"/>
                    </a:lnTo>
                    <a:lnTo>
                      <a:pt x="102" y="64"/>
                    </a:lnTo>
                    <a:lnTo>
                      <a:pt x="90" y="64"/>
                    </a:lnTo>
                    <a:lnTo>
                      <a:pt x="94" y="70"/>
                    </a:lnTo>
                    <a:lnTo>
                      <a:pt x="104" y="82"/>
                    </a:lnTo>
                    <a:lnTo>
                      <a:pt x="116" y="96"/>
                    </a:lnTo>
                    <a:lnTo>
                      <a:pt x="122" y="100"/>
                    </a:lnTo>
                    <a:lnTo>
                      <a:pt x="130" y="108"/>
                    </a:lnTo>
                    <a:lnTo>
                      <a:pt x="144" y="116"/>
                    </a:lnTo>
                    <a:lnTo>
                      <a:pt x="142" y="122"/>
                    </a:lnTo>
                    <a:lnTo>
                      <a:pt x="128" y="114"/>
                    </a:lnTo>
                    <a:lnTo>
                      <a:pt x="116" y="112"/>
                    </a:lnTo>
                    <a:lnTo>
                      <a:pt x="98" y="110"/>
                    </a:lnTo>
                    <a:lnTo>
                      <a:pt x="90" y="100"/>
                    </a:lnTo>
                    <a:lnTo>
                      <a:pt x="80" y="88"/>
                    </a:lnTo>
                    <a:lnTo>
                      <a:pt x="70" y="80"/>
                    </a:lnTo>
                    <a:lnTo>
                      <a:pt x="58" y="72"/>
                    </a:lnTo>
                    <a:lnTo>
                      <a:pt x="46" y="68"/>
                    </a:lnTo>
                    <a:lnTo>
                      <a:pt x="46" y="76"/>
                    </a:lnTo>
                    <a:lnTo>
                      <a:pt x="42" y="82"/>
                    </a:lnTo>
                    <a:lnTo>
                      <a:pt x="30" y="84"/>
                    </a:lnTo>
                    <a:lnTo>
                      <a:pt x="32" y="90"/>
                    </a:lnTo>
                    <a:lnTo>
                      <a:pt x="38" y="94"/>
                    </a:lnTo>
                    <a:lnTo>
                      <a:pt x="32" y="100"/>
                    </a:lnTo>
                    <a:lnTo>
                      <a:pt x="20" y="96"/>
                    </a:lnTo>
                    <a:lnTo>
                      <a:pt x="12" y="96"/>
                    </a:lnTo>
                    <a:lnTo>
                      <a:pt x="4" y="96"/>
                    </a:lnTo>
                    <a:lnTo>
                      <a:pt x="4" y="4"/>
                    </a:lnTo>
                    <a:close/>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7" name="Freeform 990"/>
              <p:cNvSpPr>
                <a:spLocks/>
              </p:cNvSpPr>
              <p:nvPr/>
            </p:nvSpPr>
            <p:spPr bwMode="auto">
              <a:xfrm>
                <a:off x="4857" y="2561"/>
                <a:ext cx="140" cy="118"/>
              </a:xfrm>
              <a:custGeom>
                <a:avLst/>
                <a:gdLst>
                  <a:gd name="T0" fmla="*/ 0 w 140"/>
                  <a:gd name="T1" fmla="*/ 0 h 118"/>
                  <a:gd name="T2" fmla="*/ 12 w 140"/>
                  <a:gd name="T3" fmla="*/ 4 h 118"/>
                  <a:gd name="T4" fmla="*/ 28 w 140"/>
                  <a:gd name="T5" fmla="*/ 8 h 118"/>
                  <a:gd name="T6" fmla="*/ 46 w 140"/>
                  <a:gd name="T7" fmla="*/ 16 h 118"/>
                  <a:gd name="T8" fmla="*/ 60 w 140"/>
                  <a:gd name="T9" fmla="*/ 26 h 118"/>
                  <a:gd name="T10" fmla="*/ 68 w 140"/>
                  <a:gd name="T11" fmla="*/ 34 h 118"/>
                  <a:gd name="T12" fmla="*/ 76 w 140"/>
                  <a:gd name="T13" fmla="*/ 40 h 118"/>
                  <a:gd name="T14" fmla="*/ 90 w 140"/>
                  <a:gd name="T15" fmla="*/ 48 h 118"/>
                  <a:gd name="T16" fmla="*/ 98 w 140"/>
                  <a:gd name="T17" fmla="*/ 52 h 118"/>
                  <a:gd name="T18" fmla="*/ 98 w 140"/>
                  <a:gd name="T19" fmla="*/ 56 h 118"/>
                  <a:gd name="T20" fmla="*/ 100 w 140"/>
                  <a:gd name="T21" fmla="*/ 58 h 118"/>
                  <a:gd name="T22" fmla="*/ 98 w 140"/>
                  <a:gd name="T23" fmla="*/ 60 h 118"/>
                  <a:gd name="T24" fmla="*/ 86 w 140"/>
                  <a:gd name="T25" fmla="*/ 60 h 118"/>
                  <a:gd name="T26" fmla="*/ 90 w 140"/>
                  <a:gd name="T27" fmla="*/ 66 h 118"/>
                  <a:gd name="T28" fmla="*/ 100 w 140"/>
                  <a:gd name="T29" fmla="*/ 78 h 118"/>
                  <a:gd name="T30" fmla="*/ 112 w 140"/>
                  <a:gd name="T31" fmla="*/ 92 h 118"/>
                  <a:gd name="T32" fmla="*/ 118 w 140"/>
                  <a:gd name="T33" fmla="*/ 96 h 118"/>
                  <a:gd name="T34" fmla="*/ 126 w 140"/>
                  <a:gd name="T35" fmla="*/ 104 h 118"/>
                  <a:gd name="T36" fmla="*/ 140 w 140"/>
                  <a:gd name="T37" fmla="*/ 112 h 118"/>
                  <a:gd name="T38" fmla="*/ 138 w 140"/>
                  <a:gd name="T39" fmla="*/ 118 h 118"/>
                  <a:gd name="T40" fmla="*/ 124 w 140"/>
                  <a:gd name="T41" fmla="*/ 110 h 118"/>
                  <a:gd name="T42" fmla="*/ 112 w 140"/>
                  <a:gd name="T43" fmla="*/ 108 h 118"/>
                  <a:gd name="T44" fmla="*/ 94 w 140"/>
                  <a:gd name="T45" fmla="*/ 106 h 118"/>
                  <a:gd name="T46" fmla="*/ 86 w 140"/>
                  <a:gd name="T47" fmla="*/ 96 h 118"/>
                  <a:gd name="T48" fmla="*/ 76 w 140"/>
                  <a:gd name="T49" fmla="*/ 84 h 118"/>
                  <a:gd name="T50" fmla="*/ 66 w 140"/>
                  <a:gd name="T51" fmla="*/ 76 h 118"/>
                  <a:gd name="T52" fmla="*/ 54 w 140"/>
                  <a:gd name="T53" fmla="*/ 68 h 118"/>
                  <a:gd name="T54" fmla="*/ 42 w 140"/>
                  <a:gd name="T55" fmla="*/ 64 h 118"/>
                  <a:gd name="T56" fmla="*/ 42 w 140"/>
                  <a:gd name="T57" fmla="*/ 72 h 118"/>
                  <a:gd name="T58" fmla="*/ 38 w 140"/>
                  <a:gd name="T59" fmla="*/ 78 h 118"/>
                  <a:gd name="T60" fmla="*/ 26 w 140"/>
                  <a:gd name="T61" fmla="*/ 80 h 118"/>
                  <a:gd name="T62" fmla="*/ 28 w 140"/>
                  <a:gd name="T63" fmla="*/ 86 h 118"/>
                  <a:gd name="T64" fmla="*/ 34 w 140"/>
                  <a:gd name="T65" fmla="*/ 90 h 118"/>
                  <a:gd name="T66" fmla="*/ 28 w 140"/>
                  <a:gd name="T67" fmla="*/ 96 h 118"/>
                  <a:gd name="T68" fmla="*/ 16 w 140"/>
                  <a:gd name="T69" fmla="*/ 92 h 118"/>
                  <a:gd name="T70" fmla="*/ 8 w 140"/>
                  <a:gd name="T71" fmla="*/ 92 h 118"/>
                  <a:gd name="T72" fmla="*/ 0 w 140"/>
                  <a:gd name="T73" fmla="*/ 92 h 118"/>
                  <a:gd name="T74" fmla="*/ 0 w 140"/>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8">
                    <a:moveTo>
                      <a:pt x="0" y="0"/>
                    </a:moveTo>
                    <a:lnTo>
                      <a:pt x="12" y="4"/>
                    </a:lnTo>
                    <a:lnTo>
                      <a:pt x="28" y="8"/>
                    </a:lnTo>
                    <a:lnTo>
                      <a:pt x="46" y="16"/>
                    </a:lnTo>
                    <a:lnTo>
                      <a:pt x="60" y="26"/>
                    </a:lnTo>
                    <a:lnTo>
                      <a:pt x="68" y="34"/>
                    </a:lnTo>
                    <a:lnTo>
                      <a:pt x="76" y="40"/>
                    </a:lnTo>
                    <a:lnTo>
                      <a:pt x="90" y="48"/>
                    </a:lnTo>
                    <a:lnTo>
                      <a:pt x="98" y="52"/>
                    </a:lnTo>
                    <a:lnTo>
                      <a:pt x="98" y="56"/>
                    </a:lnTo>
                    <a:lnTo>
                      <a:pt x="100" y="58"/>
                    </a:lnTo>
                    <a:lnTo>
                      <a:pt x="98" y="60"/>
                    </a:lnTo>
                    <a:lnTo>
                      <a:pt x="86" y="60"/>
                    </a:lnTo>
                    <a:lnTo>
                      <a:pt x="90" y="66"/>
                    </a:lnTo>
                    <a:lnTo>
                      <a:pt x="100" y="78"/>
                    </a:lnTo>
                    <a:lnTo>
                      <a:pt x="112" y="92"/>
                    </a:lnTo>
                    <a:lnTo>
                      <a:pt x="118" y="96"/>
                    </a:lnTo>
                    <a:lnTo>
                      <a:pt x="126" y="104"/>
                    </a:lnTo>
                    <a:lnTo>
                      <a:pt x="140" y="112"/>
                    </a:lnTo>
                    <a:lnTo>
                      <a:pt x="138" y="118"/>
                    </a:lnTo>
                    <a:lnTo>
                      <a:pt x="124" y="110"/>
                    </a:lnTo>
                    <a:lnTo>
                      <a:pt x="112" y="108"/>
                    </a:lnTo>
                    <a:lnTo>
                      <a:pt x="94" y="106"/>
                    </a:lnTo>
                    <a:lnTo>
                      <a:pt x="86" y="96"/>
                    </a:lnTo>
                    <a:lnTo>
                      <a:pt x="76" y="84"/>
                    </a:lnTo>
                    <a:lnTo>
                      <a:pt x="66" y="76"/>
                    </a:lnTo>
                    <a:lnTo>
                      <a:pt x="54" y="68"/>
                    </a:lnTo>
                    <a:lnTo>
                      <a:pt x="42" y="64"/>
                    </a:lnTo>
                    <a:lnTo>
                      <a:pt x="42" y="72"/>
                    </a:lnTo>
                    <a:lnTo>
                      <a:pt x="38" y="78"/>
                    </a:lnTo>
                    <a:lnTo>
                      <a:pt x="26" y="80"/>
                    </a:lnTo>
                    <a:lnTo>
                      <a:pt x="28" y="86"/>
                    </a:lnTo>
                    <a:lnTo>
                      <a:pt x="34" y="90"/>
                    </a:lnTo>
                    <a:lnTo>
                      <a:pt x="28" y="96"/>
                    </a:lnTo>
                    <a:lnTo>
                      <a:pt x="16" y="92"/>
                    </a:lnTo>
                    <a:lnTo>
                      <a:pt x="8" y="92"/>
                    </a:lnTo>
                    <a:lnTo>
                      <a:pt x="0" y="9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8" name="Freeform 991"/>
              <p:cNvSpPr>
                <a:spLocks/>
              </p:cNvSpPr>
              <p:nvPr/>
            </p:nvSpPr>
            <p:spPr bwMode="auto">
              <a:xfrm>
                <a:off x="4853" y="2557"/>
                <a:ext cx="148" cy="126"/>
              </a:xfrm>
              <a:custGeom>
                <a:avLst/>
                <a:gdLst>
                  <a:gd name="T0" fmla="*/ 4 w 148"/>
                  <a:gd name="T1" fmla="*/ 0 h 126"/>
                  <a:gd name="T2" fmla="*/ 2 w 148"/>
                  <a:gd name="T3" fmla="*/ 0 h 126"/>
                  <a:gd name="T4" fmla="*/ 0 w 148"/>
                  <a:gd name="T5" fmla="*/ 96 h 126"/>
                  <a:gd name="T6" fmla="*/ 2 w 148"/>
                  <a:gd name="T7" fmla="*/ 100 h 126"/>
                  <a:gd name="T8" fmla="*/ 12 w 148"/>
                  <a:gd name="T9" fmla="*/ 100 h 126"/>
                  <a:gd name="T10" fmla="*/ 32 w 148"/>
                  <a:gd name="T11" fmla="*/ 104 h 126"/>
                  <a:gd name="T12" fmla="*/ 32 w 148"/>
                  <a:gd name="T13" fmla="*/ 104 h 126"/>
                  <a:gd name="T14" fmla="*/ 36 w 148"/>
                  <a:gd name="T15" fmla="*/ 102 h 126"/>
                  <a:gd name="T16" fmla="*/ 42 w 148"/>
                  <a:gd name="T17" fmla="*/ 98 h 126"/>
                  <a:gd name="T18" fmla="*/ 42 w 148"/>
                  <a:gd name="T19" fmla="*/ 94 h 126"/>
                  <a:gd name="T20" fmla="*/ 34 w 148"/>
                  <a:gd name="T21" fmla="*/ 88 h 126"/>
                  <a:gd name="T22" fmla="*/ 42 w 148"/>
                  <a:gd name="T23" fmla="*/ 86 h 126"/>
                  <a:gd name="T24" fmla="*/ 46 w 148"/>
                  <a:gd name="T25" fmla="*/ 84 h 126"/>
                  <a:gd name="T26" fmla="*/ 48 w 148"/>
                  <a:gd name="T27" fmla="*/ 78 h 126"/>
                  <a:gd name="T28" fmla="*/ 50 w 148"/>
                  <a:gd name="T29" fmla="*/ 74 h 126"/>
                  <a:gd name="T30" fmla="*/ 68 w 148"/>
                  <a:gd name="T31" fmla="*/ 84 h 126"/>
                  <a:gd name="T32" fmla="*/ 86 w 148"/>
                  <a:gd name="T33" fmla="*/ 102 h 126"/>
                  <a:gd name="T34" fmla="*/ 96 w 148"/>
                  <a:gd name="T35" fmla="*/ 114 h 126"/>
                  <a:gd name="T36" fmla="*/ 116 w 148"/>
                  <a:gd name="T37" fmla="*/ 116 h 126"/>
                  <a:gd name="T38" fmla="*/ 140 w 148"/>
                  <a:gd name="T39" fmla="*/ 126 h 126"/>
                  <a:gd name="T40" fmla="*/ 142 w 148"/>
                  <a:gd name="T41" fmla="*/ 126 h 126"/>
                  <a:gd name="T42" fmla="*/ 144 w 148"/>
                  <a:gd name="T43" fmla="*/ 126 h 126"/>
                  <a:gd name="T44" fmla="*/ 146 w 148"/>
                  <a:gd name="T45" fmla="*/ 122 h 126"/>
                  <a:gd name="T46" fmla="*/ 148 w 148"/>
                  <a:gd name="T47" fmla="*/ 118 h 126"/>
                  <a:gd name="T48" fmla="*/ 146 w 148"/>
                  <a:gd name="T49" fmla="*/ 112 h 126"/>
                  <a:gd name="T50" fmla="*/ 124 w 148"/>
                  <a:gd name="T51" fmla="*/ 98 h 126"/>
                  <a:gd name="T52" fmla="*/ 124 w 148"/>
                  <a:gd name="T53" fmla="*/ 96 h 126"/>
                  <a:gd name="T54" fmla="*/ 106 w 148"/>
                  <a:gd name="T55" fmla="*/ 80 h 126"/>
                  <a:gd name="T56" fmla="*/ 102 w 148"/>
                  <a:gd name="T57" fmla="*/ 68 h 126"/>
                  <a:gd name="T58" fmla="*/ 104 w 148"/>
                  <a:gd name="T59" fmla="*/ 66 h 126"/>
                  <a:gd name="T60" fmla="*/ 106 w 148"/>
                  <a:gd name="T61" fmla="*/ 64 h 126"/>
                  <a:gd name="T62" fmla="*/ 108 w 148"/>
                  <a:gd name="T63" fmla="*/ 62 h 126"/>
                  <a:gd name="T64" fmla="*/ 106 w 148"/>
                  <a:gd name="T65" fmla="*/ 58 h 126"/>
                  <a:gd name="T66" fmla="*/ 106 w 148"/>
                  <a:gd name="T67" fmla="*/ 56 h 126"/>
                  <a:gd name="T68" fmla="*/ 98 w 148"/>
                  <a:gd name="T69" fmla="*/ 48 h 126"/>
                  <a:gd name="T70" fmla="*/ 96 w 148"/>
                  <a:gd name="T71" fmla="*/ 48 h 126"/>
                  <a:gd name="T72" fmla="*/ 74 w 148"/>
                  <a:gd name="T73" fmla="*/ 36 h 126"/>
                  <a:gd name="T74" fmla="*/ 66 w 148"/>
                  <a:gd name="T75" fmla="*/ 26 h 126"/>
                  <a:gd name="T76" fmla="*/ 52 w 148"/>
                  <a:gd name="T77" fmla="*/ 16 h 126"/>
                  <a:gd name="T78" fmla="*/ 50 w 148"/>
                  <a:gd name="T79" fmla="*/ 16 h 126"/>
                  <a:gd name="T80" fmla="*/ 18 w 148"/>
                  <a:gd name="T81" fmla="*/ 4 h 126"/>
                  <a:gd name="T82" fmla="*/ 4 w 148"/>
                  <a:gd name="T83" fmla="*/ 0 h 126"/>
                  <a:gd name="T84" fmla="*/ 4 w 148"/>
                  <a:gd name="T8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26">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9" name="Freeform 992"/>
              <p:cNvSpPr>
                <a:spLocks/>
              </p:cNvSpPr>
              <p:nvPr/>
            </p:nvSpPr>
            <p:spPr bwMode="auto">
              <a:xfrm>
                <a:off x="4967" y="2581"/>
                <a:ext cx="54" cy="38"/>
              </a:xfrm>
              <a:custGeom>
                <a:avLst/>
                <a:gdLst>
                  <a:gd name="T0" fmla="*/ 20 w 54"/>
                  <a:gd name="T1" fmla="*/ 38 h 38"/>
                  <a:gd name="T2" fmla="*/ 20 w 54"/>
                  <a:gd name="T3" fmla="*/ 38 h 38"/>
                  <a:gd name="T4" fmla="*/ 18 w 54"/>
                  <a:gd name="T5" fmla="*/ 38 h 38"/>
                  <a:gd name="T6" fmla="*/ 6 w 54"/>
                  <a:gd name="T7" fmla="*/ 34 h 38"/>
                  <a:gd name="T8" fmla="*/ 0 w 54"/>
                  <a:gd name="T9" fmla="*/ 30 h 38"/>
                  <a:gd name="T10" fmla="*/ 0 w 54"/>
                  <a:gd name="T11" fmla="*/ 30 h 38"/>
                  <a:gd name="T12" fmla="*/ 0 w 54"/>
                  <a:gd name="T13" fmla="*/ 28 h 38"/>
                  <a:gd name="T14" fmla="*/ 0 w 54"/>
                  <a:gd name="T15" fmla="*/ 22 h 38"/>
                  <a:gd name="T16" fmla="*/ 0 w 54"/>
                  <a:gd name="T17" fmla="*/ 22 h 38"/>
                  <a:gd name="T18" fmla="*/ 2 w 54"/>
                  <a:gd name="T19" fmla="*/ 20 h 38"/>
                  <a:gd name="T20" fmla="*/ 30 w 54"/>
                  <a:gd name="T21" fmla="*/ 20 h 38"/>
                  <a:gd name="T22" fmla="*/ 48 w 54"/>
                  <a:gd name="T23" fmla="*/ 2 h 38"/>
                  <a:gd name="T24" fmla="*/ 48 w 54"/>
                  <a:gd name="T25" fmla="*/ 2 h 38"/>
                  <a:gd name="T26" fmla="*/ 50 w 54"/>
                  <a:gd name="T27" fmla="*/ 0 h 38"/>
                  <a:gd name="T28" fmla="*/ 50 w 54"/>
                  <a:gd name="T29" fmla="*/ 0 h 38"/>
                  <a:gd name="T30" fmla="*/ 50 w 54"/>
                  <a:gd name="T31" fmla="*/ 0 h 38"/>
                  <a:gd name="T32" fmla="*/ 50 w 54"/>
                  <a:gd name="T33" fmla="*/ 0 h 38"/>
                  <a:gd name="T34" fmla="*/ 52 w 54"/>
                  <a:gd name="T35" fmla="*/ 2 h 38"/>
                  <a:gd name="T36" fmla="*/ 54 w 54"/>
                  <a:gd name="T37" fmla="*/ 12 h 38"/>
                  <a:gd name="T38" fmla="*/ 54 w 54"/>
                  <a:gd name="T39" fmla="*/ 12 h 38"/>
                  <a:gd name="T40" fmla="*/ 54 w 54"/>
                  <a:gd name="T41" fmla="*/ 12 h 38"/>
                  <a:gd name="T42" fmla="*/ 50 w 54"/>
                  <a:gd name="T43" fmla="*/ 20 h 38"/>
                  <a:gd name="T44" fmla="*/ 50 w 54"/>
                  <a:gd name="T45" fmla="*/ 20 h 38"/>
                  <a:gd name="T46" fmla="*/ 50 w 54"/>
                  <a:gd name="T47" fmla="*/ 20 h 38"/>
                  <a:gd name="T48" fmla="*/ 42 w 54"/>
                  <a:gd name="T49" fmla="*/ 24 h 38"/>
                  <a:gd name="T50" fmla="*/ 36 w 54"/>
                  <a:gd name="T51" fmla="*/ 30 h 38"/>
                  <a:gd name="T52" fmla="*/ 30 w 54"/>
                  <a:gd name="T53" fmla="*/ 36 h 38"/>
                  <a:gd name="T54" fmla="*/ 30 w 54"/>
                  <a:gd name="T55" fmla="*/ 36 h 38"/>
                  <a:gd name="T56" fmla="*/ 30 w 54"/>
                  <a:gd name="T57" fmla="*/ 36 h 38"/>
                  <a:gd name="T58" fmla="*/ 20 w 54"/>
                  <a:gd name="T59" fmla="*/ 38 h 38"/>
                  <a:gd name="T60" fmla="*/ 20 w 54"/>
                  <a:gd name="T61" fmla="*/ 38 h 38"/>
                  <a:gd name="T62" fmla="*/ 20 w 54"/>
                  <a:gd name="T63" fmla="*/ 38 h 38"/>
                  <a:gd name="T64" fmla="*/ 20 w 54"/>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38">
                    <a:moveTo>
                      <a:pt x="20" y="38"/>
                    </a:moveTo>
                    <a:lnTo>
                      <a:pt x="20" y="38"/>
                    </a:lnTo>
                    <a:lnTo>
                      <a:pt x="18" y="38"/>
                    </a:lnTo>
                    <a:lnTo>
                      <a:pt x="6" y="34"/>
                    </a:lnTo>
                    <a:lnTo>
                      <a:pt x="0" y="30"/>
                    </a:lnTo>
                    <a:lnTo>
                      <a:pt x="0" y="30"/>
                    </a:lnTo>
                    <a:lnTo>
                      <a:pt x="0" y="28"/>
                    </a:lnTo>
                    <a:lnTo>
                      <a:pt x="0" y="22"/>
                    </a:lnTo>
                    <a:lnTo>
                      <a:pt x="0" y="22"/>
                    </a:lnTo>
                    <a:lnTo>
                      <a:pt x="2" y="20"/>
                    </a:lnTo>
                    <a:lnTo>
                      <a:pt x="30" y="20"/>
                    </a:lnTo>
                    <a:lnTo>
                      <a:pt x="48" y="2"/>
                    </a:lnTo>
                    <a:lnTo>
                      <a:pt x="48" y="2"/>
                    </a:lnTo>
                    <a:lnTo>
                      <a:pt x="50" y="0"/>
                    </a:lnTo>
                    <a:lnTo>
                      <a:pt x="50" y="0"/>
                    </a:lnTo>
                    <a:lnTo>
                      <a:pt x="50" y="0"/>
                    </a:lnTo>
                    <a:lnTo>
                      <a:pt x="50" y="0"/>
                    </a:lnTo>
                    <a:lnTo>
                      <a:pt x="52" y="2"/>
                    </a:lnTo>
                    <a:lnTo>
                      <a:pt x="54" y="12"/>
                    </a:lnTo>
                    <a:lnTo>
                      <a:pt x="54" y="12"/>
                    </a:lnTo>
                    <a:lnTo>
                      <a:pt x="54" y="12"/>
                    </a:lnTo>
                    <a:lnTo>
                      <a:pt x="50" y="20"/>
                    </a:lnTo>
                    <a:lnTo>
                      <a:pt x="50" y="20"/>
                    </a:lnTo>
                    <a:lnTo>
                      <a:pt x="50" y="20"/>
                    </a:lnTo>
                    <a:lnTo>
                      <a:pt x="42" y="24"/>
                    </a:lnTo>
                    <a:lnTo>
                      <a:pt x="36" y="30"/>
                    </a:lnTo>
                    <a:lnTo>
                      <a:pt x="30" y="36"/>
                    </a:lnTo>
                    <a:lnTo>
                      <a:pt x="30" y="36"/>
                    </a:lnTo>
                    <a:lnTo>
                      <a:pt x="30" y="36"/>
                    </a:lnTo>
                    <a:lnTo>
                      <a:pt x="20" y="38"/>
                    </a:lnTo>
                    <a:lnTo>
                      <a:pt x="20" y="38"/>
                    </a:lnTo>
                    <a:lnTo>
                      <a:pt x="20"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0" name="Freeform 993"/>
              <p:cNvSpPr>
                <a:spLocks noEditPoints="1"/>
              </p:cNvSpPr>
              <p:nvPr/>
            </p:nvSpPr>
            <p:spPr bwMode="auto">
              <a:xfrm>
                <a:off x="4965" y="2579"/>
                <a:ext cx="58" cy="42"/>
              </a:xfrm>
              <a:custGeom>
                <a:avLst/>
                <a:gdLst>
                  <a:gd name="T0" fmla="*/ 52 w 58"/>
                  <a:gd name="T1" fmla="*/ 4 h 42"/>
                  <a:gd name="T2" fmla="*/ 54 w 58"/>
                  <a:gd name="T3" fmla="*/ 14 h 42"/>
                  <a:gd name="T4" fmla="*/ 50 w 58"/>
                  <a:gd name="T5" fmla="*/ 22 h 42"/>
                  <a:gd name="T6" fmla="*/ 44 w 58"/>
                  <a:gd name="T7" fmla="*/ 24 h 42"/>
                  <a:gd name="T8" fmla="*/ 36 w 58"/>
                  <a:gd name="T9" fmla="*/ 30 h 42"/>
                  <a:gd name="T10" fmla="*/ 32 w 58"/>
                  <a:gd name="T11" fmla="*/ 36 h 42"/>
                  <a:gd name="T12" fmla="*/ 22 w 58"/>
                  <a:gd name="T13" fmla="*/ 38 h 42"/>
                  <a:gd name="T14" fmla="*/ 8 w 58"/>
                  <a:gd name="T15" fmla="*/ 34 h 42"/>
                  <a:gd name="T16" fmla="*/ 4 w 58"/>
                  <a:gd name="T17" fmla="*/ 30 h 42"/>
                  <a:gd name="T18" fmla="*/ 4 w 58"/>
                  <a:gd name="T19" fmla="*/ 24 h 42"/>
                  <a:gd name="T20" fmla="*/ 16 w 58"/>
                  <a:gd name="T21" fmla="*/ 24 h 42"/>
                  <a:gd name="T22" fmla="*/ 34 w 58"/>
                  <a:gd name="T23" fmla="*/ 24 h 42"/>
                  <a:gd name="T24" fmla="*/ 38 w 58"/>
                  <a:gd name="T25" fmla="*/ 20 h 42"/>
                  <a:gd name="T26" fmla="*/ 48 w 58"/>
                  <a:gd name="T27" fmla="*/ 10 h 42"/>
                  <a:gd name="T28" fmla="*/ 52 w 58"/>
                  <a:gd name="T29" fmla="*/ 4 h 42"/>
                  <a:gd name="T30" fmla="*/ 52 w 58"/>
                  <a:gd name="T31" fmla="*/ 0 h 42"/>
                  <a:gd name="T32" fmla="*/ 52 w 58"/>
                  <a:gd name="T33" fmla="*/ 0 h 42"/>
                  <a:gd name="T34" fmla="*/ 50 w 58"/>
                  <a:gd name="T35" fmla="*/ 2 h 42"/>
                  <a:gd name="T36" fmla="*/ 44 w 58"/>
                  <a:gd name="T37" fmla="*/ 8 h 42"/>
                  <a:gd name="T38" fmla="*/ 36 w 58"/>
                  <a:gd name="T39" fmla="*/ 16 h 42"/>
                  <a:gd name="T40" fmla="*/ 32 w 58"/>
                  <a:gd name="T41" fmla="*/ 20 h 42"/>
                  <a:gd name="T42" fmla="*/ 16 w 58"/>
                  <a:gd name="T43" fmla="*/ 20 h 42"/>
                  <a:gd name="T44" fmla="*/ 4 w 58"/>
                  <a:gd name="T45" fmla="*/ 20 h 42"/>
                  <a:gd name="T46" fmla="*/ 4 w 58"/>
                  <a:gd name="T47" fmla="*/ 20 h 42"/>
                  <a:gd name="T48" fmla="*/ 0 w 58"/>
                  <a:gd name="T49" fmla="*/ 22 h 42"/>
                  <a:gd name="T50" fmla="*/ 0 w 58"/>
                  <a:gd name="T51" fmla="*/ 24 h 42"/>
                  <a:gd name="T52" fmla="*/ 0 w 58"/>
                  <a:gd name="T53" fmla="*/ 30 h 42"/>
                  <a:gd name="T54" fmla="*/ 0 w 58"/>
                  <a:gd name="T55" fmla="*/ 30 h 42"/>
                  <a:gd name="T56" fmla="*/ 2 w 58"/>
                  <a:gd name="T57" fmla="*/ 34 h 42"/>
                  <a:gd name="T58" fmla="*/ 6 w 58"/>
                  <a:gd name="T59" fmla="*/ 38 h 42"/>
                  <a:gd name="T60" fmla="*/ 6 w 58"/>
                  <a:gd name="T61" fmla="*/ 38 h 42"/>
                  <a:gd name="T62" fmla="*/ 8 w 58"/>
                  <a:gd name="T63" fmla="*/ 38 h 42"/>
                  <a:gd name="T64" fmla="*/ 20 w 58"/>
                  <a:gd name="T65" fmla="*/ 42 h 42"/>
                  <a:gd name="T66" fmla="*/ 20 w 58"/>
                  <a:gd name="T67" fmla="*/ 42 h 42"/>
                  <a:gd name="T68" fmla="*/ 22 w 58"/>
                  <a:gd name="T69" fmla="*/ 42 h 42"/>
                  <a:gd name="T70" fmla="*/ 22 w 58"/>
                  <a:gd name="T71" fmla="*/ 42 h 42"/>
                  <a:gd name="T72" fmla="*/ 22 w 58"/>
                  <a:gd name="T73" fmla="*/ 42 h 42"/>
                  <a:gd name="T74" fmla="*/ 32 w 58"/>
                  <a:gd name="T75" fmla="*/ 40 h 42"/>
                  <a:gd name="T76" fmla="*/ 32 w 58"/>
                  <a:gd name="T77" fmla="*/ 40 h 42"/>
                  <a:gd name="T78" fmla="*/ 34 w 58"/>
                  <a:gd name="T79" fmla="*/ 38 h 42"/>
                  <a:gd name="T80" fmla="*/ 40 w 58"/>
                  <a:gd name="T81" fmla="*/ 34 h 42"/>
                  <a:gd name="T82" fmla="*/ 46 w 58"/>
                  <a:gd name="T83" fmla="*/ 28 h 42"/>
                  <a:gd name="T84" fmla="*/ 52 w 58"/>
                  <a:gd name="T85" fmla="*/ 24 h 42"/>
                  <a:gd name="T86" fmla="*/ 52 w 58"/>
                  <a:gd name="T87" fmla="*/ 24 h 42"/>
                  <a:gd name="T88" fmla="*/ 54 w 58"/>
                  <a:gd name="T89" fmla="*/ 22 h 42"/>
                  <a:gd name="T90" fmla="*/ 58 w 58"/>
                  <a:gd name="T91" fmla="*/ 16 h 42"/>
                  <a:gd name="T92" fmla="*/ 58 w 58"/>
                  <a:gd name="T93" fmla="*/ 16 h 42"/>
                  <a:gd name="T94" fmla="*/ 58 w 58"/>
                  <a:gd name="T95" fmla="*/ 12 h 42"/>
                  <a:gd name="T96" fmla="*/ 56 w 58"/>
                  <a:gd name="T97" fmla="*/ 4 h 42"/>
                  <a:gd name="T98" fmla="*/ 56 w 58"/>
                  <a:gd name="T99" fmla="*/ 4 h 42"/>
                  <a:gd name="T100" fmla="*/ 54 w 58"/>
                  <a:gd name="T101" fmla="*/ 0 h 42"/>
                  <a:gd name="T102" fmla="*/ 54 w 58"/>
                  <a:gd name="T103" fmla="*/ 0 h 42"/>
                  <a:gd name="T104" fmla="*/ 52 w 58"/>
                  <a:gd name="T105" fmla="*/ 0 h 42"/>
                  <a:gd name="T106" fmla="*/ 52 w 58"/>
                  <a:gd name="T10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42">
                    <a:moveTo>
                      <a:pt x="52" y="4"/>
                    </a:moveTo>
                    <a:lnTo>
                      <a:pt x="54" y="14"/>
                    </a:lnTo>
                    <a:lnTo>
                      <a:pt x="50" y="22"/>
                    </a:lnTo>
                    <a:lnTo>
                      <a:pt x="44" y="24"/>
                    </a:lnTo>
                    <a:lnTo>
                      <a:pt x="36" y="30"/>
                    </a:lnTo>
                    <a:lnTo>
                      <a:pt x="32" y="36"/>
                    </a:lnTo>
                    <a:lnTo>
                      <a:pt x="22" y="38"/>
                    </a:lnTo>
                    <a:lnTo>
                      <a:pt x="8" y="34"/>
                    </a:lnTo>
                    <a:lnTo>
                      <a:pt x="4" y="30"/>
                    </a:lnTo>
                    <a:lnTo>
                      <a:pt x="4" y="24"/>
                    </a:lnTo>
                    <a:lnTo>
                      <a:pt x="16" y="24"/>
                    </a:lnTo>
                    <a:lnTo>
                      <a:pt x="34" y="24"/>
                    </a:lnTo>
                    <a:lnTo>
                      <a:pt x="38" y="20"/>
                    </a:lnTo>
                    <a:lnTo>
                      <a:pt x="48" y="10"/>
                    </a:lnTo>
                    <a:lnTo>
                      <a:pt x="52" y="4"/>
                    </a:lnTo>
                    <a:close/>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1" name="Freeform 994"/>
              <p:cNvSpPr>
                <a:spLocks/>
              </p:cNvSpPr>
              <p:nvPr/>
            </p:nvSpPr>
            <p:spPr bwMode="auto">
              <a:xfrm>
                <a:off x="4969" y="2583"/>
                <a:ext cx="50" cy="34"/>
              </a:xfrm>
              <a:custGeom>
                <a:avLst/>
                <a:gdLst>
                  <a:gd name="T0" fmla="*/ 48 w 50"/>
                  <a:gd name="T1" fmla="*/ 0 h 34"/>
                  <a:gd name="T2" fmla="*/ 50 w 50"/>
                  <a:gd name="T3" fmla="*/ 10 h 34"/>
                  <a:gd name="T4" fmla="*/ 46 w 50"/>
                  <a:gd name="T5" fmla="*/ 18 h 34"/>
                  <a:gd name="T6" fmla="*/ 40 w 50"/>
                  <a:gd name="T7" fmla="*/ 20 h 34"/>
                  <a:gd name="T8" fmla="*/ 32 w 50"/>
                  <a:gd name="T9" fmla="*/ 26 h 34"/>
                  <a:gd name="T10" fmla="*/ 28 w 50"/>
                  <a:gd name="T11" fmla="*/ 32 h 34"/>
                  <a:gd name="T12" fmla="*/ 18 w 50"/>
                  <a:gd name="T13" fmla="*/ 34 h 34"/>
                  <a:gd name="T14" fmla="*/ 4 w 50"/>
                  <a:gd name="T15" fmla="*/ 30 h 34"/>
                  <a:gd name="T16" fmla="*/ 0 w 50"/>
                  <a:gd name="T17" fmla="*/ 26 h 34"/>
                  <a:gd name="T18" fmla="*/ 0 w 50"/>
                  <a:gd name="T19" fmla="*/ 20 h 34"/>
                  <a:gd name="T20" fmla="*/ 12 w 50"/>
                  <a:gd name="T21" fmla="*/ 20 h 34"/>
                  <a:gd name="T22" fmla="*/ 30 w 50"/>
                  <a:gd name="T23" fmla="*/ 20 h 34"/>
                  <a:gd name="T24" fmla="*/ 34 w 50"/>
                  <a:gd name="T25" fmla="*/ 16 h 34"/>
                  <a:gd name="T26" fmla="*/ 44 w 50"/>
                  <a:gd name="T27" fmla="*/ 6 h 34"/>
                  <a:gd name="T28" fmla="*/ 48 w 50"/>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34">
                    <a:moveTo>
                      <a:pt x="48" y="0"/>
                    </a:moveTo>
                    <a:lnTo>
                      <a:pt x="50" y="10"/>
                    </a:lnTo>
                    <a:lnTo>
                      <a:pt x="46" y="18"/>
                    </a:lnTo>
                    <a:lnTo>
                      <a:pt x="40" y="20"/>
                    </a:lnTo>
                    <a:lnTo>
                      <a:pt x="32" y="26"/>
                    </a:lnTo>
                    <a:lnTo>
                      <a:pt x="28" y="32"/>
                    </a:lnTo>
                    <a:lnTo>
                      <a:pt x="18" y="34"/>
                    </a:lnTo>
                    <a:lnTo>
                      <a:pt x="4" y="30"/>
                    </a:lnTo>
                    <a:lnTo>
                      <a:pt x="0" y="26"/>
                    </a:lnTo>
                    <a:lnTo>
                      <a:pt x="0" y="20"/>
                    </a:lnTo>
                    <a:lnTo>
                      <a:pt x="12" y="20"/>
                    </a:lnTo>
                    <a:lnTo>
                      <a:pt x="30" y="20"/>
                    </a:lnTo>
                    <a:lnTo>
                      <a:pt x="34" y="16"/>
                    </a:lnTo>
                    <a:lnTo>
                      <a:pt x="44" y="6"/>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2" name="Freeform 995"/>
              <p:cNvSpPr>
                <a:spLocks/>
              </p:cNvSpPr>
              <p:nvPr/>
            </p:nvSpPr>
            <p:spPr bwMode="auto">
              <a:xfrm>
                <a:off x="4965" y="2579"/>
                <a:ext cx="58" cy="42"/>
              </a:xfrm>
              <a:custGeom>
                <a:avLst/>
                <a:gdLst>
                  <a:gd name="T0" fmla="*/ 52 w 58"/>
                  <a:gd name="T1" fmla="*/ 0 h 42"/>
                  <a:gd name="T2" fmla="*/ 52 w 58"/>
                  <a:gd name="T3" fmla="*/ 0 h 42"/>
                  <a:gd name="T4" fmla="*/ 50 w 58"/>
                  <a:gd name="T5" fmla="*/ 2 h 42"/>
                  <a:gd name="T6" fmla="*/ 44 w 58"/>
                  <a:gd name="T7" fmla="*/ 8 h 42"/>
                  <a:gd name="T8" fmla="*/ 36 w 58"/>
                  <a:gd name="T9" fmla="*/ 16 h 42"/>
                  <a:gd name="T10" fmla="*/ 32 w 58"/>
                  <a:gd name="T11" fmla="*/ 20 h 42"/>
                  <a:gd name="T12" fmla="*/ 16 w 58"/>
                  <a:gd name="T13" fmla="*/ 20 h 42"/>
                  <a:gd name="T14" fmla="*/ 4 w 58"/>
                  <a:gd name="T15" fmla="*/ 20 h 42"/>
                  <a:gd name="T16" fmla="*/ 4 w 58"/>
                  <a:gd name="T17" fmla="*/ 20 h 42"/>
                  <a:gd name="T18" fmla="*/ 0 w 58"/>
                  <a:gd name="T19" fmla="*/ 22 h 42"/>
                  <a:gd name="T20" fmla="*/ 0 w 58"/>
                  <a:gd name="T21" fmla="*/ 24 h 42"/>
                  <a:gd name="T22" fmla="*/ 0 w 58"/>
                  <a:gd name="T23" fmla="*/ 30 h 42"/>
                  <a:gd name="T24" fmla="*/ 0 w 58"/>
                  <a:gd name="T25" fmla="*/ 30 h 42"/>
                  <a:gd name="T26" fmla="*/ 2 w 58"/>
                  <a:gd name="T27" fmla="*/ 34 h 42"/>
                  <a:gd name="T28" fmla="*/ 6 w 58"/>
                  <a:gd name="T29" fmla="*/ 38 h 42"/>
                  <a:gd name="T30" fmla="*/ 6 w 58"/>
                  <a:gd name="T31" fmla="*/ 38 h 42"/>
                  <a:gd name="T32" fmla="*/ 8 w 58"/>
                  <a:gd name="T33" fmla="*/ 38 h 42"/>
                  <a:gd name="T34" fmla="*/ 20 w 58"/>
                  <a:gd name="T35" fmla="*/ 42 h 42"/>
                  <a:gd name="T36" fmla="*/ 20 w 58"/>
                  <a:gd name="T37" fmla="*/ 42 h 42"/>
                  <a:gd name="T38" fmla="*/ 22 w 58"/>
                  <a:gd name="T39" fmla="*/ 42 h 42"/>
                  <a:gd name="T40" fmla="*/ 22 w 58"/>
                  <a:gd name="T41" fmla="*/ 42 h 42"/>
                  <a:gd name="T42" fmla="*/ 22 w 58"/>
                  <a:gd name="T43" fmla="*/ 42 h 42"/>
                  <a:gd name="T44" fmla="*/ 32 w 58"/>
                  <a:gd name="T45" fmla="*/ 40 h 42"/>
                  <a:gd name="T46" fmla="*/ 32 w 58"/>
                  <a:gd name="T47" fmla="*/ 40 h 42"/>
                  <a:gd name="T48" fmla="*/ 34 w 58"/>
                  <a:gd name="T49" fmla="*/ 38 h 42"/>
                  <a:gd name="T50" fmla="*/ 40 w 58"/>
                  <a:gd name="T51" fmla="*/ 34 h 42"/>
                  <a:gd name="T52" fmla="*/ 46 w 58"/>
                  <a:gd name="T53" fmla="*/ 28 h 42"/>
                  <a:gd name="T54" fmla="*/ 52 w 58"/>
                  <a:gd name="T55" fmla="*/ 24 h 42"/>
                  <a:gd name="T56" fmla="*/ 52 w 58"/>
                  <a:gd name="T57" fmla="*/ 24 h 42"/>
                  <a:gd name="T58" fmla="*/ 54 w 58"/>
                  <a:gd name="T59" fmla="*/ 22 h 42"/>
                  <a:gd name="T60" fmla="*/ 58 w 58"/>
                  <a:gd name="T61" fmla="*/ 16 h 42"/>
                  <a:gd name="T62" fmla="*/ 58 w 58"/>
                  <a:gd name="T63" fmla="*/ 16 h 42"/>
                  <a:gd name="T64" fmla="*/ 58 w 58"/>
                  <a:gd name="T65" fmla="*/ 12 h 42"/>
                  <a:gd name="T66" fmla="*/ 56 w 58"/>
                  <a:gd name="T67" fmla="*/ 4 h 42"/>
                  <a:gd name="T68" fmla="*/ 56 w 58"/>
                  <a:gd name="T69" fmla="*/ 4 h 42"/>
                  <a:gd name="T70" fmla="*/ 54 w 58"/>
                  <a:gd name="T71" fmla="*/ 0 h 42"/>
                  <a:gd name="T72" fmla="*/ 54 w 58"/>
                  <a:gd name="T73" fmla="*/ 0 h 42"/>
                  <a:gd name="T74" fmla="*/ 52 w 58"/>
                  <a:gd name="T75" fmla="*/ 0 h 42"/>
                  <a:gd name="T76" fmla="*/ 52 w 58"/>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2">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3" name="Freeform 996"/>
              <p:cNvSpPr>
                <a:spLocks/>
              </p:cNvSpPr>
              <p:nvPr/>
            </p:nvSpPr>
            <p:spPr bwMode="auto">
              <a:xfrm>
                <a:off x="5051" y="2599"/>
                <a:ext cx="20" cy="26"/>
              </a:xfrm>
              <a:custGeom>
                <a:avLst/>
                <a:gdLst>
                  <a:gd name="T0" fmla="*/ 18 w 20"/>
                  <a:gd name="T1" fmla="*/ 26 h 26"/>
                  <a:gd name="T2" fmla="*/ 18 w 20"/>
                  <a:gd name="T3" fmla="*/ 26 h 26"/>
                  <a:gd name="T4" fmla="*/ 18 w 20"/>
                  <a:gd name="T5" fmla="*/ 26 h 26"/>
                  <a:gd name="T6" fmla="*/ 10 w 20"/>
                  <a:gd name="T7" fmla="*/ 20 h 26"/>
                  <a:gd name="T8" fmla="*/ 10 w 20"/>
                  <a:gd name="T9" fmla="*/ 20 h 26"/>
                  <a:gd name="T10" fmla="*/ 10 w 20"/>
                  <a:gd name="T11" fmla="*/ 20 h 26"/>
                  <a:gd name="T12" fmla="*/ 6 w 20"/>
                  <a:gd name="T13" fmla="*/ 14 h 26"/>
                  <a:gd name="T14" fmla="*/ 2 w 20"/>
                  <a:gd name="T15" fmla="*/ 8 h 26"/>
                  <a:gd name="T16" fmla="*/ 2 w 20"/>
                  <a:gd name="T17" fmla="*/ 8 h 26"/>
                  <a:gd name="T18" fmla="*/ 2 w 20"/>
                  <a:gd name="T19" fmla="*/ 8 h 26"/>
                  <a:gd name="T20" fmla="*/ 0 w 20"/>
                  <a:gd name="T21" fmla="*/ 2 h 26"/>
                  <a:gd name="T22" fmla="*/ 0 w 20"/>
                  <a:gd name="T23" fmla="*/ 2 h 26"/>
                  <a:gd name="T24" fmla="*/ 0 w 20"/>
                  <a:gd name="T25" fmla="*/ 0 h 26"/>
                  <a:gd name="T26" fmla="*/ 0 w 20"/>
                  <a:gd name="T27" fmla="*/ 0 h 26"/>
                  <a:gd name="T28" fmla="*/ 2 w 20"/>
                  <a:gd name="T29" fmla="*/ 0 h 26"/>
                  <a:gd name="T30" fmla="*/ 2 w 20"/>
                  <a:gd name="T31" fmla="*/ 0 h 26"/>
                  <a:gd name="T32" fmla="*/ 2 w 20"/>
                  <a:gd name="T33" fmla="*/ 0 h 26"/>
                  <a:gd name="T34" fmla="*/ 10 w 20"/>
                  <a:gd name="T35" fmla="*/ 4 h 26"/>
                  <a:gd name="T36" fmla="*/ 18 w 20"/>
                  <a:gd name="T37" fmla="*/ 12 h 26"/>
                  <a:gd name="T38" fmla="*/ 18 w 20"/>
                  <a:gd name="T39" fmla="*/ 12 h 26"/>
                  <a:gd name="T40" fmla="*/ 18 w 20"/>
                  <a:gd name="T41" fmla="*/ 14 h 26"/>
                  <a:gd name="T42" fmla="*/ 20 w 20"/>
                  <a:gd name="T43" fmla="*/ 24 h 26"/>
                  <a:gd name="T44" fmla="*/ 20 w 20"/>
                  <a:gd name="T45" fmla="*/ 24 h 26"/>
                  <a:gd name="T46" fmla="*/ 20 w 20"/>
                  <a:gd name="T47" fmla="*/ 26 h 26"/>
                  <a:gd name="T48" fmla="*/ 20 w 20"/>
                  <a:gd name="T49" fmla="*/ 26 h 26"/>
                  <a:gd name="T50" fmla="*/ 18 w 20"/>
                  <a:gd name="T51" fmla="*/ 26 h 26"/>
                  <a:gd name="T52" fmla="*/ 18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8" y="26"/>
                    </a:moveTo>
                    <a:lnTo>
                      <a:pt x="18" y="26"/>
                    </a:lnTo>
                    <a:lnTo>
                      <a:pt x="18" y="26"/>
                    </a:lnTo>
                    <a:lnTo>
                      <a:pt x="10" y="20"/>
                    </a:lnTo>
                    <a:lnTo>
                      <a:pt x="10" y="20"/>
                    </a:lnTo>
                    <a:lnTo>
                      <a:pt x="10" y="20"/>
                    </a:lnTo>
                    <a:lnTo>
                      <a:pt x="6" y="14"/>
                    </a:lnTo>
                    <a:lnTo>
                      <a:pt x="2" y="8"/>
                    </a:lnTo>
                    <a:lnTo>
                      <a:pt x="2" y="8"/>
                    </a:lnTo>
                    <a:lnTo>
                      <a:pt x="2" y="8"/>
                    </a:lnTo>
                    <a:lnTo>
                      <a:pt x="0" y="2"/>
                    </a:lnTo>
                    <a:lnTo>
                      <a:pt x="0" y="2"/>
                    </a:lnTo>
                    <a:lnTo>
                      <a:pt x="0" y="0"/>
                    </a:lnTo>
                    <a:lnTo>
                      <a:pt x="0" y="0"/>
                    </a:lnTo>
                    <a:lnTo>
                      <a:pt x="2" y="0"/>
                    </a:lnTo>
                    <a:lnTo>
                      <a:pt x="2" y="0"/>
                    </a:lnTo>
                    <a:lnTo>
                      <a:pt x="2" y="0"/>
                    </a:lnTo>
                    <a:lnTo>
                      <a:pt x="10" y="4"/>
                    </a:lnTo>
                    <a:lnTo>
                      <a:pt x="18" y="12"/>
                    </a:lnTo>
                    <a:lnTo>
                      <a:pt x="18" y="12"/>
                    </a:lnTo>
                    <a:lnTo>
                      <a:pt x="18" y="14"/>
                    </a:lnTo>
                    <a:lnTo>
                      <a:pt x="20" y="24"/>
                    </a:lnTo>
                    <a:lnTo>
                      <a:pt x="20" y="24"/>
                    </a:lnTo>
                    <a:lnTo>
                      <a:pt x="20" y="26"/>
                    </a:lnTo>
                    <a:lnTo>
                      <a:pt x="20"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4" name="Freeform 997"/>
              <p:cNvSpPr>
                <a:spLocks noEditPoints="1"/>
              </p:cNvSpPr>
              <p:nvPr/>
            </p:nvSpPr>
            <p:spPr bwMode="auto">
              <a:xfrm>
                <a:off x="5049" y="2597"/>
                <a:ext cx="24" cy="30"/>
              </a:xfrm>
              <a:custGeom>
                <a:avLst/>
                <a:gdLst>
                  <a:gd name="T0" fmla="*/ 4 w 24"/>
                  <a:gd name="T1" fmla="*/ 4 h 30"/>
                  <a:gd name="T2" fmla="*/ 12 w 24"/>
                  <a:gd name="T3" fmla="*/ 8 h 30"/>
                  <a:gd name="T4" fmla="*/ 18 w 24"/>
                  <a:gd name="T5" fmla="*/ 16 h 30"/>
                  <a:gd name="T6" fmla="*/ 20 w 24"/>
                  <a:gd name="T7" fmla="*/ 26 h 30"/>
                  <a:gd name="T8" fmla="*/ 12 w 24"/>
                  <a:gd name="T9" fmla="*/ 20 h 30"/>
                  <a:gd name="T10" fmla="*/ 10 w 24"/>
                  <a:gd name="T11" fmla="*/ 14 h 30"/>
                  <a:gd name="T12" fmla="*/ 6 w 24"/>
                  <a:gd name="T13" fmla="*/ 10 h 30"/>
                  <a:gd name="T14" fmla="*/ 4 w 24"/>
                  <a:gd name="T15" fmla="*/ 4 h 30"/>
                  <a:gd name="T16" fmla="*/ 4 w 24"/>
                  <a:gd name="T17" fmla="*/ 0 h 30"/>
                  <a:gd name="T18" fmla="*/ 4 w 24"/>
                  <a:gd name="T19" fmla="*/ 0 h 30"/>
                  <a:gd name="T20" fmla="*/ 2 w 24"/>
                  <a:gd name="T21" fmla="*/ 0 h 30"/>
                  <a:gd name="T22" fmla="*/ 2 w 24"/>
                  <a:gd name="T23" fmla="*/ 0 h 30"/>
                  <a:gd name="T24" fmla="*/ 0 w 24"/>
                  <a:gd name="T25" fmla="*/ 2 h 30"/>
                  <a:gd name="T26" fmla="*/ 0 w 24"/>
                  <a:gd name="T27" fmla="*/ 4 h 30"/>
                  <a:gd name="T28" fmla="*/ 2 w 24"/>
                  <a:gd name="T29" fmla="*/ 10 h 30"/>
                  <a:gd name="T30" fmla="*/ 2 w 24"/>
                  <a:gd name="T31" fmla="*/ 10 h 30"/>
                  <a:gd name="T32" fmla="*/ 2 w 24"/>
                  <a:gd name="T33" fmla="*/ 12 h 30"/>
                  <a:gd name="T34" fmla="*/ 6 w 24"/>
                  <a:gd name="T35" fmla="*/ 16 h 30"/>
                  <a:gd name="T36" fmla="*/ 10 w 24"/>
                  <a:gd name="T37" fmla="*/ 22 h 30"/>
                  <a:gd name="T38" fmla="*/ 10 w 24"/>
                  <a:gd name="T39" fmla="*/ 22 h 30"/>
                  <a:gd name="T40" fmla="*/ 10 w 24"/>
                  <a:gd name="T41" fmla="*/ 24 h 30"/>
                  <a:gd name="T42" fmla="*/ 18 w 24"/>
                  <a:gd name="T43" fmla="*/ 30 h 30"/>
                  <a:gd name="T44" fmla="*/ 18 w 24"/>
                  <a:gd name="T45" fmla="*/ 30 h 30"/>
                  <a:gd name="T46" fmla="*/ 20 w 24"/>
                  <a:gd name="T47" fmla="*/ 30 h 30"/>
                  <a:gd name="T48" fmla="*/ 20 w 24"/>
                  <a:gd name="T49" fmla="*/ 30 h 30"/>
                  <a:gd name="T50" fmla="*/ 22 w 24"/>
                  <a:gd name="T51" fmla="*/ 28 h 30"/>
                  <a:gd name="T52" fmla="*/ 22 w 24"/>
                  <a:gd name="T53" fmla="*/ 28 h 30"/>
                  <a:gd name="T54" fmla="*/ 24 w 24"/>
                  <a:gd name="T55" fmla="*/ 28 h 30"/>
                  <a:gd name="T56" fmla="*/ 24 w 24"/>
                  <a:gd name="T57" fmla="*/ 26 h 30"/>
                  <a:gd name="T58" fmla="*/ 22 w 24"/>
                  <a:gd name="T59" fmla="*/ 16 h 30"/>
                  <a:gd name="T60" fmla="*/ 22 w 24"/>
                  <a:gd name="T61" fmla="*/ 16 h 30"/>
                  <a:gd name="T62" fmla="*/ 22 w 24"/>
                  <a:gd name="T63" fmla="*/ 14 h 30"/>
                  <a:gd name="T64" fmla="*/ 14 w 24"/>
                  <a:gd name="T65" fmla="*/ 6 h 30"/>
                  <a:gd name="T66" fmla="*/ 14 w 24"/>
                  <a:gd name="T67" fmla="*/ 6 h 30"/>
                  <a:gd name="T68" fmla="*/ 14 w 24"/>
                  <a:gd name="T69" fmla="*/ 4 h 30"/>
                  <a:gd name="T70" fmla="*/ 6 w 24"/>
                  <a:gd name="T71" fmla="*/ 0 h 30"/>
                  <a:gd name="T72" fmla="*/ 6 w 24"/>
                  <a:gd name="T73" fmla="*/ 0 h 30"/>
                  <a:gd name="T74" fmla="*/ 4 w 24"/>
                  <a:gd name="T75" fmla="*/ 0 h 30"/>
                  <a:gd name="T76" fmla="*/ 4 w 24"/>
                  <a:gd name="T7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0">
                    <a:moveTo>
                      <a:pt x="4" y="4"/>
                    </a:moveTo>
                    <a:lnTo>
                      <a:pt x="12" y="8"/>
                    </a:lnTo>
                    <a:lnTo>
                      <a:pt x="18" y="16"/>
                    </a:lnTo>
                    <a:lnTo>
                      <a:pt x="20" y="26"/>
                    </a:lnTo>
                    <a:lnTo>
                      <a:pt x="12" y="20"/>
                    </a:lnTo>
                    <a:lnTo>
                      <a:pt x="10" y="14"/>
                    </a:lnTo>
                    <a:lnTo>
                      <a:pt x="6" y="10"/>
                    </a:lnTo>
                    <a:lnTo>
                      <a:pt x="4" y="4"/>
                    </a:lnTo>
                    <a:close/>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5" name="Freeform 998"/>
              <p:cNvSpPr>
                <a:spLocks/>
              </p:cNvSpPr>
              <p:nvPr/>
            </p:nvSpPr>
            <p:spPr bwMode="auto">
              <a:xfrm>
                <a:off x="5053" y="2601"/>
                <a:ext cx="16" cy="22"/>
              </a:xfrm>
              <a:custGeom>
                <a:avLst/>
                <a:gdLst>
                  <a:gd name="T0" fmla="*/ 0 w 16"/>
                  <a:gd name="T1" fmla="*/ 0 h 22"/>
                  <a:gd name="T2" fmla="*/ 8 w 16"/>
                  <a:gd name="T3" fmla="*/ 4 h 22"/>
                  <a:gd name="T4" fmla="*/ 14 w 16"/>
                  <a:gd name="T5" fmla="*/ 12 h 22"/>
                  <a:gd name="T6" fmla="*/ 16 w 16"/>
                  <a:gd name="T7" fmla="*/ 22 h 22"/>
                  <a:gd name="T8" fmla="*/ 8 w 16"/>
                  <a:gd name="T9" fmla="*/ 16 h 22"/>
                  <a:gd name="T10" fmla="*/ 6 w 16"/>
                  <a:gd name="T11" fmla="*/ 10 h 22"/>
                  <a:gd name="T12" fmla="*/ 2 w 16"/>
                  <a:gd name="T13" fmla="*/ 6 h 22"/>
                  <a:gd name="T14" fmla="*/ 0 w 16"/>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0" y="0"/>
                    </a:moveTo>
                    <a:lnTo>
                      <a:pt x="8" y="4"/>
                    </a:lnTo>
                    <a:lnTo>
                      <a:pt x="14" y="12"/>
                    </a:lnTo>
                    <a:lnTo>
                      <a:pt x="16" y="22"/>
                    </a:lnTo>
                    <a:lnTo>
                      <a:pt x="8" y="16"/>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6" name="Freeform 999"/>
              <p:cNvSpPr>
                <a:spLocks/>
              </p:cNvSpPr>
              <p:nvPr/>
            </p:nvSpPr>
            <p:spPr bwMode="auto">
              <a:xfrm>
                <a:off x="5049" y="2597"/>
                <a:ext cx="24" cy="30"/>
              </a:xfrm>
              <a:custGeom>
                <a:avLst/>
                <a:gdLst>
                  <a:gd name="T0" fmla="*/ 4 w 24"/>
                  <a:gd name="T1" fmla="*/ 0 h 30"/>
                  <a:gd name="T2" fmla="*/ 4 w 24"/>
                  <a:gd name="T3" fmla="*/ 0 h 30"/>
                  <a:gd name="T4" fmla="*/ 2 w 24"/>
                  <a:gd name="T5" fmla="*/ 0 h 30"/>
                  <a:gd name="T6" fmla="*/ 2 w 24"/>
                  <a:gd name="T7" fmla="*/ 0 h 30"/>
                  <a:gd name="T8" fmla="*/ 0 w 24"/>
                  <a:gd name="T9" fmla="*/ 2 h 30"/>
                  <a:gd name="T10" fmla="*/ 0 w 24"/>
                  <a:gd name="T11" fmla="*/ 4 h 30"/>
                  <a:gd name="T12" fmla="*/ 2 w 24"/>
                  <a:gd name="T13" fmla="*/ 10 h 30"/>
                  <a:gd name="T14" fmla="*/ 2 w 24"/>
                  <a:gd name="T15" fmla="*/ 10 h 30"/>
                  <a:gd name="T16" fmla="*/ 2 w 24"/>
                  <a:gd name="T17" fmla="*/ 12 h 30"/>
                  <a:gd name="T18" fmla="*/ 6 w 24"/>
                  <a:gd name="T19" fmla="*/ 16 h 30"/>
                  <a:gd name="T20" fmla="*/ 10 w 24"/>
                  <a:gd name="T21" fmla="*/ 22 h 30"/>
                  <a:gd name="T22" fmla="*/ 10 w 24"/>
                  <a:gd name="T23" fmla="*/ 22 h 30"/>
                  <a:gd name="T24" fmla="*/ 10 w 24"/>
                  <a:gd name="T25" fmla="*/ 24 h 30"/>
                  <a:gd name="T26" fmla="*/ 18 w 24"/>
                  <a:gd name="T27" fmla="*/ 30 h 30"/>
                  <a:gd name="T28" fmla="*/ 18 w 24"/>
                  <a:gd name="T29" fmla="*/ 30 h 30"/>
                  <a:gd name="T30" fmla="*/ 20 w 24"/>
                  <a:gd name="T31" fmla="*/ 30 h 30"/>
                  <a:gd name="T32" fmla="*/ 20 w 24"/>
                  <a:gd name="T33" fmla="*/ 30 h 30"/>
                  <a:gd name="T34" fmla="*/ 22 w 24"/>
                  <a:gd name="T35" fmla="*/ 28 h 30"/>
                  <a:gd name="T36" fmla="*/ 22 w 24"/>
                  <a:gd name="T37" fmla="*/ 28 h 30"/>
                  <a:gd name="T38" fmla="*/ 24 w 24"/>
                  <a:gd name="T39" fmla="*/ 28 h 30"/>
                  <a:gd name="T40" fmla="*/ 24 w 24"/>
                  <a:gd name="T41" fmla="*/ 26 h 30"/>
                  <a:gd name="T42" fmla="*/ 22 w 24"/>
                  <a:gd name="T43" fmla="*/ 16 h 30"/>
                  <a:gd name="T44" fmla="*/ 22 w 24"/>
                  <a:gd name="T45" fmla="*/ 16 h 30"/>
                  <a:gd name="T46" fmla="*/ 22 w 24"/>
                  <a:gd name="T47" fmla="*/ 14 h 30"/>
                  <a:gd name="T48" fmla="*/ 14 w 24"/>
                  <a:gd name="T49" fmla="*/ 6 h 30"/>
                  <a:gd name="T50" fmla="*/ 14 w 24"/>
                  <a:gd name="T51" fmla="*/ 6 h 30"/>
                  <a:gd name="T52" fmla="*/ 14 w 24"/>
                  <a:gd name="T53" fmla="*/ 4 h 30"/>
                  <a:gd name="T54" fmla="*/ 6 w 24"/>
                  <a:gd name="T55" fmla="*/ 0 h 30"/>
                  <a:gd name="T56" fmla="*/ 6 w 24"/>
                  <a:gd name="T57" fmla="*/ 0 h 30"/>
                  <a:gd name="T58" fmla="*/ 4 w 24"/>
                  <a:gd name="T59" fmla="*/ 0 h 30"/>
                  <a:gd name="T60" fmla="*/ 4 w 24"/>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0">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7" name="Freeform 1000"/>
              <p:cNvSpPr>
                <a:spLocks/>
              </p:cNvSpPr>
              <p:nvPr/>
            </p:nvSpPr>
            <p:spPr bwMode="auto">
              <a:xfrm>
                <a:off x="5119" y="2655"/>
                <a:ext cx="20" cy="14"/>
              </a:xfrm>
              <a:custGeom>
                <a:avLst/>
                <a:gdLst>
                  <a:gd name="T0" fmla="*/ 16 w 20"/>
                  <a:gd name="T1" fmla="*/ 14 h 14"/>
                  <a:gd name="T2" fmla="*/ 4 w 20"/>
                  <a:gd name="T3" fmla="*/ 12 h 14"/>
                  <a:gd name="T4" fmla="*/ 4 w 20"/>
                  <a:gd name="T5" fmla="*/ 12 h 14"/>
                  <a:gd name="T6" fmla="*/ 2 w 20"/>
                  <a:gd name="T7" fmla="*/ 12 h 14"/>
                  <a:gd name="T8" fmla="*/ 0 w 20"/>
                  <a:gd name="T9" fmla="*/ 6 h 14"/>
                  <a:gd name="T10" fmla="*/ 0 w 20"/>
                  <a:gd name="T11" fmla="*/ 6 h 14"/>
                  <a:gd name="T12" fmla="*/ 0 w 20"/>
                  <a:gd name="T13" fmla="*/ 4 h 14"/>
                  <a:gd name="T14" fmla="*/ 2 w 20"/>
                  <a:gd name="T15" fmla="*/ 0 h 14"/>
                  <a:gd name="T16" fmla="*/ 2 w 20"/>
                  <a:gd name="T17" fmla="*/ 0 h 14"/>
                  <a:gd name="T18" fmla="*/ 4 w 20"/>
                  <a:gd name="T19" fmla="*/ 0 h 14"/>
                  <a:gd name="T20" fmla="*/ 10 w 20"/>
                  <a:gd name="T21" fmla="*/ 0 h 14"/>
                  <a:gd name="T22" fmla="*/ 10 w 20"/>
                  <a:gd name="T23" fmla="*/ 0 h 14"/>
                  <a:gd name="T24" fmla="*/ 10 w 20"/>
                  <a:gd name="T25" fmla="*/ 0 h 14"/>
                  <a:gd name="T26" fmla="*/ 18 w 20"/>
                  <a:gd name="T27" fmla="*/ 8 h 14"/>
                  <a:gd name="T28" fmla="*/ 18 w 20"/>
                  <a:gd name="T29" fmla="*/ 8 h 14"/>
                  <a:gd name="T30" fmla="*/ 20 w 20"/>
                  <a:gd name="T31" fmla="*/ 8 h 14"/>
                  <a:gd name="T32" fmla="*/ 20 w 20"/>
                  <a:gd name="T33" fmla="*/ 12 h 14"/>
                  <a:gd name="T34" fmla="*/ 20 w 20"/>
                  <a:gd name="T35" fmla="*/ 12 h 14"/>
                  <a:gd name="T36" fmla="*/ 18 w 20"/>
                  <a:gd name="T37" fmla="*/ 14 h 14"/>
                  <a:gd name="T38" fmla="*/ 16 w 20"/>
                  <a:gd name="T3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4">
                    <a:moveTo>
                      <a:pt x="16" y="14"/>
                    </a:moveTo>
                    <a:lnTo>
                      <a:pt x="4" y="12"/>
                    </a:lnTo>
                    <a:lnTo>
                      <a:pt x="4" y="12"/>
                    </a:lnTo>
                    <a:lnTo>
                      <a:pt x="2" y="12"/>
                    </a:lnTo>
                    <a:lnTo>
                      <a:pt x="0" y="6"/>
                    </a:lnTo>
                    <a:lnTo>
                      <a:pt x="0" y="6"/>
                    </a:lnTo>
                    <a:lnTo>
                      <a:pt x="0" y="4"/>
                    </a:lnTo>
                    <a:lnTo>
                      <a:pt x="2" y="0"/>
                    </a:lnTo>
                    <a:lnTo>
                      <a:pt x="2" y="0"/>
                    </a:lnTo>
                    <a:lnTo>
                      <a:pt x="4" y="0"/>
                    </a:lnTo>
                    <a:lnTo>
                      <a:pt x="10" y="0"/>
                    </a:lnTo>
                    <a:lnTo>
                      <a:pt x="10" y="0"/>
                    </a:lnTo>
                    <a:lnTo>
                      <a:pt x="10" y="0"/>
                    </a:lnTo>
                    <a:lnTo>
                      <a:pt x="18" y="8"/>
                    </a:lnTo>
                    <a:lnTo>
                      <a:pt x="18" y="8"/>
                    </a:lnTo>
                    <a:lnTo>
                      <a:pt x="20" y="8"/>
                    </a:lnTo>
                    <a:lnTo>
                      <a:pt x="20" y="12"/>
                    </a:lnTo>
                    <a:lnTo>
                      <a:pt x="20" y="12"/>
                    </a:lnTo>
                    <a:lnTo>
                      <a:pt x="18"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8" name="Freeform 1001"/>
              <p:cNvSpPr>
                <a:spLocks noEditPoints="1"/>
              </p:cNvSpPr>
              <p:nvPr/>
            </p:nvSpPr>
            <p:spPr bwMode="auto">
              <a:xfrm>
                <a:off x="5115" y="2653"/>
                <a:ext cx="26" cy="18"/>
              </a:xfrm>
              <a:custGeom>
                <a:avLst/>
                <a:gdLst>
                  <a:gd name="T0" fmla="*/ 14 w 26"/>
                  <a:gd name="T1" fmla="*/ 4 h 18"/>
                  <a:gd name="T2" fmla="*/ 22 w 26"/>
                  <a:gd name="T3" fmla="*/ 10 h 18"/>
                  <a:gd name="T4" fmla="*/ 22 w 26"/>
                  <a:gd name="T5" fmla="*/ 12 h 18"/>
                  <a:gd name="T6" fmla="*/ 22 w 26"/>
                  <a:gd name="T7" fmla="*/ 14 h 18"/>
                  <a:gd name="T8" fmla="*/ 20 w 26"/>
                  <a:gd name="T9" fmla="*/ 14 h 18"/>
                  <a:gd name="T10" fmla="*/ 8 w 26"/>
                  <a:gd name="T11" fmla="*/ 12 h 18"/>
                  <a:gd name="T12" fmla="*/ 4 w 26"/>
                  <a:gd name="T13" fmla="*/ 8 h 18"/>
                  <a:gd name="T14" fmla="*/ 8 w 26"/>
                  <a:gd name="T15" fmla="*/ 4 h 18"/>
                  <a:gd name="T16" fmla="*/ 14 w 26"/>
                  <a:gd name="T17" fmla="*/ 4 h 18"/>
                  <a:gd name="T18" fmla="*/ 14 w 26"/>
                  <a:gd name="T19" fmla="*/ 0 h 18"/>
                  <a:gd name="T20" fmla="*/ 8 w 26"/>
                  <a:gd name="T21" fmla="*/ 0 h 18"/>
                  <a:gd name="T22" fmla="*/ 8 w 26"/>
                  <a:gd name="T23" fmla="*/ 0 h 18"/>
                  <a:gd name="T24" fmla="*/ 6 w 26"/>
                  <a:gd name="T25" fmla="*/ 0 h 18"/>
                  <a:gd name="T26" fmla="*/ 2 w 26"/>
                  <a:gd name="T27" fmla="*/ 4 h 18"/>
                  <a:gd name="T28" fmla="*/ 2 w 26"/>
                  <a:gd name="T29" fmla="*/ 4 h 18"/>
                  <a:gd name="T30" fmla="*/ 0 w 26"/>
                  <a:gd name="T31" fmla="*/ 6 h 18"/>
                  <a:gd name="T32" fmla="*/ 2 w 26"/>
                  <a:gd name="T33" fmla="*/ 10 h 18"/>
                  <a:gd name="T34" fmla="*/ 4 w 26"/>
                  <a:gd name="T35" fmla="*/ 14 h 18"/>
                  <a:gd name="T36" fmla="*/ 4 w 26"/>
                  <a:gd name="T37" fmla="*/ 14 h 18"/>
                  <a:gd name="T38" fmla="*/ 8 w 26"/>
                  <a:gd name="T39" fmla="*/ 16 h 18"/>
                  <a:gd name="T40" fmla="*/ 20 w 26"/>
                  <a:gd name="T41" fmla="*/ 18 h 18"/>
                  <a:gd name="T42" fmla="*/ 20 w 26"/>
                  <a:gd name="T43" fmla="*/ 18 h 18"/>
                  <a:gd name="T44" fmla="*/ 20 w 26"/>
                  <a:gd name="T45" fmla="*/ 18 h 18"/>
                  <a:gd name="T46" fmla="*/ 22 w 26"/>
                  <a:gd name="T47" fmla="*/ 18 h 18"/>
                  <a:gd name="T48" fmla="*/ 22 w 26"/>
                  <a:gd name="T49" fmla="*/ 18 h 18"/>
                  <a:gd name="T50" fmla="*/ 24 w 26"/>
                  <a:gd name="T51" fmla="*/ 18 h 18"/>
                  <a:gd name="T52" fmla="*/ 26 w 26"/>
                  <a:gd name="T53" fmla="*/ 14 h 18"/>
                  <a:gd name="T54" fmla="*/ 26 w 26"/>
                  <a:gd name="T55" fmla="*/ 12 h 18"/>
                  <a:gd name="T56" fmla="*/ 26 w 26"/>
                  <a:gd name="T57" fmla="*/ 10 h 18"/>
                  <a:gd name="T58" fmla="*/ 26 w 26"/>
                  <a:gd name="T59" fmla="*/ 10 h 18"/>
                  <a:gd name="T60" fmla="*/ 24 w 26"/>
                  <a:gd name="T61" fmla="*/ 8 h 18"/>
                  <a:gd name="T62" fmla="*/ 16 w 26"/>
                  <a:gd name="T63" fmla="*/ 0 h 18"/>
                  <a:gd name="T64" fmla="*/ 16 w 26"/>
                  <a:gd name="T65" fmla="*/ 0 h 18"/>
                  <a:gd name="T66" fmla="*/ 14 w 26"/>
                  <a:gd name="T67" fmla="*/ 0 h 18"/>
                  <a:gd name="T68" fmla="*/ 14 w 26"/>
                  <a:gd name="T6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8">
                    <a:moveTo>
                      <a:pt x="14" y="4"/>
                    </a:moveTo>
                    <a:lnTo>
                      <a:pt x="22" y="10"/>
                    </a:lnTo>
                    <a:lnTo>
                      <a:pt x="22" y="12"/>
                    </a:lnTo>
                    <a:lnTo>
                      <a:pt x="22" y="14"/>
                    </a:lnTo>
                    <a:lnTo>
                      <a:pt x="20" y="14"/>
                    </a:lnTo>
                    <a:lnTo>
                      <a:pt x="8" y="12"/>
                    </a:lnTo>
                    <a:lnTo>
                      <a:pt x="4" y="8"/>
                    </a:lnTo>
                    <a:lnTo>
                      <a:pt x="8" y="4"/>
                    </a:lnTo>
                    <a:lnTo>
                      <a:pt x="14" y="4"/>
                    </a:lnTo>
                    <a:close/>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9" name="Freeform 1002"/>
              <p:cNvSpPr>
                <a:spLocks/>
              </p:cNvSpPr>
              <p:nvPr/>
            </p:nvSpPr>
            <p:spPr bwMode="auto">
              <a:xfrm>
                <a:off x="5119" y="2657"/>
                <a:ext cx="18" cy="10"/>
              </a:xfrm>
              <a:custGeom>
                <a:avLst/>
                <a:gdLst>
                  <a:gd name="T0" fmla="*/ 10 w 18"/>
                  <a:gd name="T1" fmla="*/ 0 h 10"/>
                  <a:gd name="T2" fmla="*/ 18 w 18"/>
                  <a:gd name="T3" fmla="*/ 6 h 10"/>
                  <a:gd name="T4" fmla="*/ 18 w 18"/>
                  <a:gd name="T5" fmla="*/ 8 h 10"/>
                  <a:gd name="T6" fmla="*/ 18 w 18"/>
                  <a:gd name="T7" fmla="*/ 10 h 10"/>
                  <a:gd name="T8" fmla="*/ 16 w 18"/>
                  <a:gd name="T9" fmla="*/ 10 h 10"/>
                  <a:gd name="T10" fmla="*/ 4 w 18"/>
                  <a:gd name="T11" fmla="*/ 8 h 10"/>
                  <a:gd name="T12" fmla="*/ 0 w 18"/>
                  <a:gd name="T13" fmla="*/ 4 h 10"/>
                  <a:gd name="T14" fmla="*/ 4 w 18"/>
                  <a:gd name="T15" fmla="*/ 0 h 10"/>
                  <a:gd name="T16" fmla="*/ 10 w 18"/>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10" y="0"/>
                    </a:moveTo>
                    <a:lnTo>
                      <a:pt x="18" y="6"/>
                    </a:lnTo>
                    <a:lnTo>
                      <a:pt x="18" y="8"/>
                    </a:lnTo>
                    <a:lnTo>
                      <a:pt x="18" y="10"/>
                    </a:lnTo>
                    <a:lnTo>
                      <a:pt x="16" y="10"/>
                    </a:lnTo>
                    <a:lnTo>
                      <a:pt x="4" y="8"/>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0" name="Freeform 1003"/>
              <p:cNvSpPr>
                <a:spLocks/>
              </p:cNvSpPr>
              <p:nvPr/>
            </p:nvSpPr>
            <p:spPr bwMode="auto">
              <a:xfrm>
                <a:off x="5115" y="2653"/>
                <a:ext cx="26" cy="18"/>
              </a:xfrm>
              <a:custGeom>
                <a:avLst/>
                <a:gdLst>
                  <a:gd name="T0" fmla="*/ 14 w 26"/>
                  <a:gd name="T1" fmla="*/ 0 h 18"/>
                  <a:gd name="T2" fmla="*/ 8 w 26"/>
                  <a:gd name="T3" fmla="*/ 0 h 18"/>
                  <a:gd name="T4" fmla="*/ 8 w 26"/>
                  <a:gd name="T5" fmla="*/ 0 h 18"/>
                  <a:gd name="T6" fmla="*/ 6 w 26"/>
                  <a:gd name="T7" fmla="*/ 0 h 18"/>
                  <a:gd name="T8" fmla="*/ 2 w 26"/>
                  <a:gd name="T9" fmla="*/ 4 h 18"/>
                  <a:gd name="T10" fmla="*/ 2 w 26"/>
                  <a:gd name="T11" fmla="*/ 4 h 18"/>
                  <a:gd name="T12" fmla="*/ 0 w 26"/>
                  <a:gd name="T13" fmla="*/ 6 h 18"/>
                  <a:gd name="T14" fmla="*/ 2 w 26"/>
                  <a:gd name="T15" fmla="*/ 10 h 18"/>
                  <a:gd name="T16" fmla="*/ 4 w 26"/>
                  <a:gd name="T17" fmla="*/ 14 h 18"/>
                  <a:gd name="T18" fmla="*/ 4 w 26"/>
                  <a:gd name="T19" fmla="*/ 14 h 18"/>
                  <a:gd name="T20" fmla="*/ 8 w 26"/>
                  <a:gd name="T21" fmla="*/ 16 h 18"/>
                  <a:gd name="T22" fmla="*/ 20 w 26"/>
                  <a:gd name="T23" fmla="*/ 18 h 18"/>
                  <a:gd name="T24" fmla="*/ 20 w 26"/>
                  <a:gd name="T25" fmla="*/ 18 h 18"/>
                  <a:gd name="T26" fmla="*/ 20 w 26"/>
                  <a:gd name="T27" fmla="*/ 18 h 18"/>
                  <a:gd name="T28" fmla="*/ 22 w 26"/>
                  <a:gd name="T29" fmla="*/ 18 h 18"/>
                  <a:gd name="T30" fmla="*/ 22 w 26"/>
                  <a:gd name="T31" fmla="*/ 18 h 18"/>
                  <a:gd name="T32" fmla="*/ 24 w 26"/>
                  <a:gd name="T33" fmla="*/ 18 h 18"/>
                  <a:gd name="T34" fmla="*/ 26 w 26"/>
                  <a:gd name="T35" fmla="*/ 14 h 18"/>
                  <a:gd name="T36" fmla="*/ 26 w 26"/>
                  <a:gd name="T37" fmla="*/ 12 h 18"/>
                  <a:gd name="T38" fmla="*/ 26 w 26"/>
                  <a:gd name="T39" fmla="*/ 10 h 18"/>
                  <a:gd name="T40" fmla="*/ 26 w 26"/>
                  <a:gd name="T41" fmla="*/ 10 h 18"/>
                  <a:gd name="T42" fmla="*/ 24 w 26"/>
                  <a:gd name="T43" fmla="*/ 8 h 18"/>
                  <a:gd name="T44" fmla="*/ 16 w 26"/>
                  <a:gd name="T45" fmla="*/ 0 h 18"/>
                  <a:gd name="T46" fmla="*/ 16 w 26"/>
                  <a:gd name="T47" fmla="*/ 0 h 18"/>
                  <a:gd name="T48" fmla="*/ 14 w 26"/>
                  <a:gd name="T49" fmla="*/ 0 h 18"/>
                  <a:gd name="T50" fmla="*/ 14 w 26"/>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8">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1" name="Freeform 1004"/>
              <p:cNvSpPr>
                <a:spLocks/>
              </p:cNvSpPr>
              <p:nvPr/>
            </p:nvSpPr>
            <p:spPr bwMode="auto">
              <a:xfrm>
                <a:off x="5135" y="2643"/>
                <a:ext cx="14" cy="20"/>
              </a:xfrm>
              <a:custGeom>
                <a:avLst/>
                <a:gdLst>
                  <a:gd name="T0" fmla="*/ 12 w 14"/>
                  <a:gd name="T1" fmla="*/ 20 h 20"/>
                  <a:gd name="T2" fmla="*/ 6 w 14"/>
                  <a:gd name="T3" fmla="*/ 20 h 20"/>
                  <a:gd name="T4" fmla="*/ 6 w 14"/>
                  <a:gd name="T5" fmla="*/ 20 h 20"/>
                  <a:gd name="T6" fmla="*/ 4 w 14"/>
                  <a:gd name="T7" fmla="*/ 18 h 20"/>
                  <a:gd name="T8" fmla="*/ 2 w 14"/>
                  <a:gd name="T9" fmla="*/ 10 h 20"/>
                  <a:gd name="T10" fmla="*/ 0 w 14"/>
                  <a:gd name="T11" fmla="*/ 2 h 20"/>
                  <a:gd name="T12" fmla="*/ 0 w 14"/>
                  <a:gd name="T13" fmla="*/ 2 h 20"/>
                  <a:gd name="T14" fmla="*/ 0 w 14"/>
                  <a:gd name="T15" fmla="*/ 0 h 20"/>
                  <a:gd name="T16" fmla="*/ 0 w 14"/>
                  <a:gd name="T17" fmla="*/ 0 h 20"/>
                  <a:gd name="T18" fmla="*/ 2 w 14"/>
                  <a:gd name="T19" fmla="*/ 0 h 20"/>
                  <a:gd name="T20" fmla="*/ 2 w 14"/>
                  <a:gd name="T21" fmla="*/ 0 h 20"/>
                  <a:gd name="T22" fmla="*/ 2 w 14"/>
                  <a:gd name="T23" fmla="*/ 0 h 20"/>
                  <a:gd name="T24" fmla="*/ 8 w 14"/>
                  <a:gd name="T25" fmla="*/ 4 h 20"/>
                  <a:gd name="T26" fmla="*/ 12 w 14"/>
                  <a:gd name="T27" fmla="*/ 8 h 20"/>
                  <a:gd name="T28" fmla="*/ 12 w 14"/>
                  <a:gd name="T29" fmla="*/ 8 h 20"/>
                  <a:gd name="T30" fmla="*/ 14 w 14"/>
                  <a:gd name="T31" fmla="*/ 8 h 20"/>
                  <a:gd name="T32" fmla="*/ 14 w 14"/>
                  <a:gd name="T33" fmla="*/ 18 h 20"/>
                  <a:gd name="T34" fmla="*/ 14 w 14"/>
                  <a:gd name="T35" fmla="*/ 18 h 20"/>
                  <a:gd name="T36" fmla="*/ 14 w 14"/>
                  <a:gd name="T37" fmla="*/ 20 h 20"/>
                  <a:gd name="T38" fmla="*/ 14 w 14"/>
                  <a:gd name="T39" fmla="*/ 20 h 20"/>
                  <a:gd name="T40" fmla="*/ 12 w 14"/>
                  <a:gd name="T41" fmla="*/ 20 h 20"/>
                  <a:gd name="T42" fmla="*/ 12 w 14"/>
                  <a:gd name="T43" fmla="*/ 20 h 20"/>
                  <a:gd name="T44" fmla="*/ 12 w 14"/>
                  <a:gd name="T45" fmla="*/ 20 h 20"/>
                  <a:gd name="T46" fmla="*/ 12 w 1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0">
                    <a:moveTo>
                      <a:pt x="12" y="20"/>
                    </a:moveTo>
                    <a:lnTo>
                      <a:pt x="6" y="20"/>
                    </a:lnTo>
                    <a:lnTo>
                      <a:pt x="6" y="20"/>
                    </a:lnTo>
                    <a:lnTo>
                      <a:pt x="4" y="18"/>
                    </a:lnTo>
                    <a:lnTo>
                      <a:pt x="2" y="10"/>
                    </a:lnTo>
                    <a:lnTo>
                      <a:pt x="0" y="2"/>
                    </a:lnTo>
                    <a:lnTo>
                      <a:pt x="0" y="2"/>
                    </a:lnTo>
                    <a:lnTo>
                      <a:pt x="0" y="0"/>
                    </a:lnTo>
                    <a:lnTo>
                      <a:pt x="0" y="0"/>
                    </a:lnTo>
                    <a:lnTo>
                      <a:pt x="2" y="0"/>
                    </a:lnTo>
                    <a:lnTo>
                      <a:pt x="2" y="0"/>
                    </a:lnTo>
                    <a:lnTo>
                      <a:pt x="2" y="0"/>
                    </a:lnTo>
                    <a:lnTo>
                      <a:pt x="8" y="4"/>
                    </a:lnTo>
                    <a:lnTo>
                      <a:pt x="12" y="8"/>
                    </a:lnTo>
                    <a:lnTo>
                      <a:pt x="12" y="8"/>
                    </a:lnTo>
                    <a:lnTo>
                      <a:pt x="14" y="8"/>
                    </a:lnTo>
                    <a:lnTo>
                      <a:pt x="14" y="18"/>
                    </a:lnTo>
                    <a:lnTo>
                      <a:pt x="14" y="18"/>
                    </a:lnTo>
                    <a:lnTo>
                      <a:pt x="14" y="20"/>
                    </a:lnTo>
                    <a:lnTo>
                      <a:pt x="14" y="20"/>
                    </a:lnTo>
                    <a:lnTo>
                      <a:pt x="12" y="20"/>
                    </a:lnTo>
                    <a:lnTo>
                      <a:pt x="12" y="20"/>
                    </a:lnTo>
                    <a:lnTo>
                      <a:pt x="12" y="20"/>
                    </a:lnTo>
                    <a:lnTo>
                      <a:pt x="1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2" name="Freeform 1005"/>
              <p:cNvSpPr>
                <a:spLocks noEditPoints="1"/>
              </p:cNvSpPr>
              <p:nvPr/>
            </p:nvSpPr>
            <p:spPr bwMode="auto">
              <a:xfrm>
                <a:off x="5133" y="2641"/>
                <a:ext cx="18" cy="24"/>
              </a:xfrm>
              <a:custGeom>
                <a:avLst/>
                <a:gdLst>
                  <a:gd name="T0" fmla="*/ 4 w 18"/>
                  <a:gd name="T1" fmla="*/ 4 h 24"/>
                  <a:gd name="T2" fmla="*/ 10 w 18"/>
                  <a:gd name="T3" fmla="*/ 8 h 24"/>
                  <a:gd name="T4" fmla="*/ 14 w 18"/>
                  <a:gd name="T5" fmla="*/ 10 h 24"/>
                  <a:gd name="T6" fmla="*/ 14 w 18"/>
                  <a:gd name="T7" fmla="*/ 20 h 24"/>
                  <a:gd name="T8" fmla="*/ 8 w 18"/>
                  <a:gd name="T9" fmla="*/ 20 h 24"/>
                  <a:gd name="T10" fmla="*/ 4 w 18"/>
                  <a:gd name="T11" fmla="*/ 10 h 24"/>
                  <a:gd name="T12" fmla="*/ 4 w 18"/>
                  <a:gd name="T13" fmla="*/ 4 h 24"/>
                  <a:gd name="T14" fmla="*/ 4 w 18"/>
                  <a:gd name="T15" fmla="*/ 0 h 24"/>
                  <a:gd name="T16" fmla="*/ 4 w 18"/>
                  <a:gd name="T17" fmla="*/ 0 h 24"/>
                  <a:gd name="T18" fmla="*/ 2 w 18"/>
                  <a:gd name="T19" fmla="*/ 0 h 24"/>
                  <a:gd name="T20" fmla="*/ 2 w 18"/>
                  <a:gd name="T21" fmla="*/ 0 h 24"/>
                  <a:gd name="T22" fmla="*/ 0 w 18"/>
                  <a:gd name="T23" fmla="*/ 2 h 24"/>
                  <a:gd name="T24" fmla="*/ 0 w 18"/>
                  <a:gd name="T25" fmla="*/ 4 h 24"/>
                  <a:gd name="T26" fmla="*/ 2 w 18"/>
                  <a:gd name="T27" fmla="*/ 12 h 24"/>
                  <a:gd name="T28" fmla="*/ 2 w 18"/>
                  <a:gd name="T29" fmla="*/ 12 h 24"/>
                  <a:gd name="T30" fmla="*/ 2 w 18"/>
                  <a:gd name="T31" fmla="*/ 12 h 24"/>
                  <a:gd name="T32" fmla="*/ 4 w 18"/>
                  <a:gd name="T33" fmla="*/ 20 h 24"/>
                  <a:gd name="T34" fmla="*/ 4 w 18"/>
                  <a:gd name="T35" fmla="*/ 20 h 24"/>
                  <a:gd name="T36" fmla="*/ 6 w 18"/>
                  <a:gd name="T37" fmla="*/ 24 h 24"/>
                  <a:gd name="T38" fmla="*/ 14 w 18"/>
                  <a:gd name="T39" fmla="*/ 24 h 24"/>
                  <a:gd name="T40" fmla="*/ 14 w 18"/>
                  <a:gd name="T41" fmla="*/ 24 h 24"/>
                  <a:gd name="T42" fmla="*/ 14 w 18"/>
                  <a:gd name="T43" fmla="*/ 24 h 24"/>
                  <a:gd name="T44" fmla="*/ 14 w 18"/>
                  <a:gd name="T45" fmla="*/ 24 h 24"/>
                  <a:gd name="T46" fmla="*/ 18 w 18"/>
                  <a:gd name="T47" fmla="*/ 24 h 24"/>
                  <a:gd name="T48" fmla="*/ 18 w 18"/>
                  <a:gd name="T49" fmla="*/ 24 h 24"/>
                  <a:gd name="T50" fmla="*/ 18 w 18"/>
                  <a:gd name="T51" fmla="*/ 20 h 24"/>
                  <a:gd name="T52" fmla="*/ 18 w 18"/>
                  <a:gd name="T53" fmla="*/ 10 h 24"/>
                  <a:gd name="T54" fmla="*/ 18 w 18"/>
                  <a:gd name="T55" fmla="*/ 10 h 24"/>
                  <a:gd name="T56" fmla="*/ 16 w 18"/>
                  <a:gd name="T57" fmla="*/ 8 h 24"/>
                  <a:gd name="T58" fmla="*/ 12 w 18"/>
                  <a:gd name="T59" fmla="*/ 4 h 24"/>
                  <a:gd name="T60" fmla="*/ 12 w 18"/>
                  <a:gd name="T61" fmla="*/ 4 h 24"/>
                  <a:gd name="T62" fmla="*/ 12 w 18"/>
                  <a:gd name="T63" fmla="*/ 4 h 24"/>
                  <a:gd name="T64" fmla="*/ 6 w 18"/>
                  <a:gd name="T65" fmla="*/ 0 h 24"/>
                  <a:gd name="T66" fmla="*/ 6 w 18"/>
                  <a:gd name="T67" fmla="*/ 0 h 24"/>
                  <a:gd name="T68" fmla="*/ 4 w 18"/>
                  <a:gd name="T69" fmla="*/ 0 h 24"/>
                  <a:gd name="T70" fmla="*/ 4 w 18"/>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24">
                    <a:moveTo>
                      <a:pt x="4" y="4"/>
                    </a:moveTo>
                    <a:lnTo>
                      <a:pt x="10" y="8"/>
                    </a:lnTo>
                    <a:lnTo>
                      <a:pt x="14" y="10"/>
                    </a:lnTo>
                    <a:lnTo>
                      <a:pt x="14" y="20"/>
                    </a:lnTo>
                    <a:lnTo>
                      <a:pt x="8" y="20"/>
                    </a:lnTo>
                    <a:lnTo>
                      <a:pt x="4" y="10"/>
                    </a:lnTo>
                    <a:lnTo>
                      <a:pt x="4" y="4"/>
                    </a:lnTo>
                    <a:close/>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3" name="Freeform 1006"/>
              <p:cNvSpPr>
                <a:spLocks/>
              </p:cNvSpPr>
              <p:nvPr/>
            </p:nvSpPr>
            <p:spPr bwMode="auto">
              <a:xfrm>
                <a:off x="5137" y="2645"/>
                <a:ext cx="10" cy="16"/>
              </a:xfrm>
              <a:custGeom>
                <a:avLst/>
                <a:gdLst>
                  <a:gd name="T0" fmla="*/ 0 w 10"/>
                  <a:gd name="T1" fmla="*/ 0 h 16"/>
                  <a:gd name="T2" fmla="*/ 6 w 10"/>
                  <a:gd name="T3" fmla="*/ 4 h 16"/>
                  <a:gd name="T4" fmla="*/ 10 w 10"/>
                  <a:gd name="T5" fmla="*/ 6 h 16"/>
                  <a:gd name="T6" fmla="*/ 10 w 10"/>
                  <a:gd name="T7" fmla="*/ 16 h 16"/>
                  <a:gd name="T8" fmla="*/ 4 w 10"/>
                  <a:gd name="T9" fmla="*/ 16 h 16"/>
                  <a:gd name="T10" fmla="*/ 0 w 10"/>
                  <a:gd name="T11" fmla="*/ 6 h 16"/>
                  <a:gd name="T12" fmla="*/ 0 w 1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0" y="0"/>
                    </a:moveTo>
                    <a:lnTo>
                      <a:pt x="6" y="4"/>
                    </a:lnTo>
                    <a:lnTo>
                      <a:pt x="10" y="6"/>
                    </a:lnTo>
                    <a:lnTo>
                      <a:pt x="10" y="16"/>
                    </a:lnTo>
                    <a:lnTo>
                      <a:pt x="4" y="16"/>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4" name="Freeform 1007"/>
              <p:cNvSpPr>
                <a:spLocks/>
              </p:cNvSpPr>
              <p:nvPr/>
            </p:nvSpPr>
            <p:spPr bwMode="auto">
              <a:xfrm>
                <a:off x="5133" y="2641"/>
                <a:ext cx="18" cy="24"/>
              </a:xfrm>
              <a:custGeom>
                <a:avLst/>
                <a:gdLst>
                  <a:gd name="T0" fmla="*/ 4 w 18"/>
                  <a:gd name="T1" fmla="*/ 0 h 24"/>
                  <a:gd name="T2" fmla="*/ 4 w 18"/>
                  <a:gd name="T3" fmla="*/ 0 h 24"/>
                  <a:gd name="T4" fmla="*/ 2 w 18"/>
                  <a:gd name="T5" fmla="*/ 0 h 24"/>
                  <a:gd name="T6" fmla="*/ 2 w 18"/>
                  <a:gd name="T7" fmla="*/ 0 h 24"/>
                  <a:gd name="T8" fmla="*/ 0 w 18"/>
                  <a:gd name="T9" fmla="*/ 2 h 24"/>
                  <a:gd name="T10" fmla="*/ 0 w 18"/>
                  <a:gd name="T11" fmla="*/ 4 h 24"/>
                  <a:gd name="T12" fmla="*/ 2 w 18"/>
                  <a:gd name="T13" fmla="*/ 12 h 24"/>
                  <a:gd name="T14" fmla="*/ 2 w 18"/>
                  <a:gd name="T15" fmla="*/ 12 h 24"/>
                  <a:gd name="T16" fmla="*/ 2 w 18"/>
                  <a:gd name="T17" fmla="*/ 12 h 24"/>
                  <a:gd name="T18" fmla="*/ 4 w 18"/>
                  <a:gd name="T19" fmla="*/ 20 h 24"/>
                  <a:gd name="T20" fmla="*/ 4 w 18"/>
                  <a:gd name="T21" fmla="*/ 20 h 24"/>
                  <a:gd name="T22" fmla="*/ 6 w 18"/>
                  <a:gd name="T23" fmla="*/ 24 h 24"/>
                  <a:gd name="T24" fmla="*/ 14 w 18"/>
                  <a:gd name="T25" fmla="*/ 24 h 24"/>
                  <a:gd name="T26" fmla="*/ 14 w 18"/>
                  <a:gd name="T27" fmla="*/ 24 h 24"/>
                  <a:gd name="T28" fmla="*/ 14 w 18"/>
                  <a:gd name="T29" fmla="*/ 24 h 24"/>
                  <a:gd name="T30" fmla="*/ 14 w 18"/>
                  <a:gd name="T31" fmla="*/ 24 h 24"/>
                  <a:gd name="T32" fmla="*/ 18 w 18"/>
                  <a:gd name="T33" fmla="*/ 24 h 24"/>
                  <a:gd name="T34" fmla="*/ 18 w 18"/>
                  <a:gd name="T35" fmla="*/ 24 h 24"/>
                  <a:gd name="T36" fmla="*/ 18 w 18"/>
                  <a:gd name="T37" fmla="*/ 20 h 24"/>
                  <a:gd name="T38" fmla="*/ 18 w 18"/>
                  <a:gd name="T39" fmla="*/ 10 h 24"/>
                  <a:gd name="T40" fmla="*/ 18 w 18"/>
                  <a:gd name="T41" fmla="*/ 10 h 24"/>
                  <a:gd name="T42" fmla="*/ 16 w 18"/>
                  <a:gd name="T43" fmla="*/ 8 h 24"/>
                  <a:gd name="T44" fmla="*/ 12 w 18"/>
                  <a:gd name="T45" fmla="*/ 4 h 24"/>
                  <a:gd name="T46" fmla="*/ 12 w 18"/>
                  <a:gd name="T47" fmla="*/ 4 h 24"/>
                  <a:gd name="T48" fmla="*/ 12 w 18"/>
                  <a:gd name="T49" fmla="*/ 4 h 24"/>
                  <a:gd name="T50" fmla="*/ 6 w 18"/>
                  <a:gd name="T51" fmla="*/ 0 h 24"/>
                  <a:gd name="T52" fmla="*/ 6 w 18"/>
                  <a:gd name="T53" fmla="*/ 0 h 24"/>
                  <a:gd name="T54" fmla="*/ 4 w 18"/>
                  <a:gd name="T55" fmla="*/ 0 h 24"/>
                  <a:gd name="T56" fmla="*/ 4 w 18"/>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4">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5" name="Freeform 1008"/>
              <p:cNvSpPr>
                <a:spLocks/>
              </p:cNvSpPr>
              <p:nvPr/>
            </p:nvSpPr>
            <p:spPr bwMode="auto">
              <a:xfrm>
                <a:off x="5145" y="2671"/>
                <a:ext cx="16" cy="10"/>
              </a:xfrm>
              <a:custGeom>
                <a:avLst/>
                <a:gdLst>
                  <a:gd name="T0" fmla="*/ 14 w 16"/>
                  <a:gd name="T1" fmla="*/ 10 h 10"/>
                  <a:gd name="T2" fmla="*/ 8 w 16"/>
                  <a:gd name="T3" fmla="*/ 8 h 10"/>
                  <a:gd name="T4" fmla="*/ 8 w 16"/>
                  <a:gd name="T5" fmla="*/ 8 h 10"/>
                  <a:gd name="T6" fmla="*/ 6 w 16"/>
                  <a:gd name="T7" fmla="*/ 8 h 10"/>
                  <a:gd name="T8" fmla="*/ 2 w 16"/>
                  <a:gd name="T9" fmla="*/ 4 h 10"/>
                  <a:gd name="T10" fmla="*/ 2 w 16"/>
                  <a:gd name="T11" fmla="*/ 4 h 10"/>
                  <a:gd name="T12" fmla="*/ 0 w 16"/>
                  <a:gd name="T13" fmla="*/ 2 h 10"/>
                  <a:gd name="T14" fmla="*/ 0 w 16"/>
                  <a:gd name="T15" fmla="*/ 2 h 10"/>
                  <a:gd name="T16" fmla="*/ 2 w 16"/>
                  <a:gd name="T17" fmla="*/ 2 h 10"/>
                  <a:gd name="T18" fmla="*/ 8 w 16"/>
                  <a:gd name="T19" fmla="*/ 0 h 10"/>
                  <a:gd name="T20" fmla="*/ 8 w 16"/>
                  <a:gd name="T21" fmla="*/ 0 h 10"/>
                  <a:gd name="T22" fmla="*/ 8 w 16"/>
                  <a:gd name="T23" fmla="*/ 0 h 10"/>
                  <a:gd name="T24" fmla="*/ 8 w 16"/>
                  <a:gd name="T25" fmla="*/ 0 h 10"/>
                  <a:gd name="T26" fmla="*/ 8 w 16"/>
                  <a:gd name="T27" fmla="*/ 0 h 10"/>
                  <a:gd name="T28" fmla="*/ 14 w 16"/>
                  <a:gd name="T29" fmla="*/ 2 h 10"/>
                  <a:gd name="T30" fmla="*/ 14 w 16"/>
                  <a:gd name="T31" fmla="*/ 2 h 10"/>
                  <a:gd name="T32" fmla="*/ 16 w 16"/>
                  <a:gd name="T33" fmla="*/ 4 h 10"/>
                  <a:gd name="T34" fmla="*/ 16 w 16"/>
                  <a:gd name="T35" fmla="*/ 8 h 10"/>
                  <a:gd name="T36" fmla="*/ 16 w 16"/>
                  <a:gd name="T37" fmla="*/ 8 h 10"/>
                  <a:gd name="T38" fmla="*/ 16 w 16"/>
                  <a:gd name="T39" fmla="*/ 10 h 10"/>
                  <a:gd name="T40" fmla="*/ 16 w 16"/>
                  <a:gd name="T41" fmla="*/ 10 h 10"/>
                  <a:gd name="T42" fmla="*/ 14 w 16"/>
                  <a:gd name="T43" fmla="*/ 10 h 10"/>
                  <a:gd name="T44" fmla="*/ 14 w 16"/>
                  <a:gd name="T45" fmla="*/ 10 h 10"/>
                  <a:gd name="T46" fmla="*/ 14 w 16"/>
                  <a:gd name="T47" fmla="*/ 10 h 10"/>
                  <a:gd name="T48" fmla="*/ 14 w 16"/>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10">
                    <a:moveTo>
                      <a:pt x="14" y="10"/>
                    </a:moveTo>
                    <a:lnTo>
                      <a:pt x="8" y="8"/>
                    </a:lnTo>
                    <a:lnTo>
                      <a:pt x="8" y="8"/>
                    </a:lnTo>
                    <a:lnTo>
                      <a:pt x="6" y="8"/>
                    </a:lnTo>
                    <a:lnTo>
                      <a:pt x="2" y="4"/>
                    </a:lnTo>
                    <a:lnTo>
                      <a:pt x="2" y="4"/>
                    </a:lnTo>
                    <a:lnTo>
                      <a:pt x="0" y="2"/>
                    </a:lnTo>
                    <a:lnTo>
                      <a:pt x="0" y="2"/>
                    </a:lnTo>
                    <a:lnTo>
                      <a:pt x="2" y="2"/>
                    </a:lnTo>
                    <a:lnTo>
                      <a:pt x="8" y="0"/>
                    </a:lnTo>
                    <a:lnTo>
                      <a:pt x="8" y="0"/>
                    </a:lnTo>
                    <a:lnTo>
                      <a:pt x="8" y="0"/>
                    </a:lnTo>
                    <a:lnTo>
                      <a:pt x="8" y="0"/>
                    </a:lnTo>
                    <a:lnTo>
                      <a:pt x="8" y="0"/>
                    </a:lnTo>
                    <a:lnTo>
                      <a:pt x="14" y="2"/>
                    </a:lnTo>
                    <a:lnTo>
                      <a:pt x="14" y="2"/>
                    </a:lnTo>
                    <a:lnTo>
                      <a:pt x="16" y="4"/>
                    </a:lnTo>
                    <a:lnTo>
                      <a:pt x="16" y="8"/>
                    </a:lnTo>
                    <a:lnTo>
                      <a:pt x="16" y="8"/>
                    </a:lnTo>
                    <a:lnTo>
                      <a:pt x="16" y="10"/>
                    </a:lnTo>
                    <a:lnTo>
                      <a:pt x="16" y="10"/>
                    </a:lnTo>
                    <a:lnTo>
                      <a:pt x="14" y="10"/>
                    </a:lnTo>
                    <a:lnTo>
                      <a:pt x="14" y="10"/>
                    </a:lnTo>
                    <a:lnTo>
                      <a:pt x="14" y="10"/>
                    </a:lnTo>
                    <a:lnTo>
                      <a:pt x="1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12" name="Freeform 1010"/>
            <p:cNvSpPr>
              <a:spLocks noEditPoints="1"/>
            </p:cNvSpPr>
            <p:nvPr/>
          </p:nvSpPr>
          <p:spPr bwMode="auto">
            <a:xfrm>
              <a:off x="5143" y="2669"/>
              <a:ext cx="20" cy="14"/>
            </a:xfrm>
            <a:custGeom>
              <a:avLst/>
              <a:gdLst>
                <a:gd name="T0" fmla="*/ 10 w 20"/>
                <a:gd name="T1" fmla="*/ 4 h 14"/>
                <a:gd name="T2" fmla="*/ 16 w 20"/>
                <a:gd name="T3" fmla="*/ 6 h 14"/>
                <a:gd name="T4" fmla="*/ 16 w 20"/>
                <a:gd name="T5" fmla="*/ 10 h 14"/>
                <a:gd name="T6" fmla="*/ 10 w 20"/>
                <a:gd name="T7" fmla="*/ 8 h 14"/>
                <a:gd name="T8" fmla="*/ 4 w 20"/>
                <a:gd name="T9" fmla="*/ 6 h 14"/>
                <a:gd name="T10" fmla="*/ 10 w 20"/>
                <a:gd name="T11" fmla="*/ 4 h 14"/>
                <a:gd name="T12" fmla="*/ 10 w 20"/>
                <a:gd name="T13" fmla="*/ 0 h 14"/>
                <a:gd name="T14" fmla="*/ 10 w 20"/>
                <a:gd name="T15" fmla="*/ 0 h 14"/>
                <a:gd name="T16" fmla="*/ 8 w 20"/>
                <a:gd name="T17" fmla="*/ 0 h 14"/>
                <a:gd name="T18" fmla="*/ 4 w 20"/>
                <a:gd name="T19" fmla="*/ 2 h 14"/>
                <a:gd name="T20" fmla="*/ 4 w 20"/>
                <a:gd name="T21" fmla="*/ 2 h 14"/>
                <a:gd name="T22" fmla="*/ 2 w 20"/>
                <a:gd name="T23" fmla="*/ 2 h 14"/>
                <a:gd name="T24" fmla="*/ 0 w 20"/>
                <a:gd name="T25" fmla="*/ 4 h 14"/>
                <a:gd name="T26" fmla="*/ 0 w 20"/>
                <a:gd name="T27" fmla="*/ 4 h 14"/>
                <a:gd name="T28" fmla="*/ 2 w 20"/>
                <a:gd name="T29" fmla="*/ 6 h 14"/>
                <a:gd name="T30" fmla="*/ 2 w 20"/>
                <a:gd name="T31" fmla="*/ 8 h 14"/>
                <a:gd name="T32" fmla="*/ 8 w 20"/>
                <a:gd name="T33" fmla="*/ 12 h 14"/>
                <a:gd name="T34" fmla="*/ 8 w 20"/>
                <a:gd name="T35" fmla="*/ 12 h 14"/>
                <a:gd name="T36" fmla="*/ 8 w 20"/>
                <a:gd name="T37" fmla="*/ 12 h 14"/>
                <a:gd name="T38" fmla="*/ 16 w 20"/>
                <a:gd name="T39" fmla="*/ 14 h 14"/>
                <a:gd name="T40" fmla="*/ 16 w 20"/>
                <a:gd name="T41" fmla="*/ 14 h 14"/>
                <a:gd name="T42" fmla="*/ 16 w 20"/>
                <a:gd name="T43" fmla="*/ 14 h 14"/>
                <a:gd name="T44" fmla="*/ 16 w 20"/>
                <a:gd name="T45" fmla="*/ 14 h 14"/>
                <a:gd name="T46" fmla="*/ 18 w 20"/>
                <a:gd name="T47" fmla="*/ 12 h 14"/>
                <a:gd name="T48" fmla="*/ 18 w 20"/>
                <a:gd name="T49" fmla="*/ 12 h 14"/>
                <a:gd name="T50" fmla="*/ 20 w 20"/>
                <a:gd name="T51" fmla="*/ 10 h 14"/>
                <a:gd name="T52" fmla="*/ 20 w 20"/>
                <a:gd name="T53" fmla="*/ 6 h 14"/>
                <a:gd name="T54" fmla="*/ 20 w 20"/>
                <a:gd name="T55" fmla="*/ 6 h 14"/>
                <a:gd name="T56" fmla="*/ 20 w 20"/>
                <a:gd name="T57" fmla="*/ 4 h 14"/>
                <a:gd name="T58" fmla="*/ 18 w 20"/>
                <a:gd name="T59" fmla="*/ 2 h 14"/>
                <a:gd name="T60" fmla="*/ 10 w 20"/>
                <a:gd name="T61" fmla="*/ 0 h 14"/>
                <a:gd name="T62" fmla="*/ 10 w 20"/>
                <a:gd name="T63" fmla="*/ 0 h 14"/>
                <a:gd name="T64" fmla="*/ 10 w 20"/>
                <a:gd name="T65" fmla="*/ 0 h 14"/>
                <a:gd name="T66" fmla="*/ 10 w 2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4">
                  <a:moveTo>
                    <a:pt x="10" y="4"/>
                  </a:moveTo>
                  <a:lnTo>
                    <a:pt x="16" y="6"/>
                  </a:lnTo>
                  <a:lnTo>
                    <a:pt x="16" y="10"/>
                  </a:lnTo>
                  <a:lnTo>
                    <a:pt x="10" y="8"/>
                  </a:lnTo>
                  <a:lnTo>
                    <a:pt x="4" y="6"/>
                  </a:lnTo>
                  <a:lnTo>
                    <a:pt x="10" y="4"/>
                  </a:lnTo>
                  <a:close/>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 name="Freeform 1011"/>
            <p:cNvSpPr>
              <a:spLocks/>
            </p:cNvSpPr>
            <p:nvPr/>
          </p:nvSpPr>
          <p:spPr bwMode="auto">
            <a:xfrm>
              <a:off x="5147" y="2673"/>
              <a:ext cx="12" cy="6"/>
            </a:xfrm>
            <a:custGeom>
              <a:avLst/>
              <a:gdLst>
                <a:gd name="T0" fmla="*/ 6 w 12"/>
                <a:gd name="T1" fmla="*/ 0 h 6"/>
                <a:gd name="T2" fmla="*/ 12 w 12"/>
                <a:gd name="T3" fmla="*/ 2 h 6"/>
                <a:gd name="T4" fmla="*/ 12 w 12"/>
                <a:gd name="T5" fmla="*/ 6 h 6"/>
                <a:gd name="T6" fmla="*/ 6 w 12"/>
                <a:gd name="T7" fmla="*/ 4 h 6"/>
                <a:gd name="T8" fmla="*/ 0 w 12"/>
                <a:gd name="T9" fmla="*/ 2 h 6"/>
                <a:gd name="T10" fmla="*/ 6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6" y="0"/>
                  </a:moveTo>
                  <a:lnTo>
                    <a:pt x="12" y="2"/>
                  </a:lnTo>
                  <a:lnTo>
                    <a:pt x="12" y="6"/>
                  </a:lnTo>
                  <a:lnTo>
                    <a:pt x="6" y="4"/>
                  </a:lnTo>
                  <a:lnTo>
                    <a:pt x="0"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 name="Freeform 1012"/>
            <p:cNvSpPr>
              <a:spLocks/>
            </p:cNvSpPr>
            <p:nvPr/>
          </p:nvSpPr>
          <p:spPr bwMode="auto">
            <a:xfrm>
              <a:off x="5143" y="2669"/>
              <a:ext cx="20" cy="14"/>
            </a:xfrm>
            <a:custGeom>
              <a:avLst/>
              <a:gdLst>
                <a:gd name="T0" fmla="*/ 10 w 20"/>
                <a:gd name="T1" fmla="*/ 0 h 14"/>
                <a:gd name="T2" fmla="*/ 10 w 20"/>
                <a:gd name="T3" fmla="*/ 0 h 14"/>
                <a:gd name="T4" fmla="*/ 8 w 20"/>
                <a:gd name="T5" fmla="*/ 0 h 14"/>
                <a:gd name="T6" fmla="*/ 4 w 20"/>
                <a:gd name="T7" fmla="*/ 2 h 14"/>
                <a:gd name="T8" fmla="*/ 4 w 20"/>
                <a:gd name="T9" fmla="*/ 2 h 14"/>
                <a:gd name="T10" fmla="*/ 2 w 20"/>
                <a:gd name="T11" fmla="*/ 2 h 14"/>
                <a:gd name="T12" fmla="*/ 0 w 20"/>
                <a:gd name="T13" fmla="*/ 4 h 14"/>
                <a:gd name="T14" fmla="*/ 0 w 20"/>
                <a:gd name="T15" fmla="*/ 4 h 14"/>
                <a:gd name="T16" fmla="*/ 2 w 20"/>
                <a:gd name="T17" fmla="*/ 6 h 14"/>
                <a:gd name="T18" fmla="*/ 2 w 20"/>
                <a:gd name="T19" fmla="*/ 8 h 14"/>
                <a:gd name="T20" fmla="*/ 8 w 20"/>
                <a:gd name="T21" fmla="*/ 12 h 14"/>
                <a:gd name="T22" fmla="*/ 8 w 20"/>
                <a:gd name="T23" fmla="*/ 12 h 14"/>
                <a:gd name="T24" fmla="*/ 8 w 20"/>
                <a:gd name="T25" fmla="*/ 12 h 14"/>
                <a:gd name="T26" fmla="*/ 16 w 20"/>
                <a:gd name="T27" fmla="*/ 14 h 14"/>
                <a:gd name="T28" fmla="*/ 16 w 20"/>
                <a:gd name="T29" fmla="*/ 14 h 14"/>
                <a:gd name="T30" fmla="*/ 16 w 20"/>
                <a:gd name="T31" fmla="*/ 14 h 14"/>
                <a:gd name="T32" fmla="*/ 16 w 20"/>
                <a:gd name="T33" fmla="*/ 14 h 14"/>
                <a:gd name="T34" fmla="*/ 18 w 20"/>
                <a:gd name="T35" fmla="*/ 12 h 14"/>
                <a:gd name="T36" fmla="*/ 18 w 20"/>
                <a:gd name="T37" fmla="*/ 12 h 14"/>
                <a:gd name="T38" fmla="*/ 20 w 20"/>
                <a:gd name="T39" fmla="*/ 10 h 14"/>
                <a:gd name="T40" fmla="*/ 20 w 20"/>
                <a:gd name="T41" fmla="*/ 6 h 14"/>
                <a:gd name="T42" fmla="*/ 20 w 20"/>
                <a:gd name="T43" fmla="*/ 6 h 14"/>
                <a:gd name="T44" fmla="*/ 20 w 20"/>
                <a:gd name="T45" fmla="*/ 4 h 14"/>
                <a:gd name="T46" fmla="*/ 18 w 20"/>
                <a:gd name="T47" fmla="*/ 2 h 14"/>
                <a:gd name="T48" fmla="*/ 10 w 20"/>
                <a:gd name="T49" fmla="*/ 0 h 14"/>
                <a:gd name="T50" fmla="*/ 10 w 20"/>
                <a:gd name="T51" fmla="*/ 0 h 14"/>
                <a:gd name="T52" fmla="*/ 10 w 20"/>
                <a:gd name="T53" fmla="*/ 0 h 14"/>
                <a:gd name="T54" fmla="*/ 10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5" name="Freeform 1013"/>
            <p:cNvSpPr>
              <a:spLocks/>
            </p:cNvSpPr>
            <p:nvPr/>
          </p:nvSpPr>
          <p:spPr bwMode="auto">
            <a:xfrm>
              <a:off x="5185" y="2811"/>
              <a:ext cx="42" cy="38"/>
            </a:xfrm>
            <a:custGeom>
              <a:avLst/>
              <a:gdLst>
                <a:gd name="T0" fmla="*/ 40 w 42"/>
                <a:gd name="T1" fmla="*/ 38 h 38"/>
                <a:gd name="T2" fmla="*/ 40 w 42"/>
                <a:gd name="T3" fmla="*/ 38 h 38"/>
                <a:gd name="T4" fmla="*/ 38 w 42"/>
                <a:gd name="T5" fmla="*/ 38 h 38"/>
                <a:gd name="T6" fmla="*/ 28 w 42"/>
                <a:gd name="T7" fmla="*/ 30 h 38"/>
                <a:gd name="T8" fmla="*/ 10 w 42"/>
                <a:gd name="T9" fmla="*/ 16 h 38"/>
                <a:gd name="T10" fmla="*/ 2 w 42"/>
                <a:gd name="T11" fmla="*/ 12 h 38"/>
                <a:gd name="T12" fmla="*/ 2 w 42"/>
                <a:gd name="T13" fmla="*/ 12 h 38"/>
                <a:gd name="T14" fmla="*/ 2 w 42"/>
                <a:gd name="T15" fmla="*/ 10 h 38"/>
                <a:gd name="T16" fmla="*/ 0 w 42"/>
                <a:gd name="T17" fmla="*/ 2 h 38"/>
                <a:gd name="T18" fmla="*/ 0 w 42"/>
                <a:gd name="T19" fmla="*/ 2 h 38"/>
                <a:gd name="T20" fmla="*/ 0 w 42"/>
                <a:gd name="T21" fmla="*/ 0 h 38"/>
                <a:gd name="T22" fmla="*/ 0 w 42"/>
                <a:gd name="T23" fmla="*/ 0 h 38"/>
                <a:gd name="T24" fmla="*/ 2 w 42"/>
                <a:gd name="T25" fmla="*/ 0 h 38"/>
                <a:gd name="T26" fmla="*/ 2 w 42"/>
                <a:gd name="T27" fmla="*/ 0 h 38"/>
                <a:gd name="T28" fmla="*/ 2 w 42"/>
                <a:gd name="T29" fmla="*/ 0 h 38"/>
                <a:gd name="T30" fmla="*/ 16 w 42"/>
                <a:gd name="T31" fmla="*/ 6 h 38"/>
                <a:gd name="T32" fmla="*/ 16 w 42"/>
                <a:gd name="T33" fmla="*/ 6 h 38"/>
                <a:gd name="T34" fmla="*/ 16 w 42"/>
                <a:gd name="T35" fmla="*/ 6 h 38"/>
                <a:gd name="T36" fmla="*/ 24 w 42"/>
                <a:gd name="T37" fmla="*/ 18 h 38"/>
                <a:gd name="T38" fmla="*/ 34 w 42"/>
                <a:gd name="T39" fmla="*/ 24 h 38"/>
                <a:gd name="T40" fmla="*/ 42 w 42"/>
                <a:gd name="T41" fmla="*/ 30 h 38"/>
                <a:gd name="T42" fmla="*/ 42 w 42"/>
                <a:gd name="T43" fmla="*/ 30 h 38"/>
                <a:gd name="T44" fmla="*/ 42 w 42"/>
                <a:gd name="T45" fmla="*/ 34 h 38"/>
                <a:gd name="T46" fmla="*/ 42 w 42"/>
                <a:gd name="T47" fmla="*/ 36 h 38"/>
                <a:gd name="T48" fmla="*/ 42 w 42"/>
                <a:gd name="T49" fmla="*/ 36 h 38"/>
                <a:gd name="T50" fmla="*/ 40 w 42"/>
                <a:gd name="T51" fmla="*/ 38 h 38"/>
                <a:gd name="T52" fmla="*/ 40 w 42"/>
                <a:gd name="T53" fmla="*/ 38 h 38"/>
                <a:gd name="T54" fmla="*/ 40 w 42"/>
                <a:gd name="T55" fmla="*/ 38 h 38"/>
                <a:gd name="T56" fmla="*/ 40 w 42"/>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38">
                  <a:moveTo>
                    <a:pt x="40" y="38"/>
                  </a:moveTo>
                  <a:lnTo>
                    <a:pt x="40" y="38"/>
                  </a:lnTo>
                  <a:lnTo>
                    <a:pt x="38" y="38"/>
                  </a:lnTo>
                  <a:lnTo>
                    <a:pt x="28" y="30"/>
                  </a:lnTo>
                  <a:lnTo>
                    <a:pt x="10" y="16"/>
                  </a:lnTo>
                  <a:lnTo>
                    <a:pt x="2" y="12"/>
                  </a:lnTo>
                  <a:lnTo>
                    <a:pt x="2" y="12"/>
                  </a:lnTo>
                  <a:lnTo>
                    <a:pt x="2" y="10"/>
                  </a:lnTo>
                  <a:lnTo>
                    <a:pt x="0" y="2"/>
                  </a:lnTo>
                  <a:lnTo>
                    <a:pt x="0" y="2"/>
                  </a:lnTo>
                  <a:lnTo>
                    <a:pt x="0" y="0"/>
                  </a:lnTo>
                  <a:lnTo>
                    <a:pt x="0" y="0"/>
                  </a:lnTo>
                  <a:lnTo>
                    <a:pt x="2" y="0"/>
                  </a:lnTo>
                  <a:lnTo>
                    <a:pt x="2" y="0"/>
                  </a:lnTo>
                  <a:lnTo>
                    <a:pt x="2" y="0"/>
                  </a:lnTo>
                  <a:lnTo>
                    <a:pt x="16" y="6"/>
                  </a:lnTo>
                  <a:lnTo>
                    <a:pt x="16" y="6"/>
                  </a:lnTo>
                  <a:lnTo>
                    <a:pt x="16" y="6"/>
                  </a:lnTo>
                  <a:lnTo>
                    <a:pt x="24" y="18"/>
                  </a:lnTo>
                  <a:lnTo>
                    <a:pt x="34" y="24"/>
                  </a:lnTo>
                  <a:lnTo>
                    <a:pt x="42" y="30"/>
                  </a:lnTo>
                  <a:lnTo>
                    <a:pt x="42" y="30"/>
                  </a:lnTo>
                  <a:lnTo>
                    <a:pt x="42" y="34"/>
                  </a:lnTo>
                  <a:lnTo>
                    <a:pt x="42" y="36"/>
                  </a:lnTo>
                  <a:lnTo>
                    <a:pt x="42"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 name="Freeform 1014"/>
            <p:cNvSpPr>
              <a:spLocks noEditPoints="1"/>
            </p:cNvSpPr>
            <p:nvPr/>
          </p:nvSpPr>
          <p:spPr bwMode="auto">
            <a:xfrm>
              <a:off x="5183" y="2809"/>
              <a:ext cx="48" cy="42"/>
            </a:xfrm>
            <a:custGeom>
              <a:avLst/>
              <a:gdLst>
                <a:gd name="T0" fmla="*/ 4 w 48"/>
                <a:gd name="T1" fmla="*/ 4 h 42"/>
                <a:gd name="T2" fmla="*/ 16 w 48"/>
                <a:gd name="T3" fmla="*/ 10 h 42"/>
                <a:gd name="T4" fmla="*/ 26 w 48"/>
                <a:gd name="T5" fmla="*/ 22 h 42"/>
                <a:gd name="T6" fmla="*/ 34 w 48"/>
                <a:gd name="T7" fmla="*/ 26 h 42"/>
                <a:gd name="T8" fmla="*/ 44 w 48"/>
                <a:gd name="T9" fmla="*/ 34 h 42"/>
                <a:gd name="T10" fmla="*/ 42 w 48"/>
                <a:gd name="T11" fmla="*/ 38 h 42"/>
                <a:gd name="T12" fmla="*/ 30 w 48"/>
                <a:gd name="T13" fmla="*/ 30 h 42"/>
                <a:gd name="T14" fmla="*/ 22 w 48"/>
                <a:gd name="T15" fmla="*/ 24 h 42"/>
                <a:gd name="T16" fmla="*/ 12 w 48"/>
                <a:gd name="T17" fmla="*/ 16 h 42"/>
                <a:gd name="T18" fmla="*/ 6 w 48"/>
                <a:gd name="T19" fmla="*/ 12 h 42"/>
                <a:gd name="T20" fmla="*/ 4 w 48"/>
                <a:gd name="T21" fmla="*/ 4 h 42"/>
                <a:gd name="T22" fmla="*/ 4 w 48"/>
                <a:gd name="T23" fmla="*/ 0 h 42"/>
                <a:gd name="T24" fmla="*/ 4 w 48"/>
                <a:gd name="T25" fmla="*/ 0 h 42"/>
                <a:gd name="T26" fmla="*/ 2 w 48"/>
                <a:gd name="T27" fmla="*/ 2 h 42"/>
                <a:gd name="T28" fmla="*/ 2 w 48"/>
                <a:gd name="T29" fmla="*/ 2 h 42"/>
                <a:gd name="T30" fmla="*/ 0 w 48"/>
                <a:gd name="T31" fmla="*/ 4 h 42"/>
                <a:gd name="T32" fmla="*/ 0 w 48"/>
                <a:gd name="T33" fmla="*/ 6 h 42"/>
                <a:gd name="T34" fmla="*/ 2 w 48"/>
                <a:gd name="T35" fmla="*/ 12 h 42"/>
                <a:gd name="T36" fmla="*/ 2 w 48"/>
                <a:gd name="T37" fmla="*/ 12 h 42"/>
                <a:gd name="T38" fmla="*/ 4 w 48"/>
                <a:gd name="T39" fmla="*/ 16 h 42"/>
                <a:gd name="T40" fmla="*/ 10 w 48"/>
                <a:gd name="T41" fmla="*/ 18 h 42"/>
                <a:gd name="T42" fmla="*/ 20 w 48"/>
                <a:gd name="T43" fmla="*/ 26 h 42"/>
                <a:gd name="T44" fmla="*/ 28 w 48"/>
                <a:gd name="T45" fmla="*/ 34 h 42"/>
                <a:gd name="T46" fmla="*/ 40 w 48"/>
                <a:gd name="T47" fmla="*/ 42 h 42"/>
                <a:gd name="T48" fmla="*/ 40 w 48"/>
                <a:gd name="T49" fmla="*/ 42 h 42"/>
                <a:gd name="T50" fmla="*/ 42 w 48"/>
                <a:gd name="T51" fmla="*/ 42 h 42"/>
                <a:gd name="T52" fmla="*/ 42 w 48"/>
                <a:gd name="T53" fmla="*/ 42 h 42"/>
                <a:gd name="T54" fmla="*/ 42 w 48"/>
                <a:gd name="T55" fmla="*/ 42 h 42"/>
                <a:gd name="T56" fmla="*/ 42 w 48"/>
                <a:gd name="T57" fmla="*/ 42 h 42"/>
                <a:gd name="T58" fmla="*/ 44 w 48"/>
                <a:gd name="T59" fmla="*/ 40 h 42"/>
                <a:gd name="T60" fmla="*/ 46 w 48"/>
                <a:gd name="T61" fmla="*/ 36 h 42"/>
                <a:gd name="T62" fmla="*/ 46 w 48"/>
                <a:gd name="T63" fmla="*/ 36 h 42"/>
                <a:gd name="T64" fmla="*/ 48 w 48"/>
                <a:gd name="T65" fmla="*/ 34 h 42"/>
                <a:gd name="T66" fmla="*/ 46 w 48"/>
                <a:gd name="T67" fmla="*/ 32 h 42"/>
                <a:gd name="T68" fmla="*/ 36 w 48"/>
                <a:gd name="T69" fmla="*/ 24 h 42"/>
                <a:gd name="T70" fmla="*/ 36 w 48"/>
                <a:gd name="T71" fmla="*/ 24 h 42"/>
                <a:gd name="T72" fmla="*/ 36 w 48"/>
                <a:gd name="T73" fmla="*/ 24 h 42"/>
                <a:gd name="T74" fmla="*/ 28 w 48"/>
                <a:gd name="T75" fmla="*/ 18 h 42"/>
                <a:gd name="T76" fmla="*/ 20 w 48"/>
                <a:gd name="T77" fmla="*/ 8 h 42"/>
                <a:gd name="T78" fmla="*/ 20 w 48"/>
                <a:gd name="T79" fmla="*/ 8 h 42"/>
                <a:gd name="T80" fmla="*/ 18 w 48"/>
                <a:gd name="T81" fmla="*/ 6 h 42"/>
                <a:gd name="T82" fmla="*/ 6 w 48"/>
                <a:gd name="T83" fmla="*/ 0 h 42"/>
                <a:gd name="T84" fmla="*/ 6 w 48"/>
                <a:gd name="T85" fmla="*/ 0 h 42"/>
                <a:gd name="T86" fmla="*/ 4 w 48"/>
                <a:gd name="T87" fmla="*/ 0 h 42"/>
                <a:gd name="T88" fmla="*/ 4 w 4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42">
                  <a:moveTo>
                    <a:pt x="4" y="4"/>
                  </a:moveTo>
                  <a:lnTo>
                    <a:pt x="16" y="10"/>
                  </a:lnTo>
                  <a:lnTo>
                    <a:pt x="26" y="22"/>
                  </a:lnTo>
                  <a:lnTo>
                    <a:pt x="34" y="26"/>
                  </a:lnTo>
                  <a:lnTo>
                    <a:pt x="44" y="34"/>
                  </a:lnTo>
                  <a:lnTo>
                    <a:pt x="42" y="38"/>
                  </a:lnTo>
                  <a:lnTo>
                    <a:pt x="30" y="30"/>
                  </a:lnTo>
                  <a:lnTo>
                    <a:pt x="22" y="24"/>
                  </a:lnTo>
                  <a:lnTo>
                    <a:pt x="12" y="16"/>
                  </a:lnTo>
                  <a:lnTo>
                    <a:pt x="6" y="12"/>
                  </a:lnTo>
                  <a:lnTo>
                    <a:pt x="4" y="4"/>
                  </a:lnTo>
                  <a:close/>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 name="Freeform 1015"/>
            <p:cNvSpPr>
              <a:spLocks/>
            </p:cNvSpPr>
            <p:nvPr/>
          </p:nvSpPr>
          <p:spPr bwMode="auto">
            <a:xfrm>
              <a:off x="5187" y="2813"/>
              <a:ext cx="40" cy="34"/>
            </a:xfrm>
            <a:custGeom>
              <a:avLst/>
              <a:gdLst>
                <a:gd name="T0" fmla="*/ 0 w 40"/>
                <a:gd name="T1" fmla="*/ 0 h 34"/>
                <a:gd name="T2" fmla="*/ 12 w 40"/>
                <a:gd name="T3" fmla="*/ 6 h 34"/>
                <a:gd name="T4" fmla="*/ 22 w 40"/>
                <a:gd name="T5" fmla="*/ 18 h 34"/>
                <a:gd name="T6" fmla="*/ 30 w 40"/>
                <a:gd name="T7" fmla="*/ 22 h 34"/>
                <a:gd name="T8" fmla="*/ 40 w 40"/>
                <a:gd name="T9" fmla="*/ 30 h 34"/>
                <a:gd name="T10" fmla="*/ 38 w 40"/>
                <a:gd name="T11" fmla="*/ 34 h 34"/>
                <a:gd name="T12" fmla="*/ 26 w 40"/>
                <a:gd name="T13" fmla="*/ 26 h 34"/>
                <a:gd name="T14" fmla="*/ 18 w 40"/>
                <a:gd name="T15" fmla="*/ 20 h 34"/>
                <a:gd name="T16" fmla="*/ 8 w 40"/>
                <a:gd name="T17" fmla="*/ 12 h 34"/>
                <a:gd name="T18" fmla="*/ 2 w 40"/>
                <a:gd name="T19" fmla="*/ 8 h 34"/>
                <a:gd name="T20" fmla="*/ 0 w 4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4">
                  <a:moveTo>
                    <a:pt x="0" y="0"/>
                  </a:moveTo>
                  <a:lnTo>
                    <a:pt x="12" y="6"/>
                  </a:lnTo>
                  <a:lnTo>
                    <a:pt x="22" y="18"/>
                  </a:lnTo>
                  <a:lnTo>
                    <a:pt x="30" y="22"/>
                  </a:lnTo>
                  <a:lnTo>
                    <a:pt x="40" y="30"/>
                  </a:lnTo>
                  <a:lnTo>
                    <a:pt x="38" y="34"/>
                  </a:lnTo>
                  <a:lnTo>
                    <a:pt x="26" y="26"/>
                  </a:lnTo>
                  <a:lnTo>
                    <a:pt x="18" y="20"/>
                  </a:lnTo>
                  <a:lnTo>
                    <a:pt x="8" y="12"/>
                  </a:lnTo>
                  <a:lnTo>
                    <a:pt x="2"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 name="Freeform 1016"/>
            <p:cNvSpPr>
              <a:spLocks/>
            </p:cNvSpPr>
            <p:nvPr/>
          </p:nvSpPr>
          <p:spPr bwMode="auto">
            <a:xfrm>
              <a:off x="5183" y="2809"/>
              <a:ext cx="48" cy="42"/>
            </a:xfrm>
            <a:custGeom>
              <a:avLst/>
              <a:gdLst>
                <a:gd name="T0" fmla="*/ 4 w 48"/>
                <a:gd name="T1" fmla="*/ 0 h 42"/>
                <a:gd name="T2" fmla="*/ 4 w 48"/>
                <a:gd name="T3" fmla="*/ 0 h 42"/>
                <a:gd name="T4" fmla="*/ 2 w 48"/>
                <a:gd name="T5" fmla="*/ 2 h 42"/>
                <a:gd name="T6" fmla="*/ 2 w 48"/>
                <a:gd name="T7" fmla="*/ 2 h 42"/>
                <a:gd name="T8" fmla="*/ 0 w 48"/>
                <a:gd name="T9" fmla="*/ 4 h 42"/>
                <a:gd name="T10" fmla="*/ 0 w 48"/>
                <a:gd name="T11" fmla="*/ 6 h 42"/>
                <a:gd name="T12" fmla="*/ 2 w 48"/>
                <a:gd name="T13" fmla="*/ 12 h 42"/>
                <a:gd name="T14" fmla="*/ 2 w 48"/>
                <a:gd name="T15" fmla="*/ 12 h 42"/>
                <a:gd name="T16" fmla="*/ 4 w 48"/>
                <a:gd name="T17" fmla="*/ 16 h 42"/>
                <a:gd name="T18" fmla="*/ 10 w 48"/>
                <a:gd name="T19" fmla="*/ 18 h 42"/>
                <a:gd name="T20" fmla="*/ 20 w 48"/>
                <a:gd name="T21" fmla="*/ 26 h 42"/>
                <a:gd name="T22" fmla="*/ 28 w 48"/>
                <a:gd name="T23" fmla="*/ 34 h 42"/>
                <a:gd name="T24" fmla="*/ 40 w 48"/>
                <a:gd name="T25" fmla="*/ 42 h 42"/>
                <a:gd name="T26" fmla="*/ 40 w 48"/>
                <a:gd name="T27" fmla="*/ 42 h 42"/>
                <a:gd name="T28" fmla="*/ 42 w 48"/>
                <a:gd name="T29" fmla="*/ 42 h 42"/>
                <a:gd name="T30" fmla="*/ 42 w 48"/>
                <a:gd name="T31" fmla="*/ 42 h 42"/>
                <a:gd name="T32" fmla="*/ 42 w 48"/>
                <a:gd name="T33" fmla="*/ 42 h 42"/>
                <a:gd name="T34" fmla="*/ 42 w 48"/>
                <a:gd name="T35" fmla="*/ 42 h 42"/>
                <a:gd name="T36" fmla="*/ 44 w 48"/>
                <a:gd name="T37" fmla="*/ 40 h 42"/>
                <a:gd name="T38" fmla="*/ 46 w 48"/>
                <a:gd name="T39" fmla="*/ 36 h 42"/>
                <a:gd name="T40" fmla="*/ 46 w 48"/>
                <a:gd name="T41" fmla="*/ 36 h 42"/>
                <a:gd name="T42" fmla="*/ 48 w 48"/>
                <a:gd name="T43" fmla="*/ 34 h 42"/>
                <a:gd name="T44" fmla="*/ 46 w 48"/>
                <a:gd name="T45" fmla="*/ 32 h 42"/>
                <a:gd name="T46" fmla="*/ 36 w 48"/>
                <a:gd name="T47" fmla="*/ 24 h 42"/>
                <a:gd name="T48" fmla="*/ 36 w 48"/>
                <a:gd name="T49" fmla="*/ 24 h 42"/>
                <a:gd name="T50" fmla="*/ 36 w 48"/>
                <a:gd name="T51" fmla="*/ 24 h 42"/>
                <a:gd name="T52" fmla="*/ 28 w 48"/>
                <a:gd name="T53" fmla="*/ 18 h 42"/>
                <a:gd name="T54" fmla="*/ 20 w 48"/>
                <a:gd name="T55" fmla="*/ 8 h 42"/>
                <a:gd name="T56" fmla="*/ 20 w 48"/>
                <a:gd name="T57" fmla="*/ 8 h 42"/>
                <a:gd name="T58" fmla="*/ 18 w 48"/>
                <a:gd name="T59" fmla="*/ 6 h 42"/>
                <a:gd name="T60" fmla="*/ 6 w 48"/>
                <a:gd name="T61" fmla="*/ 0 h 42"/>
                <a:gd name="T62" fmla="*/ 6 w 48"/>
                <a:gd name="T63" fmla="*/ 0 h 42"/>
                <a:gd name="T64" fmla="*/ 4 w 48"/>
                <a:gd name="T65" fmla="*/ 0 h 42"/>
                <a:gd name="T66" fmla="*/ 4 w 48"/>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42">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 name="Freeform 1017"/>
            <p:cNvSpPr>
              <a:spLocks/>
            </p:cNvSpPr>
            <p:nvPr/>
          </p:nvSpPr>
          <p:spPr bwMode="auto">
            <a:xfrm>
              <a:off x="5309" y="3031"/>
              <a:ext cx="82" cy="120"/>
            </a:xfrm>
            <a:custGeom>
              <a:avLst/>
              <a:gdLst>
                <a:gd name="T0" fmla="*/ 30 w 82"/>
                <a:gd name="T1" fmla="*/ 120 h 120"/>
                <a:gd name="T2" fmla="*/ 28 w 82"/>
                <a:gd name="T3" fmla="*/ 118 h 120"/>
                <a:gd name="T4" fmla="*/ 26 w 82"/>
                <a:gd name="T5" fmla="*/ 108 h 120"/>
                <a:gd name="T6" fmla="*/ 32 w 82"/>
                <a:gd name="T7" fmla="*/ 100 h 120"/>
                <a:gd name="T8" fmla="*/ 26 w 82"/>
                <a:gd name="T9" fmla="*/ 90 h 120"/>
                <a:gd name="T10" fmla="*/ 18 w 82"/>
                <a:gd name="T11" fmla="*/ 88 h 120"/>
                <a:gd name="T12" fmla="*/ 12 w 82"/>
                <a:gd name="T13" fmla="*/ 80 h 120"/>
                <a:gd name="T14" fmla="*/ 12 w 82"/>
                <a:gd name="T15" fmla="*/ 78 h 120"/>
                <a:gd name="T16" fmla="*/ 12 w 82"/>
                <a:gd name="T17" fmla="*/ 78 h 120"/>
                <a:gd name="T18" fmla="*/ 24 w 82"/>
                <a:gd name="T19" fmla="*/ 70 h 120"/>
                <a:gd name="T20" fmla="*/ 26 w 82"/>
                <a:gd name="T21" fmla="*/ 42 h 120"/>
                <a:gd name="T22" fmla="*/ 8 w 82"/>
                <a:gd name="T23" fmla="*/ 26 h 120"/>
                <a:gd name="T24" fmla="*/ 6 w 82"/>
                <a:gd name="T25" fmla="*/ 24 h 120"/>
                <a:gd name="T26" fmla="*/ 0 w 82"/>
                <a:gd name="T27" fmla="*/ 2 h 120"/>
                <a:gd name="T28" fmla="*/ 0 w 82"/>
                <a:gd name="T29" fmla="*/ 0 h 120"/>
                <a:gd name="T30" fmla="*/ 2 w 82"/>
                <a:gd name="T31" fmla="*/ 0 h 120"/>
                <a:gd name="T32" fmla="*/ 2 w 82"/>
                <a:gd name="T33" fmla="*/ 0 h 120"/>
                <a:gd name="T34" fmla="*/ 22 w 82"/>
                <a:gd name="T35" fmla="*/ 16 h 120"/>
                <a:gd name="T36" fmla="*/ 30 w 82"/>
                <a:gd name="T37" fmla="*/ 22 h 120"/>
                <a:gd name="T38" fmla="*/ 28 w 82"/>
                <a:gd name="T39" fmla="*/ 30 h 120"/>
                <a:gd name="T40" fmla="*/ 36 w 82"/>
                <a:gd name="T41" fmla="*/ 42 h 120"/>
                <a:gd name="T42" fmla="*/ 38 w 82"/>
                <a:gd name="T43" fmla="*/ 40 h 120"/>
                <a:gd name="T44" fmla="*/ 40 w 82"/>
                <a:gd name="T45" fmla="*/ 40 h 120"/>
                <a:gd name="T46" fmla="*/ 40 w 82"/>
                <a:gd name="T47" fmla="*/ 40 h 120"/>
                <a:gd name="T48" fmla="*/ 44 w 82"/>
                <a:gd name="T49" fmla="*/ 46 h 120"/>
                <a:gd name="T50" fmla="*/ 58 w 82"/>
                <a:gd name="T51" fmla="*/ 58 h 120"/>
                <a:gd name="T52" fmla="*/ 72 w 82"/>
                <a:gd name="T53" fmla="*/ 52 h 120"/>
                <a:gd name="T54" fmla="*/ 74 w 82"/>
                <a:gd name="T55" fmla="*/ 52 h 120"/>
                <a:gd name="T56" fmla="*/ 74 w 82"/>
                <a:gd name="T57" fmla="*/ 52 h 120"/>
                <a:gd name="T58" fmla="*/ 80 w 82"/>
                <a:gd name="T59" fmla="*/ 52 h 120"/>
                <a:gd name="T60" fmla="*/ 82 w 82"/>
                <a:gd name="T61" fmla="*/ 66 h 120"/>
                <a:gd name="T62" fmla="*/ 80 w 82"/>
                <a:gd name="T63" fmla="*/ 66 h 120"/>
                <a:gd name="T64" fmla="*/ 74 w 82"/>
                <a:gd name="T65" fmla="*/ 78 h 120"/>
                <a:gd name="T66" fmla="*/ 72 w 82"/>
                <a:gd name="T67" fmla="*/ 80 h 120"/>
                <a:gd name="T68" fmla="*/ 60 w 82"/>
                <a:gd name="T69" fmla="*/ 94 h 120"/>
                <a:gd name="T70" fmla="*/ 60 w 82"/>
                <a:gd name="T71" fmla="*/ 94 h 120"/>
                <a:gd name="T72" fmla="*/ 48 w 82"/>
                <a:gd name="T73" fmla="*/ 112 h 120"/>
                <a:gd name="T74" fmla="*/ 38 w 82"/>
                <a:gd name="T75" fmla="*/ 120 h 120"/>
                <a:gd name="T76" fmla="*/ 36 w 82"/>
                <a:gd name="T77" fmla="*/ 120 h 120"/>
                <a:gd name="T78" fmla="*/ 36 w 82"/>
                <a:gd name="T7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120">
                  <a:moveTo>
                    <a:pt x="36" y="120"/>
                  </a:moveTo>
                  <a:lnTo>
                    <a:pt x="30" y="120"/>
                  </a:lnTo>
                  <a:lnTo>
                    <a:pt x="30" y="120"/>
                  </a:lnTo>
                  <a:lnTo>
                    <a:pt x="28" y="118"/>
                  </a:lnTo>
                  <a:lnTo>
                    <a:pt x="26" y="108"/>
                  </a:lnTo>
                  <a:lnTo>
                    <a:pt x="26" y="108"/>
                  </a:lnTo>
                  <a:lnTo>
                    <a:pt x="26" y="106"/>
                  </a:lnTo>
                  <a:lnTo>
                    <a:pt x="32" y="100"/>
                  </a:lnTo>
                  <a:lnTo>
                    <a:pt x="32" y="96"/>
                  </a:lnTo>
                  <a:lnTo>
                    <a:pt x="26" y="90"/>
                  </a:lnTo>
                  <a:lnTo>
                    <a:pt x="18" y="88"/>
                  </a:lnTo>
                  <a:lnTo>
                    <a:pt x="18" y="88"/>
                  </a:lnTo>
                  <a:lnTo>
                    <a:pt x="18" y="88"/>
                  </a:lnTo>
                  <a:lnTo>
                    <a:pt x="12" y="80"/>
                  </a:lnTo>
                  <a:lnTo>
                    <a:pt x="12" y="80"/>
                  </a:lnTo>
                  <a:lnTo>
                    <a:pt x="12" y="78"/>
                  </a:lnTo>
                  <a:lnTo>
                    <a:pt x="12" y="78"/>
                  </a:lnTo>
                  <a:lnTo>
                    <a:pt x="12" y="78"/>
                  </a:lnTo>
                  <a:lnTo>
                    <a:pt x="20" y="72"/>
                  </a:lnTo>
                  <a:lnTo>
                    <a:pt x="24" y="70"/>
                  </a:lnTo>
                  <a:lnTo>
                    <a:pt x="24" y="54"/>
                  </a:lnTo>
                  <a:lnTo>
                    <a:pt x="26" y="42"/>
                  </a:lnTo>
                  <a:lnTo>
                    <a:pt x="18" y="32"/>
                  </a:lnTo>
                  <a:lnTo>
                    <a:pt x="8" y="26"/>
                  </a:lnTo>
                  <a:lnTo>
                    <a:pt x="8" y="26"/>
                  </a:lnTo>
                  <a:lnTo>
                    <a:pt x="6" y="24"/>
                  </a:lnTo>
                  <a:lnTo>
                    <a:pt x="0" y="10"/>
                  </a:lnTo>
                  <a:lnTo>
                    <a:pt x="0" y="2"/>
                  </a:lnTo>
                  <a:lnTo>
                    <a:pt x="0" y="2"/>
                  </a:lnTo>
                  <a:lnTo>
                    <a:pt x="0" y="0"/>
                  </a:lnTo>
                  <a:lnTo>
                    <a:pt x="0" y="0"/>
                  </a:lnTo>
                  <a:lnTo>
                    <a:pt x="2" y="0"/>
                  </a:lnTo>
                  <a:lnTo>
                    <a:pt x="2" y="0"/>
                  </a:lnTo>
                  <a:lnTo>
                    <a:pt x="2" y="0"/>
                  </a:lnTo>
                  <a:lnTo>
                    <a:pt x="12" y="8"/>
                  </a:lnTo>
                  <a:lnTo>
                    <a:pt x="22" y="16"/>
                  </a:lnTo>
                  <a:lnTo>
                    <a:pt x="30" y="22"/>
                  </a:lnTo>
                  <a:lnTo>
                    <a:pt x="30" y="22"/>
                  </a:lnTo>
                  <a:lnTo>
                    <a:pt x="30" y="24"/>
                  </a:lnTo>
                  <a:lnTo>
                    <a:pt x="28" y="30"/>
                  </a:lnTo>
                  <a:lnTo>
                    <a:pt x="32" y="38"/>
                  </a:lnTo>
                  <a:lnTo>
                    <a:pt x="36" y="42"/>
                  </a:lnTo>
                  <a:lnTo>
                    <a:pt x="38" y="40"/>
                  </a:lnTo>
                  <a:lnTo>
                    <a:pt x="38" y="40"/>
                  </a:lnTo>
                  <a:lnTo>
                    <a:pt x="40" y="40"/>
                  </a:lnTo>
                  <a:lnTo>
                    <a:pt x="40" y="40"/>
                  </a:lnTo>
                  <a:lnTo>
                    <a:pt x="40" y="40"/>
                  </a:lnTo>
                  <a:lnTo>
                    <a:pt x="40" y="40"/>
                  </a:lnTo>
                  <a:lnTo>
                    <a:pt x="42" y="40"/>
                  </a:lnTo>
                  <a:lnTo>
                    <a:pt x="44" y="46"/>
                  </a:lnTo>
                  <a:lnTo>
                    <a:pt x="48" y="52"/>
                  </a:lnTo>
                  <a:lnTo>
                    <a:pt x="58" y="58"/>
                  </a:lnTo>
                  <a:lnTo>
                    <a:pt x="68" y="56"/>
                  </a:lnTo>
                  <a:lnTo>
                    <a:pt x="72" y="52"/>
                  </a:lnTo>
                  <a:lnTo>
                    <a:pt x="72" y="52"/>
                  </a:lnTo>
                  <a:lnTo>
                    <a:pt x="74" y="52"/>
                  </a:lnTo>
                  <a:lnTo>
                    <a:pt x="74" y="52"/>
                  </a:lnTo>
                  <a:lnTo>
                    <a:pt x="74" y="52"/>
                  </a:lnTo>
                  <a:lnTo>
                    <a:pt x="80" y="52"/>
                  </a:lnTo>
                  <a:lnTo>
                    <a:pt x="80" y="52"/>
                  </a:lnTo>
                  <a:lnTo>
                    <a:pt x="82" y="54"/>
                  </a:lnTo>
                  <a:lnTo>
                    <a:pt x="82" y="66"/>
                  </a:lnTo>
                  <a:lnTo>
                    <a:pt x="82" y="66"/>
                  </a:lnTo>
                  <a:lnTo>
                    <a:pt x="80" y="66"/>
                  </a:lnTo>
                  <a:lnTo>
                    <a:pt x="74" y="72"/>
                  </a:lnTo>
                  <a:lnTo>
                    <a:pt x="74" y="78"/>
                  </a:lnTo>
                  <a:lnTo>
                    <a:pt x="74" y="78"/>
                  </a:lnTo>
                  <a:lnTo>
                    <a:pt x="72" y="80"/>
                  </a:lnTo>
                  <a:lnTo>
                    <a:pt x="60" y="80"/>
                  </a:lnTo>
                  <a:lnTo>
                    <a:pt x="60" y="94"/>
                  </a:lnTo>
                  <a:lnTo>
                    <a:pt x="60" y="94"/>
                  </a:lnTo>
                  <a:lnTo>
                    <a:pt x="60" y="94"/>
                  </a:lnTo>
                  <a:lnTo>
                    <a:pt x="54" y="102"/>
                  </a:lnTo>
                  <a:lnTo>
                    <a:pt x="48" y="112"/>
                  </a:lnTo>
                  <a:lnTo>
                    <a:pt x="38" y="120"/>
                  </a:lnTo>
                  <a:lnTo>
                    <a:pt x="38" y="120"/>
                  </a:lnTo>
                  <a:lnTo>
                    <a:pt x="36" y="120"/>
                  </a:lnTo>
                  <a:lnTo>
                    <a:pt x="36" y="120"/>
                  </a:lnTo>
                  <a:lnTo>
                    <a:pt x="36" y="120"/>
                  </a:lnTo>
                  <a:lnTo>
                    <a:pt x="36"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 name="Freeform 1018"/>
            <p:cNvSpPr>
              <a:spLocks noEditPoints="1"/>
            </p:cNvSpPr>
            <p:nvPr/>
          </p:nvSpPr>
          <p:spPr bwMode="auto">
            <a:xfrm>
              <a:off x="5307" y="3029"/>
              <a:ext cx="86" cy="124"/>
            </a:xfrm>
            <a:custGeom>
              <a:avLst/>
              <a:gdLst>
                <a:gd name="T0" fmla="*/ 22 w 86"/>
                <a:gd name="T1" fmla="*/ 18 h 124"/>
                <a:gd name="T2" fmla="*/ 34 w 86"/>
                <a:gd name="T3" fmla="*/ 42 h 124"/>
                <a:gd name="T4" fmla="*/ 44 w 86"/>
                <a:gd name="T5" fmla="*/ 48 h 124"/>
                <a:gd name="T6" fmla="*/ 70 w 86"/>
                <a:gd name="T7" fmla="*/ 60 h 124"/>
                <a:gd name="T8" fmla="*/ 82 w 86"/>
                <a:gd name="T9" fmla="*/ 68 h 124"/>
                <a:gd name="T10" fmla="*/ 60 w 86"/>
                <a:gd name="T11" fmla="*/ 82 h 124"/>
                <a:gd name="T12" fmla="*/ 54 w 86"/>
                <a:gd name="T13" fmla="*/ 102 h 124"/>
                <a:gd name="T14" fmla="*/ 32 w 86"/>
                <a:gd name="T15" fmla="*/ 120 h 124"/>
                <a:gd name="T16" fmla="*/ 36 w 86"/>
                <a:gd name="T17" fmla="*/ 96 h 124"/>
                <a:gd name="T18" fmla="*/ 16 w 86"/>
                <a:gd name="T19" fmla="*/ 82 h 124"/>
                <a:gd name="T20" fmla="*/ 28 w 86"/>
                <a:gd name="T21" fmla="*/ 56 h 124"/>
                <a:gd name="T22" fmla="*/ 10 w 86"/>
                <a:gd name="T23" fmla="*/ 26 h 124"/>
                <a:gd name="T24" fmla="*/ 2 w 86"/>
                <a:gd name="T25" fmla="*/ 0 h 124"/>
                <a:gd name="T26" fmla="*/ 2 w 86"/>
                <a:gd name="T27" fmla="*/ 0 h 124"/>
                <a:gd name="T28" fmla="*/ 0 w 86"/>
                <a:gd name="T29" fmla="*/ 12 h 124"/>
                <a:gd name="T30" fmla="*/ 6 w 86"/>
                <a:gd name="T31" fmla="*/ 28 h 124"/>
                <a:gd name="T32" fmla="*/ 18 w 86"/>
                <a:gd name="T33" fmla="*/ 36 h 124"/>
                <a:gd name="T34" fmla="*/ 24 w 86"/>
                <a:gd name="T35" fmla="*/ 56 h 124"/>
                <a:gd name="T36" fmla="*/ 20 w 86"/>
                <a:gd name="T37" fmla="*/ 72 h 124"/>
                <a:gd name="T38" fmla="*/ 12 w 86"/>
                <a:gd name="T39" fmla="*/ 80 h 124"/>
                <a:gd name="T40" fmla="*/ 18 w 86"/>
                <a:gd name="T41" fmla="*/ 90 h 124"/>
                <a:gd name="T42" fmla="*/ 28 w 86"/>
                <a:gd name="T43" fmla="*/ 94 h 124"/>
                <a:gd name="T44" fmla="*/ 26 w 86"/>
                <a:gd name="T45" fmla="*/ 106 h 124"/>
                <a:gd name="T46" fmla="*/ 28 w 86"/>
                <a:gd name="T47" fmla="*/ 120 h 124"/>
                <a:gd name="T48" fmla="*/ 30 w 86"/>
                <a:gd name="T49" fmla="*/ 124 h 124"/>
                <a:gd name="T50" fmla="*/ 38 w 86"/>
                <a:gd name="T51" fmla="*/ 124 h 124"/>
                <a:gd name="T52" fmla="*/ 50 w 86"/>
                <a:gd name="T53" fmla="*/ 116 h 124"/>
                <a:gd name="T54" fmla="*/ 58 w 86"/>
                <a:gd name="T55" fmla="*/ 104 h 124"/>
                <a:gd name="T56" fmla="*/ 64 w 86"/>
                <a:gd name="T57" fmla="*/ 96 h 124"/>
                <a:gd name="T58" fmla="*/ 74 w 86"/>
                <a:gd name="T59" fmla="*/ 84 h 124"/>
                <a:gd name="T60" fmla="*/ 78 w 86"/>
                <a:gd name="T61" fmla="*/ 80 h 124"/>
                <a:gd name="T62" fmla="*/ 84 w 86"/>
                <a:gd name="T63" fmla="*/ 70 h 124"/>
                <a:gd name="T64" fmla="*/ 86 w 86"/>
                <a:gd name="T65" fmla="*/ 56 h 124"/>
                <a:gd name="T66" fmla="*/ 78 w 86"/>
                <a:gd name="T67" fmla="*/ 52 h 124"/>
                <a:gd name="T68" fmla="*/ 76 w 86"/>
                <a:gd name="T69" fmla="*/ 52 h 124"/>
                <a:gd name="T70" fmla="*/ 60 w 86"/>
                <a:gd name="T71" fmla="*/ 58 h 124"/>
                <a:gd name="T72" fmla="*/ 46 w 86"/>
                <a:gd name="T73" fmla="*/ 42 h 124"/>
                <a:gd name="T74" fmla="*/ 44 w 86"/>
                <a:gd name="T75" fmla="*/ 40 h 124"/>
                <a:gd name="T76" fmla="*/ 40 w 86"/>
                <a:gd name="T77" fmla="*/ 40 h 124"/>
                <a:gd name="T78" fmla="*/ 32 w 86"/>
                <a:gd name="T79" fmla="*/ 32 h 124"/>
                <a:gd name="T80" fmla="*/ 32 w 86"/>
                <a:gd name="T81" fmla="*/ 22 h 124"/>
                <a:gd name="T82" fmla="*/ 24 w 86"/>
                <a:gd name="T83" fmla="*/ 16 h 124"/>
                <a:gd name="T84" fmla="*/ 6 w 86"/>
                <a:gd name="T8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124">
                  <a:moveTo>
                    <a:pt x="4" y="4"/>
                  </a:moveTo>
                  <a:lnTo>
                    <a:pt x="12" y="12"/>
                  </a:lnTo>
                  <a:lnTo>
                    <a:pt x="22" y="18"/>
                  </a:lnTo>
                  <a:lnTo>
                    <a:pt x="30" y="26"/>
                  </a:lnTo>
                  <a:lnTo>
                    <a:pt x="28" y="32"/>
                  </a:lnTo>
                  <a:lnTo>
                    <a:pt x="34" y="42"/>
                  </a:lnTo>
                  <a:lnTo>
                    <a:pt x="36" y="48"/>
                  </a:lnTo>
                  <a:lnTo>
                    <a:pt x="42" y="44"/>
                  </a:lnTo>
                  <a:lnTo>
                    <a:pt x="44" y="48"/>
                  </a:lnTo>
                  <a:lnTo>
                    <a:pt x="50" y="56"/>
                  </a:lnTo>
                  <a:lnTo>
                    <a:pt x="60" y="62"/>
                  </a:lnTo>
                  <a:lnTo>
                    <a:pt x="70" y="60"/>
                  </a:lnTo>
                  <a:lnTo>
                    <a:pt x="76" y="56"/>
                  </a:lnTo>
                  <a:lnTo>
                    <a:pt x="82" y="56"/>
                  </a:lnTo>
                  <a:lnTo>
                    <a:pt x="82" y="68"/>
                  </a:lnTo>
                  <a:lnTo>
                    <a:pt x="74" y="72"/>
                  </a:lnTo>
                  <a:lnTo>
                    <a:pt x="74" y="80"/>
                  </a:lnTo>
                  <a:lnTo>
                    <a:pt x="60" y="82"/>
                  </a:lnTo>
                  <a:lnTo>
                    <a:pt x="60" y="88"/>
                  </a:lnTo>
                  <a:lnTo>
                    <a:pt x="60" y="96"/>
                  </a:lnTo>
                  <a:lnTo>
                    <a:pt x="54" y="102"/>
                  </a:lnTo>
                  <a:lnTo>
                    <a:pt x="48" y="112"/>
                  </a:lnTo>
                  <a:lnTo>
                    <a:pt x="38" y="120"/>
                  </a:lnTo>
                  <a:lnTo>
                    <a:pt x="32" y="120"/>
                  </a:lnTo>
                  <a:lnTo>
                    <a:pt x="30" y="108"/>
                  </a:lnTo>
                  <a:lnTo>
                    <a:pt x="36" y="104"/>
                  </a:lnTo>
                  <a:lnTo>
                    <a:pt x="36" y="96"/>
                  </a:lnTo>
                  <a:lnTo>
                    <a:pt x="30" y="90"/>
                  </a:lnTo>
                  <a:lnTo>
                    <a:pt x="20" y="88"/>
                  </a:lnTo>
                  <a:lnTo>
                    <a:pt x="16" y="82"/>
                  </a:lnTo>
                  <a:lnTo>
                    <a:pt x="22" y="76"/>
                  </a:lnTo>
                  <a:lnTo>
                    <a:pt x="28" y="72"/>
                  </a:lnTo>
                  <a:lnTo>
                    <a:pt x="28" y="56"/>
                  </a:lnTo>
                  <a:lnTo>
                    <a:pt x="30" y="44"/>
                  </a:lnTo>
                  <a:lnTo>
                    <a:pt x="20" y="32"/>
                  </a:lnTo>
                  <a:lnTo>
                    <a:pt x="10" y="26"/>
                  </a:lnTo>
                  <a:lnTo>
                    <a:pt x="4" y="12"/>
                  </a:lnTo>
                  <a:lnTo>
                    <a:pt x="4" y="4"/>
                  </a:lnTo>
                  <a:close/>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1" name="Freeform 1019"/>
            <p:cNvSpPr>
              <a:spLocks/>
            </p:cNvSpPr>
            <p:nvPr/>
          </p:nvSpPr>
          <p:spPr bwMode="auto">
            <a:xfrm>
              <a:off x="5311" y="3033"/>
              <a:ext cx="78" cy="116"/>
            </a:xfrm>
            <a:custGeom>
              <a:avLst/>
              <a:gdLst>
                <a:gd name="T0" fmla="*/ 0 w 78"/>
                <a:gd name="T1" fmla="*/ 0 h 116"/>
                <a:gd name="T2" fmla="*/ 8 w 78"/>
                <a:gd name="T3" fmla="*/ 8 h 116"/>
                <a:gd name="T4" fmla="*/ 18 w 78"/>
                <a:gd name="T5" fmla="*/ 14 h 116"/>
                <a:gd name="T6" fmla="*/ 26 w 78"/>
                <a:gd name="T7" fmla="*/ 22 h 116"/>
                <a:gd name="T8" fmla="*/ 24 w 78"/>
                <a:gd name="T9" fmla="*/ 28 h 116"/>
                <a:gd name="T10" fmla="*/ 30 w 78"/>
                <a:gd name="T11" fmla="*/ 38 h 116"/>
                <a:gd name="T12" fmla="*/ 32 w 78"/>
                <a:gd name="T13" fmla="*/ 44 h 116"/>
                <a:gd name="T14" fmla="*/ 38 w 78"/>
                <a:gd name="T15" fmla="*/ 40 h 116"/>
                <a:gd name="T16" fmla="*/ 40 w 78"/>
                <a:gd name="T17" fmla="*/ 44 h 116"/>
                <a:gd name="T18" fmla="*/ 46 w 78"/>
                <a:gd name="T19" fmla="*/ 52 h 116"/>
                <a:gd name="T20" fmla="*/ 56 w 78"/>
                <a:gd name="T21" fmla="*/ 58 h 116"/>
                <a:gd name="T22" fmla="*/ 66 w 78"/>
                <a:gd name="T23" fmla="*/ 56 h 116"/>
                <a:gd name="T24" fmla="*/ 72 w 78"/>
                <a:gd name="T25" fmla="*/ 52 h 116"/>
                <a:gd name="T26" fmla="*/ 78 w 78"/>
                <a:gd name="T27" fmla="*/ 52 h 116"/>
                <a:gd name="T28" fmla="*/ 78 w 78"/>
                <a:gd name="T29" fmla="*/ 64 h 116"/>
                <a:gd name="T30" fmla="*/ 70 w 78"/>
                <a:gd name="T31" fmla="*/ 68 h 116"/>
                <a:gd name="T32" fmla="*/ 70 w 78"/>
                <a:gd name="T33" fmla="*/ 76 h 116"/>
                <a:gd name="T34" fmla="*/ 56 w 78"/>
                <a:gd name="T35" fmla="*/ 78 h 116"/>
                <a:gd name="T36" fmla="*/ 56 w 78"/>
                <a:gd name="T37" fmla="*/ 84 h 116"/>
                <a:gd name="T38" fmla="*/ 56 w 78"/>
                <a:gd name="T39" fmla="*/ 92 h 116"/>
                <a:gd name="T40" fmla="*/ 50 w 78"/>
                <a:gd name="T41" fmla="*/ 98 h 116"/>
                <a:gd name="T42" fmla="*/ 44 w 78"/>
                <a:gd name="T43" fmla="*/ 108 h 116"/>
                <a:gd name="T44" fmla="*/ 34 w 78"/>
                <a:gd name="T45" fmla="*/ 116 h 116"/>
                <a:gd name="T46" fmla="*/ 28 w 78"/>
                <a:gd name="T47" fmla="*/ 116 h 116"/>
                <a:gd name="T48" fmla="*/ 26 w 78"/>
                <a:gd name="T49" fmla="*/ 104 h 116"/>
                <a:gd name="T50" fmla="*/ 32 w 78"/>
                <a:gd name="T51" fmla="*/ 100 h 116"/>
                <a:gd name="T52" fmla="*/ 32 w 78"/>
                <a:gd name="T53" fmla="*/ 92 h 116"/>
                <a:gd name="T54" fmla="*/ 26 w 78"/>
                <a:gd name="T55" fmla="*/ 86 h 116"/>
                <a:gd name="T56" fmla="*/ 16 w 78"/>
                <a:gd name="T57" fmla="*/ 84 h 116"/>
                <a:gd name="T58" fmla="*/ 12 w 78"/>
                <a:gd name="T59" fmla="*/ 78 h 116"/>
                <a:gd name="T60" fmla="*/ 18 w 78"/>
                <a:gd name="T61" fmla="*/ 72 h 116"/>
                <a:gd name="T62" fmla="*/ 24 w 78"/>
                <a:gd name="T63" fmla="*/ 68 h 116"/>
                <a:gd name="T64" fmla="*/ 24 w 78"/>
                <a:gd name="T65" fmla="*/ 52 h 116"/>
                <a:gd name="T66" fmla="*/ 26 w 78"/>
                <a:gd name="T67" fmla="*/ 40 h 116"/>
                <a:gd name="T68" fmla="*/ 16 w 78"/>
                <a:gd name="T69" fmla="*/ 28 h 116"/>
                <a:gd name="T70" fmla="*/ 6 w 78"/>
                <a:gd name="T71" fmla="*/ 22 h 116"/>
                <a:gd name="T72" fmla="*/ 0 w 78"/>
                <a:gd name="T73" fmla="*/ 8 h 116"/>
                <a:gd name="T74" fmla="*/ 0 w 78"/>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16">
                  <a:moveTo>
                    <a:pt x="0" y="0"/>
                  </a:moveTo>
                  <a:lnTo>
                    <a:pt x="8" y="8"/>
                  </a:lnTo>
                  <a:lnTo>
                    <a:pt x="18" y="14"/>
                  </a:lnTo>
                  <a:lnTo>
                    <a:pt x="26" y="22"/>
                  </a:lnTo>
                  <a:lnTo>
                    <a:pt x="24" y="28"/>
                  </a:lnTo>
                  <a:lnTo>
                    <a:pt x="30" y="38"/>
                  </a:lnTo>
                  <a:lnTo>
                    <a:pt x="32" y="44"/>
                  </a:lnTo>
                  <a:lnTo>
                    <a:pt x="38" y="40"/>
                  </a:lnTo>
                  <a:lnTo>
                    <a:pt x="40" y="44"/>
                  </a:lnTo>
                  <a:lnTo>
                    <a:pt x="46" y="52"/>
                  </a:lnTo>
                  <a:lnTo>
                    <a:pt x="56" y="58"/>
                  </a:lnTo>
                  <a:lnTo>
                    <a:pt x="66" y="56"/>
                  </a:lnTo>
                  <a:lnTo>
                    <a:pt x="72" y="52"/>
                  </a:lnTo>
                  <a:lnTo>
                    <a:pt x="78" y="52"/>
                  </a:lnTo>
                  <a:lnTo>
                    <a:pt x="78" y="64"/>
                  </a:lnTo>
                  <a:lnTo>
                    <a:pt x="70" y="68"/>
                  </a:lnTo>
                  <a:lnTo>
                    <a:pt x="70" y="76"/>
                  </a:lnTo>
                  <a:lnTo>
                    <a:pt x="56" y="78"/>
                  </a:lnTo>
                  <a:lnTo>
                    <a:pt x="56" y="84"/>
                  </a:lnTo>
                  <a:lnTo>
                    <a:pt x="56" y="92"/>
                  </a:lnTo>
                  <a:lnTo>
                    <a:pt x="50" y="98"/>
                  </a:lnTo>
                  <a:lnTo>
                    <a:pt x="44" y="108"/>
                  </a:lnTo>
                  <a:lnTo>
                    <a:pt x="34" y="116"/>
                  </a:lnTo>
                  <a:lnTo>
                    <a:pt x="28" y="116"/>
                  </a:lnTo>
                  <a:lnTo>
                    <a:pt x="26" y="104"/>
                  </a:lnTo>
                  <a:lnTo>
                    <a:pt x="32" y="100"/>
                  </a:lnTo>
                  <a:lnTo>
                    <a:pt x="32" y="92"/>
                  </a:lnTo>
                  <a:lnTo>
                    <a:pt x="26" y="86"/>
                  </a:lnTo>
                  <a:lnTo>
                    <a:pt x="16" y="84"/>
                  </a:lnTo>
                  <a:lnTo>
                    <a:pt x="12" y="78"/>
                  </a:lnTo>
                  <a:lnTo>
                    <a:pt x="18" y="72"/>
                  </a:lnTo>
                  <a:lnTo>
                    <a:pt x="24" y="68"/>
                  </a:lnTo>
                  <a:lnTo>
                    <a:pt x="24" y="52"/>
                  </a:lnTo>
                  <a:lnTo>
                    <a:pt x="26" y="40"/>
                  </a:lnTo>
                  <a:lnTo>
                    <a:pt x="16" y="28"/>
                  </a:lnTo>
                  <a:lnTo>
                    <a:pt x="6" y="2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2" name="Freeform 1020"/>
            <p:cNvSpPr>
              <a:spLocks/>
            </p:cNvSpPr>
            <p:nvPr/>
          </p:nvSpPr>
          <p:spPr bwMode="auto">
            <a:xfrm>
              <a:off x="5307" y="3029"/>
              <a:ext cx="86" cy="124"/>
            </a:xfrm>
            <a:custGeom>
              <a:avLst/>
              <a:gdLst>
                <a:gd name="T0" fmla="*/ 2 w 86"/>
                <a:gd name="T1" fmla="*/ 0 h 124"/>
                <a:gd name="T2" fmla="*/ 2 w 86"/>
                <a:gd name="T3" fmla="*/ 0 h 124"/>
                <a:gd name="T4" fmla="*/ 0 w 86"/>
                <a:gd name="T5" fmla="*/ 4 h 124"/>
                <a:gd name="T6" fmla="*/ 0 w 86"/>
                <a:gd name="T7" fmla="*/ 12 h 124"/>
                <a:gd name="T8" fmla="*/ 6 w 86"/>
                <a:gd name="T9" fmla="*/ 28 h 124"/>
                <a:gd name="T10" fmla="*/ 8 w 86"/>
                <a:gd name="T11" fmla="*/ 30 h 124"/>
                <a:gd name="T12" fmla="*/ 26 w 86"/>
                <a:gd name="T13" fmla="*/ 44 h 124"/>
                <a:gd name="T14" fmla="*/ 24 w 86"/>
                <a:gd name="T15" fmla="*/ 56 h 124"/>
                <a:gd name="T16" fmla="*/ 24 w 86"/>
                <a:gd name="T17" fmla="*/ 70 h 124"/>
                <a:gd name="T18" fmla="*/ 14 w 86"/>
                <a:gd name="T19" fmla="*/ 78 h 124"/>
                <a:gd name="T20" fmla="*/ 12 w 86"/>
                <a:gd name="T21" fmla="*/ 80 h 124"/>
                <a:gd name="T22" fmla="*/ 12 w 86"/>
                <a:gd name="T23" fmla="*/ 84 h 124"/>
                <a:gd name="T24" fmla="*/ 18 w 86"/>
                <a:gd name="T25" fmla="*/ 90 h 124"/>
                <a:gd name="T26" fmla="*/ 28 w 86"/>
                <a:gd name="T27" fmla="*/ 94 h 124"/>
                <a:gd name="T28" fmla="*/ 32 w 86"/>
                <a:gd name="T29" fmla="*/ 102 h 124"/>
                <a:gd name="T30" fmla="*/ 26 w 86"/>
                <a:gd name="T31" fmla="*/ 106 h 124"/>
                <a:gd name="T32" fmla="*/ 28 w 86"/>
                <a:gd name="T33" fmla="*/ 120 h 124"/>
                <a:gd name="T34" fmla="*/ 28 w 86"/>
                <a:gd name="T35" fmla="*/ 122 h 124"/>
                <a:gd name="T36" fmla="*/ 38 w 86"/>
                <a:gd name="T37" fmla="*/ 124 h 124"/>
                <a:gd name="T38" fmla="*/ 38 w 86"/>
                <a:gd name="T39" fmla="*/ 124 h 124"/>
                <a:gd name="T40" fmla="*/ 42 w 86"/>
                <a:gd name="T41" fmla="*/ 124 h 124"/>
                <a:gd name="T42" fmla="*/ 50 w 86"/>
                <a:gd name="T43" fmla="*/ 116 h 124"/>
                <a:gd name="T44" fmla="*/ 58 w 86"/>
                <a:gd name="T45" fmla="*/ 104 h 124"/>
                <a:gd name="T46" fmla="*/ 64 w 86"/>
                <a:gd name="T47" fmla="*/ 98 h 124"/>
                <a:gd name="T48" fmla="*/ 64 w 86"/>
                <a:gd name="T49" fmla="*/ 88 h 124"/>
                <a:gd name="T50" fmla="*/ 74 w 86"/>
                <a:gd name="T51" fmla="*/ 84 h 124"/>
                <a:gd name="T52" fmla="*/ 78 w 86"/>
                <a:gd name="T53" fmla="*/ 82 h 124"/>
                <a:gd name="T54" fmla="*/ 78 w 86"/>
                <a:gd name="T55" fmla="*/ 74 h 124"/>
                <a:gd name="T56" fmla="*/ 84 w 86"/>
                <a:gd name="T57" fmla="*/ 70 h 124"/>
                <a:gd name="T58" fmla="*/ 86 w 86"/>
                <a:gd name="T59" fmla="*/ 56 h 124"/>
                <a:gd name="T60" fmla="*/ 84 w 86"/>
                <a:gd name="T61" fmla="*/ 54 h 124"/>
                <a:gd name="T62" fmla="*/ 78 w 86"/>
                <a:gd name="T63" fmla="*/ 52 h 124"/>
                <a:gd name="T64" fmla="*/ 76 w 86"/>
                <a:gd name="T65" fmla="*/ 52 h 124"/>
                <a:gd name="T66" fmla="*/ 74 w 86"/>
                <a:gd name="T67" fmla="*/ 52 h 124"/>
                <a:gd name="T68" fmla="*/ 60 w 86"/>
                <a:gd name="T69" fmla="*/ 58 h 124"/>
                <a:gd name="T70" fmla="*/ 48 w 86"/>
                <a:gd name="T71" fmla="*/ 46 h 124"/>
                <a:gd name="T72" fmla="*/ 46 w 86"/>
                <a:gd name="T73" fmla="*/ 42 h 124"/>
                <a:gd name="T74" fmla="*/ 44 w 86"/>
                <a:gd name="T75" fmla="*/ 40 h 124"/>
                <a:gd name="T76" fmla="*/ 42 w 86"/>
                <a:gd name="T77" fmla="*/ 40 h 124"/>
                <a:gd name="T78" fmla="*/ 38 w 86"/>
                <a:gd name="T79" fmla="*/ 42 h 124"/>
                <a:gd name="T80" fmla="*/ 32 w 86"/>
                <a:gd name="T81" fmla="*/ 32 h 124"/>
                <a:gd name="T82" fmla="*/ 34 w 86"/>
                <a:gd name="T83" fmla="*/ 26 h 124"/>
                <a:gd name="T84" fmla="*/ 26 w 86"/>
                <a:gd name="T85" fmla="*/ 16 h 124"/>
                <a:gd name="T86" fmla="*/ 24 w 86"/>
                <a:gd name="T87" fmla="*/ 16 h 124"/>
                <a:gd name="T88" fmla="*/ 6 w 86"/>
                <a:gd name="T89" fmla="*/ 0 h 124"/>
                <a:gd name="T90" fmla="*/ 2 w 86"/>
                <a:gd name="T9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24">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3" name="Freeform 1021"/>
            <p:cNvSpPr>
              <a:spLocks/>
            </p:cNvSpPr>
            <p:nvPr/>
          </p:nvSpPr>
          <p:spPr bwMode="auto">
            <a:xfrm>
              <a:off x="5219" y="3131"/>
              <a:ext cx="110" cy="110"/>
            </a:xfrm>
            <a:custGeom>
              <a:avLst/>
              <a:gdLst>
                <a:gd name="T0" fmla="*/ 28 w 110"/>
                <a:gd name="T1" fmla="*/ 110 h 110"/>
                <a:gd name="T2" fmla="*/ 28 w 110"/>
                <a:gd name="T3" fmla="*/ 110 h 110"/>
                <a:gd name="T4" fmla="*/ 26 w 110"/>
                <a:gd name="T5" fmla="*/ 110 h 110"/>
                <a:gd name="T6" fmla="*/ 20 w 110"/>
                <a:gd name="T7" fmla="*/ 104 h 110"/>
                <a:gd name="T8" fmla="*/ 14 w 110"/>
                <a:gd name="T9" fmla="*/ 104 h 110"/>
                <a:gd name="T10" fmla="*/ 2 w 110"/>
                <a:gd name="T11" fmla="*/ 102 h 110"/>
                <a:gd name="T12" fmla="*/ 2 w 110"/>
                <a:gd name="T13" fmla="*/ 102 h 110"/>
                <a:gd name="T14" fmla="*/ 0 w 110"/>
                <a:gd name="T15" fmla="*/ 100 h 110"/>
                <a:gd name="T16" fmla="*/ 0 w 110"/>
                <a:gd name="T17" fmla="*/ 100 h 110"/>
                <a:gd name="T18" fmla="*/ 0 w 110"/>
                <a:gd name="T19" fmla="*/ 100 h 110"/>
                <a:gd name="T20" fmla="*/ 4 w 110"/>
                <a:gd name="T21" fmla="*/ 86 h 110"/>
                <a:gd name="T22" fmla="*/ 4 w 110"/>
                <a:gd name="T23" fmla="*/ 86 h 110"/>
                <a:gd name="T24" fmla="*/ 4 w 110"/>
                <a:gd name="T25" fmla="*/ 86 h 110"/>
                <a:gd name="T26" fmla="*/ 12 w 110"/>
                <a:gd name="T27" fmla="*/ 74 h 110"/>
                <a:gd name="T28" fmla="*/ 26 w 110"/>
                <a:gd name="T29" fmla="*/ 60 h 110"/>
                <a:gd name="T30" fmla="*/ 26 w 110"/>
                <a:gd name="T31" fmla="*/ 60 h 110"/>
                <a:gd name="T32" fmla="*/ 28 w 110"/>
                <a:gd name="T33" fmla="*/ 58 h 110"/>
                <a:gd name="T34" fmla="*/ 34 w 110"/>
                <a:gd name="T35" fmla="*/ 58 h 110"/>
                <a:gd name="T36" fmla="*/ 42 w 110"/>
                <a:gd name="T37" fmla="*/ 48 h 110"/>
                <a:gd name="T38" fmla="*/ 42 w 110"/>
                <a:gd name="T39" fmla="*/ 48 h 110"/>
                <a:gd name="T40" fmla="*/ 44 w 110"/>
                <a:gd name="T41" fmla="*/ 48 h 110"/>
                <a:gd name="T42" fmla="*/ 52 w 110"/>
                <a:gd name="T43" fmla="*/ 48 h 110"/>
                <a:gd name="T44" fmla="*/ 62 w 110"/>
                <a:gd name="T45" fmla="*/ 34 h 110"/>
                <a:gd name="T46" fmla="*/ 68 w 110"/>
                <a:gd name="T47" fmla="*/ 26 h 110"/>
                <a:gd name="T48" fmla="*/ 68 w 110"/>
                <a:gd name="T49" fmla="*/ 26 h 110"/>
                <a:gd name="T50" fmla="*/ 68 w 110"/>
                <a:gd name="T51" fmla="*/ 24 h 110"/>
                <a:gd name="T52" fmla="*/ 76 w 110"/>
                <a:gd name="T53" fmla="*/ 20 h 110"/>
                <a:gd name="T54" fmla="*/ 76 w 110"/>
                <a:gd name="T55" fmla="*/ 12 h 110"/>
                <a:gd name="T56" fmla="*/ 80 w 110"/>
                <a:gd name="T57" fmla="*/ 2 h 110"/>
                <a:gd name="T58" fmla="*/ 80 w 110"/>
                <a:gd name="T59" fmla="*/ 2 h 110"/>
                <a:gd name="T60" fmla="*/ 82 w 110"/>
                <a:gd name="T61" fmla="*/ 0 h 110"/>
                <a:gd name="T62" fmla="*/ 82 w 110"/>
                <a:gd name="T63" fmla="*/ 0 h 110"/>
                <a:gd name="T64" fmla="*/ 82 w 110"/>
                <a:gd name="T65" fmla="*/ 0 h 110"/>
                <a:gd name="T66" fmla="*/ 90 w 110"/>
                <a:gd name="T67" fmla="*/ 2 h 110"/>
                <a:gd name="T68" fmla="*/ 90 w 110"/>
                <a:gd name="T69" fmla="*/ 2 h 110"/>
                <a:gd name="T70" fmla="*/ 90 w 110"/>
                <a:gd name="T71" fmla="*/ 2 h 110"/>
                <a:gd name="T72" fmla="*/ 94 w 110"/>
                <a:gd name="T73" fmla="*/ 10 h 110"/>
                <a:gd name="T74" fmla="*/ 108 w 110"/>
                <a:gd name="T75" fmla="*/ 10 h 110"/>
                <a:gd name="T76" fmla="*/ 108 w 110"/>
                <a:gd name="T77" fmla="*/ 10 h 110"/>
                <a:gd name="T78" fmla="*/ 110 w 110"/>
                <a:gd name="T79" fmla="*/ 12 h 110"/>
                <a:gd name="T80" fmla="*/ 110 w 110"/>
                <a:gd name="T81" fmla="*/ 20 h 110"/>
                <a:gd name="T82" fmla="*/ 110 w 110"/>
                <a:gd name="T83" fmla="*/ 20 h 110"/>
                <a:gd name="T84" fmla="*/ 110 w 110"/>
                <a:gd name="T85" fmla="*/ 22 h 110"/>
                <a:gd name="T86" fmla="*/ 104 w 110"/>
                <a:gd name="T87" fmla="*/ 30 h 110"/>
                <a:gd name="T88" fmla="*/ 98 w 110"/>
                <a:gd name="T89" fmla="*/ 38 h 110"/>
                <a:gd name="T90" fmla="*/ 90 w 110"/>
                <a:gd name="T91" fmla="*/ 46 h 110"/>
                <a:gd name="T92" fmla="*/ 90 w 110"/>
                <a:gd name="T93" fmla="*/ 58 h 110"/>
                <a:gd name="T94" fmla="*/ 90 w 110"/>
                <a:gd name="T95" fmla="*/ 58 h 110"/>
                <a:gd name="T96" fmla="*/ 90 w 110"/>
                <a:gd name="T97" fmla="*/ 60 h 110"/>
                <a:gd name="T98" fmla="*/ 80 w 110"/>
                <a:gd name="T99" fmla="*/ 62 h 110"/>
                <a:gd name="T100" fmla="*/ 72 w 110"/>
                <a:gd name="T101" fmla="*/ 64 h 110"/>
                <a:gd name="T102" fmla="*/ 68 w 110"/>
                <a:gd name="T103" fmla="*/ 72 h 110"/>
                <a:gd name="T104" fmla="*/ 64 w 110"/>
                <a:gd name="T105" fmla="*/ 86 h 110"/>
                <a:gd name="T106" fmla="*/ 64 w 110"/>
                <a:gd name="T107" fmla="*/ 86 h 110"/>
                <a:gd name="T108" fmla="*/ 64 w 110"/>
                <a:gd name="T109" fmla="*/ 86 h 110"/>
                <a:gd name="T110" fmla="*/ 54 w 110"/>
                <a:gd name="T111" fmla="*/ 98 h 110"/>
                <a:gd name="T112" fmla="*/ 44 w 110"/>
                <a:gd name="T113" fmla="*/ 108 h 110"/>
                <a:gd name="T114" fmla="*/ 44 w 110"/>
                <a:gd name="T115" fmla="*/ 108 h 110"/>
                <a:gd name="T116" fmla="*/ 44 w 110"/>
                <a:gd name="T117" fmla="*/ 108 h 110"/>
                <a:gd name="T118" fmla="*/ 44 w 110"/>
                <a:gd name="T119" fmla="*/ 108 h 110"/>
                <a:gd name="T120" fmla="*/ 28 w 110"/>
                <a:gd name="T121" fmla="*/ 110 h 110"/>
                <a:gd name="T122" fmla="*/ 28 w 110"/>
                <a:gd name="T1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10">
                  <a:moveTo>
                    <a:pt x="28" y="110"/>
                  </a:moveTo>
                  <a:lnTo>
                    <a:pt x="28" y="110"/>
                  </a:lnTo>
                  <a:lnTo>
                    <a:pt x="26" y="110"/>
                  </a:lnTo>
                  <a:lnTo>
                    <a:pt x="20" y="104"/>
                  </a:lnTo>
                  <a:lnTo>
                    <a:pt x="14" y="104"/>
                  </a:lnTo>
                  <a:lnTo>
                    <a:pt x="2" y="102"/>
                  </a:lnTo>
                  <a:lnTo>
                    <a:pt x="2" y="102"/>
                  </a:lnTo>
                  <a:lnTo>
                    <a:pt x="0" y="100"/>
                  </a:lnTo>
                  <a:lnTo>
                    <a:pt x="0" y="100"/>
                  </a:lnTo>
                  <a:lnTo>
                    <a:pt x="0" y="100"/>
                  </a:lnTo>
                  <a:lnTo>
                    <a:pt x="4" y="86"/>
                  </a:lnTo>
                  <a:lnTo>
                    <a:pt x="4" y="86"/>
                  </a:lnTo>
                  <a:lnTo>
                    <a:pt x="4" y="86"/>
                  </a:lnTo>
                  <a:lnTo>
                    <a:pt x="12" y="74"/>
                  </a:lnTo>
                  <a:lnTo>
                    <a:pt x="26" y="60"/>
                  </a:lnTo>
                  <a:lnTo>
                    <a:pt x="26" y="60"/>
                  </a:lnTo>
                  <a:lnTo>
                    <a:pt x="28" y="58"/>
                  </a:lnTo>
                  <a:lnTo>
                    <a:pt x="34" y="58"/>
                  </a:lnTo>
                  <a:lnTo>
                    <a:pt x="42" y="48"/>
                  </a:lnTo>
                  <a:lnTo>
                    <a:pt x="42" y="48"/>
                  </a:lnTo>
                  <a:lnTo>
                    <a:pt x="44" y="48"/>
                  </a:lnTo>
                  <a:lnTo>
                    <a:pt x="52" y="48"/>
                  </a:lnTo>
                  <a:lnTo>
                    <a:pt x="62" y="34"/>
                  </a:lnTo>
                  <a:lnTo>
                    <a:pt x="68" y="26"/>
                  </a:lnTo>
                  <a:lnTo>
                    <a:pt x="68" y="26"/>
                  </a:lnTo>
                  <a:lnTo>
                    <a:pt x="68" y="24"/>
                  </a:lnTo>
                  <a:lnTo>
                    <a:pt x="76" y="20"/>
                  </a:lnTo>
                  <a:lnTo>
                    <a:pt x="76" y="12"/>
                  </a:lnTo>
                  <a:lnTo>
                    <a:pt x="80" y="2"/>
                  </a:lnTo>
                  <a:lnTo>
                    <a:pt x="80" y="2"/>
                  </a:lnTo>
                  <a:lnTo>
                    <a:pt x="82" y="0"/>
                  </a:lnTo>
                  <a:lnTo>
                    <a:pt x="82" y="0"/>
                  </a:lnTo>
                  <a:lnTo>
                    <a:pt x="82" y="0"/>
                  </a:lnTo>
                  <a:lnTo>
                    <a:pt x="90" y="2"/>
                  </a:lnTo>
                  <a:lnTo>
                    <a:pt x="90" y="2"/>
                  </a:lnTo>
                  <a:lnTo>
                    <a:pt x="90" y="2"/>
                  </a:lnTo>
                  <a:lnTo>
                    <a:pt x="94" y="10"/>
                  </a:lnTo>
                  <a:lnTo>
                    <a:pt x="108" y="10"/>
                  </a:lnTo>
                  <a:lnTo>
                    <a:pt x="108" y="10"/>
                  </a:lnTo>
                  <a:lnTo>
                    <a:pt x="110" y="12"/>
                  </a:lnTo>
                  <a:lnTo>
                    <a:pt x="110" y="20"/>
                  </a:lnTo>
                  <a:lnTo>
                    <a:pt x="110" y="20"/>
                  </a:lnTo>
                  <a:lnTo>
                    <a:pt x="110" y="22"/>
                  </a:lnTo>
                  <a:lnTo>
                    <a:pt x="104" y="30"/>
                  </a:lnTo>
                  <a:lnTo>
                    <a:pt x="98" y="38"/>
                  </a:lnTo>
                  <a:lnTo>
                    <a:pt x="90" y="46"/>
                  </a:lnTo>
                  <a:lnTo>
                    <a:pt x="90" y="58"/>
                  </a:lnTo>
                  <a:lnTo>
                    <a:pt x="90" y="58"/>
                  </a:lnTo>
                  <a:lnTo>
                    <a:pt x="90" y="60"/>
                  </a:lnTo>
                  <a:lnTo>
                    <a:pt x="80" y="62"/>
                  </a:lnTo>
                  <a:lnTo>
                    <a:pt x="72" y="64"/>
                  </a:lnTo>
                  <a:lnTo>
                    <a:pt x="68" y="72"/>
                  </a:lnTo>
                  <a:lnTo>
                    <a:pt x="64" y="86"/>
                  </a:lnTo>
                  <a:lnTo>
                    <a:pt x="64" y="86"/>
                  </a:lnTo>
                  <a:lnTo>
                    <a:pt x="64" y="86"/>
                  </a:lnTo>
                  <a:lnTo>
                    <a:pt x="54" y="98"/>
                  </a:lnTo>
                  <a:lnTo>
                    <a:pt x="44" y="108"/>
                  </a:lnTo>
                  <a:lnTo>
                    <a:pt x="44" y="108"/>
                  </a:lnTo>
                  <a:lnTo>
                    <a:pt x="44" y="108"/>
                  </a:lnTo>
                  <a:lnTo>
                    <a:pt x="44" y="108"/>
                  </a:lnTo>
                  <a:lnTo>
                    <a:pt x="28" y="110"/>
                  </a:lnTo>
                  <a:lnTo>
                    <a:pt x="28"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4" name="Freeform 1022"/>
            <p:cNvSpPr>
              <a:spLocks noEditPoints="1"/>
            </p:cNvSpPr>
            <p:nvPr/>
          </p:nvSpPr>
          <p:spPr bwMode="auto">
            <a:xfrm>
              <a:off x="5217" y="3129"/>
              <a:ext cx="114" cy="114"/>
            </a:xfrm>
            <a:custGeom>
              <a:avLst/>
              <a:gdLst>
                <a:gd name="T0" fmla="*/ 90 w 114"/>
                <a:gd name="T1" fmla="*/ 6 h 114"/>
                <a:gd name="T2" fmla="*/ 104 w 114"/>
                <a:gd name="T3" fmla="*/ 14 h 114"/>
                <a:gd name="T4" fmla="*/ 110 w 114"/>
                <a:gd name="T5" fmla="*/ 22 h 114"/>
                <a:gd name="T6" fmla="*/ 100 w 114"/>
                <a:gd name="T7" fmla="*/ 40 h 114"/>
                <a:gd name="T8" fmla="*/ 90 w 114"/>
                <a:gd name="T9" fmla="*/ 60 h 114"/>
                <a:gd name="T10" fmla="*/ 74 w 114"/>
                <a:gd name="T11" fmla="*/ 64 h 114"/>
                <a:gd name="T12" fmla="*/ 64 w 114"/>
                <a:gd name="T13" fmla="*/ 86 h 114"/>
                <a:gd name="T14" fmla="*/ 46 w 114"/>
                <a:gd name="T15" fmla="*/ 108 h 114"/>
                <a:gd name="T16" fmla="*/ 22 w 114"/>
                <a:gd name="T17" fmla="*/ 106 h 114"/>
                <a:gd name="T18" fmla="*/ 4 w 114"/>
                <a:gd name="T19" fmla="*/ 102 h 114"/>
                <a:gd name="T20" fmla="*/ 16 w 114"/>
                <a:gd name="T21" fmla="*/ 78 h 114"/>
                <a:gd name="T22" fmla="*/ 36 w 114"/>
                <a:gd name="T23" fmla="*/ 62 h 114"/>
                <a:gd name="T24" fmla="*/ 56 w 114"/>
                <a:gd name="T25" fmla="*/ 52 h 114"/>
                <a:gd name="T26" fmla="*/ 72 w 114"/>
                <a:gd name="T27" fmla="*/ 28 h 114"/>
                <a:gd name="T28" fmla="*/ 80 w 114"/>
                <a:gd name="T29" fmla="*/ 14 h 114"/>
                <a:gd name="T30" fmla="*/ 84 w 114"/>
                <a:gd name="T31" fmla="*/ 0 h 114"/>
                <a:gd name="T32" fmla="*/ 82 w 114"/>
                <a:gd name="T33" fmla="*/ 0 h 114"/>
                <a:gd name="T34" fmla="*/ 76 w 114"/>
                <a:gd name="T35" fmla="*/ 12 h 114"/>
                <a:gd name="T36" fmla="*/ 76 w 114"/>
                <a:gd name="T37" fmla="*/ 14 h 114"/>
                <a:gd name="T38" fmla="*/ 70 w 114"/>
                <a:gd name="T39" fmla="*/ 24 h 114"/>
                <a:gd name="T40" fmla="*/ 68 w 114"/>
                <a:gd name="T41" fmla="*/ 26 h 114"/>
                <a:gd name="T42" fmla="*/ 54 w 114"/>
                <a:gd name="T43" fmla="*/ 48 h 114"/>
                <a:gd name="T44" fmla="*/ 46 w 114"/>
                <a:gd name="T45" fmla="*/ 48 h 114"/>
                <a:gd name="T46" fmla="*/ 34 w 114"/>
                <a:gd name="T47" fmla="*/ 58 h 114"/>
                <a:gd name="T48" fmla="*/ 30 w 114"/>
                <a:gd name="T49" fmla="*/ 58 h 114"/>
                <a:gd name="T50" fmla="*/ 12 w 114"/>
                <a:gd name="T51" fmla="*/ 74 h 114"/>
                <a:gd name="T52" fmla="*/ 4 w 114"/>
                <a:gd name="T53" fmla="*/ 86 h 114"/>
                <a:gd name="T54" fmla="*/ 0 w 114"/>
                <a:gd name="T55" fmla="*/ 100 h 114"/>
                <a:gd name="T56" fmla="*/ 0 w 114"/>
                <a:gd name="T57" fmla="*/ 104 h 114"/>
                <a:gd name="T58" fmla="*/ 2 w 114"/>
                <a:gd name="T59" fmla="*/ 106 h 114"/>
                <a:gd name="T60" fmla="*/ 20 w 114"/>
                <a:gd name="T61" fmla="*/ 108 h 114"/>
                <a:gd name="T62" fmla="*/ 28 w 114"/>
                <a:gd name="T63" fmla="*/ 114 h 114"/>
                <a:gd name="T64" fmla="*/ 30 w 114"/>
                <a:gd name="T65" fmla="*/ 114 h 114"/>
                <a:gd name="T66" fmla="*/ 46 w 114"/>
                <a:gd name="T67" fmla="*/ 112 h 114"/>
                <a:gd name="T68" fmla="*/ 48 w 114"/>
                <a:gd name="T69" fmla="*/ 112 h 114"/>
                <a:gd name="T70" fmla="*/ 68 w 114"/>
                <a:gd name="T71" fmla="*/ 90 h 114"/>
                <a:gd name="T72" fmla="*/ 68 w 114"/>
                <a:gd name="T73" fmla="*/ 88 h 114"/>
                <a:gd name="T74" fmla="*/ 76 w 114"/>
                <a:gd name="T75" fmla="*/ 68 h 114"/>
                <a:gd name="T76" fmla="*/ 92 w 114"/>
                <a:gd name="T77" fmla="*/ 64 h 114"/>
                <a:gd name="T78" fmla="*/ 94 w 114"/>
                <a:gd name="T79" fmla="*/ 62 h 114"/>
                <a:gd name="T80" fmla="*/ 94 w 114"/>
                <a:gd name="T81" fmla="*/ 48 h 114"/>
                <a:gd name="T82" fmla="*/ 102 w 114"/>
                <a:gd name="T83" fmla="*/ 42 h 114"/>
                <a:gd name="T84" fmla="*/ 108 w 114"/>
                <a:gd name="T85" fmla="*/ 34 h 114"/>
                <a:gd name="T86" fmla="*/ 108 w 114"/>
                <a:gd name="T87" fmla="*/ 34 h 114"/>
                <a:gd name="T88" fmla="*/ 114 w 114"/>
                <a:gd name="T89" fmla="*/ 24 h 114"/>
                <a:gd name="T90" fmla="*/ 114 w 114"/>
                <a:gd name="T91" fmla="*/ 14 h 114"/>
                <a:gd name="T92" fmla="*/ 112 w 114"/>
                <a:gd name="T93" fmla="*/ 10 h 114"/>
                <a:gd name="T94" fmla="*/ 104 w 114"/>
                <a:gd name="T95" fmla="*/ 10 h 114"/>
                <a:gd name="T96" fmla="*/ 94 w 114"/>
                <a:gd name="T97" fmla="*/ 4 h 114"/>
                <a:gd name="T98" fmla="*/ 92 w 114"/>
                <a:gd name="T99" fmla="*/ 2 h 114"/>
                <a:gd name="T100" fmla="*/ 84 w 114"/>
                <a:gd name="T101" fmla="*/ 0 h 114"/>
                <a:gd name="T102" fmla="*/ 84 w 114"/>
                <a:gd name="T10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4">
                  <a:moveTo>
                    <a:pt x="84" y="4"/>
                  </a:moveTo>
                  <a:lnTo>
                    <a:pt x="90" y="6"/>
                  </a:lnTo>
                  <a:lnTo>
                    <a:pt x="96" y="14"/>
                  </a:lnTo>
                  <a:lnTo>
                    <a:pt x="104" y="14"/>
                  </a:lnTo>
                  <a:lnTo>
                    <a:pt x="110" y="14"/>
                  </a:lnTo>
                  <a:lnTo>
                    <a:pt x="110" y="22"/>
                  </a:lnTo>
                  <a:lnTo>
                    <a:pt x="104" y="32"/>
                  </a:lnTo>
                  <a:lnTo>
                    <a:pt x="100" y="40"/>
                  </a:lnTo>
                  <a:lnTo>
                    <a:pt x="90" y="46"/>
                  </a:lnTo>
                  <a:lnTo>
                    <a:pt x="90" y="60"/>
                  </a:lnTo>
                  <a:lnTo>
                    <a:pt x="82" y="62"/>
                  </a:lnTo>
                  <a:lnTo>
                    <a:pt x="74" y="64"/>
                  </a:lnTo>
                  <a:lnTo>
                    <a:pt x="68" y="72"/>
                  </a:lnTo>
                  <a:lnTo>
                    <a:pt x="64" y="86"/>
                  </a:lnTo>
                  <a:lnTo>
                    <a:pt x="54" y="100"/>
                  </a:lnTo>
                  <a:lnTo>
                    <a:pt x="46" y="108"/>
                  </a:lnTo>
                  <a:lnTo>
                    <a:pt x="30" y="110"/>
                  </a:lnTo>
                  <a:lnTo>
                    <a:pt x="22" y="106"/>
                  </a:lnTo>
                  <a:lnTo>
                    <a:pt x="18" y="104"/>
                  </a:lnTo>
                  <a:lnTo>
                    <a:pt x="4" y="102"/>
                  </a:lnTo>
                  <a:lnTo>
                    <a:pt x="6" y="88"/>
                  </a:lnTo>
                  <a:lnTo>
                    <a:pt x="16" y="78"/>
                  </a:lnTo>
                  <a:lnTo>
                    <a:pt x="30" y="62"/>
                  </a:lnTo>
                  <a:lnTo>
                    <a:pt x="36" y="62"/>
                  </a:lnTo>
                  <a:lnTo>
                    <a:pt x="46" y="52"/>
                  </a:lnTo>
                  <a:lnTo>
                    <a:pt x="56" y="52"/>
                  </a:lnTo>
                  <a:lnTo>
                    <a:pt x="66" y="38"/>
                  </a:lnTo>
                  <a:lnTo>
                    <a:pt x="72" y="28"/>
                  </a:lnTo>
                  <a:lnTo>
                    <a:pt x="80" y="22"/>
                  </a:lnTo>
                  <a:lnTo>
                    <a:pt x="80" y="14"/>
                  </a:lnTo>
                  <a:lnTo>
                    <a:pt x="84" y="4"/>
                  </a:lnTo>
                  <a:close/>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 name="Freeform 1023"/>
            <p:cNvSpPr>
              <a:spLocks/>
            </p:cNvSpPr>
            <p:nvPr/>
          </p:nvSpPr>
          <p:spPr bwMode="auto">
            <a:xfrm>
              <a:off x="5221" y="3133"/>
              <a:ext cx="106" cy="106"/>
            </a:xfrm>
            <a:custGeom>
              <a:avLst/>
              <a:gdLst>
                <a:gd name="T0" fmla="*/ 80 w 106"/>
                <a:gd name="T1" fmla="*/ 0 h 106"/>
                <a:gd name="T2" fmla="*/ 86 w 106"/>
                <a:gd name="T3" fmla="*/ 2 h 106"/>
                <a:gd name="T4" fmla="*/ 92 w 106"/>
                <a:gd name="T5" fmla="*/ 10 h 106"/>
                <a:gd name="T6" fmla="*/ 100 w 106"/>
                <a:gd name="T7" fmla="*/ 10 h 106"/>
                <a:gd name="T8" fmla="*/ 106 w 106"/>
                <a:gd name="T9" fmla="*/ 10 h 106"/>
                <a:gd name="T10" fmla="*/ 106 w 106"/>
                <a:gd name="T11" fmla="*/ 18 h 106"/>
                <a:gd name="T12" fmla="*/ 100 w 106"/>
                <a:gd name="T13" fmla="*/ 28 h 106"/>
                <a:gd name="T14" fmla="*/ 96 w 106"/>
                <a:gd name="T15" fmla="*/ 36 h 106"/>
                <a:gd name="T16" fmla="*/ 86 w 106"/>
                <a:gd name="T17" fmla="*/ 42 h 106"/>
                <a:gd name="T18" fmla="*/ 86 w 106"/>
                <a:gd name="T19" fmla="*/ 56 h 106"/>
                <a:gd name="T20" fmla="*/ 78 w 106"/>
                <a:gd name="T21" fmla="*/ 58 h 106"/>
                <a:gd name="T22" fmla="*/ 70 w 106"/>
                <a:gd name="T23" fmla="*/ 60 h 106"/>
                <a:gd name="T24" fmla="*/ 64 w 106"/>
                <a:gd name="T25" fmla="*/ 68 h 106"/>
                <a:gd name="T26" fmla="*/ 60 w 106"/>
                <a:gd name="T27" fmla="*/ 82 h 106"/>
                <a:gd name="T28" fmla="*/ 50 w 106"/>
                <a:gd name="T29" fmla="*/ 96 h 106"/>
                <a:gd name="T30" fmla="*/ 42 w 106"/>
                <a:gd name="T31" fmla="*/ 104 h 106"/>
                <a:gd name="T32" fmla="*/ 26 w 106"/>
                <a:gd name="T33" fmla="*/ 106 h 106"/>
                <a:gd name="T34" fmla="*/ 18 w 106"/>
                <a:gd name="T35" fmla="*/ 102 h 106"/>
                <a:gd name="T36" fmla="*/ 14 w 106"/>
                <a:gd name="T37" fmla="*/ 100 h 106"/>
                <a:gd name="T38" fmla="*/ 0 w 106"/>
                <a:gd name="T39" fmla="*/ 98 h 106"/>
                <a:gd name="T40" fmla="*/ 2 w 106"/>
                <a:gd name="T41" fmla="*/ 84 h 106"/>
                <a:gd name="T42" fmla="*/ 12 w 106"/>
                <a:gd name="T43" fmla="*/ 74 h 106"/>
                <a:gd name="T44" fmla="*/ 26 w 106"/>
                <a:gd name="T45" fmla="*/ 58 h 106"/>
                <a:gd name="T46" fmla="*/ 32 w 106"/>
                <a:gd name="T47" fmla="*/ 58 h 106"/>
                <a:gd name="T48" fmla="*/ 42 w 106"/>
                <a:gd name="T49" fmla="*/ 48 h 106"/>
                <a:gd name="T50" fmla="*/ 52 w 106"/>
                <a:gd name="T51" fmla="*/ 48 h 106"/>
                <a:gd name="T52" fmla="*/ 62 w 106"/>
                <a:gd name="T53" fmla="*/ 34 h 106"/>
                <a:gd name="T54" fmla="*/ 68 w 106"/>
                <a:gd name="T55" fmla="*/ 24 h 106"/>
                <a:gd name="T56" fmla="*/ 76 w 106"/>
                <a:gd name="T57" fmla="*/ 18 h 106"/>
                <a:gd name="T58" fmla="*/ 76 w 106"/>
                <a:gd name="T59" fmla="*/ 10 h 106"/>
                <a:gd name="T60" fmla="*/ 80 w 106"/>
                <a:gd name="T6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06">
                  <a:moveTo>
                    <a:pt x="80" y="0"/>
                  </a:moveTo>
                  <a:lnTo>
                    <a:pt x="86" y="2"/>
                  </a:lnTo>
                  <a:lnTo>
                    <a:pt x="92" y="10"/>
                  </a:lnTo>
                  <a:lnTo>
                    <a:pt x="100" y="10"/>
                  </a:lnTo>
                  <a:lnTo>
                    <a:pt x="106" y="10"/>
                  </a:lnTo>
                  <a:lnTo>
                    <a:pt x="106" y="18"/>
                  </a:lnTo>
                  <a:lnTo>
                    <a:pt x="100" y="28"/>
                  </a:lnTo>
                  <a:lnTo>
                    <a:pt x="96" y="36"/>
                  </a:lnTo>
                  <a:lnTo>
                    <a:pt x="86" y="42"/>
                  </a:lnTo>
                  <a:lnTo>
                    <a:pt x="86" y="56"/>
                  </a:lnTo>
                  <a:lnTo>
                    <a:pt x="78" y="58"/>
                  </a:lnTo>
                  <a:lnTo>
                    <a:pt x="70" y="60"/>
                  </a:lnTo>
                  <a:lnTo>
                    <a:pt x="64" y="68"/>
                  </a:lnTo>
                  <a:lnTo>
                    <a:pt x="60" y="82"/>
                  </a:lnTo>
                  <a:lnTo>
                    <a:pt x="50" y="96"/>
                  </a:lnTo>
                  <a:lnTo>
                    <a:pt x="42" y="104"/>
                  </a:lnTo>
                  <a:lnTo>
                    <a:pt x="26" y="106"/>
                  </a:lnTo>
                  <a:lnTo>
                    <a:pt x="18" y="102"/>
                  </a:lnTo>
                  <a:lnTo>
                    <a:pt x="14" y="100"/>
                  </a:lnTo>
                  <a:lnTo>
                    <a:pt x="0" y="98"/>
                  </a:lnTo>
                  <a:lnTo>
                    <a:pt x="2" y="84"/>
                  </a:lnTo>
                  <a:lnTo>
                    <a:pt x="12" y="74"/>
                  </a:lnTo>
                  <a:lnTo>
                    <a:pt x="26" y="58"/>
                  </a:lnTo>
                  <a:lnTo>
                    <a:pt x="32" y="58"/>
                  </a:lnTo>
                  <a:lnTo>
                    <a:pt x="42" y="48"/>
                  </a:lnTo>
                  <a:lnTo>
                    <a:pt x="52" y="48"/>
                  </a:lnTo>
                  <a:lnTo>
                    <a:pt x="62" y="34"/>
                  </a:lnTo>
                  <a:lnTo>
                    <a:pt x="68" y="24"/>
                  </a:lnTo>
                  <a:lnTo>
                    <a:pt x="76" y="18"/>
                  </a:lnTo>
                  <a:lnTo>
                    <a:pt x="76"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6" name="Freeform 1024"/>
            <p:cNvSpPr>
              <a:spLocks/>
            </p:cNvSpPr>
            <p:nvPr/>
          </p:nvSpPr>
          <p:spPr bwMode="auto">
            <a:xfrm>
              <a:off x="5217" y="3129"/>
              <a:ext cx="114" cy="114"/>
            </a:xfrm>
            <a:custGeom>
              <a:avLst/>
              <a:gdLst>
                <a:gd name="T0" fmla="*/ 84 w 114"/>
                <a:gd name="T1" fmla="*/ 0 h 114"/>
                <a:gd name="T2" fmla="*/ 80 w 114"/>
                <a:gd name="T3" fmla="*/ 2 h 114"/>
                <a:gd name="T4" fmla="*/ 76 w 114"/>
                <a:gd name="T5" fmla="*/ 12 h 114"/>
                <a:gd name="T6" fmla="*/ 76 w 114"/>
                <a:gd name="T7" fmla="*/ 20 h 114"/>
                <a:gd name="T8" fmla="*/ 70 w 114"/>
                <a:gd name="T9" fmla="*/ 24 h 114"/>
                <a:gd name="T10" fmla="*/ 62 w 114"/>
                <a:gd name="T11" fmla="*/ 36 h 114"/>
                <a:gd name="T12" fmla="*/ 46 w 114"/>
                <a:gd name="T13" fmla="*/ 48 h 114"/>
                <a:gd name="T14" fmla="*/ 42 w 114"/>
                <a:gd name="T15" fmla="*/ 50 h 114"/>
                <a:gd name="T16" fmla="*/ 30 w 114"/>
                <a:gd name="T17" fmla="*/ 58 h 114"/>
                <a:gd name="T18" fmla="*/ 26 w 114"/>
                <a:gd name="T19" fmla="*/ 60 h 114"/>
                <a:gd name="T20" fmla="*/ 4 w 114"/>
                <a:gd name="T21" fmla="*/ 86 h 114"/>
                <a:gd name="T22" fmla="*/ 4 w 114"/>
                <a:gd name="T23" fmla="*/ 88 h 114"/>
                <a:gd name="T24" fmla="*/ 0 w 114"/>
                <a:gd name="T25" fmla="*/ 100 h 114"/>
                <a:gd name="T26" fmla="*/ 0 w 114"/>
                <a:gd name="T27" fmla="*/ 104 h 114"/>
                <a:gd name="T28" fmla="*/ 16 w 114"/>
                <a:gd name="T29" fmla="*/ 108 h 114"/>
                <a:gd name="T30" fmla="*/ 28 w 114"/>
                <a:gd name="T31" fmla="*/ 114 h 114"/>
                <a:gd name="T32" fmla="*/ 30 w 114"/>
                <a:gd name="T33" fmla="*/ 114 h 114"/>
                <a:gd name="T34" fmla="*/ 30 w 114"/>
                <a:gd name="T35" fmla="*/ 114 h 114"/>
                <a:gd name="T36" fmla="*/ 46 w 114"/>
                <a:gd name="T37" fmla="*/ 112 h 114"/>
                <a:gd name="T38" fmla="*/ 56 w 114"/>
                <a:gd name="T39" fmla="*/ 102 h 114"/>
                <a:gd name="T40" fmla="*/ 68 w 114"/>
                <a:gd name="T41" fmla="*/ 90 h 114"/>
                <a:gd name="T42" fmla="*/ 72 w 114"/>
                <a:gd name="T43" fmla="*/ 74 h 114"/>
                <a:gd name="T44" fmla="*/ 84 w 114"/>
                <a:gd name="T45" fmla="*/ 64 h 114"/>
                <a:gd name="T46" fmla="*/ 92 w 114"/>
                <a:gd name="T47" fmla="*/ 64 h 114"/>
                <a:gd name="T48" fmla="*/ 94 w 114"/>
                <a:gd name="T49" fmla="*/ 60 h 114"/>
                <a:gd name="T50" fmla="*/ 102 w 114"/>
                <a:gd name="T51" fmla="*/ 42 h 114"/>
                <a:gd name="T52" fmla="*/ 102 w 114"/>
                <a:gd name="T53" fmla="*/ 42 h 114"/>
                <a:gd name="T54" fmla="*/ 108 w 114"/>
                <a:gd name="T55" fmla="*/ 34 h 114"/>
                <a:gd name="T56" fmla="*/ 114 w 114"/>
                <a:gd name="T57" fmla="*/ 24 h 114"/>
                <a:gd name="T58" fmla="*/ 114 w 114"/>
                <a:gd name="T59" fmla="*/ 22 h 114"/>
                <a:gd name="T60" fmla="*/ 114 w 114"/>
                <a:gd name="T61" fmla="*/ 14 h 114"/>
                <a:gd name="T62" fmla="*/ 110 w 114"/>
                <a:gd name="T63" fmla="*/ 10 h 114"/>
                <a:gd name="T64" fmla="*/ 98 w 114"/>
                <a:gd name="T65" fmla="*/ 10 h 114"/>
                <a:gd name="T66" fmla="*/ 94 w 114"/>
                <a:gd name="T67" fmla="*/ 4 h 114"/>
                <a:gd name="T68" fmla="*/ 84 w 114"/>
                <a:gd name="T69" fmla="*/ 0 h 114"/>
                <a:gd name="T70" fmla="*/ 84 w 114"/>
                <a:gd name="T7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4">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7" name="Freeform 1025"/>
            <p:cNvSpPr>
              <a:spLocks/>
            </p:cNvSpPr>
            <p:nvPr/>
          </p:nvSpPr>
          <p:spPr bwMode="auto">
            <a:xfrm>
              <a:off x="4911" y="3131"/>
              <a:ext cx="54" cy="54"/>
            </a:xfrm>
            <a:custGeom>
              <a:avLst/>
              <a:gdLst>
                <a:gd name="T0" fmla="*/ 30 w 54"/>
                <a:gd name="T1" fmla="*/ 54 h 54"/>
                <a:gd name="T2" fmla="*/ 22 w 54"/>
                <a:gd name="T3" fmla="*/ 52 h 54"/>
                <a:gd name="T4" fmla="*/ 22 w 54"/>
                <a:gd name="T5" fmla="*/ 52 h 54"/>
                <a:gd name="T6" fmla="*/ 22 w 54"/>
                <a:gd name="T7" fmla="*/ 52 h 54"/>
                <a:gd name="T8" fmla="*/ 14 w 54"/>
                <a:gd name="T9" fmla="*/ 46 h 54"/>
                <a:gd name="T10" fmla="*/ 8 w 54"/>
                <a:gd name="T11" fmla="*/ 38 h 54"/>
                <a:gd name="T12" fmla="*/ 8 w 54"/>
                <a:gd name="T13" fmla="*/ 38 h 54"/>
                <a:gd name="T14" fmla="*/ 8 w 54"/>
                <a:gd name="T15" fmla="*/ 36 h 54"/>
                <a:gd name="T16" fmla="*/ 10 w 54"/>
                <a:gd name="T17" fmla="*/ 26 h 54"/>
                <a:gd name="T18" fmla="*/ 8 w 54"/>
                <a:gd name="T19" fmla="*/ 20 h 54"/>
                <a:gd name="T20" fmla="*/ 0 w 54"/>
                <a:gd name="T21" fmla="*/ 14 h 54"/>
                <a:gd name="T22" fmla="*/ 0 w 54"/>
                <a:gd name="T23" fmla="*/ 14 h 54"/>
                <a:gd name="T24" fmla="*/ 0 w 54"/>
                <a:gd name="T25" fmla="*/ 12 h 54"/>
                <a:gd name="T26" fmla="*/ 2 w 54"/>
                <a:gd name="T27" fmla="*/ 2 h 54"/>
                <a:gd name="T28" fmla="*/ 2 w 54"/>
                <a:gd name="T29" fmla="*/ 2 h 54"/>
                <a:gd name="T30" fmla="*/ 2 w 54"/>
                <a:gd name="T31" fmla="*/ 0 h 54"/>
                <a:gd name="T32" fmla="*/ 2 w 54"/>
                <a:gd name="T33" fmla="*/ 0 h 54"/>
                <a:gd name="T34" fmla="*/ 4 w 54"/>
                <a:gd name="T35" fmla="*/ 0 h 54"/>
                <a:gd name="T36" fmla="*/ 4 w 54"/>
                <a:gd name="T37" fmla="*/ 0 h 54"/>
                <a:gd name="T38" fmla="*/ 4 w 54"/>
                <a:gd name="T39" fmla="*/ 0 h 54"/>
                <a:gd name="T40" fmla="*/ 14 w 54"/>
                <a:gd name="T41" fmla="*/ 6 h 54"/>
                <a:gd name="T42" fmla="*/ 24 w 54"/>
                <a:gd name="T43" fmla="*/ 10 h 54"/>
                <a:gd name="T44" fmla="*/ 36 w 54"/>
                <a:gd name="T45" fmla="*/ 8 h 54"/>
                <a:gd name="T46" fmla="*/ 46 w 54"/>
                <a:gd name="T47" fmla="*/ 8 h 54"/>
                <a:gd name="T48" fmla="*/ 46 w 54"/>
                <a:gd name="T49" fmla="*/ 8 h 54"/>
                <a:gd name="T50" fmla="*/ 46 w 54"/>
                <a:gd name="T51" fmla="*/ 8 h 54"/>
                <a:gd name="T52" fmla="*/ 46 w 54"/>
                <a:gd name="T53" fmla="*/ 8 h 54"/>
                <a:gd name="T54" fmla="*/ 48 w 54"/>
                <a:gd name="T55" fmla="*/ 8 h 54"/>
                <a:gd name="T56" fmla="*/ 52 w 54"/>
                <a:gd name="T57" fmla="*/ 8 h 54"/>
                <a:gd name="T58" fmla="*/ 52 w 54"/>
                <a:gd name="T59" fmla="*/ 8 h 54"/>
                <a:gd name="T60" fmla="*/ 54 w 54"/>
                <a:gd name="T61" fmla="*/ 10 h 54"/>
                <a:gd name="T62" fmla="*/ 54 w 54"/>
                <a:gd name="T63" fmla="*/ 24 h 54"/>
                <a:gd name="T64" fmla="*/ 54 w 54"/>
                <a:gd name="T65" fmla="*/ 24 h 54"/>
                <a:gd name="T66" fmla="*/ 54 w 54"/>
                <a:gd name="T67" fmla="*/ 26 h 54"/>
                <a:gd name="T68" fmla="*/ 50 w 54"/>
                <a:gd name="T69" fmla="*/ 32 h 54"/>
                <a:gd name="T70" fmla="*/ 48 w 54"/>
                <a:gd name="T71" fmla="*/ 40 h 54"/>
                <a:gd name="T72" fmla="*/ 48 w 54"/>
                <a:gd name="T73" fmla="*/ 40 h 54"/>
                <a:gd name="T74" fmla="*/ 48 w 54"/>
                <a:gd name="T75" fmla="*/ 40 h 54"/>
                <a:gd name="T76" fmla="*/ 44 w 54"/>
                <a:gd name="T77" fmla="*/ 44 h 54"/>
                <a:gd name="T78" fmla="*/ 44 w 54"/>
                <a:gd name="T79" fmla="*/ 44 h 54"/>
                <a:gd name="T80" fmla="*/ 44 w 54"/>
                <a:gd name="T81" fmla="*/ 44 h 54"/>
                <a:gd name="T82" fmla="*/ 40 w 54"/>
                <a:gd name="T83" fmla="*/ 44 h 54"/>
                <a:gd name="T84" fmla="*/ 38 w 54"/>
                <a:gd name="T85" fmla="*/ 46 h 54"/>
                <a:gd name="T86" fmla="*/ 30 w 54"/>
                <a:gd name="T87" fmla="*/ 54 h 54"/>
                <a:gd name="T88" fmla="*/ 30 w 54"/>
                <a:gd name="T89" fmla="*/ 54 h 54"/>
                <a:gd name="T90" fmla="*/ 30 w 54"/>
                <a:gd name="T91" fmla="*/ 54 h 54"/>
                <a:gd name="T92" fmla="*/ 30 w 54"/>
                <a:gd name="T93" fmla="*/ 54 h 54"/>
                <a:gd name="T94" fmla="*/ 30 w 54"/>
                <a:gd name="T95" fmla="*/ 54 h 54"/>
                <a:gd name="T96" fmla="*/ 30 w 54"/>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54">
                  <a:moveTo>
                    <a:pt x="30" y="54"/>
                  </a:moveTo>
                  <a:lnTo>
                    <a:pt x="22" y="52"/>
                  </a:lnTo>
                  <a:lnTo>
                    <a:pt x="22" y="52"/>
                  </a:lnTo>
                  <a:lnTo>
                    <a:pt x="22" y="52"/>
                  </a:lnTo>
                  <a:lnTo>
                    <a:pt x="14" y="46"/>
                  </a:lnTo>
                  <a:lnTo>
                    <a:pt x="8" y="38"/>
                  </a:lnTo>
                  <a:lnTo>
                    <a:pt x="8" y="38"/>
                  </a:lnTo>
                  <a:lnTo>
                    <a:pt x="8" y="36"/>
                  </a:lnTo>
                  <a:lnTo>
                    <a:pt x="10" y="26"/>
                  </a:lnTo>
                  <a:lnTo>
                    <a:pt x="8" y="20"/>
                  </a:lnTo>
                  <a:lnTo>
                    <a:pt x="0" y="14"/>
                  </a:lnTo>
                  <a:lnTo>
                    <a:pt x="0" y="14"/>
                  </a:lnTo>
                  <a:lnTo>
                    <a:pt x="0" y="12"/>
                  </a:lnTo>
                  <a:lnTo>
                    <a:pt x="2" y="2"/>
                  </a:lnTo>
                  <a:lnTo>
                    <a:pt x="2" y="2"/>
                  </a:lnTo>
                  <a:lnTo>
                    <a:pt x="2" y="0"/>
                  </a:lnTo>
                  <a:lnTo>
                    <a:pt x="2" y="0"/>
                  </a:lnTo>
                  <a:lnTo>
                    <a:pt x="4" y="0"/>
                  </a:lnTo>
                  <a:lnTo>
                    <a:pt x="4" y="0"/>
                  </a:lnTo>
                  <a:lnTo>
                    <a:pt x="4" y="0"/>
                  </a:lnTo>
                  <a:lnTo>
                    <a:pt x="14" y="6"/>
                  </a:lnTo>
                  <a:lnTo>
                    <a:pt x="24" y="10"/>
                  </a:lnTo>
                  <a:lnTo>
                    <a:pt x="36" y="8"/>
                  </a:lnTo>
                  <a:lnTo>
                    <a:pt x="46" y="8"/>
                  </a:lnTo>
                  <a:lnTo>
                    <a:pt x="46" y="8"/>
                  </a:lnTo>
                  <a:lnTo>
                    <a:pt x="46" y="8"/>
                  </a:lnTo>
                  <a:lnTo>
                    <a:pt x="46" y="8"/>
                  </a:lnTo>
                  <a:lnTo>
                    <a:pt x="48" y="8"/>
                  </a:lnTo>
                  <a:lnTo>
                    <a:pt x="52" y="8"/>
                  </a:lnTo>
                  <a:lnTo>
                    <a:pt x="52" y="8"/>
                  </a:lnTo>
                  <a:lnTo>
                    <a:pt x="54" y="10"/>
                  </a:lnTo>
                  <a:lnTo>
                    <a:pt x="54" y="24"/>
                  </a:lnTo>
                  <a:lnTo>
                    <a:pt x="54" y="24"/>
                  </a:lnTo>
                  <a:lnTo>
                    <a:pt x="54" y="26"/>
                  </a:lnTo>
                  <a:lnTo>
                    <a:pt x="50" y="32"/>
                  </a:lnTo>
                  <a:lnTo>
                    <a:pt x="48" y="40"/>
                  </a:lnTo>
                  <a:lnTo>
                    <a:pt x="48" y="40"/>
                  </a:lnTo>
                  <a:lnTo>
                    <a:pt x="48" y="40"/>
                  </a:lnTo>
                  <a:lnTo>
                    <a:pt x="44" y="44"/>
                  </a:lnTo>
                  <a:lnTo>
                    <a:pt x="44" y="44"/>
                  </a:lnTo>
                  <a:lnTo>
                    <a:pt x="44" y="44"/>
                  </a:lnTo>
                  <a:lnTo>
                    <a:pt x="40" y="44"/>
                  </a:lnTo>
                  <a:lnTo>
                    <a:pt x="38" y="46"/>
                  </a:lnTo>
                  <a:lnTo>
                    <a:pt x="30" y="54"/>
                  </a:lnTo>
                  <a:lnTo>
                    <a:pt x="30"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8" name="Freeform 1026"/>
            <p:cNvSpPr>
              <a:spLocks noEditPoints="1"/>
            </p:cNvSpPr>
            <p:nvPr/>
          </p:nvSpPr>
          <p:spPr bwMode="auto">
            <a:xfrm>
              <a:off x="4909" y="3129"/>
              <a:ext cx="58" cy="58"/>
            </a:xfrm>
            <a:custGeom>
              <a:avLst/>
              <a:gdLst>
                <a:gd name="T0" fmla="*/ 14 w 58"/>
                <a:gd name="T1" fmla="*/ 10 h 58"/>
                <a:gd name="T2" fmla="*/ 38 w 58"/>
                <a:gd name="T3" fmla="*/ 12 h 58"/>
                <a:gd name="T4" fmla="*/ 54 w 58"/>
                <a:gd name="T5" fmla="*/ 12 h 58"/>
                <a:gd name="T6" fmla="*/ 50 w 58"/>
                <a:gd name="T7" fmla="*/ 34 h 58"/>
                <a:gd name="T8" fmla="*/ 46 w 58"/>
                <a:gd name="T9" fmla="*/ 44 h 58"/>
                <a:gd name="T10" fmla="*/ 38 w 58"/>
                <a:gd name="T11" fmla="*/ 48 h 58"/>
                <a:gd name="T12" fmla="*/ 24 w 58"/>
                <a:gd name="T13" fmla="*/ 52 h 58"/>
                <a:gd name="T14" fmla="*/ 12 w 58"/>
                <a:gd name="T15" fmla="*/ 38 h 58"/>
                <a:gd name="T16" fmla="*/ 10 w 58"/>
                <a:gd name="T17" fmla="*/ 20 h 58"/>
                <a:gd name="T18" fmla="*/ 6 w 58"/>
                <a:gd name="T19" fmla="*/ 4 h 58"/>
                <a:gd name="T20" fmla="*/ 6 w 58"/>
                <a:gd name="T21" fmla="*/ 0 h 58"/>
                <a:gd name="T22" fmla="*/ 4 w 58"/>
                <a:gd name="T23" fmla="*/ 0 h 58"/>
                <a:gd name="T24" fmla="*/ 0 w 58"/>
                <a:gd name="T25" fmla="*/ 14 h 58"/>
                <a:gd name="T26" fmla="*/ 2 w 58"/>
                <a:gd name="T27" fmla="*/ 18 h 58"/>
                <a:gd name="T28" fmla="*/ 10 w 58"/>
                <a:gd name="T29" fmla="*/ 28 h 58"/>
                <a:gd name="T30" fmla="*/ 8 w 58"/>
                <a:gd name="T31" fmla="*/ 38 h 58"/>
                <a:gd name="T32" fmla="*/ 14 w 58"/>
                <a:gd name="T33" fmla="*/ 48 h 58"/>
                <a:gd name="T34" fmla="*/ 14 w 58"/>
                <a:gd name="T35" fmla="*/ 48 h 58"/>
                <a:gd name="T36" fmla="*/ 22 w 58"/>
                <a:gd name="T37" fmla="*/ 56 h 58"/>
                <a:gd name="T38" fmla="*/ 30 w 58"/>
                <a:gd name="T39" fmla="*/ 58 h 58"/>
                <a:gd name="T40" fmla="*/ 32 w 58"/>
                <a:gd name="T41" fmla="*/ 58 h 58"/>
                <a:gd name="T42" fmla="*/ 34 w 58"/>
                <a:gd name="T43" fmla="*/ 58 h 58"/>
                <a:gd name="T44" fmla="*/ 42 w 58"/>
                <a:gd name="T45" fmla="*/ 50 h 58"/>
                <a:gd name="T46" fmla="*/ 42 w 58"/>
                <a:gd name="T47" fmla="*/ 48 h 58"/>
                <a:gd name="T48" fmla="*/ 46 w 58"/>
                <a:gd name="T49" fmla="*/ 48 h 58"/>
                <a:gd name="T50" fmla="*/ 52 w 58"/>
                <a:gd name="T51" fmla="*/ 44 h 58"/>
                <a:gd name="T52" fmla="*/ 52 w 58"/>
                <a:gd name="T53" fmla="*/ 42 h 58"/>
                <a:gd name="T54" fmla="*/ 58 w 58"/>
                <a:gd name="T55" fmla="*/ 28 h 58"/>
                <a:gd name="T56" fmla="*/ 58 w 58"/>
                <a:gd name="T57" fmla="*/ 26 h 58"/>
                <a:gd name="T58" fmla="*/ 58 w 58"/>
                <a:gd name="T59" fmla="*/ 12 h 58"/>
                <a:gd name="T60" fmla="*/ 56 w 58"/>
                <a:gd name="T61" fmla="*/ 10 h 58"/>
                <a:gd name="T62" fmla="*/ 50 w 58"/>
                <a:gd name="T63" fmla="*/ 8 h 58"/>
                <a:gd name="T64" fmla="*/ 48 w 58"/>
                <a:gd name="T65" fmla="*/ 8 h 58"/>
                <a:gd name="T66" fmla="*/ 38 w 58"/>
                <a:gd name="T67" fmla="*/ 8 h 58"/>
                <a:gd name="T68" fmla="*/ 16 w 58"/>
                <a:gd name="T69" fmla="*/ 6 h 58"/>
                <a:gd name="T70" fmla="*/ 8 w 58"/>
                <a:gd name="T71" fmla="*/ 0 h 58"/>
                <a:gd name="T72" fmla="*/ 6 w 58"/>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58">
                  <a:moveTo>
                    <a:pt x="6" y="4"/>
                  </a:moveTo>
                  <a:lnTo>
                    <a:pt x="14" y="10"/>
                  </a:lnTo>
                  <a:lnTo>
                    <a:pt x="26" y="14"/>
                  </a:lnTo>
                  <a:lnTo>
                    <a:pt x="38" y="12"/>
                  </a:lnTo>
                  <a:lnTo>
                    <a:pt x="48" y="12"/>
                  </a:lnTo>
                  <a:lnTo>
                    <a:pt x="54" y="12"/>
                  </a:lnTo>
                  <a:lnTo>
                    <a:pt x="54" y="26"/>
                  </a:lnTo>
                  <a:lnTo>
                    <a:pt x="50" y="34"/>
                  </a:lnTo>
                  <a:lnTo>
                    <a:pt x="48" y="40"/>
                  </a:lnTo>
                  <a:lnTo>
                    <a:pt x="46" y="44"/>
                  </a:lnTo>
                  <a:lnTo>
                    <a:pt x="40" y="44"/>
                  </a:lnTo>
                  <a:lnTo>
                    <a:pt x="38" y="48"/>
                  </a:lnTo>
                  <a:lnTo>
                    <a:pt x="32" y="54"/>
                  </a:lnTo>
                  <a:lnTo>
                    <a:pt x="24" y="52"/>
                  </a:lnTo>
                  <a:lnTo>
                    <a:pt x="18" y="46"/>
                  </a:lnTo>
                  <a:lnTo>
                    <a:pt x="12" y="38"/>
                  </a:lnTo>
                  <a:lnTo>
                    <a:pt x="14" y="26"/>
                  </a:lnTo>
                  <a:lnTo>
                    <a:pt x="10" y="20"/>
                  </a:lnTo>
                  <a:lnTo>
                    <a:pt x="4" y="14"/>
                  </a:lnTo>
                  <a:lnTo>
                    <a:pt x="6" y="4"/>
                  </a:lnTo>
                  <a:close/>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 name="Freeform 1027"/>
            <p:cNvSpPr>
              <a:spLocks/>
            </p:cNvSpPr>
            <p:nvPr/>
          </p:nvSpPr>
          <p:spPr bwMode="auto">
            <a:xfrm>
              <a:off x="4913" y="3133"/>
              <a:ext cx="50" cy="50"/>
            </a:xfrm>
            <a:custGeom>
              <a:avLst/>
              <a:gdLst>
                <a:gd name="T0" fmla="*/ 2 w 50"/>
                <a:gd name="T1" fmla="*/ 0 h 50"/>
                <a:gd name="T2" fmla="*/ 10 w 50"/>
                <a:gd name="T3" fmla="*/ 6 h 50"/>
                <a:gd name="T4" fmla="*/ 22 w 50"/>
                <a:gd name="T5" fmla="*/ 10 h 50"/>
                <a:gd name="T6" fmla="*/ 34 w 50"/>
                <a:gd name="T7" fmla="*/ 8 h 50"/>
                <a:gd name="T8" fmla="*/ 44 w 50"/>
                <a:gd name="T9" fmla="*/ 8 h 50"/>
                <a:gd name="T10" fmla="*/ 50 w 50"/>
                <a:gd name="T11" fmla="*/ 8 h 50"/>
                <a:gd name="T12" fmla="*/ 50 w 50"/>
                <a:gd name="T13" fmla="*/ 22 h 50"/>
                <a:gd name="T14" fmla="*/ 46 w 50"/>
                <a:gd name="T15" fmla="*/ 30 h 50"/>
                <a:gd name="T16" fmla="*/ 44 w 50"/>
                <a:gd name="T17" fmla="*/ 36 h 50"/>
                <a:gd name="T18" fmla="*/ 42 w 50"/>
                <a:gd name="T19" fmla="*/ 40 h 50"/>
                <a:gd name="T20" fmla="*/ 36 w 50"/>
                <a:gd name="T21" fmla="*/ 40 h 50"/>
                <a:gd name="T22" fmla="*/ 34 w 50"/>
                <a:gd name="T23" fmla="*/ 44 h 50"/>
                <a:gd name="T24" fmla="*/ 28 w 50"/>
                <a:gd name="T25" fmla="*/ 50 h 50"/>
                <a:gd name="T26" fmla="*/ 20 w 50"/>
                <a:gd name="T27" fmla="*/ 48 h 50"/>
                <a:gd name="T28" fmla="*/ 14 w 50"/>
                <a:gd name="T29" fmla="*/ 42 h 50"/>
                <a:gd name="T30" fmla="*/ 8 w 50"/>
                <a:gd name="T31" fmla="*/ 34 h 50"/>
                <a:gd name="T32" fmla="*/ 10 w 50"/>
                <a:gd name="T33" fmla="*/ 22 h 50"/>
                <a:gd name="T34" fmla="*/ 6 w 50"/>
                <a:gd name="T35" fmla="*/ 16 h 50"/>
                <a:gd name="T36" fmla="*/ 0 w 50"/>
                <a:gd name="T37" fmla="*/ 10 h 50"/>
                <a:gd name="T38" fmla="*/ 2 w 50"/>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2" y="0"/>
                  </a:moveTo>
                  <a:lnTo>
                    <a:pt x="10" y="6"/>
                  </a:lnTo>
                  <a:lnTo>
                    <a:pt x="22" y="10"/>
                  </a:lnTo>
                  <a:lnTo>
                    <a:pt x="34" y="8"/>
                  </a:lnTo>
                  <a:lnTo>
                    <a:pt x="44" y="8"/>
                  </a:lnTo>
                  <a:lnTo>
                    <a:pt x="50" y="8"/>
                  </a:lnTo>
                  <a:lnTo>
                    <a:pt x="50" y="22"/>
                  </a:lnTo>
                  <a:lnTo>
                    <a:pt x="46" y="30"/>
                  </a:lnTo>
                  <a:lnTo>
                    <a:pt x="44" y="36"/>
                  </a:lnTo>
                  <a:lnTo>
                    <a:pt x="42" y="40"/>
                  </a:lnTo>
                  <a:lnTo>
                    <a:pt x="36" y="40"/>
                  </a:lnTo>
                  <a:lnTo>
                    <a:pt x="34" y="44"/>
                  </a:lnTo>
                  <a:lnTo>
                    <a:pt x="28" y="50"/>
                  </a:lnTo>
                  <a:lnTo>
                    <a:pt x="20" y="48"/>
                  </a:lnTo>
                  <a:lnTo>
                    <a:pt x="14" y="42"/>
                  </a:lnTo>
                  <a:lnTo>
                    <a:pt x="8" y="34"/>
                  </a:lnTo>
                  <a:lnTo>
                    <a:pt x="10" y="22"/>
                  </a:lnTo>
                  <a:lnTo>
                    <a:pt x="6" y="16"/>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 name="Freeform 1028"/>
            <p:cNvSpPr>
              <a:spLocks/>
            </p:cNvSpPr>
            <p:nvPr/>
          </p:nvSpPr>
          <p:spPr bwMode="auto">
            <a:xfrm>
              <a:off x="4909" y="3129"/>
              <a:ext cx="58" cy="58"/>
            </a:xfrm>
            <a:custGeom>
              <a:avLst/>
              <a:gdLst>
                <a:gd name="T0" fmla="*/ 6 w 58"/>
                <a:gd name="T1" fmla="*/ 0 h 58"/>
                <a:gd name="T2" fmla="*/ 6 w 58"/>
                <a:gd name="T3" fmla="*/ 0 h 58"/>
                <a:gd name="T4" fmla="*/ 4 w 58"/>
                <a:gd name="T5" fmla="*/ 0 h 58"/>
                <a:gd name="T6" fmla="*/ 4 w 58"/>
                <a:gd name="T7" fmla="*/ 0 h 58"/>
                <a:gd name="T8" fmla="*/ 2 w 58"/>
                <a:gd name="T9" fmla="*/ 4 h 58"/>
                <a:gd name="T10" fmla="*/ 0 w 58"/>
                <a:gd name="T11" fmla="*/ 14 h 58"/>
                <a:gd name="T12" fmla="*/ 0 w 58"/>
                <a:gd name="T13" fmla="*/ 14 h 58"/>
                <a:gd name="T14" fmla="*/ 2 w 58"/>
                <a:gd name="T15" fmla="*/ 18 h 58"/>
                <a:gd name="T16" fmla="*/ 8 w 58"/>
                <a:gd name="T17" fmla="*/ 22 h 58"/>
                <a:gd name="T18" fmla="*/ 10 w 58"/>
                <a:gd name="T19" fmla="*/ 28 h 58"/>
                <a:gd name="T20" fmla="*/ 8 w 58"/>
                <a:gd name="T21" fmla="*/ 38 h 58"/>
                <a:gd name="T22" fmla="*/ 8 w 58"/>
                <a:gd name="T23" fmla="*/ 38 h 58"/>
                <a:gd name="T24" fmla="*/ 10 w 58"/>
                <a:gd name="T25" fmla="*/ 42 h 58"/>
                <a:gd name="T26" fmla="*/ 14 w 58"/>
                <a:gd name="T27" fmla="*/ 48 h 58"/>
                <a:gd name="T28" fmla="*/ 14 w 58"/>
                <a:gd name="T29" fmla="*/ 48 h 58"/>
                <a:gd name="T30" fmla="*/ 14 w 58"/>
                <a:gd name="T31" fmla="*/ 48 h 58"/>
                <a:gd name="T32" fmla="*/ 22 w 58"/>
                <a:gd name="T33" fmla="*/ 56 h 58"/>
                <a:gd name="T34" fmla="*/ 22 w 58"/>
                <a:gd name="T35" fmla="*/ 56 h 58"/>
                <a:gd name="T36" fmla="*/ 24 w 58"/>
                <a:gd name="T37" fmla="*/ 56 h 58"/>
                <a:gd name="T38" fmla="*/ 30 w 58"/>
                <a:gd name="T39" fmla="*/ 58 h 58"/>
                <a:gd name="T40" fmla="*/ 30 w 58"/>
                <a:gd name="T41" fmla="*/ 58 h 58"/>
                <a:gd name="T42" fmla="*/ 32 w 58"/>
                <a:gd name="T43" fmla="*/ 58 h 58"/>
                <a:gd name="T44" fmla="*/ 32 w 58"/>
                <a:gd name="T45" fmla="*/ 58 h 58"/>
                <a:gd name="T46" fmla="*/ 34 w 58"/>
                <a:gd name="T47" fmla="*/ 58 h 58"/>
                <a:gd name="T48" fmla="*/ 42 w 58"/>
                <a:gd name="T49" fmla="*/ 50 h 58"/>
                <a:gd name="T50" fmla="*/ 42 w 58"/>
                <a:gd name="T51" fmla="*/ 50 h 58"/>
                <a:gd name="T52" fmla="*/ 42 w 58"/>
                <a:gd name="T53" fmla="*/ 50 h 58"/>
                <a:gd name="T54" fmla="*/ 42 w 58"/>
                <a:gd name="T55" fmla="*/ 48 h 58"/>
                <a:gd name="T56" fmla="*/ 46 w 58"/>
                <a:gd name="T57" fmla="*/ 48 h 58"/>
                <a:gd name="T58" fmla="*/ 46 w 58"/>
                <a:gd name="T59" fmla="*/ 48 h 58"/>
                <a:gd name="T60" fmla="*/ 48 w 58"/>
                <a:gd name="T61" fmla="*/ 48 h 58"/>
                <a:gd name="T62" fmla="*/ 52 w 58"/>
                <a:gd name="T63" fmla="*/ 44 h 58"/>
                <a:gd name="T64" fmla="*/ 52 w 58"/>
                <a:gd name="T65" fmla="*/ 44 h 58"/>
                <a:gd name="T66" fmla="*/ 52 w 58"/>
                <a:gd name="T67" fmla="*/ 42 h 58"/>
                <a:gd name="T68" fmla="*/ 54 w 58"/>
                <a:gd name="T69" fmla="*/ 36 h 58"/>
                <a:gd name="T70" fmla="*/ 58 w 58"/>
                <a:gd name="T71" fmla="*/ 28 h 58"/>
                <a:gd name="T72" fmla="*/ 58 w 58"/>
                <a:gd name="T73" fmla="*/ 28 h 58"/>
                <a:gd name="T74" fmla="*/ 58 w 58"/>
                <a:gd name="T75" fmla="*/ 26 h 58"/>
                <a:gd name="T76" fmla="*/ 58 w 58"/>
                <a:gd name="T77" fmla="*/ 12 h 58"/>
                <a:gd name="T78" fmla="*/ 58 w 58"/>
                <a:gd name="T79" fmla="*/ 12 h 58"/>
                <a:gd name="T80" fmla="*/ 58 w 58"/>
                <a:gd name="T81" fmla="*/ 10 h 58"/>
                <a:gd name="T82" fmla="*/ 56 w 58"/>
                <a:gd name="T83" fmla="*/ 10 h 58"/>
                <a:gd name="T84" fmla="*/ 50 w 58"/>
                <a:gd name="T85" fmla="*/ 8 h 58"/>
                <a:gd name="T86" fmla="*/ 50 w 58"/>
                <a:gd name="T87" fmla="*/ 8 h 58"/>
                <a:gd name="T88" fmla="*/ 48 w 58"/>
                <a:gd name="T89" fmla="*/ 8 h 58"/>
                <a:gd name="T90" fmla="*/ 48 w 58"/>
                <a:gd name="T91" fmla="*/ 8 h 58"/>
                <a:gd name="T92" fmla="*/ 48 w 58"/>
                <a:gd name="T93" fmla="*/ 8 h 58"/>
                <a:gd name="T94" fmla="*/ 38 w 58"/>
                <a:gd name="T95" fmla="*/ 8 h 58"/>
                <a:gd name="T96" fmla="*/ 26 w 58"/>
                <a:gd name="T97" fmla="*/ 10 h 58"/>
                <a:gd name="T98" fmla="*/ 16 w 58"/>
                <a:gd name="T99" fmla="*/ 6 h 58"/>
                <a:gd name="T100" fmla="*/ 8 w 58"/>
                <a:gd name="T101" fmla="*/ 0 h 58"/>
                <a:gd name="T102" fmla="*/ 8 w 58"/>
                <a:gd name="T103" fmla="*/ 0 h 58"/>
                <a:gd name="T104" fmla="*/ 6 w 58"/>
                <a:gd name="T105" fmla="*/ 0 h 58"/>
                <a:gd name="T106" fmla="*/ 6 w 58"/>
                <a:gd name="T10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58">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 name="Freeform 1029"/>
            <p:cNvSpPr>
              <a:spLocks/>
            </p:cNvSpPr>
            <p:nvPr/>
          </p:nvSpPr>
          <p:spPr bwMode="auto">
            <a:xfrm>
              <a:off x="4463" y="2677"/>
              <a:ext cx="574" cy="430"/>
            </a:xfrm>
            <a:custGeom>
              <a:avLst/>
              <a:gdLst>
                <a:gd name="T0" fmla="*/ 452 w 574"/>
                <a:gd name="T1" fmla="*/ 414 h 430"/>
                <a:gd name="T2" fmla="*/ 436 w 574"/>
                <a:gd name="T3" fmla="*/ 428 h 430"/>
                <a:gd name="T4" fmla="*/ 392 w 574"/>
                <a:gd name="T5" fmla="*/ 418 h 430"/>
                <a:gd name="T6" fmla="*/ 378 w 574"/>
                <a:gd name="T7" fmla="*/ 400 h 430"/>
                <a:gd name="T8" fmla="*/ 360 w 574"/>
                <a:gd name="T9" fmla="*/ 376 h 430"/>
                <a:gd name="T10" fmla="*/ 358 w 574"/>
                <a:gd name="T11" fmla="*/ 366 h 430"/>
                <a:gd name="T12" fmla="*/ 342 w 574"/>
                <a:gd name="T13" fmla="*/ 368 h 430"/>
                <a:gd name="T14" fmla="*/ 340 w 574"/>
                <a:gd name="T15" fmla="*/ 366 h 430"/>
                <a:gd name="T16" fmla="*/ 352 w 574"/>
                <a:gd name="T17" fmla="*/ 338 h 430"/>
                <a:gd name="T18" fmla="*/ 324 w 574"/>
                <a:gd name="T19" fmla="*/ 364 h 430"/>
                <a:gd name="T20" fmla="*/ 316 w 574"/>
                <a:gd name="T21" fmla="*/ 360 h 430"/>
                <a:gd name="T22" fmla="*/ 298 w 574"/>
                <a:gd name="T23" fmla="*/ 328 h 430"/>
                <a:gd name="T24" fmla="*/ 206 w 574"/>
                <a:gd name="T25" fmla="*/ 322 h 430"/>
                <a:gd name="T26" fmla="*/ 156 w 574"/>
                <a:gd name="T27" fmla="*/ 342 h 430"/>
                <a:gd name="T28" fmla="*/ 100 w 574"/>
                <a:gd name="T29" fmla="*/ 350 h 430"/>
                <a:gd name="T30" fmla="*/ 76 w 574"/>
                <a:gd name="T31" fmla="*/ 366 h 430"/>
                <a:gd name="T32" fmla="*/ 50 w 574"/>
                <a:gd name="T33" fmla="*/ 370 h 430"/>
                <a:gd name="T34" fmla="*/ 28 w 574"/>
                <a:gd name="T35" fmla="*/ 356 h 430"/>
                <a:gd name="T36" fmla="*/ 36 w 574"/>
                <a:gd name="T37" fmla="*/ 308 h 430"/>
                <a:gd name="T38" fmla="*/ 16 w 574"/>
                <a:gd name="T39" fmla="*/ 254 h 430"/>
                <a:gd name="T40" fmla="*/ 0 w 574"/>
                <a:gd name="T41" fmla="*/ 220 h 430"/>
                <a:gd name="T42" fmla="*/ 8 w 574"/>
                <a:gd name="T43" fmla="*/ 222 h 430"/>
                <a:gd name="T44" fmla="*/ 18 w 574"/>
                <a:gd name="T45" fmla="*/ 222 h 430"/>
                <a:gd name="T46" fmla="*/ 6 w 574"/>
                <a:gd name="T47" fmla="*/ 184 h 430"/>
                <a:gd name="T48" fmla="*/ 14 w 574"/>
                <a:gd name="T49" fmla="*/ 162 h 430"/>
                <a:gd name="T50" fmla="*/ 22 w 574"/>
                <a:gd name="T51" fmla="*/ 160 h 430"/>
                <a:gd name="T52" fmla="*/ 44 w 574"/>
                <a:gd name="T53" fmla="*/ 146 h 430"/>
                <a:gd name="T54" fmla="*/ 110 w 574"/>
                <a:gd name="T55" fmla="*/ 128 h 430"/>
                <a:gd name="T56" fmla="*/ 130 w 574"/>
                <a:gd name="T57" fmla="*/ 88 h 430"/>
                <a:gd name="T58" fmla="*/ 142 w 574"/>
                <a:gd name="T59" fmla="*/ 82 h 430"/>
                <a:gd name="T60" fmla="*/ 150 w 574"/>
                <a:gd name="T61" fmla="*/ 88 h 430"/>
                <a:gd name="T62" fmla="*/ 152 w 574"/>
                <a:gd name="T63" fmla="*/ 74 h 430"/>
                <a:gd name="T64" fmla="*/ 162 w 574"/>
                <a:gd name="T65" fmla="*/ 66 h 430"/>
                <a:gd name="T66" fmla="*/ 178 w 574"/>
                <a:gd name="T67" fmla="*/ 54 h 430"/>
                <a:gd name="T68" fmla="*/ 198 w 574"/>
                <a:gd name="T69" fmla="*/ 42 h 430"/>
                <a:gd name="T70" fmla="*/ 218 w 574"/>
                <a:gd name="T71" fmla="*/ 58 h 430"/>
                <a:gd name="T72" fmla="*/ 230 w 574"/>
                <a:gd name="T73" fmla="*/ 46 h 430"/>
                <a:gd name="T74" fmla="*/ 252 w 574"/>
                <a:gd name="T75" fmla="*/ 22 h 430"/>
                <a:gd name="T76" fmla="*/ 258 w 574"/>
                <a:gd name="T77" fmla="*/ 18 h 430"/>
                <a:gd name="T78" fmla="*/ 270 w 574"/>
                <a:gd name="T79" fmla="*/ 8 h 430"/>
                <a:gd name="T80" fmla="*/ 276 w 574"/>
                <a:gd name="T81" fmla="*/ 4 h 430"/>
                <a:gd name="T82" fmla="*/ 298 w 574"/>
                <a:gd name="T83" fmla="*/ 12 h 430"/>
                <a:gd name="T84" fmla="*/ 334 w 574"/>
                <a:gd name="T85" fmla="*/ 16 h 430"/>
                <a:gd name="T86" fmla="*/ 342 w 574"/>
                <a:gd name="T87" fmla="*/ 20 h 430"/>
                <a:gd name="T88" fmla="*/ 336 w 574"/>
                <a:gd name="T89" fmla="*/ 30 h 430"/>
                <a:gd name="T90" fmla="*/ 322 w 574"/>
                <a:gd name="T91" fmla="*/ 62 h 430"/>
                <a:gd name="T92" fmla="*/ 386 w 574"/>
                <a:gd name="T93" fmla="*/ 100 h 430"/>
                <a:gd name="T94" fmla="*/ 406 w 574"/>
                <a:gd name="T95" fmla="*/ 20 h 430"/>
                <a:gd name="T96" fmla="*/ 416 w 574"/>
                <a:gd name="T97" fmla="*/ 0 h 430"/>
                <a:gd name="T98" fmla="*/ 430 w 574"/>
                <a:gd name="T99" fmla="*/ 18 h 430"/>
                <a:gd name="T100" fmla="*/ 454 w 574"/>
                <a:gd name="T101" fmla="*/ 56 h 430"/>
                <a:gd name="T102" fmla="*/ 468 w 574"/>
                <a:gd name="T103" fmla="*/ 92 h 430"/>
                <a:gd name="T104" fmla="*/ 478 w 574"/>
                <a:gd name="T105" fmla="*/ 120 h 430"/>
                <a:gd name="T106" fmla="*/ 520 w 574"/>
                <a:gd name="T107" fmla="*/ 154 h 430"/>
                <a:gd name="T108" fmla="*/ 532 w 574"/>
                <a:gd name="T109" fmla="*/ 168 h 430"/>
                <a:gd name="T110" fmla="*/ 566 w 574"/>
                <a:gd name="T111" fmla="*/ 218 h 430"/>
                <a:gd name="T112" fmla="*/ 570 w 574"/>
                <a:gd name="T113" fmla="*/ 290 h 430"/>
                <a:gd name="T114" fmla="*/ 550 w 574"/>
                <a:gd name="T115" fmla="*/ 332 h 430"/>
                <a:gd name="T116" fmla="*/ 524 w 574"/>
                <a:gd name="T117" fmla="*/ 404 h 430"/>
                <a:gd name="T118" fmla="*/ 516 w 574"/>
                <a:gd name="T119" fmla="*/ 410 h 430"/>
                <a:gd name="T120" fmla="*/ 490 w 574"/>
                <a:gd name="T121" fmla="*/ 420 h 430"/>
                <a:gd name="T122" fmla="*/ 472 w 574"/>
                <a:gd name="T123"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30">
                  <a:moveTo>
                    <a:pt x="472" y="430"/>
                  </a:moveTo>
                  <a:lnTo>
                    <a:pt x="472" y="430"/>
                  </a:lnTo>
                  <a:lnTo>
                    <a:pt x="470" y="430"/>
                  </a:lnTo>
                  <a:lnTo>
                    <a:pt x="464" y="426"/>
                  </a:lnTo>
                  <a:lnTo>
                    <a:pt x="452" y="414"/>
                  </a:lnTo>
                  <a:lnTo>
                    <a:pt x="450" y="416"/>
                  </a:lnTo>
                  <a:lnTo>
                    <a:pt x="436" y="428"/>
                  </a:lnTo>
                  <a:lnTo>
                    <a:pt x="436" y="428"/>
                  </a:lnTo>
                  <a:lnTo>
                    <a:pt x="436" y="428"/>
                  </a:lnTo>
                  <a:lnTo>
                    <a:pt x="436" y="428"/>
                  </a:lnTo>
                  <a:lnTo>
                    <a:pt x="434" y="428"/>
                  </a:lnTo>
                  <a:lnTo>
                    <a:pt x="424" y="424"/>
                  </a:lnTo>
                  <a:lnTo>
                    <a:pt x="414" y="420"/>
                  </a:lnTo>
                  <a:lnTo>
                    <a:pt x="404" y="420"/>
                  </a:lnTo>
                  <a:lnTo>
                    <a:pt x="392" y="418"/>
                  </a:lnTo>
                  <a:lnTo>
                    <a:pt x="392" y="418"/>
                  </a:lnTo>
                  <a:lnTo>
                    <a:pt x="392" y="416"/>
                  </a:lnTo>
                  <a:lnTo>
                    <a:pt x="384" y="408"/>
                  </a:lnTo>
                  <a:lnTo>
                    <a:pt x="378" y="400"/>
                  </a:lnTo>
                  <a:lnTo>
                    <a:pt x="378" y="400"/>
                  </a:lnTo>
                  <a:lnTo>
                    <a:pt x="378" y="400"/>
                  </a:lnTo>
                  <a:lnTo>
                    <a:pt x="380" y="392"/>
                  </a:lnTo>
                  <a:lnTo>
                    <a:pt x="374" y="382"/>
                  </a:lnTo>
                  <a:lnTo>
                    <a:pt x="366" y="376"/>
                  </a:lnTo>
                  <a:lnTo>
                    <a:pt x="360" y="376"/>
                  </a:lnTo>
                  <a:lnTo>
                    <a:pt x="360" y="376"/>
                  </a:lnTo>
                  <a:lnTo>
                    <a:pt x="358" y="374"/>
                  </a:lnTo>
                  <a:lnTo>
                    <a:pt x="356" y="368"/>
                  </a:lnTo>
                  <a:lnTo>
                    <a:pt x="356" y="368"/>
                  </a:lnTo>
                  <a:lnTo>
                    <a:pt x="358" y="366"/>
                  </a:lnTo>
                  <a:lnTo>
                    <a:pt x="362" y="360"/>
                  </a:lnTo>
                  <a:lnTo>
                    <a:pt x="358" y="358"/>
                  </a:lnTo>
                  <a:lnTo>
                    <a:pt x="352" y="364"/>
                  </a:lnTo>
                  <a:lnTo>
                    <a:pt x="342" y="368"/>
                  </a:lnTo>
                  <a:lnTo>
                    <a:pt x="342" y="368"/>
                  </a:lnTo>
                  <a:lnTo>
                    <a:pt x="342" y="370"/>
                  </a:lnTo>
                  <a:lnTo>
                    <a:pt x="342" y="370"/>
                  </a:lnTo>
                  <a:lnTo>
                    <a:pt x="340" y="368"/>
                  </a:lnTo>
                  <a:lnTo>
                    <a:pt x="340" y="368"/>
                  </a:lnTo>
                  <a:lnTo>
                    <a:pt x="340" y="366"/>
                  </a:lnTo>
                  <a:lnTo>
                    <a:pt x="344" y="348"/>
                  </a:lnTo>
                  <a:lnTo>
                    <a:pt x="344" y="348"/>
                  </a:lnTo>
                  <a:lnTo>
                    <a:pt x="344" y="348"/>
                  </a:lnTo>
                  <a:lnTo>
                    <a:pt x="350" y="342"/>
                  </a:lnTo>
                  <a:lnTo>
                    <a:pt x="352" y="338"/>
                  </a:lnTo>
                  <a:lnTo>
                    <a:pt x="350" y="334"/>
                  </a:lnTo>
                  <a:lnTo>
                    <a:pt x="344" y="340"/>
                  </a:lnTo>
                  <a:lnTo>
                    <a:pt x="340" y="348"/>
                  </a:lnTo>
                  <a:lnTo>
                    <a:pt x="330" y="356"/>
                  </a:lnTo>
                  <a:lnTo>
                    <a:pt x="324" y="364"/>
                  </a:lnTo>
                  <a:lnTo>
                    <a:pt x="324" y="364"/>
                  </a:lnTo>
                  <a:lnTo>
                    <a:pt x="324" y="364"/>
                  </a:lnTo>
                  <a:lnTo>
                    <a:pt x="324" y="364"/>
                  </a:lnTo>
                  <a:lnTo>
                    <a:pt x="322" y="364"/>
                  </a:lnTo>
                  <a:lnTo>
                    <a:pt x="316" y="360"/>
                  </a:lnTo>
                  <a:lnTo>
                    <a:pt x="316" y="360"/>
                  </a:lnTo>
                  <a:lnTo>
                    <a:pt x="314" y="358"/>
                  </a:lnTo>
                  <a:lnTo>
                    <a:pt x="312" y="348"/>
                  </a:lnTo>
                  <a:lnTo>
                    <a:pt x="304" y="336"/>
                  </a:lnTo>
                  <a:lnTo>
                    <a:pt x="298" y="328"/>
                  </a:lnTo>
                  <a:lnTo>
                    <a:pt x="294" y="324"/>
                  </a:lnTo>
                  <a:lnTo>
                    <a:pt x="268" y="318"/>
                  </a:lnTo>
                  <a:lnTo>
                    <a:pt x="232" y="312"/>
                  </a:lnTo>
                  <a:lnTo>
                    <a:pt x="222" y="316"/>
                  </a:lnTo>
                  <a:lnTo>
                    <a:pt x="206" y="322"/>
                  </a:lnTo>
                  <a:lnTo>
                    <a:pt x="182" y="324"/>
                  </a:lnTo>
                  <a:lnTo>
                    <a:pt x="168" y="334"/>
                  </a:lnTo>
                  <a:lnTo>
                    <a:pt x="158" y="336"/>
                  </a:lnTo>
                  <a:lnTo>
                    <a:pt x="156" y="342"/>
                  </a:lnTo>
                  <a:lnTo>
                    <a:pt x="156" y="342"/>
                  </a:lnTo>
                  <a:lnTo>
                    <a:pt x="156" y="344"/>
                  </a:lnTo>
                  <a:lnTo>
                    <a:pt x="150" y="348"/>
                  </a:lnTo>
                  <a:lnTo>
                    <a:pt x="150" y="348"/>
                  </a:lnTo>
                  <a:lnTo>
                    <a:pt x="148" y="350"/>
                  </a:lnTo>
                  <a:lnTo>
                    <a:pt x="100" y="350"/>
                  </a:lnTo>
                  <a:lnTo>
                    <a:pt x="92" y="356"/>
                  </a:lnTo>
                  <a:lnTo>
                    <a:pt x="92" y="356"/>
                  </a:lnTo>
                  <a:lnTo>
                    <a:pt x="92" y="356"/>
                  </a:lnTo>
                  <a:lnTo>
                    <a:pt x="84" y="356"/>
                  </a:lnTo>
                  <a:lnTo>
                    <a:pt x="76" y="366"/>
                  </a:lnTo>
                  <a:lnTo>
                    <a:pt x="76" y="366"/>
                  </a:lnTo>
                  <a:lnTo>
                    <a:pt x="74" y="368"/>
                  </a:lnTo>
                  <a:lnTo>
                    <a:pt x="74" y="368"/>
                  </a:lnTo>
                  <a:lnTo>
                    <a:pt x="50" y="370"/>
                  </a:lnTo>
                  <a:lnTo>
                    <a:pt x="50" y="370"/>
                  </a:lnTo>
                  <a:lnTo>
                    <a:pt x="50" y="368"/>
                  </a:lnTo>
                  <a:lnTo>
                    <a:pt x="38" y="362"/>
                  </a:lnTo>
                  <a:lnTo>
                    <a:pt x="28" y="356"/>
                  </a:lnTo>
                  <a:lnTo>
                    <a:pt x="28" y="356"/>
                  </a:lnTo>
                  <a:lnTo>
                    <a:pt x="28" y="356"/>
                  </a:lnTo>
                  <a:lnTo>
                    <a:pt x="26" y="346"/>
                  </a:lnTo>
                  <a:lnTo>
                    <a:pt x="26" y="346"/>
                  </a:lnTo>
                  <a:lnTo>
                    <a:pt x="26" y="344"/>
                  </a:lnTo>
                  <a:lnTo>
                    <a:pt x="36" y="340"/>
                  </a:lnTo>
                  <a:lnTo>
                    <a:pt x="36" y="308"/>
                  </a:lnTo>
                  <a:lnTo>
                    <a:pt x="28" y="296"/>
                  </a:lnTo>
                  <a:lnTo>
                    <a:pt x="28" y="296"/>
                  </a:lnTo>
                  <a:lnTo>
                    <a:pt x="26" y="296"/>
                  </a:lnTo>
                  <a:lnTo>
                    <a:pt x="26" y="280"/>
                  </a:lnTo>
                  <a:lnTo>
                    <a:pt x="16" y="254"/>
                  </a:lnTo>
                  <a:lnTo>
                    <a:pt x="10" y="240"/>
                  </a:lnTo>
                  <a:lnTo>
                    <a:pt x="4" y="230"/>
                  </a:lnTo>
                  <a:lnTo>
                    <a:pt x="0" y="222"/>
                  </a:lnTo>
                  <a:lnTo>
                    <a:pt x="0" y="222"/>
                  </a:lnTo>
                  <a:lnTo>
                    <a:pt x="0" y="220"/>
                  </a:lnTo>
                  <a:lnTo>
                    <a:pt x="0" y="220"/>
                  </a:lnTo>
                  <a:lnTo>
                    <a:pt x="2" y="220"/>
                  </a:lnTo>
                  <a:lnTo>
                    <a:pt x="2" y="220"/>
                  </a:lnTo>
                  <a:lnTo>
                    <a:pt x="2" y="220"/>
                  </a:lnTo>
                  <a:lnTo>
                    <a:pt x="8" y="222"/>
                  </a:lnTo>
                  <a:lnTo>
                    <a:pt x="8" y="222"/>
                  </a:lnTo>
                  <a:lnTo>
                    <a:pt x="10" y="222"/>
                  </a:lnTo>
                  <a:lnTo>
                    <a:pt x="12" y="228"/>
                  </a:lnTo>
                  <a:lnTo>
                    <a:pt x="16" y="228"/>
                  </a:lnTo>
                  <a:lnTo>
                    <a:pt x="18" y="222"/>
                  </a:lnTo>
                  <a:lnTo>
                    <a:pt x="12" y="216"/>
                  </a:lnTo>
                  <a:lnTo>
                    <a:pt x="12" y="216"/>
                  </a:lnTo>
                  <a:lnTo>
                    <a:pt x="12" y="216"/>
                  </a:lnTo>
                  <a:lnTo>
                    <a:pt x="6" y="198"/>
                  </a:lnTo>
                  <a:lnTo>
                    <a:pt x="6" y="184"/>
                  </a:lnTo>
                  <a:lnTo>
                    <a:pt x="12" y="170"/>
                  </a:lnTo>
                  <a:lnTo>
                    <a:pt x="12" y="162"/>
                  </a:lnTo>
                  <a:lnTo>
                    <a:pt x="12" y="162"/>
                  </a:lnTo>
                  <a:lnTo>
                    <a:pt x="14" y="162"/>
                  </a:lnTo>
                  <a:lnTo>
                    <a:pt x="14" y="162"/>
                  </a:lnTo>
                  <a:lnTo>
                    <a:pt x="14" y="160"/>
                  </a:lnTo>
                  <a:lnTo>
                    <a:pt x="14" y="160"/>
                  </a:lnTo>
                  <a:lnTo>
                    <a:pt x="16" y="162"/>
                  </a:lnTo>
                  <a:lnTo>
                    <a:pt x="20" y="164"/>
                  </a:lnTo>
                  <a:lnTo>
                    <a:pt x="22" y="160"/>
                  </a:lnTo>
                  <a:lnTo>
                    <a:pt x="22" y="160"/>
                  </a:lnTo>
                  <a:lnTo>
                    <a:pt x="24" y="160"/>
                  </a:lnTo>
                  <a:lnTo>
                    <a:pt x="32" y="160"/>
                  </a:lnTo>
                  <a:lnTo>
                    <a:pt x="44" y="146"/>
                  </a:lnTo>
                  <a:lnTo>
                    <a:pt x="44" y="146"/>
                  </a:lnTo>
                  <a:lnTo>
                    <a:pt x="44" y="144"/>
                  </a:lnTo>
                  <a:lnTo>
                    <a:pt x="56" y="142"/>
                  </a:lnTo>
                  <a:lnTo>
                    <a:pt x="78" y="138"/>
                  </a:lnTo>
                  <a:lnTo>
                    <a:pt x="100" y="130"/>
                  </a:lnTo>
                  <a:lnTo>
                    <a:pt x="110" y="128"/>
                  </a:lnTo>
                  <a:lnTo>
                    <a:pt x="128" y="106"/>
                  </a:lnTo>
                  <a:lnTo>
                    <a:pt x="126" y="98"/>
                  </a:lnTo>
                  <a:lnTo>
                    <a:pt x="126" y="98"/>
                  </a:lnTo>
                  <a:lnTo>
                    <a:pt x="128" y="96"/>
                  </a:lnTo>
                  <a:lnTo>
                    <a:pt x="130" y="88"/>
                  </a:lnTo>
                  <a:lnTo>
                    <a:pt x="130" y="88"/>
                  </a:lnTo>
                  <a:lnTo>
                    <a:pt x="132" y="88"/>
                  </a:lnTo>
                  <a:lnTo>
                    <a:pt x="140" y="82"/>
                  </a:lnTo>
                  <a:lnTo>
                    <a:pt x="140" y="82"/>
                  </a:lnTo>
                  <a:lnTo>
                    <a:pt x="142" y="82"/>
                  </a:lnTo>
                  <a:lnTo>
                    <a:pt x="142" y="82"/>
                  </a:lnTo>
                  <a:lnTo>
                    <a:pt x="142" y="84"/>
                  </a:lnTo>
                  <a:lnTo>
                    <a:pt x="146" y="88"/>
                  </a:lnTo>
                  <a:lnTo>
                    <a:pt x="148" y="90"/>
                  </a:lnTo>
                  <a:lnTo>
                    <a:pt x="150" y="88"/>
                  </a:lnTo>
                  <a:lnTo>
                    <a:pt x="150" y="76"/>
                  </a:lnTo>
                  <a:lnTo>
                    <a:pt x="150" y="76"/>
                  </a:lnTo>
                  <a:lnTo>
                    <a:pt x="150" y="76"/>
                  </a:lnTo>
                  <a:lnTo>
                    <a:pt x="150" y="76"/>
                  </a:lnTo>
                  <a:lnTo>
                    <a:pt x="152" y="74"/>
                  </a:lnTo>
                  <a:lnTo>
                    <a:pt x="152" y="74"/>
                  </a:lnTo>
                  <a:lnTo>
                    <a:pt x="152" y="76"/>
                  </a:lnTo>
                  <a:lnTo>
                    <a:pt x="158" y="78"/>
                  </a:lnTo>
                  <a:lnTo>
                    <a:pt x="160" y="76"/>
                  </a:lnTo>
                  <a:lnTo>
                    <a:pt x="162" y="66"/>
                  </a:lnTo>
                  <a:lnTo>
                    <a:pt x="162" y="66"/>
                  </a:lnTo>
                  <a:lnTo>
                    <a:pt x="164" y="64"/>
                  </a:lnTo>
                  <a:lnTo>
                    <a:pt x="172" y="60"/>
                  </a:lnTo>
                  <a:lnTo>
                    <a:pt x="178" y="54"/>
                  </a:lnTo>
                  <a:lnTo>
                    <a:pt x="178" y="54"/>
                  </a:lnTo>
                  <a:lnTo>
                    <a:pt x="178" y="54"/>
                  </a:lnTo>
                  <a:lnTo>
                    <a:pt x="184" y="54"/>
                  </a:lnTo>
                  <a:lnTo>
                    <a:pt x="198" y="44"/>
                  </a:lnTo>
                  <a:lnTo>
                    <a:pt x="198" y="44"/>
                  </a:lnTo>
                  <a:lnTo>
                    <a:pt x="198" y="42"/>
                  </a:lnTo>
                  <a:lnTo>
                    <a:pt x="198" y="42"/>
                  </a:lnTo>
                  <a:lnTo>
                    <a:pt x="200" y="44"/>
                  </a:lnTo>
                  <a:lnTo>
                    <a:pt x="208" y="48"/>
                  </a:lnTo>
                  <a:lnTo>
                    <a:pt x="214" y="54"/>
                  </a:lnTo>
                  <a:lnTo>
                    <a:pt x="218" y="58"/>
                  </a:lnTo>
                  <a:lnTo>
                    <a:pt x="228" y="58"/>
                  </a:lnTo>
                  <a:lnTo>
                    <a:pt x="232" y="56"/>
                  </a:lnTo>
                  <a:lnTo>
                    <a:pt x="228" y="50"/>
                  </a:lnTo>
                  <a:lnTo>
                    <a:pt x="228" y="50"/>
                  </a:lnTo>
                  <a:lnTo>
                    <a:pt x="230" y="46"/>
                  </a:lnTo>
                  <a:lnTo>
                    <a:pt x="240" y="36"/>
                  </a:lnTo>
                  <a:lnTo>
                    <a:pt x="244" y="26"/>
                  </a:lnTo>
                  <a:lnTo>
                    <a:pt x="244" y="26"/>
                  </a:lnTo>
                  <a:lnTo>
                    <a:pt x="246" y="26"/>
                  </a:lnTo>
                  <a:lnTo>
                    <a:pt x="252" y="22"/>
                  </a:lnTo>
                  <a:lnTo>
                    <a:pt x="256" y="18"/>
                  </a:lnTo>
                  <a:lnTo>
                    <a:pt x="256" y="18"/>
                  </a:lnTo>
                  <a:lnTo>
                    <a:pt x="258" y="18"/>
                  </a:lnTo>
                  <a:lnTo>
                    <a:pt x="258" y="18"/>
                  </a:lnTo>
                  <a:lnTo>
                    <a:pt x="258" y="18"/>
                  </a:lnTo>
                  <a:lnTo>
                    <a:pt x="266" y="20"/>
                  </a:lnTo>
                  <a:lnTo>
                    <a:pt x="276" y="16"/>
                  </a:lnTo>
                  <a:lnTo>
                    <a:pt x="276" y="14"/>
                  </a:lnTo>
                  <a:lnTo>
                    <a:pt x="270" y="8"/>
                  </a:lnTo>
                  <a:lnTo>
                    <a:pt x="270" y="8"/>
                  </a:lnTo>
                  <a:lnTo>
                    <a:pt x="270" y="6"/>
                  </a:lnTo>
                  <a:lnTo>
                    <a:pt x="270" y="6"/>
                  </a:lnTo>
                  <a:lnTo>
                    <a:pt x="270" y="6"/>
                  </a:lnTo>
                  <a:lnTo>
                    <a:pt x="276" y="4"/>
                  </a:lnTo>
                  <a:lnTo>
                    <a:pt x="276" y="4"/>
                  </a:lnTo>
                  <a:lnTo>
                    <a:pt x="276" y="4"/>
                  </a:lnTo>
                  <a:lnTo>
                    <a:pt x="276" y="4"/>
                  </a:lnTo>
                  <a:lnTo>
                    <a:pt x="278" y="4"/>
                  </a:lnTo>
                  <a:lnTo>
                    <a:pt x="290" y="8"/>
                  </a:lnTo>
                  <a:lnTo>
                    <a:pt x="298" y="12"/>
                  </a:lnTo>
                  <a:lnTo>
                    <a:pt x="306" y="16"/>
                  </a:lnTo>
                  <a:lnTo>
                    <a:pt x="314" y="18"/>
                  </a:lnTo>
                  <a:lnTo>
                    <a:pt x="318" y="20"/>
                  </a:lnTo>
                  <a:lnTo>
                    <a:pt x="326" y="20"/>
                  </a:lnTo>
                  <a:lnTo>
                    <a:pt x="334" y="16"/>
                  </a:lnTo>
                  <a:lnTo>
                    <a:pt x="334" y="16"/>
                  </a:lnTo>
                  <a:lnTo>
                    <a:pt x="334" y="16"/>
                  </a:lnTo>
                  <a:lnTo>
                    <a:pt x="334" y="16"/>
                  </a:lnTo>
                  <a:lnTo>
                    <a:pt x="334" y="16"/>
                  </a:lnTo>
                  <a:lnTo>
                    <a:pt x="342" y="20"/>
                  </a:lnTo>
                  <a:lnTo>
                    <a:pt x="342" y="20"/>
                  </a:lnTo>
                  <a:lnTo>
                    <a:pt x="344" y="22"/>
                  </a:lnTo>
                  <a:lnTo>
                    <a:pt x="344" y="22"/>
                  </a:lnTo>
                  <a:lnTo>
                    <a:pt x="342" y="22"/>
                  </a:lnTo>
                  <a:lnTo>
                    <a:pt x="336" y="30"/>
                  </a:lnTo>
                  <a:lnTo>
                    <a:pt x="330" y="38"/>
                  </a:lnTo>
                  <a:lnTo>
                    <a:pt x="324" y="46"/>
                  </a:lnTo>
                  <a:lnTo>
                    <a:pt x="318" y="52"/>
                  </a:lnTo>
                  <a:lnTo>
                    <a:pt x="318" y="56"/>
                  </a:lnTo>
                  <a:lnTo>
                    <a:pt x="322" y="62"/>
                  </a:lnTo>
                  <a:lnTo>
                    <a:pt x="336" y="70"/>
                  </a:lnTo>
                  <a:lnTo>
                    <a:pt x="348" y="76"/>
                  </a:lnTo>
                  <a:lnTo>
                    <a:pt x="364" y="86"/>
                  </a:lnTo>
                  <a:lnTo>
                    <a:pt x="374" y="92"/>
                  </a:lnTo>
                  <a:lnTo>
                    <a:pt x="386" y="100"/>
                  </a:lnTo>
                  <a:lnTo>
                    <a:pt x="394" y="90"/>
                  </a:lnTo>
                  <a:lnTo>
                    <a:pt x="402" y="76"/>
                  </a:lnTo>
                  <a:lnTo>
                    <a:pt x="404" y="60"/>
                  </a:lnTo>
                  <a:lnTo>
                    <a:pt x="402" y="38"/>
                  </a:lnTo>
                  <a:lnTo>
                    <a:pt x="406" y="20"/>
                  </a:lnTo>
                  <a:lnTo>
                    <a:pt x="410" y="10"/>
                  </a:lnTo>
                  <a:lnTo>
                    <a:pt x="414" y="0"/>
                  </a:lnTo>
                  <a:lnTo>
                    <a:pt x="414" y="0"/>
                  </a:lnTo>
                  <a:lnTo>
                    <a:pt x="416" y="0"/>
                  </a:lnTo>
                  <a:lnTo>
                    <a:pt x="416" y="0"/>
                  </a:lnTo>
                  <a:lnTo>
                    <a:pt x="416" y="0"/>
                  </a:lnTo>
                  <a:lnTo>
                    <a:pt x="416" y="0"/>
                  </a:lnTo>
                  <a:lnTo>
                    <a:pt x="418" y="0"/>
                  </a:lnTo>
                  <a:lnTo>
                    <a:pt x="422" y="6"/>
                  </a:lnTo>
                  <a:lnTo>
                    <a:pt x="430" y="18"/>
                  </a:lnTo>
                  <a:lnTo>
                    <a:pt x="434" y="30"/>
                  </a:lnTo>
                  <a:lnTo>
                    <a:pt x="436" y="48"/>
                  </a:lnTo>
                  <a:lnTo>
                    <a:pt x="444" y="52"/>
                  </a:lnTo>
                  <a:lnTo>
                    <a:pt x="454" y="56"/>
                  </a:lnTo>
                  <a:lnTo>
                    <a:pt x="454" y="56"/>
                  </a:lnTo>
                  <a:lnTo>
                    <a:pt x="456" y="56"/>
                  </a:lnTo>
                  <a:lnTo>
                    <a:pt x="458" y="66"/>
                  </a:lnTo>
                  <a:lnTo>
                    <a:pt x="460" y="74"/>
                  </a:lnTo>
                  <a:lnTo>
                    <a:pt x="460" y="86"/>
                  </a:lnTo>
                  <a:lnTo>
                    <a:pt x="468" y="92"/>
                  </a:lnTo>
                  <a:lnTo>
                    <a:pt x="468" y="92"/>
                  </a:lnTo>
                  <a:lnTo>
                    <a:pt x="470" y="92"/>
                  </a:lnTo>
                  <a:lnTo>
                    <a:pt x="474" y="102"/>
                  </a:lnTo>
                  <a:lnTo>
                    <a:pt x="474" y="112"/>
                  </a:lnTo>
                  <a:lnTo>
                    <a:pt x="478" y="120"/>
                  </a:lnTo>
                  <a:lnTo>
                    <a:pt x="488" y="124"/>
                  </a:lnTo>
                  <a:lnTo>
                    <a:pt x="500" y="132"/>
                  </a:lnTo>
                  <a:lnTo>
                    <a:pt x="510" y="146"/>
                  </a:lnTo>
                  <a:lnTo>
                    <a:pt x="520" y="154"/>
                  </a:lnTo>
                  <a:lnTo>
                    <a:pt x="520" y="154"/>
                  </a:lnTo>
                  <a:lnTo>
                    <a:pt x="520" y="156"/>
                  </a:lnTo>
                  <a:lnTo>
                    <a:pt x="520" y="164"/>
                  </a:lnTo>
                  <a:lnTo>
                    <a:pt x="522" y="168"/>
                  </a:lnTo>
                  <a:lnTo>
                    <a:pt x="532" y="168"/>
                  </a:lnTo>
                  <a:lnTo>
                    <a:pt x="532" y="168"/>
                  </a:lnTo>
                  <a:lnTo>
                    <a:pt x="534" y="170"/>
                  </a:lnTo>
                  <a:lnTo>
                    <a:pt x="538" y="184"/>
                  </a:lnTo>
                  <a:lnTo>
                    <a:pt x="550" y="192"/>
                  </a:lnTo>
                  <a:lnTo>
                    <a:pt x="560" y="204"/>
                  </a:lnTo>
                  <a:lnTo>
                    <a:pt x="566" y="218"/>
                  </a:lnTo>
                  <a:lnTo>
                    <a:pt x="570" y="228"/>
                  </a:lnTo>
                  <a:lnTo>
                    <a:pt x="572" y="244"/>
                  </a:lnTo>
                  <a:lnTo>
                    <a:pt x="574" y="254"/>
                  </a:lnTo>
                  <a:lnTo>
                    <a:pt x="574" y="270"/>
                  </a:lnTo>
                  <a:lnTo>
                    <a:pt x="570" y="290"/>
                  </a:lnTo>
                  <a:lnTo>
                    <a:pt x="568" y="306"/>
                  </a:lnTo>
                  <a:lnTo>
                    <a:pt x="560" y="324"/>
                  </a:lnTo>
                  <a:lnTo>
                    <a:pt x="560" y="324"/>
                  </a:lnTo>
                  <a:lnTo>
                    <a:pt x="560" y="324"/>
                  </a:lnTo>
                  <a:lnTo>
                    <a:pt x="550" y="332"/>
                  </a:lnTo>
                  <a:lnTo>
                    <a:pt x="544" y="344"/>
                  </a:lnTo>
                  <a:lnTo>
                    <a:pt x="536" y="362"/>
                  </a:lnTo>
                  <a:lnTo>
                    <a:pt x="530" y="376"/>
                  </a:lnTo>
                  <a:lnTo>
                    <a:pt x="524" y="390"/>
                  </a:lnTo>
                  <a:lnTo>
                    <a:pt x="524" y="404"/>
                  </a:lnTo>
                  <a:lnTo>
                    <a:pt x="524" y="404"/>
                  </a:lnTo>
                  <a:lnTo>
                    <a:pt x="522" y="406"/>
                  </a:lnTo>
                  <a:lnTo>
                    <a:pt x="516" y="410"/>
                  </a:lnTo>
                  <a:lnTo>
                    <a:pt x="516" y="410"/>
                  </a:lnTo>
                  <a:lnTo>
                    <a:pt x="516" y="410"/>
                  </a:lnTo>
                  <a:lnTo>
                    <a:pt x="506" y="410"/>
                  </a:lnTo>
                  <a:lnTo>
                    <a:pt x="494" y="408"/>
                  </a:lnTo>
                  <a:lnTo>
                    <a:pt x="490" y="418"/>
                  </a:lnTo>
                  <a:lnTo>
                    <a:pt x="490" y="418"/>
                  </a:lnTo>
                  <a:lnTo>
                    <a:pt x="490" y="420"/>
                  </a:lnTo>
                  <a:lnTo>
                    <a:pt x="480" y="426"/>
                  </a:lnTo>
                  <a:lnTo>
                    <a:pt x="478" y="428"/>
                  </a:lnTo>
                  <a:lnTo>
                    <a:pt x="478" y="428"/>
                  </a:lnTo>
                  <a:lnTo>
                    <a:pt x="478" y="428"/>
                  </a:lnTo>
                  <a:lnTo>
                    <a:pt x="472" y="430"/>
                  </a:lnTo>
                  <a:lnTo>
                    <a:pt x="472" y="430"/>
                  </a:lnTo>
                  <a:lnTo>
                    <a:pt x="472" y="430"/>
                  </a:lnTo>
                  <a:lnTo>
                    <a:pt x="472" y="4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2" name="Freeform 1030"/>
            <p:cNvSpPr>
              <a:spLocks noEditPoints="1"/>
            </p:cNvSpPr>
            <p:nvPr/>
          </p:nvSpPr>
          <p:spPr bwMode="auto">
            <a:xfrm>
              <a:off x="4461" y="2675"/>
              <a:ext cx="578" cy="434"/>
            </a:xfrm>
            <a:custGeom>
              <a:avLst/>
              <a:gdLst>
                <a:gd name="T0" fmla="*/ 460 w 578"/>
                <a:gd name="T1" fmla="*/ 78 h 434"/>
                <a:gd name="T2" fmla="*/ 520 w 578"/>
                <a:gd name="T3" fmla="*/ 158 h 434"/>
                <a:gd name="T4" fmla="*/ 572 w 578"/>
                <a:gd name="T5" fmla="*/ 246 h 434"/>
                <a:gd name="T6" fmla="*/ 530 w 578"/>
                <a:gd name="T7" fmla="*/ 378 h 434"/>
                <a:gd name="T8" fmla="*/ 474 w 578"/>
                <a:gd name="T9" fmla="*/ 430 h 434"/>
                <a:gd name="T10" fmla="*/ 406 w 578"/>
                <a:gd name="T11" fmla="*/ 420 h 434"/>
                <a:gd name="T12" fmla="*/ 366 w 578"/>
                <a:gd name="T13" fmla="*/ 360 h 434"/>
                <a:gd name="T14" fmla="*/ 340 w 578"/>
                <a:gd name="T15" fmla="*/ 350 h 434"/>
                <a:gd name="T16" fmla="*/ 234 w 578"/>
                <a:gd name="T17" fmla="*/ 312 h 434"/>
                <a:gd name="T18" fmla="*/ 94 w 578"/>
                <a:gd name="T19" fmla="*/ 356 h 434"/>
                <a:gd name="T20" fmla="*/ 40 w 578"/>
                <a:gd name="T21" fmla="*/ 310 h 434"/>
                <a:gd name="T22" fmla="*/ 20 w 578"/>
                <a:gd name="T23" fmla="*/ 232 h 434"/>
                <a:gd name="T24" fmla="*/ 34 w 578"/>
                <a:gd name="T25" fmla="*/ 164 h 434"/>
                <a:gd name="T26" fmla="*/ 144 w 578"/>
                <a:gd name="T27" fmla="*/ 86 h 434"/>
                <a:gd name="T28" fmla="*/ 180 w 578"/>
                <a:gd name="T29" fmla="*/ 58 h 434"/>
                <a:gd name="T30" fmla="*/ 244 w 578"/>
                <a:gd name="T31" fmla="*/ 40 h 434"/>
                <a:gd name="T32" fmla="*/ 292 w 578"/>
                <a:gd name="T33" fmla="*/ 12 h 434"/>
                <a:gd name="T34" fmla="*/ 330 w 578"/>
                <a:gd name="T35" fmla="*/ 40 h 434"/>
                <a:gd name="T36" fmla="*/ 390 w 578"/>
                <a:gd name="T37" fmla="*/ 104 h 434"/>
                <a:gd name="T38" fmla="*/ 418 w 578"/>
                <a:gd name="T39" fmla="*/ 0 h 434"/>
                <a:gd name="T40" fmla="*/ 404 w 578"/>
                <a:gd name="T41" fmla="*/ 62 h 434"/>
                <a:gd name="T42" fmla="*/ 338 w 578"/>
                <a:gd name="T43" fmla="*/ 70 h 434"/>
                <a:gd name="T44" fmla="*/ 334 w 578"/>
                <a:gd name="T45" fmla="*/ 42 h 434"/>
                <a:gd name="T46" fmla="*/ 336 w 578"/>
                <a:gd name="T47" fmla="*/ 16 h 434"/>
                <a:gd name="T48" fmla="*/ 280 w 578"/>
                <a:gd name="T49" fmla="*/ 4 h 434"/>
                <a:gd name="T50" fmla="*/ 272 w 578"/>
                <a:gd name="T51" fmla="*/ 12 h 434"/>
                <a:gd name="T52" fmla="*/ 254 w 578"/>
                <a:gd name="T53" fmla="*/ 22 h 434"/>
                <a:gd name="T54" fmla="*/ 232 w 578"/>
                <a:gd name="T55" fmla="*/ 56 h 434"/>
                <a:gd name="T56" fmla="*/ 200 w 578"/>
                <a:gd name="T57" fmla="*/ 42 h 434"/>
                <a:gd name="T58" fmla="*/ 164 w 578"/>
                <a:gd name="T59" fmla="*/ 64 h 434"/>
                <a:gd name="T60" fmla="*/ 152 w 578"/>
                <a:gd name="T61" fmla="*/ 76 h 434"/>
                <a:gd name="T62" fmla="*/ 132 w 578"/>
                <a:gd name="T63" fmla="*/ 88 h 434"/>
                <a:gd name="T64" fmla="*/ 102 w 578"/>
                <a:gd name="T65" fmla="*/ 130 h 434"/>
                <a:gd name="T66" fmla="*/ 32 w 578"/>
                <a:gd name="T67" fmla="*/ 160 h 434"/>
                <a:gd name="T68" fmla="*/ 16 w 578"/>
                <a:gd name="T69" fmla="*/ 162 h 434"/>
                <a:gd name="T70" fmla="*/ 6 w 578"/>
                <a:gd name="T71" fmla="*/ 200 h 434"/>
                <a:gd name="T72" fmla="*/ 10 w 578"/>
                <a:gd name="T73" fmla="*/ 222 h 434"/>
                <a:gd name="T74" fmla="*/ 4 w 578"/>
                <a:gd name="T75" fmla="*/ 234 h 434"/>
                <a:gd name="T76" fmla="*/ 36 w 578"/>
                <a:gd name="T77" fmla="*/ 340 h 434"/>
                <a:gd name="T78" fmla="*/ 50 w 578"/>
                <a:gd name="T79" fmla="*/ 372 h 434"/>
                <a:gd name="T80" fmla="*/ 94 w 578"/>
                <a:gd name="T81" fmla="*/ 360 h 434"/>
                <a:gd name="T82" fmla="*/ 160 w 578"/>
                <a:gd name="T83" fmla="*/ 346 h 434"/>
                <a:gd name="T84" fmla="*/ 226 w 578"/>
                <a:gd name="T85" fmla="*/ 320 h 434"/>
                <a:gd name="T86" fmla="*/ 316 w 578"/>
                <a:gd name="T87" fmla="*/ 364 h 434"/>
                <a:gd name="T88" fmla="*/ 342 w 578"/>
                <a:gd name="T89" fmla="*/ 352 h 434"/>
                <a:gd name="T90" fmla="*/ 340 w 578"/>
                <a:gd name="T91" fmla="*/ 368 h 434"/>
                <a:gd name="T92" fmla="*/ 354 w 578"/>
                <a:gd name="T93" fmla="*/ 366 h 434"/>
                <a:gd name="T94" fmla="*/ 362 w 578"/>
                <a:gd name="T95" fmla="*/ 380 h 434"/>
                <a:gd name="T96" fmla="*/ 392 w 578"/>
                <a:gd name="T97" fmla="*/ 420 h 434"/>
                <a:gd name="T98" fmla="*/ 436 w 578"/>
                <a:gd name="T99" fmla="*/ 432 h 434"/>
                <a:gd name="T100" fmla="*/ 466 w 578"/>
                <a:gd name="T101" fmla="*/ 430 h 434"/>
                <a:gd name="T102" fmla="*/ 480 w 578"/>
                <a:gd name="T103" fmla="*/ 432 h 434"/>
                <a:gd name="T104" fmla="*/ 508 w 578"/>
                <a:gd name="T105" fmla="*/ 414 h 434"/>
                <a:gd name="T106" fmla="*/ 534 w 578"/>
                <a:gd name="T107" fmla="*/ 380 h 434"/>
                <a:gd name="T108" fmla="*/ 572 w 578"/>
                <a:gd name="T109" fmla="*/ 310 h 434"/>
                <a:gd name="T110" fmla="*/ 574 w 578"/>
                <a:gd name="T111" fmla="*/ 230 h 434"/>
                <a:gd name="T112" fmla="*/ 540 w 578"/>
                <a:gd name="T113" fmla="*/ 184 h 434"/>
                <a:gd name="T114" fmla="*/ 522 w 578"/>
                <a:gd name="T115" fmla="*/ 154 h 434"/>
                <a:gd name="T116" fmla="*/ 478 w 578"/>
                <a:gd name="T117" fmla="*/ 114 h 434"/>
                <a:gd name="T118" fmla="*/ 464 w 578"/>
                <a:gd name="T119" fmla="*/ 78 h 434"/>
                <a:gd name="T120" fmla="*/ 440 w 578"/>
                <a:gd name="T121" fmla="*/ 50 h 434"/>
                <a:gd name="T122" fmla="*/ 426 w 578"/>
                <a:gd name="T123" fmla="*/ 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8" h="434">
                  <a:moveTo>
                    <a:pt x="418" y="4"/>
                  </a:moveTo>
                  <a:lnTo>
                    <a:pt x="424" y="10"/>
                  </a:lnTo>
                  <a:lnTo>
                    <a:pt x="430" y="22"/>
                  </a:lnTo>
                  <a:lnTo>
                    <a:pt x="434" y="32"/>
                  </a:lnTo>
                  <a:lnTo>
                    <a:pt x="436" y="52"/>
                  </a:lnTo>
                  <a:lnTo>
                    <a:pt x="444" y="56"/>
                  </a:lnTo>
                  <a:lnTo>
                    <a:pt x="456" y="60"/>
                  </a:lnTo>
                  <a:lnTo>
                    <a:pt x="458" y="68"/>
                  </a:lnTo>
                  <a:lnTo>
                    <a:pt x="460" y="78"/>
                  </a:lnTo>
                  <a:lnTo>
                    <a:pt x="460" y="90"/>
                  </a:lnTo>
                  <a:lnTo>
                    <a:pt x="470" y="96"/>
                  </a:lnTo>
                  <a:lnTo>
                    <a:pt x="474" y="104"/>
                  </a:lnTo>
                  <a:lnTo>
                    <a:pt x="474" y="114"/>
                  </a:lnTo>
                  <a:lnTo>
                    <a:pt x="478" y="124"/>
                  </a:lnTo>
                  <a:lnTo>
                    <a:pt x="490" y="128"/>
                  </a:lnTo>
                  <a:lnTo>
                    <a:pt x="502" y="136"/>
                  </a:lnTo>
                  <a:lnTo>
                    <a:pt x="510" y="148"/>
                  </a:lnTo>
                  <a:lnTo>
                    <a:pt x="520" y="158"/>
                  </a:lnTo>
                  <a:lnTo>
                    <a:pt x="520" y="166"/>
                  </a:lnTo>
                  <a:lnTo>
                    <a:pt x="524" y="172"/>
                  </a:lnTo>
                  <a:lnTo>
                    <a:pt x="534" y="172"/>
                  </a:lnTo>
                  <a:lnTo>
                    <a:pt x="538" y="186"/>
                  </a:lnTo>
                  <a:lnTo>
                    <a:pt x="550" y="196"/>
                  </a:lnTo>
                  <a:lnTo>
                    <a:pt x="560" y="208"/>
                  </a:lnTo>
                  <a:lnTo>
                    <a:pt x="566" y="220"/>
                  </a:lnTo>
                  <a:lnTo>
                    <a:pt x="570" y="232"/>
                  </a:lnTo>
                  <a:lnTo>
                    <a:pt x="572" y="246"/>
                  </a:lnTo>
                  <a:lnTo>
                    <a:pt x="574" y="256"/>
                  </a:lnTo>
                  <a:lnTo>
                    <a:pt x="574" y="272"/>
                  </a:lnTo>
                  <a:lnTo>
                    <a:pt x="570" y="292"/>
                  </a:lnTo>
                  <a:lnTo>
                    <a:pt x="568" y="308"/>
                  </a:lnTo>
                  <a:lnTo>
                    <a:pt x="560" y="324"/>
                  </a:lnTo>
                  <a:lnTo>
                    <a:pt x="550" y="334"/>
                  </a:lnTo>
                  <a:lnTo>
                    <a:pt x="544" y="344"/>
                  </a:lnTo>
                  <a:lnTo>
                    <a:pt x="536" y="364"/>
                  </a:lnTo>
                  <a:lnTo>
                    <a:pt x="530" y="378"/>
                  </a:lnTo>
                  <a:lnTo>
                    <a:pt x="524" y="390"/>
                  </a:lnTo>
                  <a:lnTo>
                    <a:pt x="524" y="406"/>
                  </a:lnTo>
                  <a:lnTo>
                    <a:pt x="518" y="410"/>
                  </a:lnTo>
                  <a:lnTo>
                    <a:pt x="508" y="410"/>
                  </a:lnTo>
                  <a:lnTo>
                    <a:pt x="494" y="408"/>
                  </a:lnTo>
                  <a:lnTo>
                    <a:pt x="492" y="420"/>
                  </a:lnTo>
                  <a:lnTo>
                    <a:pt x="480" y="426"/>
                  </a:lnTo>
                  <a:lnTo>
                    <a:pt x="478" y="428"/>
                  </a:lnTo>
                  <a:lnTo>
                    <a:pt x="474" y="430"/>
                  </a:lnTo>
                  <a:lnTo>
                    <a:pt x="468" y="426"/>
                  </a:lnTo>
                  <a:lnTo>
                    <a:pt x="464" y="422"/>
                  </a:lnTo>
                  <a:lnTo>
                    <a:pt x="458" y="418"/>
                  </a:lnTo>
                  <a:lnTo>
                    <a:pt x="456" y="414"/>
                  </a:lnTo>
                  <a:lnTo>
                    <a:pt x="450" y="416"/>
                  </a:lnTo>
                  <a:lnTo>
                    <a:pt x="438" y="428"/>
                  </a:lnTo>
                  <a:lnTo>
                    <a:pt x="426" y="424"/>
                  </a:lnTo>
                  <a:lnTo>
                    <a:pt x="416" y="420"/>
                  </a:lnTo>
                  <a:lnTo>
                    <a:pt x="406" y="420"/>
                  </a:lnTo>
                  <a:lnTo>
                    <a:pt x="394" y="418"/>
                  </a:lnTo>
                  <a:lnTo>
                    <a:pt x="388" y="408"/>
                  </a:lnTo>
                  <a:lnTo>
                    <a:pt x="382" y="402"/>
                  </a:lnTo>
                  <a:lnTo>
                    <a:pt x="384" y="392"/>
                  </a:lnTo>
                  <a:lnTo>
                    <a:pt x="376" y="384"/>
                  </a:lnTo>
                  <a:lnTo>
                    <a:pt x="370" y="376"/>
                  </a:lnTo>
                  <a:lnTo>
                    <a:pt x="362" y="376"/>
                  </a:lnTo>
                  <a:lnTo>
                    <a:pt x="360" y="370"/>
                  </a:lnTo>
                  <a:lnTo>
                    <a:pt x="366" y="360"/>
                  </a:lnTo>
                  <a:lnTo>
                    <a:pt x="360" y="356"/>
                  </a:lnTo>
                  <a:lnTo>
                    <a:pt x="352" y="364"/>
                  </a:lnTo>
                  <a:lnTo>
                    <a:pt x="344" y="370"/>
                  </a:lnTo>
                  <a:lnTo>
                    <a:pt x="348" y="352"/>
                  </a:lnTo>
                  <a:lnTo>
                    <a:pt x="354" y="346"/>
                  </a:lnTo>
                  <a:lnTo>
                    <a:pt x="356" y="340"/>
                  </a:lnTo>
                  <a:lnTo>
                    <a:pt x="352" y="332"/>
                  </a:lnTo>
                  <a:lnTo>
                    <a:pt x="344" y="340"/>
                  </a:lnTo>
                  <a:lnTo>
                    <a:pt x="340" y="350"/>
                  </a:lnTo>
                  <a:lnTo>
                    <a:pt x="330" y="356"/>
                  </a:lnTo>
                  <a:lnTo>
                    <a:pt x="326" y="364"/>
                  </a:lnTo>
                  <a:lnTo>
                    <a:pt x="318" y="360"/>
                  </a:lnTo>
                  <a:lnTo>
                    <a:pt x="316" y="350"/>
                  </a:lnTo>
                  <a:lnTo>
                    <a:pt x="308" y="336"/>
                  </a:lnTo>
                  <a:lnTo>
                    <a:pt x="302" y="330"/>
                  </a:lnTo>
                  <a:lnTo>
                    <a:pt x="296" y="324"/>
                  </a:lnTo>
                  <a:lnTo>
                    <a:pt x="270" y="318"/>
                  </a:lnTo>
                  <a:lnTo>
                    <a:pt x="234" y="312"/>
                  </a:lnTo>
                  <a:lnTo>
                    <a:pt x="224" y="316"/>
                  </a:lnTo>
                  <a:lnTo>
                    <a:pt x="208" y="322"/>
                  </a:lnTo>
                  <a:lnTo>
                    <a:pt x="182" y="324"/>
                  </a:lnTo>
                  <a:lnTo>
                    <a:pt x="168" y="334"/>
                  </a:lnTo>
                  <a:lnTo>
                    <a:pt x="158" y="336"/>
                  </a:lnTo>
                  <a:lnTo>
                    <a:pt x="156" y="344"/>
                  </a:lnTo>
                  <a:lnTo>
                    <a:pt x="150" y="350"/>
                  </a:lnTo>
                  <a:lnTo>
                    <a:pt x="100" y="350"/>
                  </a:lnTo>
                  <a:lnTo>
                    <a:pt x="94" y="356"/>
                  </a:lnTo>
                  <a:lnTo>
                    <a:pt x="84" y="356"/>
                  </a:lnTo>
                  <a:lnTo>
                    <a:pt x="76" y="368"/>
                  </a:lnTo>
                  <a:lnTo>
                    <a:pt x="52" y="370"/>
                  </a:lnTo>
                  <a:lnTo>
                    <a:pt x="42" y="362"/>
                  </a:lnTo>
                  <a:lnTo>
                    <a:pt x="30" y="356"/>
                  </a:lnTo>
                  <a:lnTo>
                    <a:pt x="30" y="348"/>
                  </a:lnTo>
                  <a:lnTo>
                    <a:pt x="40" y="342"/>
                  </a:lnTo>
                  <a:lnTo>
                    <a:pt x="40" y="322"/>
                  </a:lnTo>
                  <a:lnTo>
                    <a:pt x="40" y="310"/>
                  </a:lnTo>
                  <a:lnTo>
                    <a:pt x="30" y="298"/>
                  </a:lnTo>
                  <a:lnTo>
                    <a:pt x="30" y="282"/>
                  </a:lnTo>
                  <a:lnTo>
                    <a:pt x="20" y="254"/>
                  </a:lnTo>
                  <a:lnTo>
                    <a:pt x="14" y="240"/>
                  </a:lnTo>
                  <a:lnTo>
                    <a:pt x="8" y="232"/>
                  </a:lnTo>
                  <a:lnTo>
                    <a:pt x="4" y="224"/>
                  </a:lnTo>
                  <a:lnTo>
                    <a:pt x="10" y="226"/>
                  </a:lnTo>
                  <a:lnTo>
                    <a:pt x="14" y="232"/>
                  </a:lnTo>
                  <a:lnTo>
                    <a:pt x="20" y="232"/>
                  </a:lnTo>
                  <a:lnTo>
                    <a:pt x="22" y="222"/>
                  </a:lnTo>
                  <a:lnTo>
                    <a:pt x="14" y="216"/>
                  </a:lnTo>
                  <a:lnTo>
                    <a:pt x="10" y="200"/>
                  </a:lnTo>
                  <a:lnTo>
                    <a:pt x="10" y="186"/>
                  </a:lnTo>
                  <a:lnTo>
                    <a:pt x="14" y="172"/>
                  </a:lnTo>
                  <a:lnTo>
                    <a:pt x="16" y="164"/>
                  </a:lnTo>
                  <a:lnTo>
                    <a:pt x="22" y="170"/>
                  </a:lnTo>
                  <a:lnTo>
                    <a:pt x="26" y="164"/>
                  </a:lnTo>
                  <a:lnTo>
                    <a:pt x="34" y="164"/>
                  </a:lnTo>
                  <a:lnTo>
                    <a:pt x="48" y="148"/>
                  </a:lnTo>
                  <a:lnTo>
                    <a:pt x="60" y="146"/>
                  </a:lnTo>
                  <a:lnTo>
                    <a:pt x="80" y="142"/>
                  </a:lnTo>
                  <a:lnTo>
                    <a:pt x="102" y="134"/>
                  </a:lnTo>
                  <a:lnTo>
                    <a:pt x="114" y="132"/>
                  </a:lnTo>
                  <a:lnTo>
                    <a:pt x="132" y="110"/>
                  </a:lnTo>
                  <a:lnTo>
                    <a:pt x="130" y="98"/>
                  </a:lnTo>
                  <a:lnTo>
                    <a:pt x="134" y="92"/>
                  </a:lnTo>
                  <a:lnTo>
                    <a:pt x="144" y="86"/>
                  </a:lnTo>
                  <a:lnTo>
                    <a:pt x="146" y="92"/>
                  </a:lnTo>
                  <a:lnTo>
                    <a:pt x="150" y="96"/>
                  </a:lnTo>
                  <a:lnTo>
                    <a:pt x="154" y="90"/>
                  </a:lnTo>
                  <a:lnTo>
                    <a:pt x="154" y="78"/>
                  </a:lnTo>
                  <a:lnTo>
                    <a:pt x="162" y="82"/>
                  </a:lnTo>
                  <a:lnTo>
                    <a:pt x="164" y="78"/>
                  </a:lnTo>
                  <a:lnTo>
                    <a:pt x="166" y="68"/>
                  </a:lnTo>
                  <a:lnTo>
                    <a:pt x="176" y="62"/>
                  </a:lnTo>
                  <a:lnTo>
                    <a:pt x="180" y="58"/>
                  </a:lnTo>
                  <a:lnTo>
                    <a:pt x="186" y="58"/>
                  </a:lnTo>
                  <a:lnTo>
                    <a:pt x="200" y="46"/>
                  </a:lnTo>
                  <a:lnTo>
                    <a:pt x="210" y="52"/>
                  </a:lnTo>
                  <a:lnTo>
                    <a:pt x="214" y="58"/>
                  </a:lnTo>
                  <a:lnTo>
                    <a:pt x="220" y="62"/>
                  </a:lnTo>
                  <a:lnTo>
                    <a:pt x="230" y="62"/>
                  </a:lnTo>
                  <a:lnTo>
                    <a:pt x="238" y="60"/>
                  </a:lnTo>
                  <a:lnTo>
                    <a:pt x="232" y="50"/>
                  </a:lnTo>
                  <a:lnTo>
                    <a:pt x="244" y="40"/>
                  </a:lnTo>
                  <a:lnTo>
                    <a:pt x="248" y="28"/>
                  </a:lnTo>
                  <a:lnTo>
                    <a:pt x="256" y="26"/>
                  </a:lnTo>
                  <a:lnTo>
                    <a:pt x="260" y="22"/>
                  </a:lnTo>
                  <a:lnTo>
                    <a:pt x="268" y="24"/>
                  </a:lnTo>
                  <a:lnTo>
                    <a:pt x="278" y="20"/>
                  </a:lnTo>
                  <a:lnTo>
                    <a:pt x="280" y="14"/>
                  </a:lnTo>
                  <a:lnTo>
                    <a:pt x="274" y="10"/>
                  </a:lnTo>
                  <a:lnTo>
                    <a:pt x="278" y="8"/>
                  </a:lnTo>
                  <a:lnTo>
                    <a:pt x="292" y="12"/>
                  </a:lnTo>
                  <a:lnTo>
                    <a:pt x="298" y="16"/>
                  </a:lnTo>
                  <a:lnTo>
                    <a:pt x="308" y="20"/>
                  </a:lnTo>
                  <a:lnTo>
                    <a:pt x="314" y="22"/>
                  </a:lnTo>
                  <a:lnTo>
                    <a:pt x="320" y="24"/>
                  </a:lnTo>
                  <a:lnTo>
                    <a:pt x="328" y="24"/>
                  </a:lnTo>
                  <a:lnTo>
                    <a:pt x="336" y="20"/>
                  </a:lnTo>
                  <a:lnTo>
                    <a:pt x="344" y="24"/>
                  </a:lnTo>
                  <a:lnTo>
                    <a:pt x="336" y="30"/>
                  </a:lnTo>
                  <a:lnTo>
                    <a:pt x="330" y="40"/>
                  </a:lnTo>
                  <a:lnTo>
                    <a:pt x="326" y="46"/>
                  </a:lnTo>
                  <a:lnTo>
                    <a:pt x="318" y="52"/>
                  </a:lnTo>
                  <a:lnTo>
                    <a:pt x="318" y="60"/>
                  </a:lnTo>
                  <a:lnTo>
                    <a:pt x="324" y="64"/>
                  </a:lnTo>
                  <a:lnTo>
                    <a:pt x="336" y="74"/>
                  </a:lnTo>
                  <a:lnTo>
                    <a:pt x="350" y="78"/>
                  </a:lnTo>
                  <a:lnTo>
                    <a:pt x="364" y="90"/>
                  </a:lnTo>
                  <a:lnTo>
                    <a:pt x="376" y="96"/>
                  </a:lnTo>
                  <a:lnTo>
                    <a:pt x="390" y="104"/>
                  </a:lnTo>
                  <a:lnTo>
                    <a:pt x="398" y="94"/>
                  </a:lnTo>
                  <a:lnTo>
                    <a:pt x="406" y="78"/>
                  </a:lnTo>
                  <a:lnTo>
                    <a:pt x="408" y="62"/>
                  </a:lnTo>
                  <a:lnTo>
                    <a:pt x="406" y="40"/>
                  </a:lnTo>
                  <a:lnTo>
                    <a:pt x="410" y="24"/>
                  </a:lnTo>
                  <a:lnTo>
                    <a:pt x="414" y="12"/>
                  </a:lnTo>
                  <a:lnTo>
                    <a:pt x="418" y="4"/>
                  </a:lnTo>
                  <a:close/>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3" name="Freeform 1031"/>
            <p:cNvSpPr>
              <a:spLocks/>
            </p:cNvSpPr>
            <p:nvPr/>
          </p:nvSpPr>
          <p:spPr bwMode="auto">
            <a:xfrm>
              <a:off x="4465" y="2679"/>
              <a:ext cx="570" cy="426"/>
            </a:xfrm>
            <a:custGeom>
              <a:avLst/>
              <a:gdLst>
                <a:gd name="T0" fmla="*/ 426 w 570"/>
                <a:gd name="T1" fmla="*/ 18 h 426"/>
                <a:gd name="T2" fmla="*/ 440 w 570"/>
                <a:gd name="T3" fmla="*/ 52 h 426"/>
                <a:gd name="T4" fmla="*/ 456 w 570"/>
                <a:gd name="T5" fmla="*/ 74 h 426"/>
                <a:gd name="T6" fmla="*/ 470 w 570"/>
                <a:gd name="T7" fmla="*/ 100 h 426"/>
                <a:gd name="T8" fmla="*/ 486 w 570"/>
                <a:gd name="T9" fmla="*/ 124 h 426"/>
                <a:gd name="T10" fmla="*/ 516 w 570"/>
                <a:gd name="T11" fmla="*/ 154 h 426"/>
                <a:gd name="T12" fmla="*/ 530 w 570"/>
                <a:gd name="T13" fmla="*/ 168 h 426"/>
                <a:gd name="T14" fmla="*/ 556 w 570"/>
                <a:gd name="T15" fmla="*/ 204 h 426"/>
                <a:gd name="T16" fmla="*/ 568 w 570"/>
                <a:gd name="T17" fmla="*/ 242 h 426"/>
                <a:gd name="T18" fmla="*/ 566 w 570"/>
                <a:gd name="T19" fmla="*/ 288 h 426"/>
                <a:gd name="T20" fmla="*/ 546 w 570"/>
                <a:gd name="T21" fmla="*/ 330 h 426"/>
                <a:gd name="T22" fmla="*/ 526 w 570"/>
                <a:gd name="T23" fmla="*/ 374 h 426"/>
                <a:gd name="T24" fmla="*/ 514 w 570"/>
                <a:gd name="T25" fmla="*/ 406 h 426"/>
                <a:gd name="T26" fmla="*/ 488 w 570"/>
                <a:gd name="T27" fmla="*/ 416 h 426"/>
                <a:gd name="T28" fmla="*/ 470 w 570"/>
                <a:gd name="T29" fmla="*/ 426 h 426"/>
                <a:gd name="T30" fmla="*/ 454 w 570"/>
                <a:gd name="T31" fmla="*/ 414 h 426"/>
                <a:gd name="T32" fmla="*/ 434 w 570"/>
                <a:gd name="T33" fmla="*/ 424 h 426"/>
                <a:gd name="T34" fmla="*/ 402 w 570"/>
                <a:gd name="T35" fmla="*/ 416 h 426"/>
                <a:gd name="T36" fmla="*/ 378 w 570"/>
                <a:gd name="T37" fmla="*/ 398 h 426"/>
                <a:gd name="T38" fmla="*/ 366 w 570"/>
                <a:gd name="T39" fmla="*/ 372 h 426"/>
                <a:gd name="T40" fmla="*/ 362 w 570"/>
                <a:gd name="T41" fmla="*/ 356 h 426"/>
                <a:gd name="T42" fmla="*/ 340 w 570"/>
                <a:gd name="T43" fmla="*/ 366 h 426"/>
                <a:gd name="T44" fmla="*/ 352 w 570"/>
                <a:gd name="T45" fmla="*/ 336 h 426"/>
                <a:gd name="T46" fmla="*/ 336 w 570"/>
                <a:gd name="T47" fmla="*/ 346 h 426"/>
                <a:gd name="T48" fmla="*/ 314 w 570"/>
                <a:gd name="T49" fmla="*/ 356 h 426"/>
                <a:gd name="T50" fmla="*/ 298 w 570"/>
                <a:gd name="T51" fmla="*/ 326 h 426"/>
                <a:gd name="T52" fmla="*/ 230 w 570"/>
                <a:gd name="T53" fmla="*/ 308 h 426"/>
                <a:gd name="T54" fmla="*/ 178 w 570"/>
                <a:gd name="T55" fmla="*/ 320 h 426"/>
                <a:gd name="T56" fmla="*/ 152 w 570"/>
                <a:gd name="T57" fmla="*/ 340 h 426"/>
                <a:gd name="T58" fmla="*/ 90 w 570"/>
                <a:gd name="T59" fmla="*/ 352 h 426"/>
                <a:gd name="T60" fmla="*/ 48 w 570"/>
                <a:gd name="T61" fmla="*/ 366 h 426"/>
                <a:gd name="T62" fmla="*/ 26 w 570"/>
                <a:gd name="T63" fmla="*/ 344 h 426"/>
                <a:gd name="T64" fmla="*/ 36 w 570"/>
                <a:gd name="T65" fmla="*/ 306 h 426"/>
                <a:gd name="T66" fmla="*/ 16 w 570"/>
                <a:gd name="T67" fmla="*/ 250 h 426"/>
                <a:gd name="T68" fmla="*/ 0 w 570"/>
                <a:gd name="T69" fmla="*/ 220 h 426"/>
                <a:gd name="T70" fmla="*/ 16 w 570"/>
                <a:gd name="T71" fmla="*/ 228 h 426"/>
                <a:gd name="T72" fmla="*/ 6 w 570"/>
                <a:gd name="T73" fmla="*/ 196 h 426"/>
                <a:gd name="T74" fmla="*/ 12 w 570"/>
                <a:gd name="T75" fmla="*/ 160 h 426"/>
                <a:gd name="T76" fmla="*/ 30 w 570"/>
                <a:gd name="T77" fmla="*/ 160 h 426"/>
                <a:gd name="T78" fmla="*/ 76 w 570"/>
                <a:gd name="T79" fmla="*/ 138 h 426"/>
                <a:gd name="T80" fmla="*/ 128 w 570"/>
                <a:gd name="T81" fmla="*/ 106 h 426"/>
                <a:gd name="T82" fmla="*/ 140 w 570"/>
                <a:gd name="T83" fmla="*/ 82 h 426"/>
                <a:gd name="T84" fmla="*/ 150 w 570"/>
                <a:gd name="T85" fmla="*/ 86 h 426"/>
                <a:gd name="T86" fmla="*/ 160 w 570"/>
                <a:gd name="T87" fmla="*/ 74 h 426"/>
                <a:gd name="T88" fmla="*/ 176 w 570"/>
                <a:gd name="T89" fmla="*/ 54 h 426"/>
                <a:gd name="T90" fmla="*/ 206 w 570"/>
                <a:gd name="T91" fmla="*/ 48 h 426"/>
                <a:gd name="T92" fmla="*/ 226 w 570"/>
                <a:gd name="T93" fmla="*/ 58 h 426"/>
                <a:gd name="T94" fmla="*/ 240 w 570"/>
                <a:gd name="T95" fmla="*/ 36 h 426"/>
                <a:gd name="T96" fmla="*/ 256 w 570"/>
                <a:gd name="T97" fmla="*/ 18 h 426"/>
                <a:gd name="T98" fmla="*/ 276 w 570"/>
                <a:gd name="T99" fmla="*/ 10 h 426"/>
                <a:gd name="T100" fmla="*/ 288 w 570"/>
                <a:gd name="T101" fmla="*/ 8 h 426"/>
                <a:gd name="T102" fmla="*/ 310 w 570"/>
                <a:gd name="T103" fmla="*/ 18 h 426"/>
                <a:gd name="T104" fmla="*/ 332 w 570"/>
                <a:gd name="T105" fmla="*/ 16 h 426"/>
                <a:gd name="T106" fmla="*/ 326 w 570"/>
                <a:gd name="T107" fmla="*/ 36 h 426"/>
                <a:gd name="T108" fmla="*/ 314 w 570"/>
                <a:gd name="T109" fmla="*/ 56 h 426"/>
                <a:gd name="T110" fmla="*/ 346 w 570"/>
                <a:gd name="T111" fmla="*/ 74 h 426"/>
                <a:gd name="T112" fmla="*/ 386 w 570"/>
                <a:gd name="T113" fmla="*/ 100 h 426"/>
                <a:gd name="T114" fmla="*/ 404 w 570"/>
                <a:gd name="T115" fmla="*/ 58 h 426"/>
                <a:gd name="T116" fmla="*/ 410 w 570"/>
                <a:gd name="T117" fmla="*/ 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426">
                  <a:moveTo>
                    <a:pt x="414" y="0"/>
                  </a:moveTo>
                  <a:lnTo>
                    <a:pt x="420" y="6"/>
                  </a:lnTo>
                  <a:lnTo>
                    <a:pt x="426" y="18"/>
                  </a:lnTo>
                  <a:lnTo>
                    <a:pt x="430" y="28"/>
                  </a:lnTo>
                  <a:lnTo>
                    <a:pt x="432" y="48"/>
                  </a:lnTo>
                  <a:lnTo>
                    <a:pt x="440" y="52"/>
                  </a:lnTo>
                  <a:lnTo>
                    <a:pt x="452" y="56"/>
                  </a:lnTo>
                  <a:lnTo>
                    <a:pt x="454" y="64"/>
                  </a:lnTo>
                  <a:lnTo>
                    <a:pt x="456" y="74"/>
                  </a:lnTo>
                  <a:lnTo>
                    <a:pt x="456" y="86"/>
                  </a:lnTo>
                  <a:lnTo>
                    <a:pt x="466" y="92"/>
                  </a:lnTo>
                  <a:lnTo>
                    <a:pt x="470" y="100"/>
                  </a:lnTo>
                  <a:lnTo>
                    <a:pt x="470" y="110"/>
                  </a:lnTo>
                  <a:lnTo>
                    <a:pt x="474" y="120"/>
                  </a:lnTo>
                  <a:lnTo>
                    <a:pt x="486" y="124"/>
                  </a:lnTo>
                  <a:lnTo>
                    <a:pt x="498" y="132"/>
                  </a:lnTo>
                  <a:lnTo>
                    <a:pt x="506" y="144"/>
                  </a:lnTo>
                  <a:lnTo>
                    <a:pt x="516" y="154"/>
                  </a:lnTo>
                  <a:lnTo>
                    <a:pt x="516" y="162"/>
                  </a:lnTo>
                  <a:lnTo>
                    <a:pt x="520" y="168"/>
                  </a:lnTo>
                  <a:lnTo>
                    <a:pt x="530" y="168"/>
                  </a:lnTo>
                  <a:lnTo>
                    <a:pt x="534" y="182"/>
                  </a:lnTo>
                  <a:lnTo>
                    <a:pt x="546" y="192"/>
                  </a:lnTo>
                  <a:lnTo>
                    <a:pt x="556" y="204"/>
                  </a:lnTo>
                  <a:lnTo>
                    <a:pt x="562" y="216"/>
                  </a:lnTo>
                  <a:lnTo>
                    <a:pt x="566" y="228"/>
                  </a:lnTo>
                  <a:lnTo>
                    <a:pt x="568" y="242"/>
                  </a:lnTo>
                  <a:lnTo>
                    <a:pt x="570" y="252"/>
                  </a:lnTo>
                  <a:lnTo>
                    <a:pt x="570" y="268"/>
                  </a:lnTo>
                  <a:lnTo>
                    <a:pt x="566" y="288"/>
                  </a:lnTo>
                  <a:lnTo>
                    <a:pt x="564" y="304"/>
                  </a:lnTo>
                  <a:lnTo>
                    <a:pt x="556" y="320"/>
                  </a:lnTo>
                  <a:lnTo>
                    <a:pt x="546" y="330"/>
                  </a:lnTo>
                  <a:lnTo>
                    <a:pt x="540" y="340"/>
                  </a:lnTo>
                  <a:lnTo>
                    <a:pt x="532" y="360"/>
                  </a:lnTo>
                  <a:lnTo>
                    <a:pt x="526" y="374"/>
                  </a:lnTo>
                  <a:lnTo>
                    <a:pt x="520" y="386"/>
                  </a:lnTo>
                  <a:lnTo>
                    <a:pt x="520" y="402"/>
                  </a:lnTo>
                  <a:lnTo>
                    <a:pt x="514" y="406"/>
                  </a:lnTo>
                  <a:lnTo>
                    <a:pt x="504" y="406"/>
                  </a:lnTo>
                  <a:lnTo>
                    <a:pt x="490" y="404"/>
                  </a:lnTo>
                  <a:lnTo>
                    <a:pt x="488" y="416"/>
                  </a:lnTo>
                  <a:lnTo>
                    <a:pt x="476" y="422"/>
                  </a:lnTo>
                  <a:lnTo>
                    <a:pt x="474" y="424"/>
                  </a:lnTo>
                  <a:lnTo>
                    <a:pt x="470" y="426"/>
                  </a:lnTo>
                  <a:lnTo>
                    <a:pt x="464" y="422"/>
                  </a:lnTo>
                  <a:lnTo>
                    <a:pt x="460" y="418"/>
                  </a:lnTo>
                  <a:lnTo>
                    <a:pt x="454" y="414"/>
                  </a:lnTo>
                  <a:lnTo>
                    <a:pt x="452" y="410"/>
                  </a:lnTo>
                  <a:lnTo>
                    <a:pt x="446" y="412"/>
                  </a:lnTo>
                  <a:lnTo>
                    <a:pt x="434" y="424"/>
                  </a:lnTo>
                  <a:lnTo>
                    <a:pt x="422" y="420"/>
                  </a:lnTo>
                  <a:lnTo>
                    <a:pt x="412" y="416"/>
                  </a:lnTo>
                  <a:lnTo>
                    <a:pt x="402" y="416"/>
                  </a:lnTo>
                  <a:lnTo>
                    <a:pt x="390" y="414"/>
                  </a:lnTo>
                  <a:lnTo>
                    <a:pt x="384" y="404"/>
                  </a:lnTo>
                  <a:lnTo>
                    <a:pt x="378" y="398"/>
                  </a:lnTo>
                  <a:lnTo>
                    <a:pt x="380" y="388"/>
                  </a:lnTo>
                  <a:lnTo>
                    <a:pt x="372" y="380"/>
                  </a:lnTo>
                  <a:lnTo>
                    <a:pt x="366" y="372"/>
                  </a:lnTo>
                  <a:lnTo>
                    <a:pt x="358" y="372"/>
                  </a:lnTo>
                  <a:lnTo>
                    <a:pt x="356" y="366"/>
                  </a:lnTo>
                  <a:lnTo>
                    <a:pt x="362" y="356"/>
                  </a:lnTo>
                  <a:lnTo>
                    <a:pt x="356" y="352"/>
                  </a:lnTo>
                  <a:lnTo>
                    <a:pt x="348" y="360"/>
                  </a:lnTo>
                  <a:lnTo>
                    <a:pt x="340" y="366"/>
                  </a:lnTo>
                  <a:lnTo>
                    <a:pt x="344" y="348"/>
                  </a:lnTo>
                  <a:lnTo>
                    <a:pt x="350" y="342"/>
                  </a:lnTo>
                  <a:lnTo>
                    <a:pt x="352" y="336"/>
                  </a:lnTo>
                  <a:lnTo>
                    <a:pt x="348" y="328"/>
                  </a:lnTo>
                  <a:lnTo>
                    <a:pt x="340" y="336"/>
                  </a:lnTo>
                  <a:lnTo>
                    <a:pt x="336" y="346"/>
                  </a:lnTo>
                  <a:lnTo>
                    <a:pt x="326" y="352"/>
                  </a:lnTo>
                  <a:lnTo>
                    <a:pt x="322" y="360"/>
                  </a:lnTo>
                  <a:lnTo>
                    <a:pt x="314" y="356"/>
                  </a:lnTo>
                  <a:lnTo>
                    <a:pt x="312" y="346"/>
                  </a:lnTo>
                  <a:lnTo>
                    <a:pt x="304" y="332"/>
                  </a:lnTo>
                  <a:lnTo>
                    <a:pt x="298" y="326"/>
                  </a:lnTo>
                  <a:lnTo>
                    <a:pt x="292" y="320"/>
                  </a:lnTo>
                  <a:lnTo>
                    <a:pt x="266" y="314"/>
                  </a:lnTo>
                  <a:lnTo>
                    <a:pt x="230" y="308"/>
                  </a:lnTo>
                  <a:lnTo>
                    <a:pt x="220" y="312"/>
                  </a:lnTo>
                  <a:lnTo>
                    <a:pt x="204" y="318"/>
                  </a:lnTo>
                  <a:lnTo>
                    <a:pt x="178" y="320"/>
                  </a:lnTo>
                  <a:lnTo>
                    <a:pt x="164" y="330"/>
                  </a:lnTo>
                  <a:lnTo>
                    <a:pt x="154" y="332"/>
                  </a:lnTo>
                  <a:lnTo>
                    <a:pt x="152" y="340"/>
                  </a:lnTo>
                  <a:lnTo>
                    <a:pt x="146" y="346"/>
                  </a:lnTo>
                  <a:lnTo>
                    <a:pt x="96" y="346"/>
                  </a:lnTo>
                  <a:lnTo>
                    <a:pt x="90" y="352"/>
                  </a:lnTo>
                  <a:lnTo>
                    <a:pt x="80" y="352"/>
                  </a:lnTo>
                  <a:lnTo>
                    <a:pt x="72" y="364"/>
                  </a:lnTo>
                  <a:lnTo>
                    <a:pt x="48" y="366"/>
                  </a:lnTo>
                  <a:lnTo>
                    <a:pt x="38" y="358"/>
                  </a:lnTo>
                  <a:lnTo>
                    <a:pt x="26" y="352"/>
                  </a:lnTo>
                  <a:lnTo>
                    <a:pt x="26" y="344"/>
                  </a:lnTo>
                  <a:lnTo>
                    <a:pt x="36" y="338"/>
                  </a:lnTo>
                  <a:lnTo>
                    <a:pt x="36" y="318"/>
                  </a:lnTo>
                  <a:lnTo>
                    <a:pt x="36" y="306"/>
                  </a:lnTo>
                  <a:lnTo>
                    <a:pt x="26" y="294"/>
                  </a:lnTo>
                  <a:lnTo>
                    <a:pt x="26" y="278"/>
                  </a:lnTo>
                  <a:lnTo>
                    <a:pt x="16" y="250"/>
                  </a:lnTo>
                  <a:lnTo>
                    <a:pt x="10" y="236"/>
                  </a:lnTo>
                  <a:lnTo>
                    <a:pt x="4" y="228"/>
                  </a:lnTo>
                  <a:lnTo>
                    <a:pt x="0" y="220"/>
                  </a:lnTo>
                  <a:lnTo>
                    <a:pt x="6" y="222"/>
                  </a:lnTo>
                  <a:lnTo>
                    <a:pt x="10" y="228"/>
                  </a:lnTo>
                  <a:lnTo>
                    <a:pt x="16" y="228"/>
                  </a:lnTo>
                  <a:lnTo>
                    <a:pt x="18" y="218"/>
                  </a:lnTo>
                  <a:lnTo>
                    <a:pt x="10" y="212"/>
                  </a:lnTo>
                  <a:lnTo>
                    <a:pt x="6" y="196"/>
                  </a:lnTo>
                  <a:lnTo>
                    <a:pt x="6" y="182"/>
                  </a:lnTo>
                  <a:lnTo>
                    <a:pt x="10" y="168"/>
                  </a:lnTo>
                  <a:lnTo>
                    <a:pt x="12" y="160"/>
                  </a:lnTo>
                  <a:lnTo>
                    <a:pt x="18" y="166"/>
                  </a:lnTo>
                  <a:lnTo>
                    <a:pt x="22" y="160"/>
                  </a:lnTo>
                  <a:lnTo>
                    <a:pt x="30" y="160"/>
                  </a:lnTo>
                  <a:lnTo>
                    <a:pt x="44" y="144"/>
                  </a:lnTo>
                  <a:lnTo>
                    <a:pt x="56" y="142"/>
                  </a:lnTo>
                  <a:lnTo>
                    <a:pt x="76" y="138"/>
                  </a:lnTo>
                  <a:lnTo>
                    <a:pt x="98" y="130"/>
                  </a:lnTo>
                  <a:lnTo>
                    <a:pt x="110" y="128"/>
                  </a:lnTo>
                  <a:lnTo>
                    <a:pt x="128" y="106"/>
                  </a:lnTo>
                  <a:lnTo>
                    <a:pt x="126" y="94"/>
                  </a:lnTo>
                  <a:lnTo>
                    <a:pt x="130" y="88"/>
                  </a:lnTo>
                  <a:lnTo>
                    <a:pt x="140" y="82"/>
                  </a:lnTo>
                  <a:lnTo>
                    <a:pt x="142" y="88"/>
                  </a:lnTo>
                  <a:lnTo>
                    <a:pt x="146" y="92"/>
                  </a:lnTo>
                  <a:lnTo>
                    <a:pt x="150" y="86"/>
                  </a:lnTo>
                  <a:lnTo>
                    <a:pt x="150" y="74"/>
                  </a:lnTo>
                  <a:lnTo>
                    <a:pt x="158" y="78"/>
                  </a:lnTo>
                  <a:lnTo>
                    <a:pt x="160" y="74"/>
                  </a:lnTo>
                  <a:lnTo>
                    <a:pt x="162" y="64"/>
                  </a:lnTo>
                  <a:lnTo>
                    <a:pt x="172" y="58"/>
                  </a:lnTo>
                  <a:lnTo>
                    <a:pt x="176" y="54"/>
                  </a:lnTo>
                  <a:lnTo>
                    <a:pt x="182" y="54"/>
                  </a:lnTo>
                  <a:lnTo>
                    <a:pt x="196" y="42"/>
                  </a:lnTo>
                  <a:lnTo>
                    <a:pt x="206" y="48"/>
                  </a:lnTo>
                  <a:lnTo>
                    <a:pt x="210" y="54"/>
                  </a:lnTo>
                  <a:lnTo>
                    <a:pt x="216" y="58"/>
                  </a:lnTo>
                  <a:lnTo>
                    <a:pt x="226" y="58"/>
                  </a:lnTo>
                  <a:lnTo>
                    <a:pt x="234" y="56"/>
                  </a:lnTo>
                  <a:lnTo>
                    <a:pt x="228" y="46"/>
                  </a:lnTo>
                  <a:lnTo>
                    <a:pt x="240" y="36"/>
                  </a:lnTo>
                  <a:lnTo>
                    <a:pt x="244" y="24"/>
                  </a:lnTo>
                  <a:lnTo>
                    <a:pt x="252" y="22"/>
                  </a:lnTo>
                  <a:lnTo>
                    <a:pt x="256" y="18"/>
                  </a:lnTo>
                  <a:lnTo>
                    <a:pt x="264" y="20"/>
                  </a:lnTo>
                  <a:lnTo>
                    <a:pt x="274" y="16"/>
                  </a:lnTo>
                  <a:lnTo>
                    <a:pt x="276" y="10"/>
                  </a:lnTo>
                  <a:lnTo>
                    <a:pt x="270" y="6"/>
                  </a:lnTo>
                  <a:lnTo>
                    <a:pt x="274" y="4"/>
                  </a:lnTo>
                  <a:lnTo>
                    <a:pt x="288" y="8"/>
                  </a:lnTo>
                  <a:lnTo>
                    <a:pt x="294" y="12"/>
                  </a:lnTo>
                  <a:lnTo>
                    <a:pt x="304" y="16"/>
                  </a:lnTo>
                  <a:lnTo>
                    <a:pt x="310" y="18"/>
                  </a:lnTo>
                  <a:lnTo>
                    <a:pt x="316" y="20"/>
                  </a:lnTo>
                  <a:lnTo>
                    <a:pt x="324" y="20"/>
                  </a:lnTo>
                  <a:lnTo>
                    <a:pt x="332" y="16"/>
                  </a:lnTo>
                  <a:lnTo>
                    <a:pt x="340" y="20"/>
                  </a:lnTo>
                  <a:lnTo>
                    <a:pt x="332" y="26"/>
                  </a:lnTo>
                  <a:lnTo>
                    <a:pt x="326" y="36"/>
                  </a:lnTo>
                  <a:lnTo>
                    <a:pt x="322" y="42"/>
                  </a:lnTo>
                  <a:lnTo>
                    <a:pt x="314" y="48"/>
                  </a:lnTo>
                  <a:lnTo>
                    <a:pt x="314" y="56"/>
                  </a:lnTo>
                  <a:lnTo>
                    <a:pt x="320" y="60"/>
                  </a:lnTo>
                  <a:lnTo>
                    <a:pt x="332" y="70"/>
                  </a:lnTo>
                  <a:lnTo>
                    <a:pt x="346" y="74"/>
                  </a:lnTo>
                  <a:lnTo>
                    <a:pt x="360" y="86"/>
                  </a:lnTo>
                  <a:lnTo>
                    <a:pt x="372" y="92"/>
                  </a:lnTo>
                  <a:lnTo>
                    <a:pt x="386" y="100"/>
                  </a:lnTo>
                  <a:lnTo>
                    <a:pt x="394" y="90"/>
                  </a:lnTo>
                  <a:lnTo>
                    <a:pt x="402" y="74"/>
                  </a:lnTo>
                  <a:lnTo>
                    <a:pt x="404" y="58"/>
                  </a:lnTo>
                  <a:lnTo>
                    <a:pt x="402" y="36"/>
                  </a:lnTo>
                  <a:lnTo>
                    <a:pt x="406" y="20"/>
                  </a:lnTo>
                  <a:lnTo>
                    <a:pt x="410" y="8"/>
                  </a:lnTo>
                  <a:lnTo>
                    <a:pt x="4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4" name="Freeform 1032"/>
            <p:cNvSpPr>
              <a:spLocks/>
            </p:cNvSpPr>
            <p:nvPr/>
          </p:nvSpPr>
          <p:spPr bwMode="auto">
            <a:xfrm>
              <a:off x="4461" y="2675"/>
              <a:ext cx="578" cy="434"/>
            </a:xfrm>
            <a:custGeom>
              <a:avLst/>
              <a:gdLst>
                <a:gd name="T0" fmla="*/ 408 w 578"/>
                <a:gd name="T1" fmla="*/ 22 h 434"/>
                <a:gd name="T2" fmla="*/ 388 w 578"/>
                <a:gd name="T3" fmla="*/ 98 h 434"/>
                <a:gd name="T4" fmla="*/ 326 w 578"/>
                <a:gd name="T5" fmla="*/ 62 h 434"/>
                <a:gd name="T6" fmla="*/ 334 w 578"/>
                <a:gd name="T7" fmla="*/ 42 h 434"/>
                <a:gd name="T8" fmla="*/ 344 w 578"/>
                <a:gd name="T9" fmla="*/ 20 h 434"/>
                <a:gd name="T10" fmla="*/ 320 w 578"/>
                <a:gd name="T11" fmla="*/ 20 h 434"/>
                <a:gd name="T12" fmla="*/ 278 w 578"/>
                <a:gd name="T13" fmla="*/ 4 h 434"/>
                <a:gd name="T14" fmla="*/ 272 w 578"/>
                <a:gd name="T15" fmla="*/ 12 h 434"/>
                <a:gd name="T16" fmla="*/ 260 w 578"/>
                <a:gd name="T17" fmla="*/ 18 h 434"/>
                <a:gd name="T18" fmla="*/ 230 w 578"/>
                <a:gd name="T19" fmla="*/ 48 h 434"/>
                <a:gd name="T20" fmla="*/ 218 w 578"/>
                <a:gd name="T21" fmla="*/ 54 h 434"/>
                <a:gd name="T22" fmla="*/ 200 w 578"/>
                <a:gd name="T23" fmla="*/ 42 h 434"/>
                <a:gd name="T24" fmla="*/ 164 w 578"/>
                <a:gd name="T25" fmla="*/ 64 h 434"/>
                <a:gd name="T26" fmla="*/ 154 w 578"/>
                <a:gd name="T27" fmla="*/ 74 h 434"/>
                <a:gd name="T28" fmla="*/ 146 w 578"/>
                <a:gd name="T29" fmla="*/ 84 h 434"/>
                <a:gd name="T30" fmla="*/ 130 w 578"/>
                <a:gd name="T31" fmla="*/ 90 h 434"/>
                <a:gd name="T32" fmla="*/ 102 w 578"/>
                <a:gd name="T33" fmla="*/ 130 h 434"/>
                <a:gd name="T34" fmla="*/ 46 w 578"/>
                <a:gd name="T35" fmla="*/ 146 h 434"/>
                <a:gd name="T36" fmla="*/ 20 w 578"/>
                <a:gd name="T37" fmla="*/ 162 h 434"/>
                <a:gd name="T38" fmla="*/ 12 w 578"/>
                <a:gd name="T39" fmla="*/ 170 h 434"/>
                <a:gd name="T40" fmla="*/ 12 w 578"/>
                <a:gd name="T41" fmla="*/ 218 h 434"/>
                <a:gd name="T42" fmla="*/ 12 w 578"/>
                <a:gd name="T43" fmla="*/ 224 h 434"/>
                <a:gd name="T44" fmla="*/ 2 w 578"/>
                <a:gd name="T45" fmla="*/ 222 h 434"/>
                <a:gd name="T46" fmla="*/ 26 w 578"/>
                <a:gd name="T47" fmla="*/ 298 h 434"/>
                <a:gd name="T48" fmla="*/ 28 w 578"/>
                <a:gd name="T49" fmla="*/ 344 h 434"/>
                <a:gd name="T50" fmla="*/ 50 w 578"/>
                <a:gd name="T51" fmla="*/ 372 h 434"/>
                <a:gd name="T52" fmla="*/ 78 w 578"/>
                <a:gd name="T53" fmla="*/ 370 h 434"/>
                <a:gd name="T54" fmla="*/ 150 w 578"/>
                <a:gd name="T55" fmla="*/ 354 h 434"/>
                <a:gd name="T56" fmla="*/ 170 w 578"/>
                <a:gd name="T57" fmla="*/ 338 h 434"/>
                <a:gd name="T58" fmla="*/ 234 w 578"/>
                <a:gd name="T59" fmla="*/ 316 h 434"/>
                <a:gd name="T60" fmla="*/ 314 w 578"/>
                <a:gd name="T61" fmla="*/ 360 h 434"/>
                <a:gd name="T62" fmla="*/ 334 w 578"/>
                <a:gd name="T63" fmla="*/ 360 h 434"/>
                <a:gd name="T64" fmla="*/ 350 w 578"/>
                <a:gd name="T65" fmla="*/ 344 h 434"/>
                <a:gd name="T66" fmla="*/ 340 w 578"/>
                <a:gd name="T67" fmla="*/ 372 h 434"/>
                <a:gd name="T68" fmla="*/ 354 w 578"/>
                <a:gd name="T69" fmla="*/ 366 h 434"/>
                <a:gd name="T70" fmla="*/ 358 w 578"/>
                <a:gd name="T71" fmla="*/ 378 h 434"/>
                <a:gd name="T72" fmla="*/ 378 w 578"/>
                <a:gd name="T73" fmla="*/ 400 h 434"/>
                <a:gd name="T74" fmla="*/ 404 w 578"/>
                <a:gd name="T75" fmla="*/ 424 h 434"/>
                <a:gd name="T76" fmla="*/ 436 w 578"/>
                <a:gd name="T77" fmla="*/ 432 h 434"/>
                <a:gd name="T78" fmla="*/ 462 w 578"/>
                <a:gd name="T79" fmla="*/ 426 h 434"/>
                <a:gd name="T80" fmla="*/ 474 w 578"/>
                <a:gd name="T81" fmla="*/ 434 h 434"/>
                <a:gd name="T82" fmla="*/ 494 w 578"/>
                <a:gd name="T83" fmla="*/ 422 h 434"/>
                <a:gd name="T84" fmla="*/ 518 w 578"/>
                <a:gd name="T85" fmla="*/ 414 h 434"/>
                <a:gd name="T86" fmla="*/ 534 w 578"/>
                <a:gd name="T87" fmla="*/ 380 h 434"/>
                <a:gd name="T88" fmla="*/ 564 w 578"/>
                <a:gd name="T89" fmla="*/ 326 h 434"/>
                <a:gd name="T90" fmla="*/ 578 w 578"/>
                <a:gd name="T91" fmla="*/ 272 h 434"/>
                <a:gd name="T92" fmla="*/ 564 w 578"/>
                <a:gd name="T93" fmla="*/ 206 h 434"/>
                <a:gd name="T94" fmla="*/ 538 w 578"/>
                <a:gd name="T95" fmla="*/ 172 h 434"/>
                <a:gd name="T96" fmla="*/ 524 w 578"/>
                <a:gd name="T97" fmla="*/ 158 h 434"/>
                <a:gd name="T98" fmla="*/ 492 w 578"/>
                <a:gd name="T99" fmla="*/ 124 h 434"/>
                <a:gd name="T100" fmla="*/ 474 w 578"/>
                <a:gd name="T101" fmla="*/ 94 h 434"/>
                <a:gd name="T102" fmla="*/ 462 w 578"/>
                <a:gd name="T103" fmla="*/ 68 h 434"/>
                <a:gd name="T104" fmla="*/ 440 w 578"/>
                <a:gd name="T105" fmla="*/ 50 h 434"/>
                <a:gd name="T106" fmla="*/ 426 w 578"/>
                <a:gd name="T107" fmla="*/ 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434">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5" name="Freeform 1033"/>
            <p:cNvSpPr>
              <a:spLocks/>
            </p:cNvSpPr>
            <p:nvPr/>
          </p:nvSpPr>
          <p:spPr bwMode="auto">
            <a:xfrm>
              <a:off x="4525" y="2255"/>
              <a:ext cx="70" cy="90"/>
            </a:xfrm>
            <a:custGeom>
              <a:avLst/>
              <a:gdLst>
                <a:gd name="T0" fmla="*/ 66 w 70"/>
                <a:gd name="T1" fmla="*/ 90 h 90"/>
                <a:gd name="T2" fmla="*/ 60 w 70"/>
                <a:gd name="T3" fmla="*/ 84 h 90"/>
                <a:gd name="T4" fmla="*/ 48 w 70"/>
                <a:gd name="T5" fmla="*/ 76 h 90"/>
                <a:gd name="T6" fmla="*/ 40 w 70"/>
                <a:gd name="T7" fmla="*/ 76 h 90"/>
                <a:gd name="T8" fmla="*/ 40 w 70"/>
                <a:gd name="T9" fmla="*/ 76 h 90"/>
                <a:gd name="T10" fmla="*/ 36 w 70"/>
                <a:gd name="T11" fmla="*/ 70 h 90"/>
                <a:gd name="T12" fmla="*/ 26 w 70"/>
                <a:gd name="T13" fmla="*/ 72 h 90"/>
                <a:gd name="T14" fmla="*/ 24 w 70"/>
                <a:gd name="T15" fmla="*/ 74 h 90"/>
                <a:gd name="T16" fmla="*/ 24 w 70"/>
                <a:gd name="T17" fmla="*/ 74 h 90"/>
                <a:gd name="T18" fmla="*/ 16 w 70"/>
                <a:gd name="T19" fmla="*/ 72 h 90"/>
                <a:gd name="T20" fmla="*/ 14 w 70"/>
                <a:gd name="T21" fmla="*/ 60 h 90"/>
                <a:gd name="T22" fmla="*/ 4 w 70"/>
                <a:gd name="T23" fmla="*/ 56 h 90"/>
                <a:gd name="T24" fmla="*/ 4 w 70"/>
                <a:gd name="T25" fmla="*/ 46 h 90"/>
                <a:gd name="T26" fmla="*/ 0 w 70"/>
                <a:gd name="T27" fmla="*/ 36 h 90"/>
                <a:gd name="T28" fmla="*/ 0 w 70"/>
                <a:gd name="T29" fmla="*/ 36 h 90"/>
                <a:gd name="T30" fmla="*/ 2 w 70"/>
                <a:gd name="T31" fmla="*/ 34 h 90"/>
                <a:gd name="T32" fmla="*/ 10 w 70"/>
                <a:gd name="T33" fmla="*/ 28 h 90"/>
                <a:gd name="T34" fmla="*/ 12 w 70"/>
                <a:gd name="T35" fmla="*/ 2 h 90"/>
                <a:gd name="T36" fmla="*/ 14 w 70"/>
                <a:gd name="T37" fmla="*/ 0 h 90"/>
                <a:gd name="T38" fmla="*/ 28 w 70"/>
                <a:gd name="T39" fmla="*/ 2 h 90"/>
                <a:gd name="T40" fmla="*/ 38 w 70"/>
                <a:gd name="T41" fmla="*/ 4 h 90"/>
                <a:gd name="T42" fmla="*/ 40 w 70"/>
                <a:gd name="T43" fmla="*/ 16 h 90"/>
                <a:gd name="T44" fmla="*/ 42 w 70"/>
                <a:gd name="T45" fmla="*/ 26 h 90"/>
                <a:gd name="T46" fmla="*/ 36 w 70"/>
                <a:gd name="T47" fmla="*/ 38 h 90"/>
                <a:gd name="T48" fmla="*/ 34 w 70"/>
                <a:gd name="T49" fmla="*/ 40 h 90"/>
                <a:gd name="T50" fmla="*/ 28 w 70"/>
                <a:gd name="T51" fmla="*/ 50 h 90"/>
                <a:gd name="T52" fmla="*/ 34 w 70"/>
                <a:gd name="T53" fmla="*/ 60 h 90"/>
                <a:gd name="T54" fmla="*/ 46 w 70"/>
                <a:gd name="T55" fmla="*/ 60 h 90"/>
                <a:gd name="T56" fmla="*/ 46 w 70"/>
                <a:gd name="T57" fmla="*/ 60 h 90"/>
                <a:gd name="T58" fmla="*/ 48 w 70"/>
                <a:gd name="T59" fmla="*/ 62 h 90"/>
                <a:gd name="T60" fmla="*/ 58 w 70"/>
                <a:gd name="T61" fmla="*/ 64 h 90"/>
                <a:gd name="T62" fmla="*/ 60 w 70"/>
                <a:gd name="T63" fmla="*/ 64 h 90"/>
                <a:gd name="T64" fmla="*/ 62 w 70"/>
                <a:gd name="T65" fmla="*/ 70 h 90"/>
                <a:gd name="T66" fmla="*/ 64 w 70"/>
                <a:gd name="T67" fmla="*/ 76 h 90"/>
                <a:gd name="T68" fmla="*/ 70 w 70"/>
                <a:gd name="T69" fmla="*/ 80 h 90"/>
                <a:gd name="T70" fmla="*/ 70 w 70"/>
                <a:gd name="T71" fmla="*/ 82 h 90"/>
                <a:gd name="T72" fmla="*/ 66 w 70"/>
                <a:gd name="T73" fmla="*/ 88 h 90"/>
                <a:gd name="T74" fmla="*/ 66 w 70"/>
                <a:gd name="T7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90">
                  <a:moveTo>
                    <a:pt x="66" y="90"/>
                  </a:moveTo>
                  <a:lnTo>
                    <a:pt x="66" y="90"/>
                  </a:lnTo>
                  <a:lnTo>
                    <a:pt x="64" y="88"/>
                  </a:lnTo>
                  <a:lnTo>
                    <a:pt x="60" y="84"/>
                  </a:lnTo>
                  <a:lnTo>
                    <a:pt x="50" y="78"/>
                  </a:lnTo>
                  <a:lnTo>
                    <a:pt x="48" y="76"/>
                  </a:lnTo>
                  <a:lnTo>
                    <a:pt x="40" y="76"/>
                  </a:lnTo>
                  <a:lnTo>
                    <a:pt x="40" y="76"/>
                  </a:lnTo>
                  <a:lnTo>
                    <a:pt x="40" y="76"/>
                  </a:lnTo>
                  <a:lnTo>
                    <a:pt x="40" y="76"/>
                  </a:lnTo>
                  <a:lnTo>
                    <a:pt x="38" y="76"/>
                  </a:lnTo>
                  <a:lnTo>
                    <a:pt x="36" y="70"/>
                  </a:lnTo>
                  <a:lnTo>
                    <a:pt x="32" y="68"/>
                  </a:lnTo>
                  <a:lnTo>
                    <a:pt x="26" y="72"/>
                  </a:lnTo>
                  <a:lnTo>
                    <a:pt x="26" y="72"/>
                  </a:lnTo>
                  <a:lnTo>
                    <a:pt x="24" y="74"/>
                  </a:lnTo>
                  <a:lnTo>
                    <a:pt x="24" y="74"/>
                  </a:lnTo>
                  <a:lnTo>
                    <a:pt x="24" y="74"/>
                  </a:lnTo>
                  <a:lnTo>
                    <a:pt x="16" y="72"/>
                  </a:lnTo>
                  <a:lnTo>
                    <a:pt x="16" y="72"/>
                  </a:lnTo>
                  <a:lnTo>
                    <a:pt x="16" y="70"/>
                  </a:lnTo>
                  <a:lnTo>
                    <a:pt x="14" y="60"/>
                  </a:lnTo>
                  <a:lnTo>
                    <a:pt x="4" y="56"/>
                  </a:lnTo>
                  <a:lnTo>
                    <a:pt x="4" y="56"/>
                  </a:lnTo>
                  <a:lnTo>
                    <a:pt x="4" y="54"/>
                  </a:lnTo>
                  <a:lnTo>
                    <a:pt x="4" y="46"/>
                  </a:lnTo>
                  <a:lnTo>
                    <a:pt x="2" y="42"/>
                  </a:lnTo>
                  <a:lnTo>
                    <a:pt x="0" y="36"/>
                  </a:lnTo>
                  <a:lnTo>
                    <a:pt x="0" y="36"/>
                  </a:lnTo>
                  <a:lnTo>
                    <a:pt x="0" y="36"/>
                  </a:lnTo>
                  <a:lnTo>
                    <a:pt x="0" y="36"/>
                  </a:lnTo>
                  <a:lnTo>
                    <a:pt x="2" y="34"/>
                  </a:lnTo>
                  <a:lnTo>
                    <a:pt x="10" y="32"/>
                  </a:lnTo>
                  <a:lnTo>
                    <a:pt x="10" y="28"/>
                  </a:lnTo>
                  <a:lnTo>
                    <a:pt x="10" y="16"/>
                  </a:lnTo>
                  <a:lnTo>
                    <a:pt x="12" y="2"/>
                  </a:lnTo>
                  <a:lnTo>
                    <a:pt x="12" y="2"/>
                  </a:lnTo>
                  <a:lnTo>
                    <a:pt x="14" y="0"/>
                  </a:lnTo>
                  <a:lnTo>
                    <a:pt x="14" y="0"/>
                  </a:lnTo>
                  <a:lnTo>
                    <a:pt x="28" y="2"/>
                  </a:lnTo>
                  <a:lnTo>
                    <a:pt x="38" y="4"/>
                  </a:lnTo>
                  <a:lnTo>
                    <a:pt x="38" y="4"/>
                  </a:lnTo>
                  <a:lnTo>
                    <a:pt x="40" y="6"/>
                  </a:lnTo>
                  <a:lnTo>
                    <a:pt x="40" y="16"/>
                  </a:lnTo>
                  <a:lnTo>
                    <a:pt x="42" y="26"/>
                  </a:lnTo>
                  <a:lnTo>
                    <a:pt x="42" y="26"/>
                  </a:lnTo>
                  <a:lnTo>
                    <a:pt x="42" y="26"/>
                  </a:lnTo>
                  <a:lnTo>
                    <a:pt x="36" y="38"/>
                  </a:lnTo>
                  <a:lnTo>
                    <a:pt x="36" y="38"/>
                  </a:lnTo>
                  <a:lnTo>
                    <a:pt x="34" y="40"/>
                  </a:lnTo>
                  <a:lnTo>
                    <a:pt x="30" y="42"/>
                  </a:lnTo>
                  <a:lnTo>
                    <a:pt x="28" y="50"/>
                  </a:lnTo>
                  <a:lnTo>
                    <a:pt x="30" y="56"/>
                  </a:lnTo>
                  <a:lnTo>
                    <a:pt x="34" y="60"/>
                  </a:lnTo>
                  <a:lnTo>
                    <a:pt x="40" y="62"/>
                  </a:lnTo>
                  <a:lnTo>
                    <a:pt x="46" y="60"/>
                  </a:lnTo>
                  <a:lnTo>
                    <a:pt x="46" y="60"/>
                  </a:lnTo>
                  <a:lnTo>
                    <a:pt x="46" y="60"/>
                  </a:lnTo>
                  <a:lnTo>
                    <a:pt x="46" y="60"/>
                  </a:lnTo>
                  <a:lnTo>
                    <a:pt x="48" y="62"/>
                  </a:lnTo>
                  <a:lnTo>
                    <a:pt x="50" y="64"/>
                  </a:lnTo>
                  <a:lnTo>
                    <a:pt x="58" y="64"/>
                  </a:lnTo>
                  <a:lnTo>
                    <a:pt x="58" y="64"/>
                  </a:lnTo>
                  <a:lnTo>
                    <a:pt x="60" y="64"/>
                  </a:lnTo>
                  <a:lnTo>
                    <a:pt x="62" y="70"/>
                  </a:lnTo>
                  <a:lnTo>
                    <a:pt x="62" y="70"/>
                  </a:lnTo>
                  <a:lnTo>
                    <a:pt x="64" y="72"/>
                  </a:lnTo>
                  <a:lnTo>
                    <a:pt x="64" y="76"/>
                  </a:lnTo>
                  <a:lnTo>
                    <a:pt x="70" y="80"/>
                  </a:lnTo>
                  <a:lnTo>
                    <a:pt x="70" y="80"/>
                  </a:lnTo>
                  <a:lnTo>
                    <a:pt x="70" y="82"/>
                  </a:lnTo>
                  <a:lnTo>
                    <a:pt x="70" y="82"/>
                  </a:lnTo>
                  <a:lnTo>
                    <a:pt x="70" y="84"/>
                  </a:lnTo>
                  <a:lnTo>
                    <a:pt x="66" y="88"/>
                  </a:lnTo>
                  <a:lnTo>
                    <a:pt x="66" y="88"/>
                  </a:lnTo>
                  <a:lnTo>
                    <a:pt x="66" y="90"/>
                  </a:lnTo>
                  <a:lnTo>
                    <a:pt x="66"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 name="Freeform 1034"/>
            <p:cNvSpPr>
              <a:spLocks noEditPoints="1"/>
            </p:cNvSpPr>
            <p:nvPr/>
          </p:nvSpPr>
          <p:spPr bwMode="auto">
            <a:xfrm>
              <a:off x="4523" y="2253"/>
              <a:ext cx="74" cy="94"/>
            </a:xfrm>
            <a:custGeom>
              <a:avLst/>
              <a:gdLst>
                <a:gd name="T0" fmla="*/ 30 w 74"/>
                <a:gd name="T1" fmla="*/ 6 h 94"/>
                <a:gd name="T2" fmla="*/ 40 w 74"/>
                <a:gd name="T3" fmla="*/ 18 h 94"/>
                <a:gd name="T4" fmla="*/ 36 w 74"/>
                <a:gd name="T5" fmla="*/ 40 h 94"/>
                <a:gd name="T6" fmla="*/ 28 w 74"/>
                <a:gd name="T7" fmla="*/ 52 h 94"/>
                <a:gd name="T8" fmla="*/ 34 w 74"/>
                <a:gd name="T9" fmla="*/ 62 h 94"/>
                <a:gd name="T10" fmla="*/ 48 w 74"/>
                <a:gd name="T11" fmla="*/ 64 h 94"/>
                <a:gd name="T12" fmla="*/ 60 w 74"/>
                <a:gd name="T13" fmla="*/ 68 h 94"/>
                <a:gd name="T14" fmla="*/ 64 w 74"/>
                <a:gd name="T15" fmla="*/ 78 h 94"/>
                <a:gd name="T16" fmla="*/ 68 w 74"/>
                <a:gd name="T17" fmla="*/ 90 h 94"/>
                <a:gd name="T18" fmla="*/ 54 w 74"/>
                <a:gd name="T19" fmla="*/ 78 h 94"/>
                <a:gd name="T20" fmla="*/ 42 w 74"/>
                <a:gd name="T21" fmla="*/ 76 h 94"/>
                <a:gd name="T22" fmla="*/ 32 w 74"/>
                <a:gd name="T23" fmla="*/ 68 h 94"/>
                <a:gd name="T24" fmla="*/ 20 w 74"/>
                <a:gd name="T25" fmla="*/ 72 h 94"/>
                <a:gd name="T26" fmla="*/ 8 w 74"/>
                <a:gd name="T27" fmla="*/ 56 h 94"/>
                <a:gd name="T28" fmla="*/ 6 w 74"/>
                <a:gd name="T29" fmla="*/ 44 h 94"/>
                <a:gd name="T30" fmla="*/ 16 w 74"/>
                <a:gd name="T31" fmla="*/ 36 h 94"/>
                <a:gd name="T32" fmla="*/ 14 w 74"/>
                <a:gd name="T33" fmla="*/ 18 h 94"/>
                <a:gd name="T34" fmla="*/ 16 w 74"/>
                <a:gd name="T35" fmla="*/ 0 h 94"/>
                <a:gd name="T36" fmla="*/ 12 w 74"/>
                <a:gd name="T37" fmla="*/ 2 h 94"/>
                <a:gd name="T38" fmla="*/ 10 w 74"/>
                <a:gd name="T39" fmla="*/ 18 h 94"/>
                <a:gd name="T40" fmla="*/ 10 w 74"/>
                <a:gd name="T41" fmla="*/ 18 h 94"/>
                <a:gd name="T42" fmla="*/ 10 w 74"/>
                <a:gd name="T43" fmla="*/ 30 h 94"/>
                <a:gd name="T44" fmla="*/ 10 w 74"/>
                <a:gd name="T45" fmla="*/ 34 h 94"/>
                <a:gd name="T46" fmla="*/ 4 w 74"/>
                <a:gd name="T47" fmla="*/ 34 h 94"/>
                <a:gd name="T48" fmla="*/ 0 w 74"/>
                <a:gd name="T49" fmla="*/ 36 h 94"/>
                <a:gd name="T50" fmla="*/ 2 w 74"/>
                <a:gd name="T51" fmla="*/ 44 h 94"/>
                <a:gd name="T52" fmla="*/ 2 w 74"/>
                <a:gd name="T53" fmla="*/ 46 h 94"/>
                <a:gd name="T54" fmla="*/ 4 w 74"/>
                <a:gd name="T55" fmla="*/ 56 h 94"/>
                <a:gd name="T56" fmla="*/ 6 w 74"/>
                <a:gd name="T57" fmla="*/ 60 h 94"/>
                <a:gd name="T58" fmla="*/ 16 w 74"/>
                <a:gd name="T59" fmla="*/ 72 h 94"/>
                <a:gd name="T60" fmla="*/ 16 w 74"/>
                <a:gd name="T61" fmla="*/ 74 h 94"/>
                <a:gd name="T62" fmla="*/ 26 w 74"/>
                <a:gd name="T63" fmla="*/ 78 h 94"/>
                <a:gd name="T64" fmla="*/ 26 w 74"/>
                <a:gd name="T65" fmla="*/ 78 h 94"/>
                <a:gd name="T66" fmla="*/ 30 w 74"/>
                <a:gd name="T67" fmla="*/ 76 h 94"/>
                <a:gd name="T68" fmla="*/ 36 w 74"/>
                <a:gd name="T69" fmla="*/ 74 h 94"/>
                <a:gd name="T70" fmla="*/ 38 w 74"/>
                <a:gd name="T71" fmla="*/ 78 h 94"/>
                <a:gd name="T72" fmla="*/ 42 w 74"/>
                <a:gd name="T73" fmla="*/ 80 h 94"/>
                <a:gd name="T74" fmla="*/ 44 w 74"/>
                <a:gd name="T75" fmla="*/ 80 h 94"/>
                <a:gd name="T76" fmla="*/ 50 w 74"/>
                <a:gd name="T77" fmla="*/ 82 h 94"/>
                <a:gd name="T78" fmla="*/ 52 w 74"/>
                <a:gd name="T79" fmla="*/ 82 h 94"/>
                <a:gd name="T80" fmla="*/ 64 w 74"/>
                <a:gd name="T81" fmla="*/ 92 h 94"/>
                <a:gd name="T82" fmla="*/ 68 w 74"/>
                <a:gd name="T83" fmla="*/ 94 h 94"/>
                <a:gd name="T84" fmla="*/ 68 w 74"/>
                <a:gd name="T85" fmla="*/ 94 h 94"/>
                <a:gd name="T86" fmla="*/ 70 w 74"/>
                <a:gd name="T87" fmla="*/ 92 h 94"/>
                <a:gd name="T88" fmla="*/ 74 w 74"/>
                <a:gd name="T89" fmla="*/ 86 h 94"/>
                <a:gd name="T90" fmla="*/ 74 w 74"/>
                <a:gd name="T91" fmla="*/ 84 h 94"/>
                <a:gd name="T92" fmla="*/ 68 w 74"/>
                <a:gd name="T93" fmla="*/ 76 h 94"/>
                <a:gd name="T94" fmla="*/ 68 w 74"/>
                <a:gd name="T95" fmla="*/ 74 h 94"/>
                <a:gd name="T96" fmla="*/ 62 w 74"/>
                <a:gd name="T97" fmla="*/ 66 h 94"/>
                <a:gd name="T98" fmla="*/ 60 w 74"/>
                <a:gd name="T99" fmla="*/ 64 h 94"/>
                <a:gd name="T100" fmla="*/ 50 w 74"/>
                <a:gd name="T101" fmla="*/ 62 h 94"/>
                <a:gd name="T102" fmla="*/ 48 w 74"/>
                <a:gd name="T103" fmla="*/ 60 h 94"/>
                <a:gd name="T104" fmla="*/ 46 w 74"/>
                <a:gd name="T105" fmla="*/ 60 h 94"/>
                <a:gd name="T106" fmla="*/ 36 w 74"/>
                <a:gd name="T107" fmla="*/ 60 h 94"/>
                <a:gd name="T108" fmla="*/ 32 w 74"/>
                <a:gd name="T109" fmla="*/ 52 h 94"/>
                <a:gd name="T110" fmla="*/ 38 w 74"/>
                <a:gd name="T111" fmla="*/ 44 h 94"/>
                <a:gd name="T112" fmla="*/ 40 w 74"/>
                <a:gd name="T113" fmla="*/ 42 h 94"/>
                <a:gd name="T114" fmla="*/ 46 w 74"/>
                <a:gd name="T115" fmla="*/ 30 h 94"/>
                <a:gd name="T116" fmla="*/ 44 w 74"/>
                <a:gd name="T117" fmla="*/ 16 h 94"/>
                <a:gd name="T118" fmla="*/ 44 w 74"/>
                <a:gd name="T119" fmla="*/ 8 h 94"/>
                <a:gd name="T120" fmla="*/ 40 w 74"/>
                <a:gd name="T121" fmla="*/ 4 h 94"/>
                <a:gd name="T122" fmla="*/ 16 w 74"/>
                <a:gd name="T123" fmla="*/ 0 h 94"/>
                <a:gd name="T124" fmla="*/ 16 w 74"/>
                <a:gd name="T1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94">
                  <a:moveTo>
                    <a:pt x="16" y="4"/>
                  </a:moveTo>
                  <a:lnTo>
                    <a:pt x="30" y="6"/>
                  </a:lnTo>
                  <a:lnTo>
                    <a:pt x="40" y="8"/>
                  </a:lnTo>
                  <a:lnTo>
                    <a:pt x="40" y="18"/>
                  </a:lnTo>
                  <a:lnTo>
                    <a:pt x="42" y="28"/>
                  </a:lnTo>
                  <a:lnTo>
                    <a:pt x="36" y="40"/>
                  </a:lnTo>
                  <a:lnTo>
                    <a:pt x="30" y="42"/>
                  </a:lnTo>
                  <a:lnTo>
                    <a:pt x="28" y="52"/>
                  </a:lnTo>
                  <a:lnTo>
                    <a:pt x="30" y="60"/>
                  </a:lnTo>
                  <a:lnTo>
                    <a:pt x="34" y="62"/>
                  </a:lnTo>
                  <a:lnTo>
                    <a:pt x="42" y="66"/>
                  </a:lnTo>
                  <a:lnTo>
                    <a:pt x="48" y="64"/>
                  </a:lnTo>
                  <a:lnTo>
                    <a:pt x="52" y="68"/>
                  </a:lnTo>
                  <a:lnTo>
                    <a:pt x="60" y="68"/>
                  </a:lnTo>
                  <a:lnTo>
                    <a:pt x="64" y="74"/>
                  </a:lnTo>
                  <a:lnTo>
                    <a:pt x="64" y="78"/>
                  </a:lnTo>
                  <a:lnTo>
                    <a:pt x="70" y="84"/>
                  </a:lnTo>
                  <a:lnTo>
                    <a:pt x="68" y="90"/>
                  </a:lnTo>
                  <a:lnTo>
                    <a:pt x="64" y="84"/>
                  </a:lnTo>
                  <a:lnTo>
                    <a:pt x="54" y="78"/>
                  </a:lnTo>
                  <a:lnTo>
                    <a:pt x="50" y="76"/>
                  </a:lnTo>
                  <a:lnTo>
                    <a:pt x="42" y="76"/>
                  </a:lnTo>
                  <a:lnTo>
                    <a:pt x="40" y="70"/>
                  </a:lnTo>
                  <a:lnTo>
                    <a:pt x="32" y="68"/>
                  </a:lnTo>
                  <a:lnTo>
                    <a:pt x="26" y="74"/>
                  </a:lnTo>
                  <a:lnTo>
                    <a:pt x="20" y="72"/>
                  </a:lnTo>
                  <a:lnTo>
                    <a:pt x="18" y="62"/>
                  </a:lnTo>
                  <a:lnTo>
                    <a:pt x="8" y="56"/>
                  </a:lnTo>
                  <a:lnTo>
                    <a:pt x="8" y="48"/>
                  </a:lnTo>
                  <a:lnTo>
                    <a:pt x="6" y="44"/>
                  </a:lnTo>
                  <a:lnTo>
                    <a:pt x="4" y="38"/>
                  </a:lnTo>
                  <a:lnTo>
                    <a:pt x="16" y="36"/>
                  </a:lnTo>
                  <a:lnTo>
                    <a:pt x="14" y="30"/>
                  </a:lnTo>
                  <a:lnTo>
                    <a:pt x="14" y="18"/>
                  </a:lnTo>
                  <a:lnTo>
                    <a:pt x="16" y="4"/>
                  </a:lnTo>
                  <a:close/>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 name="Freeform 1035"/>
            <p:cNvSpPr>
              <a:spLocks/>
            </p:cNvSpPr>
            <p:nvPr/>
          </p:nvSpPr>
          <p:spPr bwMode="auto">
            <a:xfrm>
              <a:off x="4527" y="2257"/>
              <a:ext cx="66" cy="86"/>
            </a:xfrm>
            <a:custGeom>
              <a:avLst/>
              <a:gdLst>
                <a:gd name="T0" fmla="*/ 12 w 66"/>
                <a:gd name="T1" fmla="*/ 0 h 86"/>
                <a:gd name="T2" fmla="*/ 26 w 66"/>
                <a:gd name="T3" fmla="*/ 2 h 86"/>
                <a:gd name="T4" fmla="*/ 36 w 66"/>
                <a:gd name="T5" fmla="*/ 4 h 86"/>
                <a:gd name="T6" fmla="*/ 36 w 66"/>
                <a:gd name="T7" fmla="*/ 14 h 86"/>
                <a:gd name="T8" fmla="*/ 38 w 66"/>
                <a:gd name="T9" fmla="*/ 24 h 86"/>
                <a:gd name="T10" fmla="*/ 32 w 66"/>
                <a:gd name="T11" fmla="*/ 36 h 86"/>
                <a:gd name="T12" fmla="*/ 26 w 66"/>
                <a:gd name="T13" fmla="*/ 38 h 86"/>
                <a:gd name="T14" fmla="*/ 24 w 66"/>
                <a:gd name="T15" fmla="*/ 48 h 86"/>
                <a:gd name="T16" fmla="*/ 26 w 66"/>
                <a:gd name="T17" fmla="*/ 56 h 86"/>
                <a:gd name="T18" fmla="*/ 30 w 66"/>
                <a:gd name="T19" fmla="*/ 58 h 86"/>
                <a:gd name="T20" fmla="*/ 38 w 66"/>
                <a:gd name="T21" fmla="*/ 62 h 86"/>
                <a:gd name="T22" fmla="*/ 44 w 66"/>
                <a:gd name="T23" fmla="*/ 60 h 86"/>
                <a:gd name="T24" fmla="*/ 48 w 66"/>
                <a:gd name="T25" fmla="*/ 64 h 86"/>
                <a:gd name="T26" fmla="*/ 56 w 66"/>
                <a:gd name="T27" fmla="*/ 64 h 86"/>
                <a:gd name="T28" fmla="*/ 60 w 66"/>
                <a:gd name="T29" fmla="*/ 70 h 86"/>
                <a:gd name="T30" fmla="*/ 60 w 66"/>
                <a:gd name="T31" fmla="*/ 74 h 86"/>
                <a:gd name="T32" fmla="*/ 66 w 66"/>
                <a:gd name="T33" fmla="*/ 80 h 86"/>
                <a:gd name="T34" fmla="*/ 64 w 66"/>
                <a:gd name="T35" fmla="*/ 86 h 86"/>
                <a:gd name="T36" fmla="*/ 60 w 66"/>
                <a:gd name="T37" fmla="*/ 80 h 86"/>
                <a:gd name="T38" fmla="*/ 50 w 66"/>
                <a:gd name="T39" fmla="*/ 74 h 86"/>
                <a:gd name="T40" fmla="*/ 46 w 66"/>
                <a:gd name="T41" fmla="*/ 72 h 86"/>
                <a:gd name="T42" fmla="*/ 38 w 66"/>
                <a:gd name="T43" fmla="*/ 72 h 86"/>
                <a:gd name="T44" fmla="*/ 36 w 66"/>
                <a:gd name="T45" fmla="*/ 66 h 86"/>
                <a:gd name="T46" fmla="*/ 28 w 66"/>
                <a:gd name="T47" fmla="*/ 64 h 86"/>
                <a:gd name="T48" fmla="*/ 22 w 66"/>
                <a:gd name="T49" fmla="*/ 70 h 86"/>
                <a:gd name="T50" fmla="*/ 16 w 66"/>
                <a:gd name="T51" fmla="*/ 68 h 86"/>
                <a:gd name="T52" fmla="*/ 14 w 66"/>
                <a:gd name="T53" fmla="*/ 58 h 86"/>
                <a:gd name="T54" fmla="*/ 4 w 66"/>
                <a:gd name="T55" fmla="*/ 52 h 86"/>
                <a:gd name="T56" fmla="*/ 4 w 66"/>
                <a:gd name="T57" fmla="*/ 44 h 86"/>
                <a:gd name="T58" fmla="*/ 2 w 66"/>
                <a:gd name="T59" fmla="*/ 40 h 86"/>
                <a:gd name="T60" fmla="*/ 0 w 66"/>
                <a:gd name="T61" fmla="*/ 34 h 86"/>
                <a:gd name="T62" fmla="*/ 12 w 66"/>
                <a:gd name="T63" fmla="*/ 32 h 86"/>
                <a:gd name="T64" fmla="*/ 10 w 66"/>
                <a:gd name="T65" fmla="*/ 26 h 86"/>
                <a:gd name="T66" fmla="*/ 10 w 66"/>
                <a:gd name="T67" fmla="*/ 14 h 86"/>
                <a:gd name="T68" fmla="*/ 12 w 66"/>
                <a:gd name="T6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6">
                  <a:moveTo>
                    <a:pt x="12" y="0"/>
                  </a:moveTo>
                  <a:lnTo>
                    <a:pt x="26" y="2"/>
                  </a:lnTo>
                  <a:lnTo>
                    <a:pt x="36" y="4"/>
                  </a:lnTo>
                  <a:lnTo>
                    <a:pt x="36" y="14"/>
                  </a:lnTo>
                  <a:lnTo>
                    <a:pt x="38" y="24"/>
                  </a:lnTo>
                  <a:lnTo>
                    <a:pt x="32" y="36"/>
                  </a:lnTo>
                  <a:lnTo>
                    <a:pt x="26" y="38"/>
                  </a:lnTo>
                  <a:lnTo>
                    <a:pt x="24" y="48"/>
                  </a:lnTo>
                  <a:lnTo>
                    <a:pt x="26" y="56"/>
                  </a:lnTo>
                  <a:lnTo>
                    <a:pt x="30" y="58"/>
                  </a:lnTo>
                  <a:lnTo>
                    <a:pt x="38" y="62"/>
                  </a:lnTo>
                  <a:lnTo>
                    <a:pt x="44" y="60"/>
                  </a:lnTo>
                  <a:lnTo>
                    <a:pt x="48" y="64"/>
                  </a:lnTo>
                  <a:lnTo>
                    <a:pt x="56" y="64"/>
                  </a:lnTo>
                  <a:lnTo>
                    <a:pt x="60" y="70"/>
                  </a:lnTo>
                  <a:lnTo>
                    <a:pt x="60" y="74"/>
                  </a:lnTo>
                  <a:lnTo>
                    <a:pt x="66" y="80"/>
                  </a:lnTo>
                  <a:lnTo>
                    <a:pt x="64" y="86"/>
                  </a:lnTo>
                  <a:lnTo>
                    <a:pt x="60" y="80"/>
                  </a:lnTo>
                  <a:lnTo>
                    <a:pt x="50" y="74"/>
                  </a:lnTo>
                  <a:lnTo>
                    <a:pt x="46" y="72"/>
                  </a:lnTo>
                  <a:lnTo>
                    <a:pt x="38" y="72"/>
                  </a:lnTo>
                  <a:lnTo>
                    <a:pt x="36" y="66"/>
                  </a:lnTo>
                  <a:lnTo>
                    <a:pt x="28" y="64"/>
                  </a:lnTo>
                  <a:lnTo>
                    <a:pt x="22" y="70"/>
                  </a:lnTo>
                  <a:lnTo>
                    <a:pt x="16" y="68"/>
                  </a:lnTo>
                  <a:lnTo>
                    <a:pt x="14" y="58"/>
                  </a:lnTo>
                  <a:lnTo>
                    <a:pt x="4" y="52"/>
                  </a:lnTo>
                  <a:lnTo>
                    <a:pt x="4" y="44"/>
                  </a:lnTo>
                  <a:lnTo>
                    <a:pt x="2" y="40"/>
                  </a:lnTo>
                  <a:lnTo>
                    <a:pt x="0" y="34"/>
                  </a:lnTo>
                  <a:lnTo>
                    <a:pt x="12" y="32"/>
                  </a:lnTo>
                  <a:lnTo>
                    <a:pt x="10" y="26"/>
                  </a:lnTo>
                  <a:lnTo>
                    <a:pt x="10" y="1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 name="Freeform 1036"/>
            <p:cNvSpPr>
              <a:spLocks/>
            </p:cNvSpPr>
            <p:nvPr/>
          </p:nvSpPr>
          <p:spPr bwMode="auto">
            <a:xfrm>
              <a:off x="4523" y="2253"/>
              <a:ext cx="74" cy="94"/>
            </a:xfrm>
            <a:custGeom>
              <a:avLst/>
              <a:gdLst>
                <a:gd name="T0" fmla="*/ 16 w 74"/>
                <a:gd name="T1" fmla="*/ 0 h 94"/>
                <a:gd name="T2" fmla="*/ 12 w 74"/>
                <a:gd name="T3" fmla="*/ 4 h 94"/>
                <a:gd name="T4" fmla="*/ 10 w 74"/>
                <a:gd name="T5" fmla="*/ 18 h 94"/>
                <a:gd name="T6" fmla="*/ 10 w 74"/>
                <a:gd name="T7" fmla="*/ 30 h 94"/>
                <a:gd name="T8" fmla="*/ 10 w 74"/>
                <a:gd name="T9" fmla="*/ 30 h 94"/>
                <a:gd name="T10" fmla="*/ 4 w 74"/>
                <a:gd name="T11" fmla="*/ 34 h 94"/>
                <a:gd name="T12" fmla="*/ 0 w 74"/>
                <a:gd name="T13" fmla="*/ 36 h 94"/>
                <a:gd name="T14" fmla="*/ 0 w 74"/>
                <a:gd name="T15" fmla="*/ 40 h 94"/>
                <a:gd name="T16" fmla="*/ 2 w 74"/>
                <a:gd name="T17" fmla="*/ 44 h 94"/>
                <a:gd name="T18" fmla="*/ 4 w 74"/>
                <a:gd name="T19" fmla="*/ 48 h 94"/>
                <a:gd name="T20" fmla="*/ 4 w 74"/>
                <a:gd name="T21" fmla="*/ 56 h 94"/>
                <a:gd name="T22" fmla="*/ 14 w 74"/>
                <a:gd name="T23" fmla="*/ 64 h 94"/>
                <a:gd name="T24" fmla="*/ 16 w 74"/>
                <a:gd name="T25" fmla="*/ 72 h 94"/>
                <a:gd name="T26" fmla="*/ 18 w 74"/>
                <a:gd name="T27" fmla="*/ 76 h 94"/>
                <a:gd name="T28" fmla="*/ 26 w 74"/>
                <a:gd name="T29" fmla="*/ 78 h 94"/>
                <a:gd name="T30" fmla="*/ 26 w 74"/>
                <a:gd name="T31" fmla="*/ 78 h 94"/>
                <a:gd name="T32" fmla="*/ 34 w 74"/>
                <a:gd name="T33" fmla="*/ 72 h 94"/>
                <a:gd name="T34" fmla="*/ 38 w 74"/>
                <a:gd name="T35" fmla="*/ 78 h 94"/>
                <a:gd name="T36" fmla="*/ 40 w 74"/>
                <a:gd name="T37" fmla="*/ 80 h 94"/>
                <a:gd name="T38" fmla="*/ 42 w 74"/>
                <a:gd name="T39" fmla="*/ 80 h 94"/>
                <a:gd name="T40" fmla="*/ 48 w 74"/>
                <a:gd name="T41" fmla="*/ 80 h 94"/>
                <a:gd name="T42" fmla="*/ 50 w 74"/>
                <a:gd name="T43" fmla="*/ 82 h 94"/>
                <a:gd name="T44" fmla="*/ 60 w 74"/>
                <a:gd name="T45" fmla="*/ 86 h 94"/>
                <a:gd name="T46" fmla="*/ 64 w 74"/>
                <a:gd name="T47" fmla="*/ 92 h 94"/>
                <a:gd name="T48" fmla="*/ 68 w 74"/>
                <a:gd name="T49" fmla="*/ 94 h 94"/>
                <a:gd name="T50" fmla="*/ 68 w 74"/>
                <a:gd name="T51" fmla="*/ 94 h 94"/>
                <a:gd name="T52" fmla="*/ 74 w 74"/>
                <a:gd name="T53" fmla="*/ 86 h 94"/>
                <a:gd name="T54" fmla="*/ 74 w 74"/>
                <a:gd name="T55" fmla="*/ 84 h 94"/>
                <a:gd name="T56" fmla="*/ 74 w 74"/>
                <a:gd name="T57" fmla="*/ 80 h 94"/>
                <a:gd name="T58" fmla="*/ 68 w 74"/>
                <a:gd name="T59" fmla="*/ 74 h 94"/>
                <a:gd name="T60" fmla="*/ 66 w 74"/>
                <a:gd name="T61" fmla="*/ 70 h 94"/>
                <a:gd name="T62" fmla="*/ 62 w 74"/>
                <a:gd name="T63" fmla="*/ 66 h 94"/>
                <a:gd name="T64" fmla="*/ 54 w 74"/>
                <a:gd name="T65" fmla="*/ 64 h 94"/>
                <a:gd name="T66" fmla="*/ 50 w 74"/>
                <a:gd name="T67" fmla="*/ 62 h 94"/>
                <a:gd name="T68" fmla="*/ 48 w 74"/>
                <a:gd name="T69" fmla="*/ 60 h 94"/>
                <a:gd name="T70" fmla="*/ 42 w 74"/>
                <a:gd name="T71" fmla="*/ 62 h 94"/>
                <a:gd name="T72" fmla="*/ 34 w 74"/>
                <a:gd name="T73" fmla="*/ 58 h 94"/>
                <a:gd name="T74" fmla="*/ 34 w 74"/>
                <a:gd name="T75" fmla="*/ 44 h 94"/>
                <a:gd name="T76" fmla="*/ 38 w 74"/>
                <a:gd name="T77" fmla="*/ 44 h 94"/>
                <a:gd name="T78" fmla="*/ 46 w 74"/>
                <a:gd name="T79" fmla="*/ 30 h 94"/>
                <a:gd name="T80" fmla="*/ 46 w 74"/>
                <a:gd name="T81" fmla="*/ 28 h 94"/>
                <a:gd name="T82" fmla="*/ 44 w 74"/>
                <a:gd name="T83" fmla="*/ 8 h 94"/>
                <a:gd name="T84" fmla="*/ 44 w 74"/>
                <a:gd name="T85" fmla="*/ 6 h 94"/>
                <a:gd name="T86" fmla="*/ 32 w 74"/>
                <a:gd name="T87" fmla="*/ 2 h 94"/>
                <a:gd name="T88" fmla="*/ 16 w 74"/>
                <a:gd name="T89" fmla="*/ 0 h 94"/>
                <a:gd name="T90" fmla="*/ 16 w 74"/>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94">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 name="Freeform 1037"/>
            <p:cNvSpPr>
              <a:spLocks/>
            </p:cNvSpPr>
            <p:nvPr/>
          </p:nvSpPr>
          <p:spPr bwMode="auto">
            <a:xfrm>
              <a:off x="4491" y="2363"/>
              <a:ext cx="38" cy="42"/>
            </a:xfrm>
            <a:custGeom>
              <a:avLst/>
              <a:gdLst>
                <a:gd name="T0" fmla="*/ 2 w 38"/>
                <a:gd name="T1" fmla="*/ 42 h 42"/>
                <a:gd name="T2" fmla="*/ 2 w 38"/>
                <a:gd name="T3" fmla="*/ 42 h 42"/>
                <a:gd name="T4" fmla="*/ 0 w 38"/>
                <a:gd name="T5" fmla="*/ 42 h 42"/>
                <a:gd name="T6" fmla="*/ 0 w 38"/>
                <a:gd name="T7" fmla="*/ 42 h 42"/>
                <a:gd name="T8" fmla="*/ 0 w 38"/>
                <a:gd name="T9" fmla="*/ 40 h 42"/>
                <a:gd name="T10" fmla="*/ 6 w 38"/>
                <a:gd name="T11" fmla="*/ 30 h 42"/>
                <a:gd name="T12" fmla="*/ 16 w 38"/>
                <a:gd name="T13" fmla="*/ 18 h 42"/>
                <a:gd name="T14" fmla="*/ 26 w 38"/>
                <a:gd name="T15" fmla="*/ 8 h 42"/>
                <a:gd name="T16" fmla="*/ 30 w 38"/>
                <a:gd name="T17" fmla="*/ 0 h 42"/>
                <a:gd name="T18" fmla="*/ 30 w 38"/>
                <a:gd name="T19" fmla="*/ 0 h 42"/>
                <a:gd name="T20" fmla="*/ 30 w 38"/>
                <a:gd name="T21" fmla="*/ 0 h 42"/>
                <a:gd name="T22" fmla="*/ 30 w 38"/>
                <a:gd name="T23" fmla="*/ 0 h 42"/>
                <a:gd name="T24" fmla="*/ 32 w 38"/>
                <a:gd name="T25" fmla="*/ 0 h 42"/>
                <a:gd name="T26" fmla="*/ 32 w 38"/>
                <a:gd name="T27" fmla="*/ 0 h 42"/>
                <a:gd name="T28" fmla="*/ 32 w 38"/>
                <a:gd name="T29" fmla="*/ 0 h 42"/>
                <a:gd name="T30" fmla="*/ 34 w 38"/>
                <a:gd name="T31" fmla="*/ 6 h 42"/>
                <a:gd name="T32" fmla="*/ 38 w 38"/>
                <a:gd name="T33" fmla="*/ 10 h 42"/>
                <a:gd name="T34" fmla="*/ 38 w 38"/>
                <a:gd name="T35" fmla="*/ 10 h 42"/>
                <a:gd name="T36" fmla="*/ 38 w 38"/>
                <a:gd name="T37" fmla="*/ 12 h 42"/>
                <a:gd name="T38" fmla="*/ 38 w 38"/>
                <a:gd name="T39" fmla="*/ 12 h 42"/>
                <a:gd name="T40" fmla="*/ 36 w 38"/>
                <a:gd name="T41" fmla="*/ 14 h 42"/>
                <a:gd name="T42" fmla="*/ 30 w 38"/>
                <a:gd name="T43" fmla="*/ 16 h 42"/>
                <a:gd name="T44" fmla="*/ 20 w 38"/>
                <a:gd name="T45" fmla="*/ 28 h 42"/>
                <a:gd name="T46" fmla="*/ 16 w 38"/>
                <a:gd name="T47" fmla="*/ 36 h 42"/>
                <a:gd name="T48" fmla="*/ 16 w 38"/>
                <a:gd name="T49" fmla="*/ 36 h 42"/>
                <a:gd name="T50" fmla="*/ 14 w 38"/>
                <a:gd name="T51" fmla="*/ 36 h 42"/>
                <a:gd name="T52" fmla="*/ 4 w 38"/>
                <a:gd name="T53" fmla="*/ 42 h 42"/>
                <a:gd name="T54" fmla="*/ 4 w 38"/>
                <a:gd name="T55" fmla="*/ 42 h 42"/>
                <a:gd name="T56" fmla="*/ 2 w 38"/>
                <a:gd name="T57" fmla="*/ 42 h 42"/>
                <a:gd name="T58" fmla="*/ 2 w 38"/>
                <a:gd name="T5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42">
                  <a:moveTo>
                    <a:pt x="2" y="42"/>
                  </a:moveTo>
                  <a:lnTo>
                    <a:pt x="2" y="42"/>
                  </a:lnTo>
                  <a:lnTo>
                    <a:pt x="0" y="42"/>
                  </a:lnTo>
                  <a:lnTo>
                    <a:pt x="0" y="42"/>
                  </a:lnTo>
                  <a:lnTo>
                    <a:pt x="0" y="40"/>
                  </a:lnTo>
                  <a:lnTo>
                    <a:pt x="6" y="30"/>
                  </a:lnTo>
                  <a:lnTo>
                    <a:pt x="16" y="18"/>
                  </a:lnTo>
                  <a:lnTo>
                    <a:pt x="26" y="8"/>
                  </a:lnTo>
                  <a:lnTo>
                    <a:pt x="30" y="0"/>
                  </a:lnTo>
                  <a:lnTo>
                    <a:pt x="30" y="0"/>
                  </a:lnTo>
                  <a:lnTo>
                    <a:pt x="30" y="0"/>
                  </a:lnTo>
                  <a:lnTo>
                    <a:pt x="30" y="0"/>
                  </a:lnTo>
                  <a:lnTo>
                    <a:pt x="32" y="0"/>
                  </a:lnTo>
                  <a:lnTo>
                    <a:pt x="32" y="0"/>
                  </a:lnTo>
                  <a:lnTo>
                    <a:pt x="32" y="0"/>
                  </a:lnTo>
                  <a:lnTo>
                    <a:pt x="34" y="6"/>
                  </a:lnTo>
                  <a:lnTo>
                    <a:pt x="38" y="10"/>
                  </a:lnTo>
                  <a:lnTo>
                    <a:pt x="38" y="10"/>
                  </a:lnTo>
                  <a:lnTo>
                    <a:pt x="38" y="12"/>
                  </a:lnTo>
                  <a:lnTo>
                    <a:pt x="38" y="12"/>
                  </a:lnTo>
                  <a:lnTo>
                    <a:pt x="36" y="14"/>
                  </a:lnTo>
                  <a:lnTo>
                    <a:pt x="30" y="16"/>
                  </a:lnTo>
                  <a:lnTo>
                    <a:pt x="20" y="28"/>
                  </a:lnTo>
                  <a:lnTo>
                    <a:pt x="16" y="36"/>
                  </a:lnTo>
                  <a:lnTo>
                    <a:pt x="16" y="36"/>
                  </a:lnTo>
                  <a:lnTo>
                    <a:pt x="14" y="36"/>
                  </a:lnTo>
                  <a:lnTo>
                    <a:pt x="4" y="42"/>
                  </a:lnTo>
                  <a:lnTo>
                    <a:pt x="4" y="42"/>
                  </a:lnTo>
                  <a:lnTo>
                    <a:pt x="2" y="42"/>
                  </a:lnTo>
                  <a:lnTo>
                    <a:pt x="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 name="Freeform 1038"/>
            <p:cNvSpPr>
              <a:spLocks noEditPoints="1"/>
            </p:cNvSpPr>
            <p:nvPr/>
          </p:nvSpPr>
          <p:spPr bwMode="auto">
            <a:xfrm>
              <a:off x="4489" y="2361"/>
              <a:ext cx="42" cy="46"/>
            </a:xfrm>
            <a:custGeom>
              <a:avLst/>
              <a:gdLst>
                <a:gd name="T0" fmla="*/ 32 w 42"/>
                <a:gd name="T1" fmla="*/ 4 h 46"/>
                <a:gd name="T2" fmla="*/ 34 w 42"/>
                <a:gd name="T3" fmla="*/ 8 h 46"/>
                <a:gd name="T4" fmla="*/ 38 w 42"/>
                <a:gd name="T5" fmla="*/ 14 h 46"/>
                <a:gd name="T6" fmla="*/ 30 w 42"/>
                <a:gd name="T7" fmla="*/ 18 h 46"/>
                <a:gd name="T8" fmla="*/ 20 w 42"/>
                <a:gd name="T9" fmla="*/ 30 h 46"/>
                <a:gd name="T10" fmla="*/ 16 w 42"/>
                <a:gd name="T11" fmla="*/ 36 h 46"/>
                <a:gd name="T12" fmla="*/ 4 w 42"/>
                <a:gd name="T13" fmla="*/ 42 h 46"/>
                <a:gd name="T14" fmla="*/ 10 w 42"/>
                <a:gd name="T15" fmla="*/ 32 h 46"/>
                <a:gd name="T16" fmla="*/ 20 w 42"/>
                <a:gd name="T17" fmla="*/ 20 h 46"/>
                <a:gd name="T18" fmla="*/ 30 w 42"/>
                <a:gd name="T19" fmla="*/ 12 h 46"/>
                <a:gd name="T20" fmla="*/ 32 w 42"/>
                <a:gd name="T21" fmla="*/ 4 h 46"/>
                <a:gd name="T22" fmla="*/ 32 w 42"/>
                <a:gd name="T23" fmla="*/ 0 h 46"/>
                <a:gd name="T24" fmla="*/ 32 w 42"/>
                <a:gd name="T25" fmla="*/ 0 h 46"/>
                <a:gd name="T26" fmla="*/ 30 w 42"/>
                <a:gd name="T27" fmla="*/ 0 h 46"/>
                <a:gd name="T28" fmla="*/ 30 w 42"/>
                <a:gd name="T29" fmla="*/ 2 h 46"/>
                <a:gd name="T30" fmla="*/ 26 w 42"/>
                <a:gd name="T31" fmla="*/ 10 h 46"/>
                <a:gd name="T32" fmla="*/ 18 w 42"/>
                <a:gd name="T33" fmla="*/ 18 h 46"/>
                <a:gd name="T34" fmla="*/ 18 w 42"/>
                <a:gd name="T35" fmla="*/ 18 h 46"/>
                <a:gd name="T36" fmla="*/ 18 w 42"/>
                <a:gd name="T37" fmla="*/ 18 h 46"/>
                <a:gd name="T38" fmla="*/ 8 w 42"/>
                <a:gd name="T39" fmla="*/ 30 h 46"/>
                <a:gd name="T40" fmla="*/ 8 w 42"/>
                <a:gd name="T41" fmla="*/ 30 h 46"/>
                <a:gd name="T42" fmla="*/ 8 w 42"/>
                <a:gd name="T43" fmla="*/ 30 h 46"/>
                <a:gd name="T44" fmla="*/ 0 w 42"/>
                <a:gd name="T45" fmla="*/ 40 h 46"/>
                <a:gd name="T46" fmla="*/ 0 w 42"/>
                <a:gd name="T47" fmla="*/ 40 h 46"/>
                <a:gd name="T48" fmla="*/ 0 w 42"/>
                <a:gd name="T49" fmla="*/ 44 h 46"/>
                <a:gd name="T50" fmla="*/ 2 w 42"/>
                <a:gd name="T51" fmla="*/ 46 h 46"/>
                <a:gd name="T52" fmla="*/ 2 w 42"/>
                <a:gd name="T53" fmla="*/ 46 h 46"/>
                <a:gd name="T54" fmla="*/ 4 w 42"/>
                <a:gd name="T55" fmla="*/ 46 h 46"/>
                <a:gd name="T56" fmla="*/ 4 w 42"/>
                <a:gd name="T57" fmla="*/ 46 h 46"/>
                <a:gd name="T58" fmla="*/ 6 w 42"/>
                <a:gd name="T59" fmla="*/ 46 h 46"/>
                <a:gd name="T60" fmla="*/ 18 w 42"/>
                <a:gd name="T61" fmla="*/ 40 h 46"/>
                <a:gd name="T62" fmla="*/ 18 w 42"/>
                <a:gd name="T63" fmla="*/ 40 h 46"/>
                <a:gd name="T64" fmla="*/ 18 w 42"/>
                <a:gd name="T65" fmla="*/ 38 h 46"/>
                <a:gd name="T66" fmla="*/ 24 w 42"/>
                <a:gd name="T67" fmla="*/ 32 h 46"/>
                <a:gd name="T68" fmla="*/ 32 w 42"/>
                <a:gd name="T69" fmla="*/ 20 h 46"/>
                <a:gd name="T70" fmla="*/ 40 w 42"/>
                <a:gd name="T71" fmla="*/ 18 h 46"/>
                <a:gd name="T72" fmla="*/ 40 w 42"/>
                <a:gd name="T73" fmla="*/ 18 h 46"/>
                <a:gd name="T74" fmla="*/ 42 w 42"/>
                <a:gd name="T75" fmla="*/ 16 h 46"/>
                <a:gd name="T76" fmla="*/ 42 w 42"/>
                <a:gd name="T77" fmla="*/ 16 h 46"/>
                <a:gd name="T78" fmla="*/ 42 w 42"/>
                <a:gd name="T79" fmla="*/ 12 h 46"/>
                <a:gd name="T80" fmla="*/ 38 w 42"/>
                <a:gd name="T81" fmla="*/ 8 h 46"/>
                <a:gd name="T82" fmla="*/ 36 w 42"/>
                <a:gd name="T83" fmla="*/ 2 h 46"/>
                <a:gd name="T84" fmla="*/ 36 w 42"/>
                <a:gd name="T85" fmla="*/ 2 h 46"/>
                <a:gd name="T86" fmla="*/ 36 w 42"/>
                <a:gd name="T87" fmla="*/ 0 h 46"/>
                <a:gd name="T88" fmla="*/ 34 w 42"/>
                <a:gd name="T89" fmla="*/ 0 h 46"/>
                <a:gd name="T90" fmla="*/ 34 w 42"/>
                <a:gd name="T91" fmla="*/ 0 h 46"/>
                <a:gd name="T92" fmla="*/ 32 w 42"/>
                <a:gd name="T93" fmla="*/ 0 h 46"/>
                <a:gd name="T94" fmla="*/ 32 w 42"/>
                <a:gd name="T9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46">
                  <a:moveTo>
                    <a:pt x="32" y="4"/>
                  </a:moveTo>
                  <a:lnTo>
                    <a:pt x="34" y="8"/>
                  </a:lnTo>
                  <a:lnTo>
                    <a:pt x="38" y="14"/>
                  </a:lnTo>
                  <a:lnTo>
                    <a:pt x="30" y="18"/>
                  </a:lnTo>
                  <a:lnTo>
                    <a:pt x="20" y="30"/>
                  </a:lnTo>
                  <a:lnTo>
                    <a:pt x="16" y="36"/>
                  </a:lnTo>
                  <a:lnTo>
                    <a:pt x="4" y="42"/>
                  </a:lnTo>
                  <a:lnTo>
                    <a:pt x="10" y="32"/>
                  </a:lnTo>
                  <a:lnTo>
                    <a:pt x="20" y="20"/>
                  </a:lnTo>
                  <a:lnTo>
                    <a:pt x="30" y="12"/>
                  </a:lnTo>
                  <a:lnTo>
                    <a:pt x="32" y="4"/>
                  </a:lnTo>
                  <a:close/>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 name="Freeform 1039"/>
            <p:cNvSpPr>
              <a:spLocks/>
            </p:cNvSpPr>
            <p:nvPr/>
          </p:nvSpPr>
          <p:spPr bwMode="auto">
            <a:xfrm>
              <a:off x="4493" y="2365"/>
              <a:ext cx="34" cy="38"/>
            </a:xfrm>
            <a:custGeom>
              <a:avLst/>
              <a:gdLst>
                <a:gd name="T0" fmla="*/ 28 w 34"/>
                <a:gd name="T1" fmla="*/ 0 h 38"/>
                <a:gd name="T2" fmla="*/ 30 w 34"/>
                <a:gd name="T3" fmla="*/ 4 h 38"/>
                <a:gd name="T4" fmla="*/ 34 w 34"/>
                <a:gd name="T5" fmla="*/ 10 h 38"/>
                <a:gd name="T6" fmla="*/ 26 w 34"/>
                <a:gd name="T7" fmla="*/ 14 h 38"/>
                <a:gd name="T8" fmla="*/ 16 w 34"/>
                <a:gd name="T9" fmla="*/ 26 h 38"/>
                <a:gd name="T10" fmla="*/ 12 w 34"/>
                <a:gd name="T11" fmla="*/ 32 h 38"/>
                <a:gd name="T12" fmla="*/ 0 w 34"/>
                <a:gd name="T13" fmla="*/ 38 h 38"/>
                <a:gd name="T14" fmla="*/ 6 w 34"/>
                <a:gd name="T15" fmla="*/ 28 h 38"/>
                <a:gd name="T16" fmla="*/ 16 w 34"/>
                <a:gd name="T17" fmla="*/ 16 h 38"/>
                <a:gd name="T18" fmla="*/ 26 w 34"/>
                <a:gd name="T19" fmla="*/ 8 h 38"/>
                <a:gd name="T20" fmla="*/ 28 w 34"/>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28" y="0"/>
                  </a:moveTo>
                  <a:lnTo>
                    <a:pt x="30" y="4"/>
                  </a:lnTo>
                  <a:lnTo>
                    <a:pt x="34" y="10"/>
                  </a:lnTo>
                  <a:lnTo>
                    <a:pt x="26" y="14"/>
                  </a:lnTo>
                  <a:lnTo>
                    <a:pt x="16" y="26"/>
                  </a:lnTo>
                  <a:lnTo>
                    <a:pt x="12" y="32"/>
                  </a:lnTo>
                  <a:lnTo>
                    <a:pt x="0" y="38"/>
                  </a:lnTo>
                  <a:lnTo>
                    <a:pt x="6" y="28"/>
                  </a:lnTo>
                  <a:lnTo>
                    <a:pt x="16" y="16"/>
                  </a:lnTo>
                  <a:lnTo>
                    <a:pt x="26" y="8"/>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2" name="Freeform 1040"/>
            <p:cNvSpPr>
              <a:spLocks/>
            </p:cNvSpPr>
            <p:nvPr/>
          </p:nvSpPr>
          <p:spPr bwMode="auto">
            <a:xfrm>
              <a:off x="4489" y="2361"/>
              <a:ext cx="42" cy="46"/>
            </a:xfrm>
            <a:custGeom>
              <a:avLst/>
              <a:gdLst>
                <a:gd name="T0" fmla="*/ 32 w 42"/>
                <a:gd name="T1" fmla="*/ 0 h 46"/>
                <a:gd name="T2" fmla="*/ 32 w 42"/>
                <a:gd name="T3" fmla="*/ 0 h 46"/>
                <a:gd name="T4" fmla="*/ 30 w 42"/>
                <a:gd name="T5" fmla="*/ 0 h 46"/>
                <a:gd name="T6" fmla="*/ 30 w 42"/>
                <a:gd name="T7" fmla="*/ 2 h 46"/>
                <a:gd name="T8" fmla="*/ 26 w 42"/>
                <a:gd name="T9" fmla="*/ 10 h 46"/>
                <a:gd name="T10" fmla="*/ 18 w 42"/>
                <a:gd name="T11" fmla="*/ 18 h 46"/>
                <a:gd name="T12" fmla="*/ 18 w 42"/>
                <a:gd name="T13" fmla="*/ 18 h 46"/>
                <a:gd name="T14" fmla="*/ 18 w 42"/>
                <a:gd name="T15" fmla="*/ 18 h 46"/>
                <a:gd name="T16" fmla="*/ 8 w 42"/>
                <a:gd name="T17" fmla="*/ 30 h 46"/>
                <a:gd name="T18" fmla="*/ 8 w 42"/>
                <a:gd name="T19" fmla="*/ 30 h 46"/>
                <a:gd name="T20" fmla="*/ 8 w 42"/>
                <a:gd name="T21" fmla="*/ 30 h 46"/>
                <a:gd name="T22" fmla="*/ 0 w 42"/>
                <a:gd name="T23" fmla="*/ 40 h 46"/>
                <a:gd name="T24" fmla="*/ 0 w 42"/>
                <a:gd name="T25" fmla="*/ 40 h 46"/>
                <a:gd name="T26" fmla="*/ 0 w 42"/>
                <a:gd name="T27" fmla="*/ 44 h 46"/>
                <a:gd name="T28" fmla="*/ 2 w 42"/>
                <a:gd name="T29" fmla="*/ 46 h 46"/>
                <a:gd name="T30" fmla="*/ 2 w 42"/>
                <a:gd name="T31" fmla="*/ 46 h 46"/>
                <a:gd name="T32" fmla="*/ 4 w 42"/>
                <a:gd name="T33" fmla="*/ 46 h 46"/>
                <a:gd name="T34" fmla="*/ 4 w 42"/>
                <a:gd name="T35" fmla="*/ 46 h 46"/>
                <a:gd name="T36" fmla="*/ 6 w 42"/>
                <a:gd name="T37" fmla="*/ 46 h 46"/>
                <a:gd name="T38" fmla="*/ 18 w 42"/>
                <a:gd name="T39" fmla="*/ 40 h 46"/>
                <a:gd name="T40" fmla="*/ 18 w 42"/>
                <a:gd name="T41" fmla="*/ 40 h 46"/>
                <a:gd name="T42" fmla="*/ 18 w 42"/>
                <a:gd name="T43" fmla="*/ 38 h 46"/>
                <a:gd name="T44" fmla="*/ 24 w 42"/>
                <a:gd name="T45" fmla="*/ 32 h 46"/>
                <a:gd name="T46" fmla="*/ 32 w 42"/>
                <a:gd name="T47" fmla="*/ 20 h 46"/>
                <a:gd name="T48" fmla="*/ 40 w 42"/>
                <a:gd name="T49" fmla="*/ 18 h 46"/>
                <a:gd name="T50" fmla="*/ 40 w 42"/>
                <a:gd name="T51" fmla="*/ 18 h 46"/>
                <a:gd name="T52" fmla="*/ 42 w 42"/>
                <a:gd name="T53" fmla="*/ 16 h 46"/>
                <a:gd name="T54" fmla="*/ 42 w 42"/>
                <a:gd name="T55" fmla="*/ 16 h 46"/>
                <a:gd name="T56" fmla="*/ 42 w 42"/>
                <a:gd name="T57" fmla="*/ 12 h 46"/>
                <a:gd name="T58" fmla="*/ 38 w 42"/>
                <a:gd name="T59" fmla="*/ 8 h 46"/>
                <a:gd name="T60" fmla="*/ 36 w 42"/>
                <a:gd name="T61" fmla="*/ 2 h 46"/>
                <a:gd name="T62" fmla="*/ 36 w 42"/>
                <a:gd name="T63" fmla="*/ 2 h 46"/>
                <a:gd name="T64" fmla="*/ 36 w 42"/>
                <a:gd name="T65" fmla="*/ 0 h 46"/>
                <a:gd name="T66" fmla="*/ 34 w 42"/>
                <a:gd name="T67" fmla="*/ 0 h 46"/>
                <a:gd name="T68" fmla="*/ 34 w 42"/>
                <a:gd name="T69" fmla="*/ 0 h 46"/>
                <a:gd name="T70" fmla="*/ 32 w 42"/>
                <a:gd name="T71" fmla="*/ 0 h 46"/>
                <a:gd name="T72" fmla="*/ 32 w 42"/>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46">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3" name="Freeform 1041"/>
            <p:cNvSpPr>
              <a:spLocks/>
            </p:cNvSpPr>
            <p:nvPr/>
          </p:nvSpPr>
          <p:spPr bwMode="auto">
            <a:xfrm>
              <a:off x="4559" y="2385"/>
              <a:ext cx="64" cy="54"/>
            </a:xfrm>
            <a:custGeom>
              <a:avLst/>
              <a:gdLst>
                <a:gd name="T0" fmla="*/ 34 w 64"/>
                <a:gd name="T1" fmla="*/ 54 h 54"/>
                <a:gd name="T2" fmla="*/ 28 w 64"/>
                <a:gd name="T3" fmla="*/ 44 h 54"/>
                <a:gd name="T4" fmla="*/ 28 w 64"/>
                <a:gd name="T5" fmla="*/ 42 h 54"/>
                <a:gd name="T6" fmla="*/ 28 w 64"/>
                <a:gd name="T7" fmla="*/ 34 h 54"/>
                <a:gd name="T8" fmla="*/ 30 w 64"/>
                <a:gd name="T9" fmla="*/ 32 h 54"/>
                <a:gd name="T10" fmla="*/ 22 w 64"/>
                <a:gd name="T11" fmla="*/ 30 h 54"/>
                <a:gd name="T12" fmla="*/ 10 w 64"/>
                <a:gd name="T13" fmla="*/ 40 h 54"/>
                <a:gd name="T14" fmla="*/ 6 w 64"/>
                <a:gd name="T15" fmla="*/ 46 h 54"/>
                <a:gd name="T16" fmla="*/ 4 w 64"/>
                <a:gd name="T17" fmla="*/ 46 h 54"/>
                <a:gd name="T18" fmla="*/ 4 w 64"/>
                <a:gd name="T19" fmla="*/ 46 h 54"/>
                <a:gd name="T20" fmla="*/ 0 w 64"/>
                <a:gd name="T21" fmla="*/ 34 h 54"/>
                <a:gd name="T22" fmla="*/ 0 w 64"/>
                <a:gd name="T23" fmla="*/ 34 h 54"/>
                <a:gd name="T24" fmla="*/ 2 w 64"/>
                <a:gd name="T25" fmla="*/ 24 h 54"/>
                <a:gd name="T26" fmla="*/ 12 w 64"/>
                <a:gd name="T27" fmla="*/ 20 h 54"/>
                <a:gd name="T28" fmla="*/ 22 w 64"/>
                <a:gd name="T29" fmla="*/ 12 h 54"/>
                <a:gd name="T30" fmla="*/ 22 w 64"/>
                <a:gd name="T31" fmla="*/ 12 h 54"/>
                <a:gd name="T32" fmla="*/ 22 w 64"/>
                <a:gd name="T33" fmla="*/ 12 h 54"/>
                <a:gd name="T34" fmla="*/ 24 w 64"/>
                <a:gd name="T35" fmla="*/ 12 h 54"/>
                <a:gd name="T36" fmla="*/ 30 w 64"/>
                <a:gd name="T37" fmla="*/ 20 h 54"/>
                <a:gd name="T38" fmla="*/ 42 w 64"/>
                <a:gd name="T39" fmla="*/ 8 h 54"/>
                <a:gd name="T40" fmla="*/ 42 w 64"/>
                <a:gd name="T41" fmla="*/ 6 h 54"/>
                <a:gd name="T42" fmla="*/ 44 w 64"/>
                <a:gd name="T43" fmla="*/ 6 h 54"/>
                <a:gd name="T44" fmla="*/ 48 w 64"/>
                <a:gd name="T45" fmla="*/ 8 h 54"/>
                <a:gd name="T46" fmla="*/ 48 w 64"/>
                <a:gd name="T47" fmla="*/ 6 h 54"/>
                <a:gd name="T48" fmla="*/ 52 w 64"/>
                <a:gd name="T49" fmla="*/ 0 h 54"/>
                <a:gd name="T50" fmla="*/ 52 w 64"/>
                <a:gd name="T51" fmla="*/ 0 h 54"/>
                <a:gd name="T52" fmla="*/ 54 w 64"/>
                <a:gd name="T53" fmla="*/ 0 h 54"/>
                <a:gd name="T54" fmla="*/ 64 w 64"/>
                <a:gd name="T55" fmla="*/ 12 h 54"/>
                <a:gd name="T56" fmla="*/ 64 w 64"/>
                <a:gd name="T57" fmla="*/ 38 h 54"/>
                <a:gd name="T58" fmla="*/ 64 w 64"/>
                <a:gd name="T59" fmla="*/ 40 h 54"/>
                <a:gd name="T60" fmla="*/ 56 w 64"/>
                <a:gd name="T61" fmla="*/ 40 h 54"/>
                <a:gd name="T62" fmla="*/ 56 w 64"/>
                <a:gd name="T63" fmla="*/ 42 h 54"/>
                <a:gd name="T64" fmla="*/ 56 w 64"/>
                <a:gd name="T65" fmla="*/ 40 h 54"/>
                <a:gd name="T66" fmla="*/ 54 w 64"/>
                <a:gd name="T67" fmla="*/ 36 h 54"/>
                <a:gd name="T68" fmla="*/ 52 w 64"/>
                <a:gd name="T69" fmla="*/ 50 h 54"/>
                <a:gd name="T70" fmla="*/ 52 w 64"/>
                <a:gd name="T71" fmla="*/ 52 h 54"/>
                <a:gd name="T72" fmla="*/ 50 w 64"/>
                <a:gd name="T73" fmla="*/ 52 h 54"/>
                <a:gd name="T74" fmla="*/ 34 w 6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54">
                  <a:moveTo>
                    <a:pt x="34" y="54"/>
                  </a:moveTo>
                  <a:lnTo>
                    <a:pt x="34" y="54"/>
                  </a:lnTo>
                  <a:lnTo>
                    <a:pt x="32" y="54"/>
                  </a:lnTo>
                  <a:lnTo>
                    <a:pt x="28" y="44"/>
                  </a:lnTo>
                  <a:lnTo>
                    <a:pt x="28" y="44"/>
                  </a:lnTo>
                  <a:lnTo>
                    <a:pt x="28" y="42"/>
                  </a:lnTo>
                  <a:lnTo>
                    <a:pt x="28" y="34"/>
                  </a:lnTo>
                  <a:lnTo>
                    <a:pt x="28" y="34"/>
                  </a:lnTo>
                  <a:lnTo>
                    <a:pt x="28" y="32"/>
                  </a:lnTo>
                  <a:lnTo>
                    <a:pt x="30" y="32"/>
                  </a:lnTo>
                  <a:lnTo>
                    <a:pt x="28" y="30"/>
                  </a:lnTo>
                  <a:lnTo>
                    <a:pt x="22" y="30"/>
                  </a:lnTo>
                  <a:lnTo>
                    <a:pt x="12" y="34"/>
                  </a:lnTo>
                  <a:lnTo>
                    <a:pt x="10" y="40"/>
                  </a:lnTo>
                  <a:lnTo>
                    <a:pt x="6" y="46"/>
                  </a:lnTo>
                  <a:lnTo>
                    <a:pt x="6" y="46"/>
                  </a:lnTo>
                  <a:lnTo>
                    <a:pt x="4" y="46"/>
                  </a:lnTo>
                  <a:lnTo>
                    <a:pt x="4" y="46"/>
                  </a:lnTo>
                  <a:lnTo>
                    <a:pt x="4" y="46"/>
                  </a:lnTo>
                  <a:lnTo>
                    <a:pt x="4" y="46"/>
                  </a:lnTo>
                  <a:lnTo>
                    <a:pt x="2" y="44"/>
                  </a:lnTo>
                  <a:lnTo>
                    <a:pt x="0" y="34"/>
                  </a:lnTo>
                  <a:lnTo>
                    <a:pt x="0" y="34"/>
                  </a:lnTo>
                  <a:lnTo>
                    <a:pt x="0" y="34"/>
                  </a:lnTo>
                  <a:lnTo>
                    <a:pt x="2" y="24"/>
                  </a:lnTo>
                  <a:lnTo>
                    <a:pt x="2" y="24"/>
                  </a:lnTo>
                  <a:lnTo>
                    <a:pt x="4" y="24"/>
                  </a:lnTo>
                  <a:lnTo>
                    <a:pt x="12" y="20"/>
                  </a:lnTo>
                  <a:lnTo>
                    <a:pt x="18" y="18"/>
                  </a:lnTo>
                  <a:lnTo>
                    <a:pt x="22" y="12"/>
                  </a:lnTo>
                  <a:lnTo>
                    <a:pt x="22" y="12"/>
                  </a:lnTo>
                  <a:lnTo>
                    <a:pt x="22" y="12"/>
                  </a:lnTo>
                  <a:lnTo>
                    <a:pt x="22" y="12"/>
                  </a:lnTo>
                  <a:lnTo>
                    <a:pt x="22" y="12"/>
                  </a:lnTo>
                  <a:lnTo>
                    <a:pt x="22" y="12"/>
                  </a:lnTo>
                  <a:lnTo>
                    <a:pt x="24" y="12"/>
                  </a:lnTo>
                  <a:lnTo>
                    <a:pt x="30" y="18"/>
                  </a:lnTo>
                  <a:lnTo>
                    <a:pt x="30" y="20"/>
                  </a:lnTo>
                  <a:lnTo>
                    <a:pt x="34" y="16"/>
                  </a:lnTo>
                  <a:lnTo>
                    <a:pt x="42" y="8"/>
                  </a:lnTo>
                  <a:lnTo>
                    <a:pt x="42" y="8"/>
                  </a:lnTo>
                  <a:lnTo>
                    <a:pt x="42" y="6"/>
                  </a:lnTo>
                  <a:lnTo>
                    <a:pt x="42" y="6"/>
                  </a:lnTo>
                  <a:lnTo>
                    <a:pt x="44" y="6"/>
                  </a:lnTo>
                  <a:lnTo>
                    <a:pt x="46" y="8"/>
                  </a:lnTo>
                  <a:lnTo>
                    <a:pt x="48" y="8"/>
                  </a:lnTo>
                  <a:lnTo>
                    <a:pt x="48" y="6"/>
                  </a:lnTo>
                  <a:lnTo>
                    <a:pt x="48" y="6"/>
                  </a:lnTo>
                  <a:lnTo>
                    <a:pt x="48" y="4"/>
                  </a:lnTo>
                  <a:lnTo>
                    <a:pt x="52" y="0"/>
                  </a:lnTo>
                  <a:lnTo>
                    <a:pt x="52" y="0"/>
                  </a:lnTo>
                  <a:lnTo>
                    <a:pt x="52" y="0"/>
                  </a:lnTo>
                  <a:lnTo>
                    <a:pt x="52" y="0"/>
                  </a:lnTo>
                  <a:lnTo>
                    <a:pt x="54" y="0"/>
                  </a:lnTo>
                  <a:lnTo>
                    <a:pt x="60" y="6"/>
                  </a:lnTo>
                  <a:lnTo>
                    <a:pt x="64" y="12"/>
                  </a:lnTo>
                  <a:lnTo>
                    <a:pt x="64" y="26"/>
                  </a:lnTo>
                  <a:lnTo>
                    <a:pt x="64" y="38"/>
                  </a:lnTo>
                  <a:lnTo>
                    <a:pt x="64" y="38"/>
                  </a:lnTo>
                  <a:lnTo>
                    <a:pt x="64" y="40"/>
                  </a:lnTo>
                  <a:lnTo>
                    <a:pt x="56" y="40"/>
                  </a:lnTo>
                  <a:lnTo>
                    <a:pt x="56" y="40"/>
                  </a:lnTo>
                  <a:lnTo>
                    <a:pt x="56" y="42"/>
                  </a:lnTo>
                  <a:lnTo>
                    <a:pt x="56" y="42"/>
                  </a:lnTo>
                  <a:lnTo>
                    <a:pt x="56" y="40"/>
                  </a:lnTo>
                  <a:lnTo>
                    <a:pt x="56" y="40"/>
                  </a:lnTo>
                  <a:lnTo>
                    <a:pt x="54" y="40"/>
                  </a:lnTo>
                  <a:lnTo>
                    <a:pt x="54" y="36"/>
                  </a:lnTo>
                  <a:lnTo>
                    <a:pt x="48" y="42"/>
                  </a:lnTo>
                  <a:lnTo>
                    <a:pt x="52" y="50"/>
                  </a:lnTo>
                  <a:lnTo>
                    <a:pt x="52" y="50"/>
                  </a:lnTo>
                  <a:lnTo>
                    <a:pt x="52" y="52"/>
                  </a:lnTo>
                  <a:lnTo>
                    <a:pt x="52" y="52"/>
                  </a:lnTo>
                  <a:lnTo>
                    <a:pt x="50" y="52"/>
                  </a:lnTo>
                  <a:lnTo>
                    <a:pt x="50" y="52"/>
                  </a:lnTo>
                  <a:lnTo>
                    <a:pt x="34" y="54"/>
                  </a:lnTo>
                  <a:lnTo>
                    <a:pt x="3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4" name="Freeform 1042"/>
            <p:cNvSpPr>
              <a:spLocks noEditPoints="1"/>
            </p:cNvSpPr>
            <p:nvPr/>
          </p:nvSpPr>
          <p:spPr bwMode="auto">
            <a:xfrm>
              <a:off x="4557" y="2383"/>
              <a:ext cx="68" cy="58"/>
            </a:xfrm>
            <a:custGeom>
              <a:avLst/>
              <a:gdLst>
                <a:gd name="T0" fmla="*/ 60 w 68"/>
                <a:gd name="T1" fmla="*/ 10 h 58"/>
                <a:gd name="T2" fmla="*/ 64 w 68"/>
                <a:gd name="T3" fmla="*/ 28 h 58"/>
                <a:gd name="T4" fmla="*/ 58 w 68"/>
                <a:gd name="T5" fmla="*/ 42 h 58"/>
                <a:gd name="T6" fmla="*/ 52 w 68"/>
                <a:gd name="T7" fmla="*/ 40 h 58"/>
                <a:gd name="T8" fmla="*/ 52 w 68"/>
                <a:gd name="T9" fmla="*/ 52 h 58"/>
                <a:gd name="T10" fmla="*/ 32 w 68"/>
                <a:gd name="T11" fmla="*/ 44 h 58"/>
                <a:gd name="T12" fmla="*/ 36 w 68"/>
                <a:gd name="T13" fmla="*/ 34 h 58"/>
                <a:gd name="T14" fmla="*/ 24 w 68"/>
                <a:gd name="T15" fmla="*/ 30 h 58"/>
                <a:gd name="T16" fmla="*/ 14 w 68"/>
                <a:gd name="T17" fmla="*/ 34 h 58"/>
                <a:gd name="T18" fmla="*/ 6 w 68"/>
                <a:gd name="T19" fmla="*/ 46 h 58"/>
                <a:gd name="T20" fmla="*/ 6 w 68"/>
                <a:gd name="T21" fmla="*/ 28 h 58"/>
                <a:gd name="T22" fmla="*/ 22 w 68"/>
                <a:gd name="T23" fmla="*/ 20 h 58"/>
                <a:gd name="T24" fmla="*/ 30 w 68"/>
                <a:gd name="T25" fmla="*/ 22 h 58"/>
                <a:gd name="T26" fmla="*/ 38 w 68"/>
                <a:gd name="T27" fmla="*/ 20 h 58"/>
                <a:gd name="T28" fmla="*/ 48 w 68"/>
                <a:gd name="T29" fmla="*/ 12 h 58"/>
                <a:gd name="T30" fmla="*/ 52 w 68"/>
                <a:gd name="T31" fmla="*/ 8 h 58"/>
                <a:gd name="T32" fmla="*/ 54 w 68"/>
                <a:gd name="T33" fmla="*/ 0 h 58"/>
                <a:gd name="T34" fmla="*/ 54 w 68"/>
                <a:gd name="T35" fmla="*/ 0 h 58"/>
                <a:gd name="T36" fmla="*/ 48 w 68"/>
                <a:gd name="T37" fmla="*/ 4 h 58"/>
                <a:gd name="T38" fmla="*/ 48 w 68"/>
                <a:gd name="T39" fmla="*/ 8 h 58"/>
                <a:gd name="T40" fmla="*/ 46 w 68"/>
                <a:gd name="T41" fmla="*/ 8 h 58"/>
                <a:gd name="T42" fmla="*/ 44 w 68"/>
                <a:gd name="T43" fmla="*/ 6 h 58"/>
                <a:gd name="T44" fmla="*/ 42 w 68"/>
                <a:gd name="T45" fmla="*/ 8 h 58"/>
                <a:gd name="T46" fmla="*/ 32 w 68"/>
                <a:gd name="T47" fmla="*/ 20 h 58"/>
                <a:gd name="T48" fmla="*/ 28 w 68"/>
                <a:gd name="T49" fmla="*/ 14 h 58"/>
                <a:gd name="T50" fmla="*/ 24 w 68"/>
                <a:gd name="T51" fmla="*/ 12 h 58"/>
                <a:gd name="T52" fmla="*/ 24 w 68"/>
                <a:gd name="T53" fmla="*/ 12 h 58"/>
                <a:gd name="T54" fmla="*/ 18 w 68"/>
                <a:gd name="T55" fmla="*/ 18 h 58"/>
                <a:gd name="T56" fmla="*/ 6 w 68"/>
                <a:gd name="T57" fmla="*/ 24 h 58"/>
                <a:gd name="T58" fmla="*/ 2 w 68"/>
                <a:gd name="T59" fmla="*/ 26 h 58"/>
                <a:gd name="T60" fmla="*/ 0 w 68"/>
                <a:gd name="T61" fmla="*/ 34 h 58"/>
                <a:gd name="T62" fmla="*/ 2 w 68"/>
                <a:gd name="T63" fmla="*/ 48 h 58"/>
                <a:gd name="T64" fmla="*/ 4 w 68"/>
                <a:gd name="T65" fmla="*/ 50 h 58"/>
                <a:gd name="T66" fmla="*/ 6 w 68"/>
                <a:gd name="T67" fmla="*/ 50 h 58"/>
                <a:gd name="T68" fmla="*/ 6 w 68"/>
                <a:gd name="T69" fmla="*/ 50 h 58"/>
                <a:gd name="T70" fmla="*/ 14 w 68"/>
                <a:gd name="T71" fmla="*/ 44 h 58"/>
                <a:gd name="T72" fmla="*/ 14 w 68"/>
                <a:gd name="T73" fmla="*/ 42 h 58"/>
                <a:gd name="T74" fmla="*/ 20 w 68"/>
                <a:gd name="T75" fmla="*/ 36 h 58"/>
                <a:gd name="T76" fmla="*/ 28 w 68"/>
                <a:gd name="T77" fmla="*/ 34 h 58"/>
                <a:gd name="T78" fmla="*/ 28 w 68"/>
                <a:gd name="T79" fmla="*/ 36 h 58"/>
                <a:gd name="T80" fmla="*/ 28 w 68"/>
                <a:gd name="T81" fmla="*/ 44 h 58"/>
                <a:gd name="T82" fmla="*/ 34 w 68"/>
                <a:gd name="T83" fmla="*/ 56 h 58"/>
                <a:gd name="T84" fmla="*/ 34 w 68"/>
                <a:gd name="T85" fmla="*/ 58 h 58"/>
                <a:gd name="T86" fmla="*/ 36 w 68"/>
                <a:gd name="T87" fmla="*/ 58 h 58"/>
                <a:gd name="T88" fmla="*/ 52 w 68"/>
                <a:gd name="T89" fmla="*/ 56 h 58"/>
                <a:gd name="T90" fmla="*/ 54 w 68"/>
                <a:gd name="T91" fmla="*/ 54 h 58"/>
                <a:gd name="T92" fmla="*/ 56 w 68"/>
                <a:gd name="T93" fmla="*/ 52 h 58"/>
                <a:gd name="T94" fmla="*/ 54 w 68"/>
                <a:gd name="T95" fmla="*/ 42 h 58"/>
                <a:gd name="T96" fmla="*/ 56 w 68"/>
                <a:gd name="T97" fmla="*/ 44 h 58"/>
                <a:gd name="T98" fmla="*/ 58 w 68"/>
                <a:gd name="T99" fmla="*/ 46 h 58"/>
                <a:gd name="T100" fmla="*/ 60 w 68"/>
                <a:gd name="T101" fmla="*/ 44 h 58"/>
                <a:gd name="T102" fmla="*/ 66 w 68"/>
                <a:gd name="T103" fmla="*/ 44 h 58"/>
                <a:gd name="T104" fmla="*/ 68 w 68"/>
                <a:gd name="T105" fmla="*/ 40 h 58"/>
                <a:gd name="T106" fmla="*/ 68 w 68"/>
                <a:gd name="T107" fmla="*/ 28 h 58"/>
                <a:gd name="T108" fmla="*/ 68 w 68"/>
                <a:gd name="T109" fmla="*/ 16 h 58"/>
                <a:gd name="T110" fmla="*/ 66 w 68"/>
                <a:gd name="T111" fmla="*/ 14 h 58"/>
                <a:gd name="T112" fmla="*/ 64 w 68"/>
                <a:gd name="T113" fmla="*/ 8 h 58"/>
                <a:gd name="T114" fmla="*/ 58 w 68"/>
                <a:gd name="T115" fmla="*/ 2 h 58"/>
                <a:gd name="T116" fmla="*/ 54 w 68"/>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58">
                  <a:moveTo>
                    <a:pt x="54" y="4"/>
                  </a:moveTo>
                  <a:lnTo>
                    <a:pt x="60" y="10"/>
                  </a:lnTo>
                  <a:lnTo>
                    <a:pt x="64" y="16"/>
                  </a:lnTo>
                  <a:lnTo>
                    <a:pt x="64" y="28"/>
                  </a:lnTo>
                  <a:lnTo>
                    <a:pt x="64" y="40"/>
                  </a:lnTo>
                  <a:lnTo>
                    <a:pt x="58" y="42"/>
                  </a:lnTo>
                  <a:lnTo>
                    <a:pt x="56" y="34"/>
                  </a:lnTo>
                  <a:lnTo>
                    <a:pt x="52" y="40"/>
                  </a:lnTo>
                  <a:lnTo>
                    <a:pt x="48" y="42"/>
                  </a:lnTo>
                  <a:lnTo>
                    <a:pt x="52" y="52"/>
                  </a:lnTo>
                  <a:lnTo>
                    <a:pt x="36" y="54"/>
                  </a:lnTo>
                  <a:lnTo>
                    <a:pt x="32" y="44"/>
                  </a:lnTo>
                  <a:lnTo>
                    <a:pt x="32" y="36"/>
                  </a:lnTo>
                  <a:lnTo>
                    <a:pt x="36" y="34"/>
                  </a:lnTo>
                  <a:lnTo>
                    <a:pt x="30" y="30"/>
                  </a:lnTo>
                  <a:lnTo>
                    <a:pt x="24" y="30"/>
                  </a:lnTo>
                  <a:lnTo>
                    <a:pt x="18" y="32"/>
                  </a:lnTo>
                  <a:lnTo>
                    <a:pt x="14" y="34"/>
                  </a:lnTo>
                  <a:lnTo>
                    <a:pt x="10" y="42"/>
                  </a:lnTo>
                  <a:lnTo>
                    <a:pt x="6" y="46"/>
                  </a:lnTo>
                  <a:lnTo>
                    <a:pt x="4" y="36"/>
                  </a:lnTo>
                  <a:lnTo>
                    <a:pt x="6" y="28"/>
                  </a:lnTo>
                  <a:lnTo>
                    <a:pt x="14" y="24"/>
                  </a:lnTo>
                  <a:lnTo>
                    <a:pt x="22" y="20"/>
                  </a:lnTo>
                  <a:lnTo>
                    <a:pt x="24" y="16"/>
                  </a:lnTo>
                  <a:lnTo>
                    <a:pt x="30" y="22"/>
                  </a:lnTo>
                  <a:lnTo>
                    <a:pt x="34" y="24"/>
                  </a:lnTo>
                  <a:lnTo>
                    <a:pt x="38" y="20"/>
                  </a:lnTo>
                  <a:lnTo>
                    <a:pt x="44" y="10"/>
                  </a:lnTo>
                  <a:lnTo>
                    <a:pt x="48" y="12"/>
                  </a:lnTo>
                  <a:lnTo>
                    <a:pt x="52" y="12"/>
                  </a:lnTo>
                  <a:lnTo>
                    <a:pt x="52" y="8"/>
                  </a:lnTo>
                  <a:lnTo>
                    <a:pt x="54" y="4"/>
                  </a:lnTo>
                  <a:close/>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5" name="Freeform 1043"/>
            <p:cNvSpPr>
              <a:spLocks/>
            </p:cNvSpPr>
            <p:nvPr/>
          </p:nvSpPr>
          <p:spPr bwMode="auto">
            <a:xfrm>
              <a:off x="4561" y="2387"/>
              <a:ext cx="60" cy="50"/>
            </a:xfrm>
            <a:custGeom>
              <a:avLst/>
              <a:gdLst>
                <a:gd name="T0" fmla="*/ 50 w 60"/>
                <a:gd name="T1" fmla="*/ 0 h 50"/>
                <a:gd name="T2" fmla="*/ 56 w 60"/>
                <a:gd name="T3" fmla="*/ 6 h 50"/>
                <a:gd name="T4" fmla="*/ 60 w 60"/>
                <a:gd name="T5" fmla="*/ 12 h 50"/>
                <a:gd name="T6" fmla="*/ 60 w 60"/>
                <a:gd name="T7" fmla="*/ 24 h 50"/>
                <a:gd name="T8" fmla="*/ 60 w 60"/>
                <a:gd name="T9" fmla="*/ 36 h 50"/>
                <a:gd name="T10" fmla="*/ 54 w 60"/>
                <a:gd name="T11" fmla="*/ 38 h 50"/>
                <a:gd name="T12" fmla="*/ 52 w 60"/>
                <a:gd name="T13" fmla="*/ 30 h 50"/>
                <a:gd name="T14" fmla="*/ 48 w 60"/>
                <a:gd name="T15" fmla="*/ 36 h 50"/>
                <a:gd name="T16" fmla="*/ 44 w 60"/>
                <a:gd name="T17" fmla="*/ 38 h 50"/>
                <a:gd name="T18" fmla="*/ 48 w 60"/>
                <a:gd name="T19" fmla="*/ 48 h 50"/>
                <a:gd name="T20" fmla="*/ 32 w 60"/>
                <a:gd name="T21" fmla="*/ 50 h 50"/>
                <a:gd name="T22" fmla="*/ 28 w 60"/>
                <a:gd name="T23" fmla="*/ 40 h 50"/>
                <a:gd name="T24" fmla="*/ 28 w 60"/>
                <a:gd name="T25" fmla="*/ 32 h 50"/>
                <a:gd name="T26" fmla="*/ 32 w 60"/>
                <a:gd name="T27" fmla="*/ 30 h 50"/>
                <a:gd name="T28" fmla="*/ 26 w 60"/>
                <a:gd name="T29" fmla="*/ 26 h 50"/>
                <a:gd name="T30" fmla="*/ 20 w 60"/>
                <a:gd name="T31" fmla="*/ 26 h 50"/>
                <a:gd name="T32" fmla="*/ 14 w 60"/>
                <a:gd name="T33" fmla="*/ 28 h 50"/>
                <a:gd name="T34" fmla="*/ 10 w 60"/>
                <a:gd name="T35" fmla="*/ 30 h 50"/>
                <a:gd name="T36" fmla="*/ 6 w 60"/>
                <a:gd name="T37" fmla="*/ 38 h 50"/>
                <a:gd name="T38" fmla="*/ 2 w 60"/>
                <a:gd name="T39" fmla="*/ 42 h 50"/>
                <a:gd name="T40" fmla="*/ 0 w 60"/>
                <a:gd name="T41" fmla="*/ 32 h 50"/>
                <a:gd name="T42" fmla="*/ 2 w 60"/>
                <a:gd name="T43" fmla="*/ 24 h 50"/>
                <a:gd name="T44" fmla="*/ 10 w 60"/>
                <a:gd name="T45" fmla="*/ 20 h 50"/>
                <a:gd name="T46" fmla="*/ 18 w 60"/>
                <a:gd name="T47" fmla="*/ 16 h 50"/>
                <a:gd name="T48" fmla="*/ 20 w 60"/>
                <a:gd name="T49" fmla="*/ 12 h 50"/>
                <a:gd name="T50" fmla="*/ 26 w 60"/>
                <a:gd name="T51" fmla="*/ 18 h 50"/>
                <a:gd name="T52" fmla="*/ 30 w 60"/>
                <a:gd name="T53" fmla="*/ 20 h 50"/>
                <a:gd name="T54" fmla="*/ 34 w 60"/>
                <a:gd name="T55" fmla="*/ 16 h 50"/>
                <a:gd name="T56" fmla="*/ 40 w 60"/>
                <a:gd name="T57" fmla="*/ 6 h 50"/>
                <a:gd name="T58" fmla="*/ 44 w 60"/>
                <a:gd name="T59" fmla="*/ 8 h 50"/>
                <a:gd name="T60" fmla="*/ 48 w 60"/>
                <a:gd name="T61" fmla="*/ 8 h 50"/>
                <a:gd name="T62" fmla="*/ 48 w 60"/>
                <a:gd name="T63" fmla="*/ 4 h 50"/>
                <a:gd name="T64" fmla="*/ 50 w 60"/>
                <a:gd name="T6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50">
                  <a:moveTo>
                    <a:pt x="50" y="0"/>
                  </a:moveTo>
                  <a:lnTo>
                    <a:pt x="56" y="6"/>
                  </a:lnTo>
                  <a:lnTo>
                    <a:pt x="60" y="12"/>
                  </a:lnTo>
                  <a:lnTo>
                    <a:pt x="60" y="24"/>
                  </a:lnTo>
                  <a:lnTo>
                    <a:pt x="60" y="36"/>
                  </a:lnTo>
                  <a:lnTo>
                    <a:pt x="54" y="38"/>
                  </a:lnTo>
                  <a:lnTo>
                    <a:pt x="52" y="30"/>
                  </a:lnTo>
                  <a:lnTo>
                    <a:pt x="48" y="36"/>
                  </a:lnTo>
                  <a:lnTo>
                    <a:pt x="44" y="38"/>
                  </a:lnTo>
                  <a:lnTo>
                    <a:pt x="48" y="48"/>
                  </a:lnTo>
                  <a:lnTo>
                    <a:pt x="32" y="50"/>
                  </a:lnTo>
                  <a:lnTo>
                    <a:pt x="28" y="40"/>
                  </a:lnTo>
                  <a:lnTo>
                    <a:pt x="28" y="32"/>
                  </a:lnTo>
                  <a:lnTo>
                    <a:pt x="32" y="30"/>
                  </a:lnTo>
                  <a:lnTo>
                    <a:pt x="26" y="26"/>
                  </a:lnTo>
                  <a:lnTo>
                    <a:pt x="20" y="26"/>
                  </a:lnTo>
                  <a:lnTo>
                    <a:pt x="14" y="28"/>
                  </a:lnTo>
                  <a:lnTo>
                    <a:pt x="10" y="30"/>
                  </a:lnTo>
                  <a:lnTo>
                    <a:pt x="6" y="38"/>
                  </a:lnTo>
                  <a:lnTo>
                    <a:pt x="2" y="42"/>
                  </a:lnTo>
                  <a:lnTo>
                    <a:pt x="0" y="32"/>
                  </a:lnTo>
                  <a:lnTo>
                    <a:pt x="2" y="24"/>
                  </a:lnTo>
                  <a:lnTo>
                    <a:pt x="10" y="20"/>
                  </a:lnTo>
                  <a:lnTo>
                    <a:pt x="18" y="16"/>
                  </a:lnTo>
                  <a:lnTo>
                    <a:pt x="20" y="12"/>
                  </a:lnTo>
                  <a:lnTo>
                    <a:pt x="26" y="18"/>
                  </a:lnTo>
                  <a:lnTo>
                    <a:pt x="30" y="20"/>
                  </a:lnTo>
                  <a:lnTo>
                    <a:pt x="34" y="16"/>
                  </a:lnTo>
                  <a:lnTo>
                    <a:pt x="40" y="6"/>
                  </a:lnTo>
                  <a:lnTo>
                    <a:pt x="44" y="8"/>
                  </a:lnTo>
                  <a:lnTo>
                    <a:pt x="48" y="8"/>
                  </a:lnTo>
                  <a:lnTo>
                    <a:pt x="48"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6" name="Freeform 1044"/>
            <p:cNvSpPr>
              <a:spLocks/>
            </p:cNvSpPr>
            <p:nvPr/>
          </p:nvSpPr>
          <p:spPr bwMode="auto">
            <a:xfrm>
              <a:off x="4557" y="2383"/>
              <a:ext cx="68" cy="58"/>
            </a:xfrm>
            <a:custGeom>
              <a:avLst/>
              <a:gdLst>
                <a:gd name="T0" fmla="*/ 54 w 68"/>
                <a:gd name="T1" fmla="*/ 0 h 58"/>
                <a:gd name="T2" fmla="*/ 52 w 68"/>
                <a:gd name="T3" fmla="*/ 2 h 58"/>
                <a:gd name="T4" fmla="*/ 48 w 68"/>
                <a:gd name="T5" fmla="*/ 4 h 58"/>
                <a:gd name="T6" fmla="*/ 48 w 68"/>
                <a:gd name="T7" fmla="*/ 8 h 58"/>
                <a:gd name="T8" fmla="*/ 46 w 68"/>
                <a:gd name="T9" fmla="*/ 8 h 58"/>
                <a:gd name="T10" fmla="*/ 44 w 68"/>
                <a:gd name="T11" fmla="*/ 6 h 58"/>
                <a:gd name="T12" fmla="*/ 36 w 68"/>
                <a:gd name="T13" fmla="*/ 16 h 58"/>
                <a:gd name="T14" fmla="*/ 28 w 68"/>
                <a:gd name="T15" fmla="*/ 14 h 58"/>
                <a:gd name="T16" fmla="*/ 24 w 68"/>
                <a:gd name="T17" fmla="*/ 12 h 58"/>
                <a:gd name="T18" fmla="*/ 24 w 68"/>
                <a:gd name="T19" fmla="*/ 12 h 58"/>
                <a:gd name="T20" fmla="*/ 22 w 68"/>
                <a:gd name="T21" fmla="*/ 14 h 58"/>
                <a:gd name="T22" fmla="*/ 14 w 68"/>
                <a:gd name="T23" fmla="*/ 20 h 58"/>
                <a:gd name="T24" fmla="*/ 6 w 68"/>
                <a:gd name="T25" fmla="*/ 24 h 58"/>
                <a:gd name="T26" fmla="*/ 0 w 68"/>
                <a:gd name="T27" fmla="*/ 34 h 58"/>
                <a:gd name="T28" fmla="*/ 0 w 68"/>
                <a:gd name="T29" fmla="*/ 38 h 58"/>
                <a:gd name="T30" fmla="*/ 2 w 68"/>
                <a:gd name="T31" fmla="*/ 48 h 58"/>
                <a:gd name="T32" fmla="*/ 6 w 68"/>
                <a:gd name="T33" fmla="*/ 50 h 58"/>
                <a:gd name="T34" fmla="*/ 6 w 68"/>
                <a:gd name="T35" fmla="*/ 50 h 58"/>
                <a:gd name="T36" fmla="*/ 10 w 68"/>
                <a:gd name="T37" fmla="*/ 48 h 58"/>
                <a:gd name="T38" fmla="*/ 14 w 68"/>
                <a:gd name="T39" fmla="*/ 44 h 58"/>
                <a:gd name="T40" fmla="*/ 16 w 68"/>
                <a:gd name="T41" fmla="*/ 38 h 58"/>
                <a:gd name="T42" fmla="*/ 24 w 68"/>
                <a:gd name="T43" fmla="*/ 34 h 58"/>
                <a:gd name="T44" fmla="*/ 28 w 68"/>
                <a:gd name="T45" fmla="*/ 34 h 58"/>
                <a:gd name="T46" fmla="*/ 28 w 68"/>
                <a:gd name="T47" fmla="*/ 44 h 58"/>
                <a:gd name="T48" fmla="*/ 28 w 68"/>
                <a:gd name="T49" fmla="*/ 46 h 58"/>
                <a:gd name="T50" fmla="*/ 34 w 68"/>
                <a:gd name="T51" fmla="*/ 56 h 58"/>
                <a:gd name="T52" fmla="*/ 36 w 68"/>
                <a:gd name="T53" fmla="*/ 58 h 58"/>
                <a:gd name="T54" fmla="*/ 38 w 68"/>
                <a:gd name="T55" fmla="*/ 58 h 58"/>
                <a:gd name="T56" fmla="*/ 52 w 68"/>
                <a:gd name="T57" fmla="*/ 56 h 58"/>
                <a:gd name="T58" fmla="*/ 54 w 68"/>
                <a:gd name="T59" fmla="*/ 54 h 58"/>
                <a:gd name="T60" fmla="*/ 52 w 68"/>
                <a:gd name="T61" fmla="*/ 44 h 58"/>
                <a:gd name="T62" fmla="*/ 54 w 68"/>
                <a:gd name="T63" fmla="*/ 42 h 58"/>
                <a:gd name="T64" fmla="*/ 56 w 68"/>
                <a:gd name="T65" fmla="*/ 44 h 58"/>
                <a:gd name="T66" fmla="*/ 58 w 68"/>
                <a:gd name="T67" fmla="*/ 46 h 58"/>
                <a:gd name="T68" fmla="*/ 66 w 68"/>
                <a:gd name="T69" fmla="*/ 44 h 58"/>
                <a:gd name="T70" fmla="*/ 68 w 68"/>
                <a:gd name="T71" fmla="*/ 42 h 58"/>
                <a:gd name="T72" fmla="*/ 68 w 68"/>
                <a:gd name="T73" fmla="*/ 28 h 58"/>
                <a:gd name="T74" fmla="*/ 68 w 68"/>
                <a:gd name="T75" fmla="*/ 28 h 58"/>
                <a:gd name="T76" fmla="*/ 68 w 68"/>
                <a:gd name="T77" fmla="*/ 16 h 58"/>
                <a:gd name="T78" fmla="*/ 64 w 68"/>
                <a:gd name="T79" fmla="*/ 8 h 58"/>
                <a:gd name="T80" fmla="*/ 62 w 68"/>
                <a:gd name="T81" fmla="*/ 6 h 58"/>
                <a:gd name="T82" fmla="*/ 58 w 68"/>
                <a:gd name="T83" fmla="*/ 2 h 58"/>
                <a:gd name="T84" fmla="*/ 54 w 6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8">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7" name="Freeform 1045"/>
            <p:cNvSpPr>
              <a:spLocks/>
            </p:cNvSpPr>
            <p:nvPr/>
          </p:nvSpPr>
          <p:spPr bwMode="auto">
            <a:xfrm>
              <a:off x="4593" y="2341"/>
              <a:ext cx="20" cy="26"/>
            </a:xfrm>
            <a:custGeom>
              <a:avLst/>
              <a:gdLst>
                <a:gd name="T0" fmla="*/ 18 w 20"/>
                <a:gd name="T1" fmla="*/ 26 h 26"/>
                <a:gd name="T2" fmla="*/ 18 w 20"/>
                <a:gd name="T3" fmla="*/ 26 h 26"/>
                <a:gd name="T4" fmla="*/ 16 w 20"/>
                <a:gd name="T5" fmla="*/ 26 h 26"/>
                <a:gd name="T6" fmla="*/ 10 w 20"/>
                <a:gd name="T7" fmla="*/ 22 h 26"/>
                <a:gd name="T8" fmla="*/ 4 w 20"/>
                <a:gd name="T9" fmla="*/ 14 h 26"/>
                <a:gd name="T10" fmla="*/ 0 w 20"/>
                <a:gd name="T11" fmla="*/ 6 h 26"/>
                <a:gd name="T12" fmla="*/ 0 w 20"/>
                <a:gd name="T13" fmla="*/ 6 h 26"/>
                <a:gd name="T14" fmla="*/ 0 w 20"/>
                <a:gd name="T15" fmla="*/ 4 h 26"/>
                <a:gd name="T16" fmla="*/ 0 w 20"/>
                <a:gd name="T17" fmla="*/ 4 h 26"/>
                <a:gd name="T18" fmla="*/ 0 w 20"/>
                <a:gd name="T19" fmla="*/ 4 h 26"/>
                <a:gd name="T20" fmla="*/ 12 w 20"/>
                <a:gd name="T21" fmla="*/ 0 h 26"/>
                <a:gd name="T22" fmla="*/ 12 w 20"/>
                <a:gd name="T23" fmla="*/ 0 h 26"/>
                <a:gd name="T24" fmla="*/ 12 w 20"/>
                <a:gd name="T25" fmla="*/ 0 h 26"/>
                <a:gd name="T26" fmla="*/ 12 w 20"/>
                <a:gd name="T27" fmla="*/ 0 h 26"/>
                <a:gd name="T28" fmla="*/ 12 w 20"/>
                <a:gd name="T29" fmla="*/ 0 h 26"/>
                <a:gd name="T30" fmla="*/ 18 w 20"/>
                <a:gd name="T31" fmla="*/ 2 h 26"/>
                <a:gd name="T32" fmla="*/ 18 w 20"/>
                <a:gd name="T33" fmla="*/ 2 h 26"/>
                <a:gd name="T34" fmla="*/ 20 w 20"/>
                <a:gd name="T35" fmla="*/ 4 h 26"/>
                <a:gd name="T36" fmla="*/ 20 w 20"/>
                <a:gd name="T37" fmla="*/ 24 h 26"/>
                <a:gd name="T38" fmla="*/ 20 w 20"/>
                <a:gd name="T39" fmla="*/ 24 h 26"/>
                <a:gd name="T40" fmla="*/ 18 w 20"/>
                <a:gd name="T41" fmla="*/ 26 h 26"/>
                <a:gd name="T42" fmla="*/ 18 w 20"/>
                <a:gd name="T43" fmla="*/ 26 h 26"/>
                <a:gd name="T44" fmla="*/ 18 w 20"/>
                <a:gd name="T45" fmla="*/ 26 h 26"/>
                <a:gd name="T46" fmla="*/ 18 w 2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6">
                  <a:moveTo>
                    <a:pt x="18" y="26"/>
                  </a:moveTo>
                  <a:lnTo>
                    <a:pt x="18" y="26"/>
                  </a:lnTo>
                  <a:lnTo>
                    <a:pt x="16" y="26"/>
                  </a:lnTo>
                  <a:lnTo>
                    <a:pt x="10" y="22"/>
                  </a:lnTo>
                  <a:lnTo>
                    <a:pt x="4" y="14"/>
                  </a:lnTo>
                  <a:lnTo>
                    <a:pt x="0" y="6"/>
                  </a:lnTo>
                  <a:lnTo>
                    <a:pt x="0" y="6"/>
                  </a:lnTo>
                  <a:lnTo>
                    <a:pt x="0" y="4"/>
                  </a:lnTo>
                  <a:lnTo>
                    <a:pt x="0" y="4"/>
                  </a:lnTo>
                  <a:lnTo>
                    <a:pt x="0" y="4"/>
                  </a:lnTo>
                  <a:lnTo>
                    <a:pt x="12" y="0"/>
                  </a:lnTo>
                  <a:lnTo>
                    <a:pt x="12" y="0"/>
                  </a:lnTo>
                  <a:lnTo>
                    <a:pt x="12" y="0"/>
                  </a:lnTo>
                  <a:lnTo>
                    <a:pt x="12" y="0"/>
                  </a:lnTo>
                  <a:lnTo>
                    <a:pt x="12" y="0"/>
                  </a:lnTo>
                  <a:lnTo>
                    <a:pt x="18" y="2"/>
                  </a:lnTo>
                  <a:lnTo>
                    <a:pt x="18" y="2"/>
                  </a:lnTo>
                  <a:lnTo>
                    <a:pt x="20" y="4"/>
                  </a:lnTo>
                  <a:lnTo>
                    <a:pt x="20" y="24"/>
                  </a:lnTo>
                  <a:lnTo>
                    <a:pt x="20" y="24"/>
                  </a:lnTo>
                  <a:lnTo>
                    <a:pt x="18" y="26"/>
                  </a:lnTo>
                  <a:lnTo>
                    <a:pt x="18"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8" name="Freeform 1046"/>
            <p:cNvSpPr>
              <a:spLocks noEditPoints="1"/>
            </p:cNvSpPr>
            <p:nvPr/>
          </p:nvSpPr>
          <p:spPr bwMode="auto">
            <a:xfrm>
              <a:off x="4591" y="2339"/>
              <a:ext cx="24" cy="30"/>
            </a:xfrm>
            <a:custGeom>
              <a:avLst/>
              <a:gdLst>
                <a:gd name="T0" fmla="*/ 14 w 24"/>
                <a:gd name="T1" fmla="*/ 4 h 30"/>
                <a:gd name="T2" fmla="*/ 20 w 24"/>
                <a:gd name="T3" fmla="*/ 6 h 30"/>
                <a:gd name="T4" fmla="*/ 20 w 24"/>
                <a:gd name="T5" fmla="*/ 20 h 30"/>
                <a:gd name="T6" fmla="*/ 20 w 24"/>
                <a:gd name="T7" fmla="*/ 26 h 30"/>
                <a:gd name="T8" fmla="*/ 12 w 24"/>
                <a:gd name="T9" fmla="*/ 22 h 30"/>
                <a:gd name="T10" fmla="*/ 6 w 24"/>
                <a:gd name="T11" fmla="*/ 16 h 30"/>
                <a:gd name="T12" fmla="*/ 2 w 24"/>
                <a:gd name="T13" fmla="*/ 8 h 30"/>
                <a:gd name="T14" fmla="*/ 14 w 24"/>
                <a:gd name="T15" fmla="*/ 4 h 30"/>
                <a:gd name="T16" fmla="*/ 14 w 24"/>
                <a:gd name="T17" fmla="*/ 0 h 30"/>
                <a:gd name="T18" fmla="*/ 14 w 24"/>
                <a:gd name="T19" fmla="*/ 0 h 30"/>
                <a:gd name="T20" fmla="*/ 12 w 24"/>
                <a:gd name="T21" fmla="*/ 0 h 30"/>
                <a:gd name="T22" fmla="*/ 2 w 24"/>
                <a:gd name="T23" fmla="*/ 4 h 30"/>
                <a:gd name="T24" fmla="*/ 2 w 24"/>
                <a:gd name="T25" fmla="*/ 4 h 30"/>
                <a:gd name="T26" fmla="*/ 0 w 24"/>
                <a:gd name="T27" fmla="*/ 6 h 30"/>
                <a:gd name="T28" fmla="*/ 0 w 24"/>
                <a:gd name="T29" fmla="*/ 6 h 30"/>
                <a:gd name="T30" fmla="*/ 0 w 24"/>
                <a:gd name="T31" fmla="*/ 8 h 30"/>
                <a:gd name="T32" fmla="*/ 2 w 24"/>
                <a:gd name="T33" fmla="*/ 18 h 30"/>
                <a:gd name="T34" fmla="*/ 2 w 24"/>
                <a:gd name="T35" fmla="*/ 18 h 30"/>
                <a:gd name="T36" fmla="*/ 4 w 24"/>
                <a:gd name="T37" fmla="*/ 18 h 30"/>
                <a:gd name="T38" fmla="*/ 10 w 24"/>
                <a:gd name="T39" fmla="*/ 24 h 30"/>
                <a:gd name="T40" fmla="*/ 10 w 24"/>
                <a:gd name="T41" fmla="*/ 24 h 30"/>
                <a:gd name="T42" fmla="*/ 10 w 24"/>
                <a:gd name="T43" fmla="*/ 24 h 30"/>
                <a:gd name="T44" fmla="*/ 18 w 24"/>
                <a:gd name="T45" fmla="*/ 30 h 30"/>
                <a:gd name="T46" fmla="*/ 18 w 24"/>
                <a:gd name="T47" fmla="*/ 30 h 30"/>
                <a:gd name="T48" fmla="*/ 20 w 24"/>
                <a:gd name="T49" fmla="*/ 30 h 30"/>
                <a:gd name="T50" fmla="*/ 20 w 24"/>
                <a:gd name="T51" fmla="*/ 30 h 30"/>
                <a:gd name="T52" fmla="*/ 22 w 24"/>
                <a:gd name="T53" fmla="*/ 30 h 30"/>
                <a:gd name="T54" fmla="*/ 22 w 24"/>
                <a:gd name="T55" fmla="*/ 30 h 30"/>
                <a:gd name="T56" fmla="*/ 24 w 24"/>
                <a:gd name="T57" fmla="*/ 26 h 30"/>
                <a:gd name="T58" fmla="*/ 24 w 24"/>
                <a:gd name="T59" fmla="*/ 20 h 30"/>
                <a:gd name="T60" fmla="*/ 24 w 24"/>
                <a:gd name="T61" fmla="*/ 6 h 30"/>
                <a:gd name="T62" fmla="*/ 24 w 24"/>
                <a:gd name="T63" fmla="*/ 6 h 30"/>
                <a:gd name="T64" fmla="*/ 22 w 24"/>
                <a:gd name="T65" fmla="*/ 2 h 30"/>
                <a:gd name="T66" fmla="*/ 22 w 24"/>
                <a:gd name="T67" fmla="*/ 2 h 30"/>
                <a:gd name="T68" fmla="*/ 16 w 24"/>
                <a:gd name="T69" fmla="*/ 0 h 30"/>
                <a:gd name="T70" fmla="*/ 16 w 24"/>
                <a:gd name="T71" fmla="*/ 0 h 30"/>
                <a:gd name="T72" fmla="*/ 14 w 24"/>
                <a:gd name="T73" fmla="*/ 0 h 30"/>
                <a:gd name="T74" fmla="*/ 14 w 24"/>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30">
                  <a:moveTo>
                    <a:pt x="14" y="4"/>
                  </a:moveTo>
                  <a:lnTo>
                    <a:pt x="20" y="6"/>
                  </a:lnTo>
                  <a:lnTo>
                    <a:pt x="20" y="20"/>
                  </a:lnTo>
                  <a:lnTo>
                    <a:pt x="20" y="26"/>
                  </a:lnTo>
                  <a:lnTo>
                    <a:pt x="12" y="22"/>
                  </a:lnTo>
                  <a:lnTo>
                    <a:pt x="6" y="16"/>
                  </a:lnTo>
                  <a:lnTo>
                    <a:pt x="2" y="8"/>
                  </a:lnTo>
                  <a:lnTo>
                    <a:pt x="14" y="4"/>
                  </a:lnTo>
                  <a:close/>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9" name="Freeform 1047"/>
            <p:cNvSpPr>
              <a:spLocks/>
            </p:cNvSpPr>
            <p:nvPr/>
          </p:nvSpPr>
          <p:spPr bwMode="auto">
            <a:xfrm>
              <a:off x="4593" y="2343"/>
              <a:ext cx="18" cy="22"/>
            </a:xfrm>
            <a:custGeom>
              <a:avLst/>
              <a:gdLst>
                <a:gd name="T0" fmla="*/ 12 w 18"/>
                <a:gd name="T1" fmla="*/ 0 h 22"/>
                <a:gd name="T2" fmla="*/ 18 w 18"/>
                <a:gd name="T3" fmla="*/ 2 h 22"/>
                <a:gd name="T4" fmla="*/ 18 w 18"/>
                <a:gd name="T5" fmla="*/ 16 h 22"/>
                <a:gd name="T6" fmla="*/ 18 w 18"/>
                <a:gd name="T7" fmla="*/ 22 h 22"/>
                <a:gd name="T8" fmla="*/ 10 w 18"/>
                <a:gd name="T9" fmla="*/ 18 h 22"/>
                <a:gd name="T10" fmla="*/ 4 w 18"/>
                <a:gd name="T11" fmla="*/ 12 h 22"/>
                <a:gd name="T12" fmla="*/ 0 w 18"/>
                <a:gd name="T13" fmla="*/ 4 h 22"/>
                <a:gd name="T14" fmla="*/ 12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12" y="0"/>
                  </a:moveTo>
                  <a:lnTo>
                    <a:pt x="18" y="2"/>
                  </a:lnTo>
                  <a:lnTo>
                    <a:pt x="18" y="16"/>
                  </a:lnTo>
                  <a:lnTo>
                    <a:pt x="18" y="22"/>
                  </a:lnTo>
                  <a:lnTo>
                    <a:pt x="10" y="18"/>
                  </a:lnTo>
                  <a:lnTo>
                    <a:pt x="4"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0" name="Freeform 1048"/>
            <p:cNvSpPr>
              <a:spLocks/>
            </p:cNvSpPr>
            <p:nvPr/>
          </p:nvSpPr>
          <p:spPr bwMode="auto">
            <a:xfrm>
              <a:off x="4591" y="2339"/>
              <a:ext cx="24" cy="30"/>
            </a:xfrm>
            <a:custGeom>
              <a:avLst/>
              <a:gdLst>
                <a:gd name="T0" fmla="*/ 14 w 24"/>
                <a:gd name="T1" fmla="*/ 0 h 30"/>
                <a:gd name="T2" fmla="*/ 14 w 24"/>
                <a:gd name="T3" fmla="*/ 0 h 30"/>
                <a:gd name="T4" fmla="*/ 12 w 24"/>
                <a:gd name="T5" fmla="*/ 0 h 30"/>
                <a:gd name="T6" fmla="*/ 2 w 24"/>
                <a:gd name="T7" fmla="*/ 4 h 30"/>
                <a:gd name="T8" fmla="*/ 2 w 24"/>
                <a:gd name="T9" fmla="*/ 4 h 30"/>
                <a:gd name="T10" fmla="*/ 0 w 24"/>
                <a:gd name="T11" fmla="*/ 6 h 30"/>
                <a:gd name="T12" fmla="*/ 0 w 24"/>
                <a:gd name="T13" fmla="*/ 6 h 30"/>
                <a:gd name="T14" fmla="*/ 0 w 24"/>
                <a:gd name="T15" fmla="*/ 8 h 30"/>
                <a:gd name="T16" fmla="*/ 2 w 24"/>
                <a:gd name="T17" fmla="*/ 18 h 30"/>
                <a:gd name="T18" fmla="*/ 2 w 24"/>
                <a:gd name="T19" fmla="*/ 18 h 30"/>
                <a:gd name="T20" fmla="*/ 4 w 24"/>
                <a:gd name="T21" fmla="*/ 18 h 30"/>
                <a:gd name="T22" fmla="*/ 10 w 24"/>
                <a:gd name="T23" fmla="*/ 24 h 30"/>
                <a:gd name="T24" fmla="*/ 10 w 24"/>
                <a:gd name="T25" fmla="*/ 24 h 30"/>
                <a:gd name="T26" fmla="*/ 10 w 24"/>
                <a:gd name="T27" fmla="*/ 24 h 30"/>
                <a:gd name="T28" fmla="*/ 18 w 24"/>
                <a:gd name="T29" fmla="*/ 30 h 30"/>
                <a:gd name="T30" fmla="*/ 18 w 24"/>
                <a:gd name="T31" fmla="*/ 30 h 30"/>
                <a:gd name="T32" fmla="*/ 20 w 24"/>
                <a:gd name="T33" fmla="*/ 30 h 30"/>
                <a:gd name="T34" fmla="*/ 20 w 24"/>
                <a:gd name="T35" fmla="*/ 30 h 30"/>
                <a:gd name="T36" fmla="*/ 22 w 24"/>
                <a:gd name="T37" fmla="*/ 30 h 30"/>
                <a:gd name="T38" fmla="*/ 22 w 24"/>
                <a:gd name="T39" fmla="*/ 30 h 30"/>
                <a:gd name="T40" fmla="*/ 24 w 24"/>
                <a:gd name="T41" fmla="*/ 26 h 30"/>
                <a:gd name="T42" fmla="*/ 24 w 24"/>
                <a:gd name="T43" fmla="*/ 20 h 30"/>
                <a:gd name="T44" fmla="*/ 24 w 24"/>
                <a:gd name="T45" fmla="*/ 6 h 30"/>
                <a:gd name="T46" fmla="*/ 24 w 24"/>
                <a:gd name="T47" fmla="*/ 6 h 30"/>
                <a:gd name="T48" fmla="*/ 22 w 24"/>
                <a:gd name="T49" fmla="*/ 2 h 30"/>
                <a:gd name="T50" fmla="*/ 22 w 24"/>
                <a:gd name="T51" fmla="*/ 2 h 30"/>
                <a:gd name="T52" fmla="*/ 16 w 24"/>
                <a:gd name="T53" fmla="*/ 0 h 30"/>
                <a:gd name="T54" fmla="*/ 16 w 24"/>
                <a:gd name="T55" fmla="*/ 0 h 30"/>
                <a:gd name="T56" fmla="*/ 14 w 24"/>
                <a:gd name="T57" fmla="*/ 0 h 30"/>
                <a:gd name="T58" fmla="*/ 14 w 24"/>
                <a:gd name="T5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0">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1" name="Freeform 1049"/>
            <p:cNvSpPr>
              <a:spLocks/>
            </p:cNvSpPr>
            <p:nvPr/>
          </p:nvSpPr>
          <p:spPr bwMode="auto">
            <a:xfrm>
              <a:off x="4537" y="2329"/>
              <a:ext cx="20" cy="26"/>
            </a:xfrm>
            <a:custGeom>
              <a:avLst/>
              <a:gdLst>
                <a:gd name="T0" fmla="*/ 12 w 20"/>
                <a:gd name="T1" fmla="*/ 26 h 26"/>
                <a:gd name="T2" fmla="*/ 12 w 20"/>
                <a:gd name="T3" fmla="*/ 26 h 26"/>
                <a:gd name="T4" fmla="*/ 10 w 20"/>
                <a:gd name="T5" fmla="*/ 26 h 26"/>
                <a:gd name="T6" fmla="*/ 4 w 20"/>
                <a:gd name="T7" fmla="*/ 12 h 26"/>
                <a:gd name="T8" fmla="*/ 2 w 20"/>
                <a:gd name="T9" fmla="*/ 8 h 26"/>
                <a:gd name="T10" fmla="*/ 2 w 20"/>
                <a:gd name="T11" fmla="*/ 8 h 26"/>
                <a:gd name="T12" fmla="*/ 0 w 20"/>
                <a:gd name="T13" fmla="*/ 8 h 26"/>
                <a:gd name="T14" fmla="*/ 0 w 20"/>
                <a:gd name="T15" fmla="*/ 2 h 26"/>
                <a:gd name="T16" fmla="*/ 0 w 20"/>
                <a:gd name="T17" fmla="*/ 2 h 26"/>
                <a:gd name="T18" fmla="*/ 0 w 20"/>
                <a:gd name="T19" fmla="*/ 0 h 26"/>
                <a:gd name="T20" fmla="*/ 0 w 20"/>
                <a:gd name="T21" fmla="*/ 0 h 26"/>
                <a:gd name="T22" fmla="*/ 0 w 20"/>
                <a:gd name="T23" fmla="*/ 0 h 26"/>
                <a:gd name="T24" fmla="*/ 0 w 20"/>
                <a:gd name="T25" fmla="*/ 0 h 26"/>
                <a:gd name="T26" fmla="*/ 2 w 20"/>
                <a:gd name="T27" fmla="*/ 0 h 26"/>
                <a:gd name="T28" fmla="*/ 10 w 20"/>
                <a:gd name="T29" fmla="*/ 2 h 26"/>
                <a:gd name="T30" fmla="*/ 10 w 20"/>
                <a:gd name="T31" fmla="*/ 2 h 26"/>
                <a:gd name="T32" fmla="*/ 10 w 20"/>
                <a:gd name="T33" fmla="*/ 2 h 26"/>
                <a:gd name="T34" fmla="*/ 20 w 20"/>
                <a:gd name="T35" fmla="*/ 10 h 26"/>
                <a:gd name="T36" fmla="*/ 20 w 20"/>
                <a:gd name="T37" fmla="*/ 10 h 26"/>
                <a:gd name="T38" fmla="*/ 20 w 20"/>
                <a:gd name="T39" fmla="*/ 12 h 26"/>
                <a:gd name="T40" fmla="*/ 18 w 20"/>
                <a:gd name="T41" fmla="*/ 22 h 26"/>
                <a:gd name="T42" fmla="*/ 18 w 20"/>
                <a:gd name="T43" fmla="*/ 22 h 26"/>
                <a:gd name="T44" fmla="*/ 16 w 20"/>
                <a:gd name="T45" fmla="*/ 24 h 26"/>
                <a:gd name="T46" fmla="*/ 12 w 20"/>
                <a:gd name="T47" fmla="*/ 26 h 26"/>
                <a:gd name="T48" fmla="*/ 12 w 20"/>
                <a:gd name="T49" fmla="*/ 26 h 26"/>
                <a:gd name="T50" fmla="*/ 12 w 20"/>
                <a:gd name="T51" fmla="*/ 26 h 26"/>
                <a:gd name="T52" fmla="*/ 12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2" y="26"/>
                  </a:moveTo>
                  <a:lnTo>
                    <a:pt x="12" y="26"/>
                  </a:lnTo>
                  <a:lnTo>
                    <a:pt x="10" y="26"/>
                  </a:lnTo>
                  <a:lnTo>
                    <a:pt x="4" y="12"/>
                  </a:lnTo>
                  <a:lnTo>
                    <a:pt x="2" y="8"/>
                  </a:lnTo>
                  <a:lnTo>
                    <a:pt x="2" y="8"/>
                  </a:lnTo>
                  <a:lnTo>
                    <a:pt x="0" y="8"/>
                  </a:lnTo>
                  <a:lnTo>
                    <a:pt x="0" y="2"/>
                  </a:lnTo>
                  <a:lnTo>
                    <a:pt x="0" y="2"/>
                  </a:lnTo>
                  <a:lnTo>
                    <a:pt x="0" y="0"/>
                  </a:lnTo>
                  <a:lnTo>
                    <a:pt x="0" y="0"/>
                  </a:lnTo>
                  <a:lnTo>
                    <a:pt x="0" y="0"/>
                  </a:lnTo>
                  <a:lnTo>
                    <a:pt x="0" y="0"/>
                  </a:lnTo>
                  <a:lnTo>
                    <a:pt x="2" y="0"/>
                  </a:lnTo>
                  <a:lnTo>
                    <a:pt x="10" y="2"/>
                  </a:lnTo>
                  <a:lnTo>
                    <a:pt x="10" y="2"/>
                  </a:lnTo>
                  <a:lnTo>
                    <a:pt x="10" y="2"/>
                  </a:lnTo>
                  <a:lnTo>
                    <a:pt x="20" y="10"/>
                  </a:lnTo>
                  <a:lnTo>
                    <a:pt x="20" y="10"/>
                  </a:lnTo>
                  <a:lnTo>
                    <a:pt x="20" y="12"/>
                  </a:lnTo>
                  <a:lnTo>
                    <a:pt x="18" y="22"/>
                  </a:lnTo>
                  <a:lnTo>
                    <a:pt x="18" y="22"/>
                  </a:lnTo>
                  <a:lnTo>
                    <a:pt x="16" y="24"/>
                  </a:lnTo>
                  <a:lnTo>
                    <a:pt x="12" y="26"/>
                  </a:lnTo>
                  <a:lnTo>
                    <a:pt x="1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2" name="Freeform 1050"/>
            <p:cNvSpPr>
              <a:spLocks noEditPoints="1"/>
            </p:cNvSpPr>
            <p:nvPr/>
          </p:nvSpPr>
          <p:spPr bwMode="auto">
            <a:xfrm>
              <a:off x="4535" y="2327"/>
              <a:ext cx="24" cy="30"/>
            </a:xfrm>
            <a:custGeom>
              <a:avLst/>
              <a:gdLst>
                <a:gd name="T0" fmla="*/ 2 w 24"/>
                <a:gd name="T1" fmla="*/ 4 h 30"/>
                <a:gd name="T2" fmla="*/ 12 w 24"/>
                <a:gd name="T3" fmla="*/ 6 h 30"/>
                <a:gd name="T4" fmla="*/ 20 w 24"/>
                <a:gd name="T5" fmla="*/ 14 h 30"/>
                <a:gd name="T6" fmla="*/ 18 w 24"/>
                <a:gd name="T7" fmla="*/ 24 h 30"/>
                <a:gd name="T8" fmla="*/ 14 w 24"/>
                <a:gd name="T9" fmla="*/ 26 h 30"/>
                <a:gd name="T10" fmla="*/ 8 w 24"/>
                <a:gd name="T11" fmla="*/ 14 h 30"/>
                <a:gd name="T12" fmla="*/ 4 w 24"/>
                <a:gd name="T13" fmla="*/ 10 h 30"/>
                <a:gd name="T14" fmla="*/ 2 w 24"/>
                <a:gd name="T15" fmla="*/ 4 h 30"/>
                <a:gd name="T16" fmla="*/ 2 w 24"/>
                <a:gd name="T17" fmla="*/ 0 h 30"/>
                <a:gd name="T18" fmla="*/ 2 w 24"/>
                <a:gd name="T19" fmla="*/ 0 h 30"/>
                <a:gd name="T20" fmla="*/ 0 w 24"/>
                <a:gd name="T21" fmla="*/ 2 h 30"/>
                <a:gd name="T22" fmla="*/ 0 w 24"/>
                <a:gd name="T23" fmla="*/ 2 h 30"/>
                <a:gd name="T24" fmla="*/ 0 w 24"/>
                <a:gd name="T25" fmla="*/ 6 h 30"/>
                <a:gd name="T26" fmla="*/ 0 w 24"/>
                <a:gd name="T27" fmla="*/ 10 h 30"/>
                <a:gd name="T28" fmla="*/ 0 w 24"/>
                <a:gd name="T29" fmla="*/ 10 h 30"/>
                <a:gd name="T30" fmla="*/ 2 w 24"/>
                <a:gd name="T31" fmla="*/ 12 h 30"/>
                <a:gd name="T32" fmla="*/ 4 w 24"/>
                <a:gd name="T33" fmla="*/ 16 h 30"/>
                <a:gd name="T34" fmla="*/ 10 w 24"/>
                <a:gd name="T35" fmla="*/ 28 h 30"/>
                <a:gd name="T36" fmla="*/ 10 w 24"/>
                <a:gd name="T37" fmla="*/ 28 h 30"/>
                <a:gd name="T38" fmla="*/ 10 w 24"/>
                <a:gd name="T39" fmla="*/ 30 h 30"/>
                <a:gd name="T40" fmla="*/ 14 w 24"/>
                <a:gd name="T41" fmla="*/ 30 h 30"/>
                <a:gd name="T42" fmla="*/ 14 w 24"/>
                <a:gd name="T43" fmla="*/ 30 h 30"/>
                <a:gd name="T44" fmla="*/ 14 w 24"/>
                <a:gd name="T45" fmla="*/ 30 h 30"/>
                <a:gd name="T46" fmla="*/ 20 w 24"/>
                <a:gd name="T47" fmla="*/ 28 h 30"/>
                <a:gd name="T48" fmla="*/ 20 w 24"/>
                <a:gd name="T49" fmla="*/ 28 h 30"/>
                <a:gd name="T50" fmla="*/ 22 w 24"/>
                <a:gd name="T51" fmla="*/ 26 h 30"/>
                <a:gd name="T52" fmla="*/ 24 w 24"/>
                <a:gd name="T53" fmla="*/ 14 h 30"/>
                <a:gd name="T54" fmla="*/ 24 w 24"/>
                <a:gd name="T55" fmla="*/ 14 h 30"/>
                <a:gd name="T56" fmla="*/ 22 w 24"/>
                <a:gd name="T57" fmla="*/ 10 h 30"/>
                <a:gd name="T58" fmla="*/ 14 w 24"/>
                <a:gd name="T59" fmla="*/ 2 h 30"/>
                <a:gd name="T60" fmla="*/ 14 w 24"/>
                <a:gd name="T61" fmla="*/ 2 h 30"/>
                <a:gd name="T62" fmla="*/ 12 w 24"/>
                <a:gd name="T63" fmla="*/ 2 h 30"/>
                <a:gd name="T64" fmla="*/ 4 w 24"/>
                <a:gd name="T65" fmla="*/ 0 h 30"/>
                <a:gd name="T66" fmla="*/ 4 w 24"/>
                <a:gd name="T67" fmla="*/ 0 h 30"/>
                <a:gd name="T68" fmla="*/ 2 w 24"/>
                <a:gd name="T69" fmla="*/ 0 h 30"/>
                <a:gd name="T70" fmla="*/ 2 w 24"/>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0">
                  <a:moveTo>
                    <a:pt x="2" y="4"/>
                  </a:moveTo>
                  <a:lnTo>
                    <a:pt x="12" y="6"/>
                  </a:lnTo>
                  <a:lnTo>
                    <a:pt x="20" y="14"/>
                  </a:lnTo>
                  <a:lnTo>
                    <a:pt x="18" y="24"/>
                  </a:lnTo>
                  <a:lnTo>
                    <a:pt x="14" y="26"/>
                  </a:lnTo>
                  <a:lnTo>
                    <a:pt x="8" y="14"/>
                  </a:lnTo>
                  <a:lnTo>
                    <a:pt x="4" y="10"/>
                  </a:lnTo>
                  <a:lnTo>
                    <a:pt x="2" y="4"/>
                  </a:lnTo>
                  <a:close/>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3" name="Freeform 1051"/>
            <p:cNvSpPr>
              <a:spLocks/>
            </p:cNvSpPr>
            <p:nvPr/>
          </p:nvSpPr>
          <p:spPr bwMode="auto">
            <a:xfrm>
              <a:off x="4537" y="2331"/>
              <a:ext cx="18" cy="22"/>
            </a:xfrm>
            <a:custGeom>
              <a:avLst/>
              <a:gdLst>
                <a:gd name="T0" fmla="*/ 0 w 18"/>
                <a:gd name="T1" fmla="*/ 0 h 22"/>
                <a:gd name="T2" fmla="*/ 10 w 18"/>
                <a:gd name="T3" fmla="*/ 2 h 22"/>
                <a:gd name="T4" fmla="*/ 18 w 18"/>
                <a:gd name="T5" fmla="*/ 10 h 22"/>
                <a:gd name="T6" fmla="*/ 16 w 18"/>
                <a:gd name="T7" fmla="*/ 20 h 22"/>
                <a:gd name="T8" fmla="*/ 12 w 18"/>
                <a:gd name="T9" fmla="*/ 22 h 22"/>
                <a:gd name="T10" fmla="*/ 6 w 18"/>
                <a:gd name="T11" fmla="*/ 10 h 22"/>
                <a:gd name="T12" fmla="*/ 2 w 18"/>
                <a:gd name="T13" fmla="*/ 6 h 22"/>
                <a:gd name="T14" fmla="*/ 0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0"/>
                  </a:moveTo>
                  <a:lnTo>
                    <a:pt x="10" y="2"/>
                  </a:lnTo>
                  <a:lnTo>
                    <a:pt x="18" y="10"/>
                  </a:lnTo>
                  <a:lnTo>
                    <a:pt x="16" y="20"/>
                  </a:lnTo>
                  <a:lnTo>
                    <a:pt x="12" y="22"/>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4" name="Freeform 1052"/>
            <p:cNvSpPr>
              <a:spLocks/>
            </p:cNvSpPr>
            <p:nvPr/>
          </p:nvSpPr>
          <p:spPr bwMode="auto">
            <a:xfrm>
              <a:off x="4535" y="2327"/>
              <a:ext cx="24" cy="30"/>
            </a:xfrm>
            <a:custGeom>
              <a:avLst/>
              <a:gdLst>
                <a:gd name="T0" fmla="*/ 2 w 24"/>
                <a:gd name="T1" fmla="*/ 0 h 30"/>
                <a:gd name="T2" fmla="*/ 2 w 24"/>
                <a:gd name="T3" fmla="*/ 0 h 30"/>
                <a:gd name="T4" fmla="*/ 0 w 24"/>
                <a:gd name="T5" fmla="*/ 2 h 30"/>
                <a:gd name="T6" fmla="*/ 0 w 24"/>
                <a:gd name="T7" fmla="*/ 2 h 30"/>
                <a:gd name="T8" fmla="*/ 0 w 24"/>
                <a:gd name="T9" fmla="*/ 6 h 30"/>
                <a:gd name="T10" fmla="*/ 0 w 24"/>
                <a:gd name="T11" fmla="*/ 10 h 30"/>
                <a:gd name="T12" fmla="*/ 0 w 24"/>
                <a:gd name="T13" fmla="*/ 10 h 30"/>
                <a:gd name="T14" fmla="*/ 2 w 24"/>
                <a:gd name="T15" fmla="*/ 12 h 30"/>
                <a:gd name="T16" fmla="*/ 4 w 24"/>
                <a:gd name="T17" fmla="*/ 16 h 30"/>
                <a:gd name="T18" fmla="*/ 10 w 24"/>
                <a:gd name="T19" fmla="*/ 28 h 30"/>
                <a:gd name="T20" fmla="*/ 10 w 24"/>
                <a:gd name="T21" fmla="*/ 28 h 30"/>
                <a:gd name="T22" fmla="*/ 10 w 24"/>
                <a:gd name="T23" fmla="*/ 30 h 30"/>
                <a:gd name="T24" fmla="*/ 14 w 24"/>
                <a:gd name="T25" fmla="*/ 30 h 30"/>
                <a:gd name="T26" fmla="*/ 14 w 24"/>
                <a:gd name="T27" fmla="*/ 30 h 30"/>
                <a:gd name="T28" fmla="*/ 14 w 24"/>
                <a:gd name="T29" fmla="*/ 30 h 30"/>
                <a:gd name="T30" fmla="*/ 20 w 24"/>
                <a:gd name="T31" fmla="*/ 28 h 30"/>
                <a:gd name="T32" fmla="*/ 20 w 24"/>
                <a:gd name="T33" fmla="*/ 28 h 30"/>
                <a:gd name="T34" fmla="*/ 22 w 24"/>
                <a:gd name="T35" fmla="*/ 26 h 30"/>
                <a:gd name="T36" fmla="*/ 24 w 24"/>
                <a:gd name="T37" fmla="*/ 14 h 30"/>
                <a:gd name="T38" fmla="*/ 24 w 24"/>
                <a:gd name="T39" fmla="*/ 14 h 30"/>
                <a:gd name="T40" fmla="*/ 22 w 24"/>
                <a:gd name="T41" fmla="*/ 10 h 30"/>
                <a:gd name="T42" fmla="*/ 14 w 24"/>
                <a:gd name="T43" fmla="*/ 2 h 30"/>
                <a:gd name="T44" fmla="*/ 14 w 24"/>
                <a:gd name="T45" fmla="*/ 2 h 30"/>
                <a:gd name="T46" fmla="*/ 12 w 24"/>
                <a:gd name="T47" fmla="*/ 2 h 30"/>
                <a:gd name="T48" fmla="*/ 4 w 24"/>
                <a:gd name="T49" fmla="*/ 0 h 30"/>
                <a:gd name="T50" fmla="*/ 4 w 24"/>
                <a:gd name="T51" fmla="*/ 0 h 30"/>
                <a:gd name="T52" fmla="*/ 2 w 24"/>
                <a:gd name="T53" fmla="*/ 0 h 30"/>
                <a:gd name="T54" fmla="*/ 2 w 24"/>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30">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5" name="Freeform 1053"/>
            <p:cNvSpPr>
              <a:spLocks/>
            </p:cNvSpPr>
            <p:nvPr/>
          </p:nvSpPr>
          <p:spPr bwMode="auto">
            <a:xfrm>
              <a:off x="4559" y="2357"/>
              <a:ext cx="20" cy="20"/>
            </a:xfrm>
            <a:custGeom>
              <a:avLst/>
              <a:gdLst>
                <a:gd name="T0" fmla="*/ 2 w 20"/>
                <a:gd name="T1" fmla="*/ 20 h 20"/>
                <a:gd name="T2" fmla="*/ 2 w 20"/>
                <a:gd name="T3" fmla="*/ 20 h 20"/>
                <a:gd name="T4" fmla="*/ 0 w 20"/>
                <a:gd name="T5" fmla="*/ 20 h 20"/>
                <a:gd name="T6" fmla="*/ 0 w 20"/>
                <a:gd name="T7" fmla="*/ 20 h 20"/>
                <a:gd name="T8" fmla="*/ 0 w 20"/>
                <a:gd name="T9" fmla="*/ 18 h 20"/>
                <a:gd name="T10" fmla="*/ 0 w 20"/>
                <a:gd name="T11" fmla="*/ 2 h 20"/>
                <a:gd name="T12" fmla="*/ 0 w 20"/>
                <a:gd name="T13" fmla="*/ 2 h 20"/>
                <a:gd name="T14" fmla="*/ 0 w 20"/>
                <a:gd name="T15" fmla="*/ 0 h 20"/>
                <a:gd name="T16" fmla="*/ 0 w 20"/>
                <a:gd name="T17" fmla="*/ 0 h 20"/>
                <a:gd name="T18" fmla="*/ 2 w 20"/>
                <a:gd name="T19" fmla="*/ 0 h 20"/>
                <a:gd name="T20" fmla="*/ 2 w 20"/>
                <a:gd name="T21" fmla="*/ 0 h 20"/>
                <a:gd name="T22" fmla="*/ 2 w 20"/>
                <a:gd name="T23" fmla="*/ 0 h 20"/>
                <a:gd name="T24" fmla="*/ 8 w 20"/>
                <a:gd name="T25" fmla="*/ 2 h 20"/>
                <a:gd name="T26" fmla="*/ 12 w 20"/>
                <a:gd name="T27" fmla="*/ 0 h 20"/>
                <a:gd name="T28" fmla="*/ 12 w 20"/>
                <a:gd name="T29" fmla="*/ 0 h 20"/>
                <a:gd name="T30" fmla="*/ 12 w 20"/>
                <a:gd name="T31" fmla="*/ 0 h 20"/>
                <a:gd name="T32" fmla="*/ 12 w 20"/>
                <a:gd name="T33" fmla="*/ 0 h 20"/>
                <a:gd name="T34" fmla="*/ 12 w 20"/>
                <a:gd name="T35" fmla="*/ 0 h 20"/>
                <a:gd name="T36" fmla="*/ 18 w 20"/>
                <a:gd name="T37" fmla="*/ 2 h 20"/>
                <a:gd name="T38" fmla="*/ 18 w 20"/>
                <a:gd name="T39" fmla="*/ 2 h 20"/>
                <a:gd name="T40" fmla="*/ 20 w 20"/>
                <a:gd name="T41" fmla="*/ 2 h 20"/>
                <a:gd name="T42" fmla="*/ 20 w 20"/>
                <a:gd name="T43" fmla="*/ 2 h 20"/>
                <a:gd name="T44" fmla="*/ 20 w 20"/>
                <a:gd name="T45" fmla="*/ 4 h 20"/>
                <a:gd name="T46" fmla="*/ 16 w 20"/>
                <a:gd name="T47" fmla="*/ 10 h 20"/>
                <a:gd name="T48" fmla="*/ 8 w 20"/>
                <a:gd name="T49" fmla="*/ 18 h 20"/>
                <a:gd name="T50" fmla="*/ 2 w 20"/>
                <a:gd name="T51" fmla="*/ 20 h 20"/>
                <a:gd name="T52" fmla="*/ 2 w 20"/>
                <a:gd name="T53" fmla="*/ 20 h 20"/>
                <a:gd name="T54" fmla="*/ 2 w 20"/>
                <a:gd name="T55" fmla="*/ 20 h 20"/>
                <a:gd name="T56" fmla="*/ 2 w 20"/>
                <a:gd name="T5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2" y="20"/>
                  </a:moveTo>
                  <a:lnTo>
                    <a:pt x="2" y="20"/>
                  </a:lnTo>
                  <a:lnTo>
                    <a:pt x="0" y="20"/>
                  </a:lnTo>
                  <a:lnTo>
                    <a:pt x="0" y="20"/>
                  </a:lnTo>
                  <a:lnTo>
                    <a:pt x="0" y="18"/>
                  </a:lnTo>
                  <a:lnTo>
                    <a:pt x="0" y="2"/>
                  </a:lnTo>
                  <a:lnTo>
                    <a:pt x="0" y="2"/>
                  </a:lnTo>
                  <a:lnTo>
                    <a:pt x="0" y="0"/>
                  </a:lnTo>
                  <a:lnTo>
                    <a:pt x="0" y="0"/>
                  </a:lnTo>
                  <a:lnTo>
                    <a:pt x="2" y="0"/>
                  </a:lnTo>
                  <a:lnTo>
                    <a:pt x="2" y="0"/>
                  </a:lnTo>
                  <a:lnTo>
                    <a:pt x="2" y="0"/>
                  </a:lnTo>
                  <a:lnTo>
                    <a:pt x="8" y="2"/>
                  </a:lnTo>
                  <a:lnTo>
                    <a:pt x="12" y="0"/>
                  </a:lnTo>
                  <a:lnTo>
                    <a:pt x="12" y="0"/>
                  </a:lnTo>
                  <a:lnTo>
                    <a:pt x="12" y="0"/>
                  </a:lnTo>
                  <a:lnTo>
                    <a:pt x="12" y="0"/>
                  </a:lnTo>
                  <a:lnTo>
                    <a:pt x="12" y="0"/>
                  </a:lnTo>
                  <a:lnTo>
                    <a:pt x="18" y="2"/>
                  </a:lnTo>
                  <a:lnTo>
                    <a:pt x="18" y="2"/>
                  </a:lnTo>
                  <a:lnTo>
                    <a:pt x="20" y="2"/>
                  </a:lnTo>
                  <a:lnTo>
                    <a:pt x="20" y="2"/>
                  </a:lnTo>
                  <a:lnTo>
                    <a:pt x="20" y="4"/>
                  </a:lnTo>
                  <a:lnTo>
                    <a:pt x="16" y="10"/>
                  </a:lnTo>
                  <a:lnTo>
                    <a:pt x="8" y="18"/>
                  </a:lnTo>
                  <a:lnTo>
                    <a:pt x="2" y="20"/>
                  </a:lnTo>
                  <a:lnTo>
                    <a:pt x="2"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6" name="Freeform 1054"/>
            <p:cNvSpPr>
              <a:spLocks noEditPoints="1"/>
            </p:cNvSpPr>
            <p:nvPr/>
          </p:nvSpPr>
          <p:spPr bwMode="auto">
            <a:xfrm>
              <a:off x="4557" y="2355"/>
              <a:ext cx="24" cy="24"/>
            </a:xfrm>
            <a:custGeom>
              <a:avLst/>
              <a:gdLst>
                <a:gd name="T0" fmla="*/ 14 w 24"/>
                <a:gd name="T1" fmla="*/ 4 h 24"/>
                <a:gd name="T2" fmla="*/ 20 w 24"/>
                <a:gd name="T3" fmla="*/ 6 h 24"/>
                <a:gd name="T4" fmla="*/ 18 w 24"/>
                <a:gd name="T5" fmla="*/ 10 h 24"/>
                <a:gd name="T6" fmla="*/ 8 w 24"/>
                <a:gd name="T7" fmla="*/ 18 h 24"/>
                <a:gd name="T8" fmla="*/ 4 w 24"/>
                <a:gd name="T9" fmla="*/ 20 h 24"/>
                <a:gd name="T10" fmla="*/ 4 w 24"/>
                <a:gd name="T11" fmla="*/ 12 h 24"/>
                <a:gd name="T12" fmla="*/ 4 w 24"/>
                <a:gd name="T13" fmla="*/ 4 h 24"/>
                <a:gd name="T14" fmla="*/ 10 w 24"/>
                <a:gd name="T15" fmla="*/ 6 h 24"/>
                <a:gd name="T16" fmla="*/ 14 w 24"/>
                <a:gd name="T17" fmla="*/ 4 h 24"/>
                <a:gd name="T18" fmla="*/ 4 w 24"/>
                <a:gd name="T19" fmla="*/ 0 h 24"/>
                <a:gd name="T20" fmla="*/ 4 w 24"/>
                <a:gd name="T21" fmla="*/ 0 h 24"/>
                <a:gd name="T22" fmla="*/ 0 w 24"/>
                <a:gd name="T23" fmla="*/ 0 h 24"/>
                <a:gd name="T24" fmla="*/ 0 w 24"/>
                <a:gd name="T25" fmla="*/ 0 h 24"/>
                <a:gd name="T26" fmla="*/ 0 w 24"/>
                <a:gd name="T27" fmla="*/ 4 h 24"/>
                <a:gd name="T28" fmla="*/ 0 w 24"/>
                <a:gd name="T29" fmla="*/ 12 h 24"/>
                <a:gd name="T30" fmla="*/ 0 w 24"/>
                <a:gd name="T31" fmla="*/ 20 h 24"/>
                <a:gd name="T32" fmla="*/ 0 w 24"/>
                <a:gd name="T33" fmla="*/ 20 h 24"/>
                <a:gd name="T34" fmla="*/ 2 w 24"/>
                <a:gd name="T35" fmla="*/ 24 h 24"/>
                <a:gd name="T36" fmla="*/ 2 w 24"/>
                <a:gd name="T37" fmla="*/ 24 h 24"/>
                <a:gd name="T38" fmla="*/ 4 w 24"/>
                <a:gd name="T39" fmla="*/ 24 h 24"/>
                <a:gd name="T40" fmla="*/ 4 w 24"/>
                <a:gd name="T41" fmla="*/ 24 h 24"/>
                <a:gd name="T42" fmla="*/ 6 w 24"/>
                <a:gd name="T43" fmla="*/ 24 h 24"/>
                <a:gd name="T44" fmla="*/ 10 w 24"/>
                <a:gd name="T45" fmla="*/ 20 h 24"/>
                <a:gd name="T46" fmla="*/ 20 w 24"/>
                <a:gd name="T47" fmla="*/ 14 h 24"/>
                <a:gd name="T48" fmla="*/ 20 w 24"/>
                <a:gd name="T49" fmla="*/ 14 h 24"/>
                <a:gd name="T50" fmla="*/ 20 w 24"/>
                <a:gd name="T51" fmla="*/ 12 h 24"/>
                <a:gd name="T52" fmla="*/ 24 w 24"/>
                <a:gd name="T53" fmla="*/ 8 h 24"/>
                <a:gd name="T54" fmla="*/ 24 w 24"/>
                <a:gd name="T55" fmla="*/ 8 h 24"/>
                <a:gd name="T56" fmla="*/ 24 w 24"/>
                <a:gd name="T57" fmla="*/ 4 h 24"/>
                <a:gd name="T58" fmla="*/ 24 w 24"/>
                <a:gd name="T59" fmla="*/ 4 h 24"/>
                <a:gd name="T60" fmla="*/ 22 w 24"/>
                <a:gd name="T61" fmla="*/ 2 h 24"/>
                <a:gd name="T62" fmla="*/ 16 w 24"/>
                <a:gd name="T63" fmla="*/ 0 h 24"/>
                <a:gd name="T64" fmla="*/ 16 w 24"/>
                <a:gd name="T65" fmla="*/ 0 h 24"/>
                <a:gd name="T66" fmla="*/ 14 w 24"/>
                <a:gd name="T67" fmla="*/ 0 h 24"/>
                <a:gd name="T68" fmla="*/ 14 w 24"/>
                <a:gd name="T69" fmla="*/ 0 h 24"/>
                <a:gd name="T70" fmla="*/ 12 w 24"/>
                <a:gd name="T71" fmla="*/ 0 h 24"/>
                <a:gd name="T72" fmla="*/ 10 w 24"/>
                <a:gd name="T73" fmla="*/ 2 h 24"/>
                <a:gd name="T74" fmla="*/ 4 w 24"/>
                <a:gd name="T75" fmla="*/ 0 h 24"/>
                <a:gd name="T76" fmla="*/ 4 w 24"/>
                <a:gd name="T77" fmla="*/ 0 h 24"/>
                <a:gd name="T78" fmla="*/ 4 w 24"/>
                <a:gd name="T79" fmla="*/ 0 h 24"/>
                <a:gd name="T80" fmla="*/ 4 w 24"/>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24">
                  <a:moveTo>
                    <a:pt x="14" y="4"/>
                  </a:moveTo>
                  <a:lnTo>
                    <a:pt x="20" y="6"/>
                  </a:lnTo>
                  <a:lnTo>
                    <a:pt x="18" y="10"/>
                  </a:lnTo>
                  <a:lnTo>
                    <a:pt x="8" y="18"/>
                  </a:lnTo>
                  <a:lnTo>
                    <a:pt x="4" y="20"/>
                  </a:lnTo>
                  <a:lnTo>
                    <a:pt x="4" y="12"/>
                  </a:lnTo>
                  <a:lnTo>
                    <a:pt x="4" y="4"/>
                  </a:lnTo>
                  <a:lnTo>
                    <a:pt x="10" y="6"/>
                  </a:lnTo>
                  <a:lnTo>
                    <a:pt x="14" y="4"/>
                  </a:lnTo>
                  <a:close/>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 name="Freeform 1055"/>
            <p:cNvSpPr>
              <a:spLocks/>
            </p:cNvSpPr>
            <p:nvPr/>
          </p:nvSpPr>
          <p:spPr bwMode="auto">
            <a:xfrm>
              <a:off x="4561" y="2359"/>
              <a:ext cx="16" cy="16"/>
            </a:xfrm>
            <a:custGeom>
              <a:avLst/>
              <a:gdLst>
                <a:gd name="T0" fmla="*/ 10 w 16"/>
                <a:gd name="T1" fmla="*/ 0 h 16"/>
                <a:gd name="T2" fmla="*/ 16 w 16"/>
                <a:gd name="T3" fmla="*/ 2 h 16"/>
                <a:gd name="T4" fmla="*/ 14 w 16"/>
                <a:gd name="T5" fmla="*/ 6 h 16"/>
                <a:gd name="T6" fmla="*/ 4 w 16"/>
                <a:gd name="T7" fmla="*/ 14 h 16"/>
                <a:gd name="T8" fmla="*/ 0 w 16"/>
                <a:gd name="T9" fmla="*/ 16 h 16"/>
                <a:gd name="T10" fmla="*/ 0 w 16"/>
                <a:gd name="T11" fmla="*/ 8 h 16"/>
                <a:gd name="T12" fmla="*/ 0 w 16"/>
                <a:gd name="T13" fmla="*/ 0 h 16"/>
                <a:gd name="T14" fmla="*/ 6 w 16"/>
                <a:gd name="T15" fmla="*/ 2 h 16"/>
                <a:gd name="T16" fmla="*/ 10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0" y="0"/>
                  </a:moveTo>
                  <a:lnTo>
                    <a:pt x="16" y="2"/>
                  </a:lnTo>
                  <a:lnTo>
                    <a:pt x="14" y="6"/>
                  </a:lnTo>
                  <a:lnTo>
                    <a:pt x="4" y="14"/>
                  </a:lnTo>
                  <a:lnTo>
                    <a:pt x="0" y="16"/>
                  </a:lnTo>
                  <a:lnTo>
                    <a:pt x="0" y="8"/>
                  </a:lnTo>
                  <a:lnTo>
                    <a:pt x="0" y="0"/>
                  </a:lnTo>
                  <a:lnTo>
                    <a:pt x="6"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8" name="Freeform 1056"/>
            <p:cNvSpPr>
              <a:spLocks/>
            </p:cNvSpPr>
            <p:nvPr/>
          </p:nvSpPr>
          <p:spPr bwMode="auto">
            <a:xfrm>
              <a:off x="4557" y="2355"/>
              <a:ext cx="24" cy="24"/>
            </a:xfrm>
            <a:custGeom>
              <a:avLst/>
              <a:gdLst>
                <a:gd name="T0" fmla="*/ 4 w 24"/>
                <a:gd name="T1" fmla="*/ 0 h 24"/>
                <a:gd name="T2" fmla="*/ 4 w 24"/>
                <a:gd name="T3" fmla="*/ 0 h 24"/>
                <a:gd name="T4" fmla="*/ 0 w 24"/>
                <a:gd name="T5" fmla="*/ 0 h 24"/>
                <a:gd name="T6" fmla="*/ 0 w 24"/>
                <a:gd name="T7" fmla="*/ 0 h 24"/>
                <a:gd name="T8" fmla="*/ 0 w 24"/>
                <a:gd name="T9" fmla="*/ 4 h 24"/>
                <a:gd name="T10" fmla="*/ 0 w 24"/>
                <a:gd name="T11" fmla="*/ 12 h 24"/>
                <a:gd name="T12" fmla="*/ 0 w 24"/>
                <a:gd name="T13" fmla="*/ 20 h 24"/>
                <a:gd name="T14" fmla="*/ 0 w 24"/>
                <a:gd name="T15" fmla="*/ 20 h 24"/>
                <a:gd name="T16" fmla="*/ 2 w 24"/>
                <a:gd name="T17" fmla="*/ 24 h 24"/>
                <a:gd name="T18" fmla="*/ 2 w 24"/>
                <a:gd name="T19" fmla="*/ 24 h 24"/>
                <a:gd name="T20" fmla="*/ 4 w 24"/>
                <a:gd name="T21" fmla="*/ 24 h 24"/>
                <a:gd name="T22" fmla="*/ 4 w 24"/>
                <a:gd name="T23" fmla="*/ 24 h 24"/>
                <a:gd name="T24" fmla="*/ 6 w 24"/>
                <a:gd name="T25" fmla="*/ 24 h 24"/>
                <a:gd name="T26" fmla="*/ 10 w 24"/>
                <a:gd name="T27" fmla="*/ 20 h 24"/>
                <a:gd name="T28" fmla="*/ 20 w 24"/>
                <a:gd name="T29" fmla="*/ 14 h 24"/>
                <a:gd name="T30" fmla="*/ 20 w 24"/>
                <a:gd name="T31" fmla="*/ 14 h 24"/>
                <a:gd name="T32" fmla="*/ 20 w 24"/>
                <a:gd name="T33" fmla="*/ 12 h 24"/>
                <a:gd name="T34" fmla="*/ 24 w 24"/>
                <a:gd name="T35" fmla="*/ 8 h 24"/>
                <a:gd name="T36" fmla="*/ 24 w 24"/>
                <a:gd name="T37" fmla="*/ 8 h 24"/>
                <a:gd name="T38" fmla="*/ 24 w 24"/>
                <a:gd name="T39" fmla="*/ 4 h 24"/>
                <a:gd name="T40" fmla="*/ 24 w 24"/>
                <a:gd name="T41" fmla="*/ 4 h 24"/>
                <a:gd name="T42" fmla="*/ 22 w 24"/>
                <a:gd name="T43" fmla="*/ 2 h 24"/>
                <a:gd name="T44" fmla="*/ 16 w 24"/>
                <a:gd name="T45" fmla="*/ 0 h 24"/>
                <a:gd name="T46" fmla="*/ 16 w 24"/>
                <a:gd name="T47" fmla="*/ 0 h 24"/>
                <a:gd name="T48" fmla="*/ 14 w 24"/>
                <a:gd name="T49" fmla="*/ 0 h 24"/>
                <a:gd name="T50" fmla="*/ 14 w 24"/>
                <a:gd name="T51" fmla="*/ 0 h 24"/>
                <a:gd name="T52" fmla="*/ 12 w 24"/>
                <a:gd name="T53" fmla="*/ 0 h 24"/>
                <a:gd name="T54" fmla="*/ 10 w 24"/>
                <a:gd name="T55" fmla="*/ 2 h 24"/>
                <a:gd name="T56" fmla="*/ 4 w 24"/>
                <a:gd name="T57" fmla="*/ 0 h 24"/>
                <a:gd name="T58" fmla="*/ 4 w 24"/>
                <a:gd name="T59" fmla="*/ 0 h 24"/>
                <a:gd name="T60" fmla="*/ 4 w 24"/>
                <a:gd name="T61" fmla="*/ 0 h 24"/>
                <a:gd name="T62" fmla="*/ 4 w 2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4">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9" name="Freeform 1057"/>
            <p:cNvSpPr>
              <a:spLocks/>
            </p:cNvSpPr>
            <p:nvPr/>
          </p:nvSpPr>
          <p:spPr bwMode="auto">
            <a:xfrm>
              <a:off x="4563" y="2369"/>
              <a:ext cx="28" cy="26"/>
            </a:xfrm>
            <a:custGeom>
              <a:avLst/>
              <a:gdLst>
                <a:gd name="T0" fmla="*/ 16 w 28"/>
                <a:gd name="T1" fmla="*/ 26 h 26"/>
                <a:gd name="T2" fmla="*/ 8 w 28"/>
                <a:gd name="T3" fmla="*/ 24 h 26"/>
                <a:gd name="T4" fmla="*/ 8 w 28"/>
                <a:gd name="T5" fmla="*/ 24 h 26"/>
                <a:gd name="T6" fmla="*/ 8 w 28"/>
                <a:gd name="T7" fmla="*/ 24 h 26"/>
                <a:gd name="T8" fmla="*/ 2 w 28"/>
                <a:gd name="T9" fmla="*/ 16 h 26"/>
                <a:gd name="T10" fmla="*/ 2 w 28"/>
                <a:gd name="T11" fmla="*/ 16 h 26"/>
                <a:gd name="T12" fmla="*/ 0 w 28"/>
                <a:gd name="T13" fmla="*/ 16 h 26"/>
                <a:gd name="T14" fmla="*/ 0 w 28"/>
                <a:gd name="T15" fmla="*/ 16 h 26"/>
                <a:gd name="T16" fmla="*/ 2 w 28"/>
                <a:gd name="T17" fmla="*/ 14 h 26"/>
                <a:gd name="T18" fmla="*/ 6 w 28"/>
                <a:gd name="T19" fmla="*/ 12 h 26"/>
                <a:gd name="T20" fmla="*/ 8 w 28"/>
                <a:gd name="T21" fmla="*/ 8 h 26"/>
                <a:gd name="T22" fmla="*/ 10 w 28"/>
                <a:gd name="T23" fmla="*/ 2 h 26"/>
                <a:gd name="T24" fmla="*/ 10 w 28"/>
                <a:gd name="T25" fmla="*/ 2 h 26"/>
                <a:gd name="T26" fmla="*/ 12 w 28"/>
                <a:gd name="T27" fmla="*/ 0 h 26"/>
                <a:gd name="T28" fmla="*/ 18 w 28"/>
                <a:gd name="T29" fmla="*/ 0 h 26"/>
                <a:gd name="T30" fmla="*/ 18 w 28"/>
                <a:gd name="T31" fmla="*/ 0 h 26"/>
                <a:gd name="T32" fmla="*/ 18 w 28"/>
                <a:gd name="T33" fmla="*/ 0 h 26"/>
                <a:gd name="T34" fmla="*/ 18 w 28"/>
                <a:gd name="T35" fmla="*/ 0 h 26"/>
                <a:gd name="T36" fmla="*/ 18 w 28"/>
                <a:gd name="T37" fmla="*/ 0 h 26"/>
                <a:gd name="T38" fmla="*/ 24 w 28"/>
                <a:gd name="T39" fmla="*/ 2 h 26"/>
                <a:gd name="T40" fmla="*/ 24 w 28"/>
                <a:gd name="T41" fmla="*/ 2 h 26"/>
                <a:gd name="T42" fmla="*/ 26 w 28"/>
                <a:gd name="T43" fmla="*/ 4 h 26"/>
                <a:gd name="T44" fmla="*/ 28 w 28"/>
                <a:gd name="T45" fmla="*/ 6 h 26"/>
                <a:gd name="T46" fmla="*/ 28 w 28"/>
                <a:gd name="T47" fmla="*/ 6 h 26"/>
                <a:gd name="T48" fmla="*/ 28 w 28"/>
                <a:gd name="T49" fmla="*/ 8 h 26"/>
                <a:gd name="T50" fmla="*/ 28 w 28"/>
                <a:gd name="T51" fmla="*/ 8 h 26"/>
                <a:gd name="T52" fmla="*/ 26 w 28"/>
                <a:gd name="T53" fmla="*/ 10 h 26"/>
                <a:gd name="T54" fmla="*/ 20 w 28"/>
                <a:gd name="T55" fmla="*/ 12 h 26"/>
                <a:gd name="T56" fmla="*/ 18 w 28"/>
                <a:gd name="T57" fmla="*/ 14 h 26"/>
                <a:gd name="T58" fmla="*/ 18 w 28"/>
                <a:gd name="T59" fmla="*/ 24 h 26"/>
                <a:gd name="T60" fmla="*/ 18 w 28"/>
                <a:gd name="T61" fmla="*/ 24 h 26"/>
                <a:gd name="T62" fmla="*/ 18 w 28"/>
                <a:gd name="T63" fmla="*/ 26 h 26"/>
                <a:gd name="T64" fmla="*/ 18 w 28"/>
                <a:gd name="T65" fmla="*/ 26 h 26"/>
                <a:gd name="T66" fmla="*/ 16 w 28"/>
                <a:gd name="T67" fmla="*/ 26 h 26"/>
                <a:gd name="T68" fmla="*/ 16 w 28"/>
                <a:gd name="T69" fmla="*/ 26 h 26"/>
                <a:gd name="T70" fmla="*/ 16 w 28"/>
                <a:gd name="T71" fmla="*/ 26 h 26"/>
                <a:gd name="T72" fmla="*/ 16 w 28"/>
                <a:gd name="T7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6">
                  <a:moveTo>
                    <a:pt x="16" y="26"/>
                  </a:moveTo>
                  <a:lnTo>
                    <a:pt x="8" y="24"/>
                  </a:lnTo>
                  <a:lnTo>
                    <a:pt x="8" y="24"/>
                  </a:lnTo>
                  <a:lnTo>
                    <a:pt x="8" y="24"/>
                  </a:lnTo>
                  <a:lnTo>
                    <a:pt x="2" y="16"/>
                  </a:lnTo>
                  <a:lnTo>
                    <a:pt x="2" y="16"/>
                  </a:lnTo>
                  <a:lnTo>
                    <a:pt x="0" y="16"/>
                  </a:lnTo>
                  <a:lnTo>
                    <a:pt x="0" y="16"/>
                  </a:lnTo>
                  <a:lnTo>
                    <a:pt x="2" y="14"/>
                  </a:lnTo>
                  <a:lnTo>
                    <a:pt x="6" y="12"/>
                  </a:lnTo>
                  <a:lnTo>
                    <a:pt x="8" y="8"/>
                  </a:lnTo>
                  <a:lnTo>
                    <a:pt x="10" y="2"/>
                  </a:lnTo>
                  <a:lnTo>
                    <a:pt x="10" y="2"/>
                  </a:lnTo>
                  <a:lnTo>
                    <a:pt x="12" y="0"/>
                  </a:lnTo>
                  <a:lnTo>
                    <a:pt x="18" y="0"/>
                  </a:lnTo>
                  <a:lnTo>
                    <a:pt x="18" y="0"/>
                  </a:lnTo>
                  <a:lnTo>
                    <a:pt x="18" y="0"/>
                  </a:lnTo>
                  <a:lnTo>
                    <a:pt x="18" y="0"/>
                  </a:lnTo>
                  <a:lnTo>
                    <a:pt x="18" y="0"/>
                  </a:lnTo>
                  <a:lnTo>
                    <a:pt x="24" y="2"/>
                  </a:lnTo>
                  <a:lnTo>
                    <a:pt x="24" y="2"/>
                  </a:lnTo>
                  <a:lnTo>
                    <a:pt x="26" y="4"/>
                  </a:lnTo>
                  <a:lnTo>
                    <a:pt x="28" y="6"/>
                  </a:lnTo>
                  <a:lnTo>
                    <a:pt x="28" y="6"/>
                  </a:lnTo>
                  <a:lnTo>
                    <a:pt x="28" y="8"/>
                  </a:lnTo>
                  <a:lnTo>
                    <a:pt x="28" y="8"/>
                  </a:lnTo>
                  <a:lnTo>
                    <a:pt x="26" y="10"/>
                  </a:lnTo>
                  <a:lnTo>
                    <a:pt x="20" y="12"/>
                  </a:lnTo>
                  <a:lnTo>
                    <a:pt x="18" y="14"/>
                  </a:lnTo>
                  <a:lnTo>
                    <a:pt x="18" y="24"/>
                  </a:lnTo>
                  <a:lnTo>
                    <a:pt x="18" y="24"/>
                  </a:lnTo>
                  <a:lnTo>
                    <a:pt x="18" y="26"/>
                  </a:lnTo>
                  <a:lnTo>
                    <a:pt x="18" y="26"/>
                  </a:lnTo>
                  <a:lnTo>
                    <a:pt x="16" y="26"/>
                  </a:lnTo>
                  <a:lnTo>
                    <a:pt x="16"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0" name="Freeform 1058"/>
            <p:cNvSpPr>
              <a:spLocks noEditPoints="1"/>
            </p:cNvSpPr>
            <p:nvPr/>
          </p:nvSpPr>
          <p:spPr bwMode="auto">
            <a:xfrm>
              <a:off x="4563" y="2367"/>
              <a:ext cx="30" cy="30"/>
            </a:xfrm>
            <a:custGeom>
              <a:avLst/>
              <a:gdLst>
                <a:gd name="T0" fmla="*/ 18 w 30"/>
                <a:gd name="T1" fmla="*/ 4 h 30"/>
                <a:gd name="T2" fmla="*/ 24 w 30"/>
                <a:gd name="T3" fmla="*/ 6 h 30"/>
                <a:gd name="T4" fmla="*/ 26 w 30"/>
                <a:gd name="T5" fmla="*/ 10 h 30"/>
                <a:gd name="T6" fmla="*/ 20 w 30"/>
                <a:gd name="T7" fmla="*/ 12 h 30"/>
                <a:gd name="T8" fmla="*/ 16 w 30"/>
                <a:gd name="T9" fmla="*/ 16 h 30"/>
                <a:gd name="T10" fmla="*/ 16 w 30"/>
                <a:gd name="T11" fmla="*/ 26 h 30"/>
                <a:gd name="T12" fmla="*/ 8 w 30"/>
                <a:gd name="T13" fmla="*/ 24 h 30"/>
                <a:gd name="T14" fmla="*/ 2 w 30"/>
                <a:gd name="T15" fmla="*/ 18 h 30"/>
                <a:gd name="T16" fmla="*/ 6 w 30"/>
                <a:gd name="T17" fmla="*/ 16 h 30"/>
                <a:gd name="T18" fmla="*/ 10 w 30"/>
                <a:gd name="T19" fmla="*/ 12 h 30"/>
                <a:gd name="T20" fmla="*/ 12 w 30"/>
                <a:gd name="T21" fmla="*/ 4 h 30"/>
                <a:gd name="T22" fmla="*/ 18 w 30"/>
                <a:gd name="T23" fmla="*/ 4 h 30"/>
                <a:gd name="T24" fmla="*/ 18 w 30"/>
                <a:gd name="T25" fmla="*/ 0 h 30"/>
                <a:gd name="T26" fmla="*/ 18 w 30"/>
                <a:gd name="T27" fmla="*/ 0 h 30"/>
                <a:gd name="T28" fmla="*/ 16 w 30"/>
                <a:gd name="T29" fmla="*/ 0 h 30"/>
                <a:gd name="T30" fmla="*/ 12 w 30"/>
                <a:gd name="T31" fmla="*/ 0 h 30"/>
                <a:gd name="T32" fmla="*/ 12 w 30"/>
                <a:gd name="T33" fmla="*/ 0 h 30"/>
                <a:gd name="T34" fmla="*/ 8 w 30"/>
                <a:gd name="T35" fmla="*/ 4 h 30"/>
                <a:gd name="T36" fmla="*/ 6 w 30"/>
                <a:gd name="T37" fmla="*/ 10 h 30"/>
                <a:gd name="T38" fmla="*/ 4 w 30"/>
                <a:gd name="T39" fmla="*/ 12 h 30"/>
                <a:gd name="T40" fmla="*/ 2 w 30"/>
                <a:gd name="T41" fmla="*/ 14 h 30"/>
                <a:gd name="T42" fmla="*/ 2 w 30"/>
                <a:gd name="T43" fmla="*/ 14 h 30"/>
                <a:gd name="T44" fmla="*/ 0 w 30"/>
                <a:gd name="T45" fmla="*/ 16 h 30"/>
                <a:gd name="T46" fmla="*/ 0 w 30"/>
                <a:gd name="T47" fmla="*/ 16 h 30"/>
                <a:gd name="T48" fmla="*/ 0 w 30"/>
                <a:gd name="T49" fmla="*/ 20 h 30"/>
                <a:gd name="T50" fmla="*/ 6 w 30"/>
                <a:gd name="T51" fmla="*/ 26 h 30"/>
                <a:gd name="T52" fmla="*/ 6 w 30"/>
                <a:gd name="T53" fmla="*/ 26 h 30"/>
                <a:gd name="T54" fmla="*/ 8 w 30"/>
                <a:gd name="T55" fmla="*/ 28 h 30"/>
                <a:gd name="T56" fmla="*/ 16 w 30"/>
                <a:gd name="T57" fmla="*/ 30 h 30"/>
                <a:gd name="T58" fmla="*/ 16 w 30"/>
                <a:gd name="T59" fmla="*/ 30 h 30"/>
                <a:gd name="T60" fmla="*/ 16 w 30"/>
                <a:gd name="T61" fmla="*/ 30 h 30"/>
                <a:gd name="T62" fmla="*/ 16 w 30"/>
                <a:gd name="T63" fmla="*/ 30 h 30"/>
                <a:gd name="T64" fmla="*/ 18 w 30"/>
                <a:gd name="T65" fmla="*/ 28 h 30"/>
                <a:gd name="T66" fmla="*/ 18 w 30"/>
                <a:gd name="T67" fmla="*/ 28 h 30"/>
                <a:gd name="T68" fmla="*/ 20 w 30"/>
                <a:gd name="T69" fmla="*/ 26 h 30"/>
                <a:gd name="T70" fmla="*/ 20 w 30"/>
                <a:gd name="T71" fmla="*/ 18 h 30"/>
                <a:gd name="T72" fmla="*/ 22 w 30"/>
                <a:gd name="T73" fmla="*/ 16 h 30"/>
                <a:gd name="T74" fmla="*/ 28 w 30"/>
                <a:gd name="T75" fmla="*/ 14 h 30"/>
                <a:gd name="T76" fmla="*/ 28 w 30"/>
                <a:gd name="T77" fmla="*/ 14 h 30"/>
                <a:gd name="T78" fmla="*/ 30 w 30"/>
                <a:gd name="T79" fmla="*/ 10 h 30"/>
                <a:gd name="T80" fmla="*/ 30 w 30"/>
                <a:gd name="T81" fmla="*/ 10 h 30"/>
                <a:gd name="T82" fmla="*/ 28 w 30"/>
                <a:gd name="T83" fmla="*/ 8 h 30"/>
                <a:gd name="T84" fmla="*/ 26 w 30"/>
                <a:gd name="T85" fmla="*/ 4 h 30"/>
                <a:gd name="T86" fmla="*/ 26 w 30"/>
                <a:gd name="T87" fmla="*/ 4 h 30"/>
                <a:gd name="T88" fmla="*/ 26 w 30"/>
                <a:gd name="T89" fmla="*/ 2 h 30"/>
                <a:gd name="T90" fmla="*/ 20 w 30"/>
                <a:gd name="T91" fmla="*/ 0 h 30"/>
                <a:gd name="T92" fmla="*/ 20 w 30"/>
                <a:gd name="T93" fmla="*/ 0 h 30"/>
                <a:gd name="T94" fmla="*/ 18 w 30"/>
                <a:gd name="T95" fmla="*/ 0 h 30"/>
                <a:gd name="T96" fmla="*/ 18 w 30"/>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30">
                  <a:moveTo>
                    <a:pt x="18" y="4"/>
                  </a:moveTo>
                  <a:lnTo>
                    <a:pt x="24" y="6"/>
                  </a:lnTo>
                  <a:lnTo>
                    <a:pt x="26" y="10"/>
                  </a:lnTo>
                  <a:lnTo>
                    <a:pt x="20" y="12"/>
                  </a:lnTo>
                  <a:lnTo>
                    <a:pt x="16" y="16"/>
                  </a:lnTo>
                  <a:lnTo>
                    <a:pt x="16" y="26"/>
                  </a:lnTo>
                  <a:lnTo>
                    <a:pt x="8" y="24"/>
                  </a:lnTo>
                  <a:lnTo>
                    <a:pt x="2" y="18"/>
                  </a:lnTo>
                  <a:lnTo>
                    <a:pt x="6" y="16"/>
                  </a:lnTo>
                  <a:lnTo>
                    <a:pt x="10" y="12"/>
                  </a:lnTo>
                  <a:lnTo>
                    <a:pt x="12" y="4"/>
                  </a:lnTo>
                  <a:lnTo>
                    <a:pt x="18" y="4"/>
                  </a:lnTo>
                  <a:close/>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1" name="Freeform 1059"/>
            <p:cNvSpPr>
              <a:spLocks/>
            </p:cNvSpPr>
            <p:nvPr/>
          </p:nvSpPr>
          <p:spPr bwMode="auto">
            <a:xfrm>
              <a:off x="4565" y="2371"/>
              <a:ext cx="24" cy="22"/>
            </a:xfrm>
            <a:custGeom>
              <a:avLst/>
              <a:gdLst>
                <a:gd name="T0" fmla="*/ 16 w 24"/>
                <a:gd name="T1" fmla="*/ 0 h 22"/>
                <a:gd name="T2" fmla="*/ 22 w 24"/>
                <a:gd name="T3" fmla="*/ 2 h 22"/>
                <a:gd name="T4" fmla="*/ 24 w 24"/>
                <a:gd name="T5" fmla="*/ 6 h 22"/>
                <a:gd name="T6" fmla="*/ 18 w 24"/>
                <a:gd name="T7" fmla="*/ 8 h 22"/>
                <a:gd name="T8" fmla="*/ 14 w 24"/>
                <a:gd name="T9" fmla="*/ 12 h 22"/>
                <a:gd name="T10" fmla="*/ 14 w 24"/>
                <a:gd name="T11" fmla="*/ 22 h 22"/>
                <a:gd name="T12" fmla="*/ 6 w 24"/>
                <a:gd name="T13" fmla="*/ 20 h 22"/>
                <a:gd name="T14" fmla="*/ 0 w 24"/>
                <a:gd name="T15" fmla="*/ 14 h 22"/>
                <a:gd name="T16" fmla="*/ 4 w 24"/>
                <a:gd name="T17" fmla="*/ 12 h 22"/>
                <a:gd name="T18" fmla="*/ 8 w 24"/>
                <a:gd name="T19" fmla="*/ 8 h 22"/>
                <a:gd name="T20" fmla="*/ 10 w 24"/>
                <a:gd name="T21" fmla="*/ 0 h 22"/>
                <a:gd name="T22" fmla="*/ 16 w 2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2">
                  <a:moveTo>
                    <a:pt x="16" y="0"/>
                  </a:moveTo>
                  <a:lnTo>
                    <a:pt x="22" y="2"/>
                  </a:lnTo>
                  <a:lnTo>
                    <a:pt x="24" y="6"/>
                  </a:lnTo>
                  <a:lnTo>
                    <a:pt x="18" y="8"/>
                  </a:lnTo>
                  <a:lnTo>
                    <a:pt x="14" y="12"/>
                  </a:lnTo>
                  <a:lnTo>
                    <a:pt x="14" y="22"/>
                  </a:lnTo>
                  <a:lnTo>
                    <a:pt x="6" y="20"/>
                  </a:lnTo>
                  <a:lnTo>
                    <a:pt x="0" y="14"/>
                  </a:lnTo>
                  <a:lnTo>
                    <a:pt x="4" y="12"/>
                  </a:lnTo>
                  <a:lnTo>
                    <a:pt x="8" y="8"/>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2" name="Freeform 1060"/>
            <p:cNvSpPr>
              <a:spLocks/>
            </p:cNvSpPr>
            <p:nvPr/>
          </p:nvSpPr>
          <p:spPr bwMode="auto">
            <a:xfrm>
              <a:off x="4563" y="2367"/>
              <a:ext cx="30" cy="30"/>
            </a:xfrm>
            <a:custGeom>
              <a:avLst/>
              <a:gdLst>
                <a:gd name="T0" fmla="*/ 18 w 30"/>
                <a:gd name="T1" fmla="*/ 0 h 30"/>
                <a:gd name="T2" fmla="*/ 18 w 30"/>
                <a:gd name="T3" fmla="*/ 0 h 30"/>
                <a:gd name="T4" fmla="*/ 16 w 30"/>
                <a:gd name="T5" fmla="*/ 0 h 30"/>
                <a:gd name="T6" fmla="*/ 12 w 30"/>
                <a:gd name="T7" fmla="*/ 0 h 30"/>
                <a:gd name="T8" fmla="*/ 12 w 30"/>
                <a:gd name="T9" fmla="*/ 0 h 30"/>
                <a:gd name="T10" fmla="*/ 8 w 30"/>
                <a:gd name="T11" fmla="*/ 4 h 30"/>
                <a:gd name="T12" fmla="*/ 6 w 30"/>
                <a:gd name="T13" fmla="*/ 10 h 30"/>
                <a:gd name="T14" fmla="*/ 4 w 30"/>
                <a:gd name="T15" fmla="*/ 12 h 30"/>
                <a:gd name="T16" fmla="*/ 2 w 30"/>
                <a:gd name="T17" fmla="*/ 14 h 30"/>
                <a:gd name="T18" fmla="*/ 2 w 30"/>
                <a:gd name="T19" fmla="*/ 14 h 30"/>
                <a:gd name="T20" fmla="*/ 0 w 30"/>
                <a:gd name="T21" fmla="*/ 16 h 30"/>
                <a:gd name="T22" fmla="*/ 0 w 30"/>
                <a:gd name="T23" fmla="*/ 16 h 30"/>
                <a:gd name="T24" fmla="*/ 0 w 30"/>
                <a:gd name="T25" fmla="*/ 20 h 30"/>
                <a:gd name="T26" fmla="*/ 6 w 30"/>
                <a:gd name="T27" fmla="*/ 26 h 30"/>
                <a:gd name="T28" fmla="*/ 6 w 30"/>
                <a:gd name="T29" fmla="*/ 26 h 30"/>
                <a:gd name="T30" fmla="*/ 8 w 30"/>
                <a:gd name="T31" fmla="*/ 28 h 30"/>
                <a:gd name="T32" fmla="*/ 16 w 30"/>
                <a:gd name="T33" fmla="*/ 30 h 30"/>
                <a:gd name="T34" fmla="*/ 16 w 30"/>
                <a:gd name="T35" fmla="*/ 30 h 30"/>
                <a:gd name="T36" fmla="*/ 16 w 30"/>
                <a:gd name="T37" fmla="*/ 30 h 30"/>
                <a:gd name="T38" fmla="*/ 16 w 30"/>
                <a:gd name="T39" fmla="*/ 30 h 30"/>
                <a:gd name="T40" fmla="*/ 18 w 30"/>
                <a:gd name="T41" fmla="*/ 28 h 30"/>
                <a:gd name="T42" fmla="*/ 18 w 30"/>
                <a:gd name="T43" fmla="*/ 28 h 30"/>
                <a:gd name="T44" fmla="*/ 20 w 30"/>
                <a:gd name="T45" fmla="*/ 26 h 30"/>
                <a:gd name="T46" fmla="*/ 20 w 30"/>
                <a:gd name="T47" fmla="*/ 18 h 30"/>
                <a:gd name="T48" fmla="*/ 22 w 30"/>
                <a:gd name="T49" fmla="*/ 16 h 30"/>
                <a:gd name="T50" fmla="*/ 28 w 30"/>
                <a:gd name="T51" fmla="*/ 14 h 30"/>
                <a:gd name="T52" fmla="*/ 28 w 30"/>
                <a:gd name="T53" fmla="*/ 14 h 30"/>
                <a:gd name="T54" fmla="*/ 30 w 30"/>
                <a:gd name="T55" fmla="*/ 10 h 30"/>
                <a:gd name="T56" fmla="*/ 30 w 30"/>
                <a:gd name="T57" fmla="*/ 10 h 30"/>
                <a:gd name="T58" fmla="*/ 28 w 30"/>
                <a:gd name="T59" fmla="*/ 8 h 30"/>
                <a:gd name="T60" fmla="*/ 26 w 30"/>
                <a:gd name="T61" fmla="*/ 4 h 30"/>
                <a:gd name="T62" fmla="*/ 26 w 30"/>
                <a:gd name="T63" fmla="*/ 4 h 30"/>
                <a:gd name="T64" fmla="*/ 26 w 30"/>
                <a:gd name="T65" fmla="*/ 2 h 30"/>
                <a:gd name="T66" fmla="*/ 20 w 30"/>
                <a:gd name="T67" fmla="*/ 0 h 30"/>
                <a:gd name="T68" fmla="*/ 20 w 30"/>
                <a:gd name="T69" fmla="*/ 0 h 30"/>
                <a:gd name="T70" fmla="*/ 18 w 30"/>
                <a:gd name="T71" fmla="*/ 0 h 30"/>
                <a:gd name="T72" fmla="*/ 18 w 30"/>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30">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3" name="Freeform 1061"/>
            <p:cNvSpPr>
              <a:spLocks/>
            </p:cNvSpPr>
            <p:nvPr/>
          </p:nvSpPr>
          <p:spPr bwMode="auto">
            <a:xfrm>
              <a:off x="4559" y="2155"/>
              <a:ext cx="32" cy="54"/>
            </a:xfrm>
            <a:custGeom>
              <a:avLst/>
              <a:gdLst>
                <a:gd name="T0" fmla="*/ 10 w 32"/>
                <a:gd name="T1" fmla="*/ 54 h 54"/>
                <a:gd name="T2" fmla="*/ 10 w 32"/>
                <a:gd name="T3" fmla="*/ 54 h 54"/>
                <a:gd name="T4" fmla="*/ 8 w 32"/>
                <a:gd name="T5" fmla="*/ 54 h 54"/>
                <a:gd name="T6" fmla="*/ 4 w 32"/>
                <a:gd name="T7" fmla="*/ 42 h 54"/>
                <a:gd name="T8" fmla="*/ 0 w 32"/>
                <a:gd name="T9" fmla="*/ 26 h 54"/>
                <a:gd name="T10" fmla="*/ 0 w 32"/>
                <a:gd name="T11" fmla="*/ 26 h 54"/>
                <a:gd name="T12" fmla="*/ 0 w 32"/>
                <a:gd name="T13" fmla="*/ 26 h 54"/>
                <a:gd name="T14" fmla="*/ 8 w 32"/>
                <a:gd name="T15" fmla="*/ 12 h 54"/>
                <a:gd name="T16" fmla="*/ 16 w 32"/>
                <a:gd name="T17" fmla="*/ 4 h 54"/>
                <a:gd name="T18" fmla="*/ 20 w 32"/>
                <a:gd name="T19" fmla="*/ 0 h 54"/>
                <a:gd name="T20" fmla="*/ 20 w 32"/>
                <a:gd name="T21" fmla="*/ 0 h 54"/>
                <a:gd name="T22" fmla="*/ 22 w 32"/>
                <a:gd name="T23" fmla="*/ 0 h 54"/>
                <a:gd name="T24" fmla="*/ 22 w 32"/>
                <a:gd name="T25" fmla="*/ 0 h 54"/>
                <a:gd name="T26" fmla="*/ 22 w 32"/>
                <a:gd name="T27" fmla="*/ 0 h 54"/>
                <a:gd name="T28" fmla="*/ 30 w 32"/>
                <a:gd name="T29" fmla="*/ 4 h 54"/>
                <a:gd name="T30" fmla="*/ 30 w 32"/>
                <a:gd name="T31" fmla="*/ 4 h 54"/>
                <a:gd name="T32" fmla="*/ 32 w 32"/>
                <a:gd name="T33" fmla="*/ 6 h 54"/>
                <a:gd name="T34" fmla="*/ 28 w 32"/>
                <a:gd name="T35" fmla="*/ 20 h 54"/>
                <a:gd name="T36" fmla="*/ 24 w 32"/>
                <a:gd name="T37" fmla="*/ 28 h 54"/>
                <a:gd name="T38" fmla="*/ 22 w 32"/>
                <a:gd name="T39" fmla="*/ 36 h 54"/>
                <a:gd name="T40" fmla="*/ 18 w 32"/>
                <a:gd name="T41" fmla="*/ 48 h 54"/>
                <a:gd name="T42" fmla="*/ 18 w 32"/>
                <a:gd name="T43" fmla="*/ 48 h 54"/>
                <a:gd name="T44" fmla="*/ 18 w 32"/>
                <a:gd name="T45" fmla="*/ 48 h 54"/>
                <a:gd name="T46" fmla="*/ 12 w 32"/>
                <a:gd name="T47" fmla="*/ 54 h 54"/>
                <a:gd name="T48" fmla="*/ 12 w 32"/>
                <a:gd name="T49" fmla="*/ 54 h 54"/>
                <a:gd name="T50" fmla="*/ 10 w 32"/>
                <a:gd name="T51" fmla="*/ 54 h 54"/>
                <a:gd name="T52" fmla="*/ 10 w 32"/>
                <a:gd name="T53" fmla="*/ 54 h 54"/>
                <a:gd name="T54" fmla="*/ 10 w 32"/>
                <a:gd name="T55" fmla="*/ 54 h 54"/>
                <a:gd name="T56" fmla="*/ 10 w 32"/>
                <a:gd name="T5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4">
                  <a:moveTo>
                    <a:pt x="10" y="54"/>
                  </a:moveTo>
                  <a:lnTo>
                    <a:pt x="10" y="54"/>
                  </a:lnTo>
                  <a:lnTo>
                    <a:pt x="8" y="54"/>
                  </a:lnTo>
                  <a:lnTo>
                    <a:pt x="4" y="42"/>
                  </a:lnTo>
                  <a:lnTo>
                    <a:pt x="0" y="26"/>
                  </a:lnTo>
                  <a:lnTo>
                    <a:pt x="0" y="26"/>
                  </a:lnTo>
                  <a:lnTo>
                    <a:pt x="0" y="26"/>
                  </a:lnTo>
                  <a:lnTo>
                    <a:pt x="8" y="12"/>
                  </a:lnTo>
                  <a:lnTo>
                    <a:pt x="16" y="4"/>
                  </a:lnTo>
                  <a:lnTo>
                    <a:pt x="20" y="0"/>
                  </a:lnTo>
                  <a:lnTo>
                    <a:pt x="20" y="0"/>
                  </a:lnTo>
                  <a:lnTo>
                    <a:pt x="22" y="0"/>
                  </a:lnTo>
                  <a:lnTo>
                    <a:pt x="22" y="0"/>
                  </a:lnTo>
                  <a:lnTo>
                    <a:pt x="22" y="0"/>
                  </a:lnTo>
                  <a:lnTo>
                    <a:pt x="30" y="4"/>
                  </a:lnTo>
                  <a:lnTo>
                    <a:pt x="30" y="4"/>
                  </a:lnTo>
                  <a:lnTo>
                    <a:pt x="32" y="6"/>
                  </a:lnTo>
                  <a:lnTo>
                    <a:pt x="28" y="20"/>
                  </a:lnTo>
                  <a:lnTo>
                    <a:pt x="24" y="28"/>
                  </a:lnTo>
                  <a:lnTo>
                    <a:pt x="22" y="36"/>
                  </a:lnTo>
                  <a:lnTo>
                    <a:pt x="18" y="48"/>
                  </a:lnTo>
                  <a:lnTo>
                    <a:pt x="18" y="48"/>
                  </a:lnTo>
                  <a:lnTo>
                    <a:pt x="18" y="48"/>
                  </a:lnTo>
                  <a:lnTo>
                    <a:pt x="12" y="54"/>
                  </a:lnTo>
                  <a:lnTo>
                    <a:pt x="12" y="54"/>
                  </a:lnTo>
                  <a:lnTo>
                    <a:pt x="10" y="54"/>
                  </a:lnTo>
                  <a:lnTo>
                    <a:pt x="10" y="54"/>
                  </a:lnTo>
                  <a:lnTo>
                    <a:pt x="10" y="54"/>
                  </a:lnTo>
                  <a:lnTo>
                    <a:pt x="1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4" name="Freeform 1062"/>
            <p:cNvSpPr>
              <a:spLocks noEditPoints="1"/>
            </p:cNvSpPr>
            <p:nvPr/>
          </p:nvSpPr>
          <p:spPr bwMode="auto">
            <a:xfrm>
              <a:off x="4557" y="2153"/>
              <a:ext cx="36" cy="58"/>
            </a:xfrm>
            <a:custGeom>
              <a:avLst/>
              <a:gdLst>
                <a:gd name="T0" fmla="*/ 24 w 36"/>
                <a:gd name="T1" fmla="*/ 4 h 58"/>
                <a:gd name="T2" fmla="*/ 32 w 36"/>
                <a:gd name="T3" fmla="*/ 8 h 58"/>
                <a:gd name="T4" fmla="*/ 28 w 36"/>
                <a:gd name="T5" fmla="*/ 20 h 58"/>
                <a:gd name="T6" fmla="*/ 24 w 36"/>
                <a:gd name="T7" fmla="*/ 30 h 58"/>
                <a:gd name="T8" fmla="*/ 22 w 36"/>
                <a:gd name="T9" fmla="*/ 38 h 58"/>
                <a:gd name="T10" fmla="*/ 18 w 36"/>
                <a:gd name="T11" fmla="*/ 48 h 58"/>
                <a:gd name="T12" fmla="*/ 12 w 36"/>
                <a:gd name="T13" fmla="*/ 54 h 58"/>
                <a:gd name="T14" fmla="*/ 8 w 36"/>
                <a:gd name="T15" fmla="*/ 44 h 58"/>
                <a:gd name="T16" fmla="*/ 4 w 36"/>
                <a:gd name="T17" fmla="*/ 28 h 58"/>
                <a:gd name="T18" fmla="*/ 10 w 36"/>
                <a:gd name="T19" fmla="*/ 16 h 58"/>
                <a:gd name="T20" fmla="*/ 20 w 36"/>
                <a:gd name="T21" fmla="*/ 8 h 58"/>
                <a:gd name="T22" fmla="*/ 24 w 36"/>
                <a:gd name="T23" fmla="*/ 4 h 58"/>
                <a:gd name="T24" fmla="*/ 24 w 36"/>
                <a:gd name="T25" fmla="*/ 0 h 58"/>
                <a:gd name="T26" fmla="*/ 24 w 36"/>
                <a:gd name="T27" fmla="*/ 0 h 58"/>
                <a:gd name="T28" fmla="*/ 22 w 36"/>
                <a:gd name="T29" fmla="*/ 2 h 58"/>
                <a:gd name="T30" fmla="*/ 18 w 36"/>
                <a:gd name="T31" fmla="*/ 4 h 58"/>
                <a:gd name="T32" fmla="*/ 8 w 36"/>
                <a:gd name="T33" fmla="*/ 12 h 58"/>
                <a:gd name="T34" fmla="*/ 8 w 36"/>
                <a:gd name="T35" fmla="*/ 12 h 58"/>
                <a:gd name="T36" fmla="*/ 8 w 36"/>
                <a:gd name="T37" fmla="*/ 14 h 58"/>
                <a:gd name="T38" fmla="*/ 0 w 36"/>
                <a:gd name="T39" fmla="*/ 26 h 58"/>
                <a:gd name="T40" fmla="*/ 0 w 36"/>
                <a:gd name="T41" fmla="*/ 26 h 58"/>
                <a:gd name="T42" fmla="*/ 0 w 36"/>
                <a:gd name="T43" fmla="*/ 30 h 58"/>
                <a:gd name="T44" fmla="*/ 4 w 36"/>
                <a:gd name="T45" fmla="*/ 44 h 58"/>
                <a:gd name="T46" fmla="*/ 4 w 36"/>
                <a:gd name="T47" fmla="*/ 44 h 58"/>
                <a:gd name="T48" fmla="*/ 4 w 36"/>
                <a:gd name="T49" fmla="*/ 46 h 58"/>
                <a:gd name="T50" fmla="*/ 10 w 36"/>
                <a:gd name="T51" fmla="*/ 56 h 58"/>
                <a:gd name="T52" fmla="*/ 10 w 36"/>
                <a:gd name="T53" fmla="*/ 56 h 58"/>
                <a:gd name="T54" fmla="*/ 12 w 36"/>
                <a:gd name="T55" fmla="*/ 58 h 58"/>
                <a:gd name="T56" fmla="*/ 12 w 36"/>
                <a:gd name="T57" fmla="*/ 58 h 58"/>
                <a:gd name="T58" fmla="*/ 12 w 36"/>
                <a:gd name="T59" fmla="*/ 58 h 58"/>
                <a:gd name="T60" fmla="*/ 12 w 36"/>
                <a:gd name="T61" fmla="*/ 58 h 58"/>
                <a:gd name="T62" fmla="*/ 16 w 36"/>
                <a:gd name="T63" fmla="*/ 58 h 58"/>
                <a:gd name="T64" fmla="*/ 22 w 36"/>
                <a:gd name="T65" fmla="*/ 52 h 58"/>
                <a:gd name="T66" fmla="*/ 22 w 36"/>
                <a:gd name="T67" fmla="*/ 52 h 58"/>
                <a:gd name="T68" fmla="*/ 22 w 36"/>
                <a:gd name="T69" fmla="*/ 50 h 58"/>
                <a:gd name="T70" fmla="*/ 26 w 36"/>
                <a:gd name="T71" fmla="*/ 38 h 58"/>
                <a:gd name="T72" fmla="*/ 28 w 36"/>
                <a:gd name="T73" fmla="*/ 32 h 58"/>
                <a:gd name="T74" fmla="*/ 32 w 36"/>
                <a:gd name="T75" fmla="*/ 22 h 58"/>
                <a:gd name="T76" fmla="*/ 32 w 36"/>
                <a:gd name="T77" fmla="*/ 22 h 58"/>
                <a:gd name="T78" fmla="*/ 32 w 36"/>
                <a:gd name="T79" fmla="*/ 22 h 58"/>
                <a:gd name="T80" fmla="*/ 36 w 36"/>
                <a:gd name="T81" fmla="*/ 8 h 58"/>
                <a:gd name="T82" fmla="*/ 36 w 36"/>
                <a:gd name="T83" fmla="*/ 8 h 58"/>
                <a:gd name="T84" fmla="*/ 34 w 36"/>
                <a:gd name="T85" fmla="*/ 6 h 58"/>
                <a:gd name="T86" fmla="*/ 34 w 36"/>
                <a:gd name="T87" fmla="*/ 4 h 58"/>
                <a:gd name="T88" fmla="*/ 26 w 36"/>
                <a:gd name="T89" fmla="*/ 0 h 58"/>
                <a:gd name="T90" fmla="*/ 26 w 36"/>
                <a:gd name="T91" fmla="*/ 0 h 58"/>
                <a:gd name="T92" fmla="*/ 24 w 36"/>
                <a:gd name="T93" fmla="*/ 0 h 58"/>
                <a:gd name="T94" fmla="*/ 24 w 36"/>
                <a:gd name="T9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58">
                  <a:moveTo>
                    <a:pt x="24" y="4"/>
                  </a:moveTo>
                  <a:lnTo>
                    <a:pt x="32" y="8"/>
                  </a:lnTo>
                  <a:lnTo>
                    <a:pt x="28" y="20"/>
                  </a:lnTo>
                  <a:lnTo>
                    <a:pt x="24" y="30"/>
                  </a:lnTo>
                  <a:lnTo>
                    <a:pt x="22" y="38"/>
                  </a:lnTo>
                  <a:lnTo>
                    <a:pt x="18" y="48"/>
                  </a:lnTo>
                  <a:lnTo>
                    <a:pt x="12" y="54"/>
                  </a:lnTo>
                  <a:lnTo>
                    <a:pt x="8" y="44"/>
                  </a:lnTo>
                  <a:lnTo>
                    <a:pt x="4" y="28"/>
                  </a:lnTo>
                  <a:lnTo>
                    <a:pt x="10" y="16"/>
                  </a:lnTo>
                  <a:lnTo>
                    <a:pt x="20" y="8"/>
                  </a:lnTo>
                  <a:lnTo>
                    <a:pt x="24" y="4"/>
                  </a:lnTo>
                  <a:close/>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 name="Freeform 1063"/>
            <p:cNvSpPr>
              <a:spLocks/>
            </p:cNvSpPr>
            <p:nvPr/>
          </p:nvSpPr>
          <p:spPr bwMode="auto">
            <a:xfrm>
              <a:off x="4561" y="2157"/>
              <a:ext cx="28" cy="50"/>
            </a:xfrm>
            <a:custGeom>
              <a:avLst/>
              <a:gdLst>
                <a:gd name="T0" fmla="*/ 20 w 28"/>
                <a:gd name="T1" fmla="*/ 0 h 50"/>
                <a:gd name="T2" fmla="*/ 28 w 28"/>
                <a:gd name="T3" fmla="*/ 4 h 50"/>
                <a:gd name="T4" fmla="*/ 24 w 28"/>
                <a:gd name="T5" fmla="*/ 16 h 50"/>
                <a:gd name="T6" fmla="*/ 20 w 28"/>
                <a:gd name="T7" fmla="*/ 26 h 50"/>
                <a:gd name="T8" fmla="*/ 18 w 28"/>
                <a:gd name="T9" fmla="*/ 34 h 50"/>
                <a:gd name="T10" fmla="*/ 14 w 28"/>
                <a:gd name="T11" fmla="*/ 44 h 50"/>
                <a:gd name="T12" fmla="*/ 8 w 28"/>
                <a:gd name="T13" fmla="*/ 50 h 50"/>
                <a:gd name="T14" fmla="*/ 4 w 28"/>
                <a:gd name="T15" fmla="*/ 40 h 50"/>
                <a:gd name="T16" fmla="*/ 0 w 28"/>
                <a:gd name="T17" fmla="*/ 24 h 50"/>
                <a:gd name="T18" fmla="*/ 6 w 28"/>
                <a:gd name="T19" fmla="*/ 12 h 50"/>
                <a:gd name="T20" fmla="*/ 16 w 28"/>
                <a:gd name="T21" fmla="*/ 4 h 50"/>
                <a:gd name="T22" fmla="*/ 20 w 28"/>
                <a:gd name="T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50">
                  <a:moveTo>
                    <a:pt x="20" y="0"/>
                  </a:moveTo>
                  <a:lnTo>
                    <a:pt x="28" y="4"/>
                  </a:lnTo>
                  <a:lnTo>
                    <a:pt x="24" y="16"/>
                  </a:lnTo>
                  <a:lnTo>
                    <a:pt x="20" y="26"/>
                  </a:lnTo>
                  <a:lnTo>
                    <a:pt x="18" y="34"/>
                  </a:lnTo>
                  <a:lnTo>
                    <a:pt x="14" y="44"/>
                  </a:lnTo>
                  <a:lnTo>
                    <a:pt x="8" y="50"/>
                  </a:lnTo>
                  <a:lnTo>
                    <a:pt x="4" y="40"/>
                  </a:lnTo>
                  <a:lnTo>
                    <a:pt x="0" y="24"/>
                  </a:lnTo>
                  <a:lnTo>
                    <a:pt x="6" y="12"/>
                  </a:lnTo>
                  <a:lnTo>
                    <a:pt x="16" y="4"/>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6" name="Freeform 1064"/>
            <p:cNvSpPr>
              <a:spLocks/>
            </p:cNvSpPr>
            <p:nvPr/>
          </p:nvSpPr>
          <p:spPr bwMode="auto">
            <a:xfrm>
              <a:off x="4557" y="2153"/>
              <a:ext cx="36" cy="58"/>
            </a:xfrm>
            <a:custGeom>
              <a:avLst/>
              <a:gdLst>
                <a:gd name="T0" fmla="*/ 24 w 36"/>
                <a:gd name="T1" fmla="*/ 0 h 58"/>
                <a:gd name="T2" fmla="*/ 24 w 36"/>
                <a:gd name="T3" fmla="*/ 0 h 58"/>
                <a:gd name="T4" fmla="*/ 22 w 36"/>
                <a:gd name="T5" fmla="*/ 2 h 58"/>
                <a:gd name="T6" fmla="*/ 18 w 36"/>
                <a:gd name="T7" fmla="*/ 4 h 58"/>
                <a:gd name="T8" fmla="*/ 8 w 36"/>
                <a:gd name="T9" fmla="*/ 12 h 58"/>
                <a:gd name="T10" fmla="*/ 8 w 36"/>
                <a:gd name="T11" fmla="*/ 12 h 58"/>
                <a:gd name="T12" fmla="*/ 8 w 36"/>
                <a:gd name="T13" fmla="*/ 14 h 58"/>
                <a:gd name="T14" fmla="*/ 0 w 36"/>
                <a:gd name="T15" fmla="*/ 26 h 58"/>
                <a:gd name="T16" fmla="*/ 0 w 36"/>
                <a:gd name="T17" fmla="*/ 26 h 58"/>
                <a:gd name="T18" fmla="*/ 0 w 36"/>
                <a:gd name="T19" fmla="*/ 30 h 58"/>
                <a:gd name="T20" fmla="*/ 4 w 36"/>
                <a:gd name="T21" fmla="*/ 44 h 58"/>
                <a:gd name="T22" fmla="*/ 4 w 36"/>
                <a:gd name="T23" fmla="*/ 44 h 58"/>
                <a:gd name="T24" fmla="*/ 4 w 36"/>
                <a:gd name="T25" fmla="*/ 46 h 58"/>
                <a:gd name="T26" fmla="*/ 10 w 36"/>
                <a:gd name="T27" fmla="*/ 56 h 58"/>
                <a:gd name="T28" fmla="*/ 10 w 36"/>
                <a:gd name="T29" fmla="*/ 56 h 58"/>
                <a:gd name="T30" fmla="*/ 12 w 36"/>
                <a:gd name="T31" fmla="*/ 58 h 58"/>
                <a:gd name="T32" fmla="*/ 12 w 36"/>
                <a:gd name="T33" fmla="*/ 58 h 58"/>
                <a:gd name="T34" fmla="*/ 12 w 36"/>
                <a:gd name="T35" fmla="*/ 58 h 58"/>
                <a:gd name="T36" fmla="*/ 12 w 36"/>
                <a:gd name="T37" fmla="*/ 58 h 58"/>
                <a:gd name="T38" fmla="*/ 16 w 36"/>
                <a:gd name="T39" fmla="*/ 58 h 58"/>
                <a:gd name="T40" fmla="*/ 22 w 36"/>
                <a:gd name="T41" fmla="*/ 52 h 58"/>
                <a:gd name="T42" fmla="*/ 22 w 36"/>
                <a:gd name="T43" fmla="*/ 52 h 58"/>
                <a:gd name="T44" fmla="*/ 22 w 36"/>
                <a:gd name="T45" fmla="*/ 50 h 58"/>
                <a:gd name="T46" fmla="*/ 26 w 36"/>
                <a:gd name="T47" fmla="*/ 38 h 58"/>
                <a:gd name="T48" fmla="*/ 28 w 36"/>
                <a:gd name="T49" fmla="*/ 32 h 58"/>
                <a:gd name="T50" fmla="*/ 32 w 36"/>
                <a:gd name="T51" fmla="*/ 22 h 58"/>
                <a:gd name="T52" fmla="*/ 32 w 36"/>
                <a:gd name="T53" fmla="*/ 22 h 58"/>
                <a:gd name="T54" fmla="*/ 32 w 36"/>
                <a:gd name="T55" fmla="*/ 22 h 58"/>
                <a:gd name="T56" fmla="*/ 36 w 36"/>
                <a:gd name="T57" fmla="*/ 8 h 58"/>
                <a:gd name="T58" fmla="*/ 36 w 36"/>
                <a:gd name="T59" fmla="*/ 8 h 58"/>
                <a:gd name="T60" fmla="*/ 34 w 36"/>
                <a:gd name="T61" fmla="*/ 6 h 58"/>
                <a:gd name="T62" fmla="*/ 34 w 36"/>
                <a:gd name="T63" fmla="*/ 4 h 58"/>
                <a:gd name="T64" fmla="*/ 26 w 36"/>
                <a:gd name="T65" fmla="*/ 0 h 58"/>
                <a:gd name="T66" fmla="*/ 26 w 36"/>
                <a:gd name="T67" fmla="*/ 0 h 58"/>
                <a:gd name="T68" fmla="*/ 24 w 36"/>
                <a:gd name="T69" fmla="*/ 0 h 58"/>
                <a:gd name="T70" fmla="*/ 24 w 36"/>
                <a:gd name="T7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58">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7" name="Freeform 1065"/>
            <p:cNvSpPr>
              <a:spLocks/>
            </p:cNvSpPr>
            <p:nvPr/>
          </p:nvSpPr>
          <p:spPr bwMode="auto">
            <a:xfrm>
              <a:off x="4397" y="2233"/>
              <a:ext cx="36" cy="32"/>
            </a:xfrm>
            <a:custGeom>
              <a:avLst/>
              <a:gdLst>
                <a:gd name="T0" fmla="*/ 14 w 36"/>
                <a:gd name="T1" fmla="*/ 32 h 32"/>
                <a:gd name="T2" fmla="*/ 6 w 36"/>
                <a:gd name="T3" fmla="*/ 30 h 32"/>
                <a:gd name="T4" fmla="*/ 6 w 36"/>
                <a:gd name="T5" fmla="*/ 30 h 32"/>
                <a:gd name="T6" fmla="*/ 4 w 36"/>
                <a:gd name="T7" fmla="*/ 30 h 32"/>
                <a:gd name="T8" fmla="*/ 0 w 36"/>
                <a:gd name="T9" fmla="*/ 22 h 32"/>
                <a:gd name="T10" fmla="*/ 0 w 36"/>
                <a:gd name="T11" fmla="*/ 22 h 32"/>
                <a:gd name="T12" fmla="*/ 0 w 36"/>
                <a:gd name="T13" fmla="*/ 22 h 32"/>
                <a:gd name="T14" fmla="*/ 0 w 36"/>
                <a:gd name="T15" fmla="*/ 12 h 32"/>
                <a:gd name="T16" fmla="*/ 0 w 36"/>
                <a:gd name="T17" fmla="*/ 12 h 32"/>
                <a:gd name="T18" fmla="*/ 0 w 36"/>
                <a:gd name="T19" fmla="*/ 10 h 32"/>
                <a:gd name="T20" fmla="*/ 10 w 36"/>
                <a:gd name="T21" fmla="*/ 6 h 32"/>
                <a:gd name="T22" fmla="*/ 18 w 36"/>
                <a:gd name="T23" fmla="*/ 0 h 32"/>
                <a:gd name="T24" fmla="*/ 18 w 36"/>
                <a:gd name="T25" fmla="*/ 0 h 32"/>
                <a:gd name="T26" fmla="*/ 18 w 36"/>
                <a:gd name="T27" fmla="*/ 0 h 32"/>
                <a:gd name="T28" fmla="*/ 28 w 36"/>
                <a:gd name="T29" fmla="*/ 0 h 32"/>
                <a:gd name="T30" fmla="*/ 36 w 36"/>
                <a:gd name="T31" fmla="*/ 2 h 32"/>
                <a:gd name="T32" fmla="*/ 36 w 36"/>
                <a:gd name="T33" fmla="*/ 2 h 32"/>
                <a:gd name="T34" fmla="*/ 36 w 36"/>
                <a:gd name="T35" fmla="*/ 4 h 32"/>
                <a:gd name="T36" fmla="*/ 36 w 36"/>
                <a:gd name="T37" fmla="*/ 4 h 32"/>
                <a:gd name="T38" fmla="*/ 36 w 36"/>
                <a:gd name="T39" fmla="*/ 6 h 32"/>
                <a:gd name="T40" fmla="*/ 30 w 36"/>
                <a:gd name="T41" fmla="*/ 16 h 32"/>
                <a:gd name="T42" fmla="*/ 30 w 36"/>
                <a:gd name="T43" fmla="*/ 24 h 32"/>
                <a:gd name="T44" fmla="*/ 30 w 36"/>
                <a:gd name="T45" fmla="*/ 24 h 32"/>
                <a:gd name="T46" fmla="*/ 28 w 36"/>
                <a:gd name="T47" fmla="*/ 26 h 32"/>
                <a:gd name="T48" fmla="*/ 22 w 36"/>
                <a:gd name="T49" fmla="*/ 28 h 32"/>
                <a:gd name="T50" fmla="*/ 16 w 36"/>
                <a:gd name="T51" fmla="*/ 32 h 32"/>
                <a:gd name="T52" fmla="*/ 16 w 36"/>
                <a:gd name="T53" fmla="*/ 32 h 32"/>
                <a:gd name="T54" fmla="*/ 16 w 36"/>
                <a:gd name="T55" fmla="*/ 32 h 32"/>
                <a:gd name="T56" fmla="*/ 16 w 36"/>
                <a:gd name="T57" fmla="*/ 32 h 32"/>
                <a:gd name="T58" fmla="*/ 14 w 36"/>
                <a:gd name="T59" fmla="*/ 32 h 32"/>
                <a:gd name="T60" fmla="*/ 14 w 3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2">
                  <a:moveTo>
                    <a:pt x="14" y="32"/>
                  </a:moveTo>
                  <a:lnTo>
                    <a:pt x="6" y="30"/>
                  </a:lnTo>
                  <a:lnTo>
                    <a:pt x="6" y="30"/>
                  </a:lnTo>
                  <a:lnTo>
                    <a:pt x="4" y="30"/>
                  </a:lnTo>
                  <a:lnTo>
                    <a:pt x="0" y="22"/>
                  </a:lnTo>
                  <a:lnTo>
                    <a:pt x="0" y="22"/>
                  </a:lnTo>
                  <a:lnTo>
                    <a:pt x="0" y="22"/>
                  </a:lnTo>
                  <a:lnTo>
                    <a:pt x="0" y="12"/>
                  </a:lnTo>
                  <a:lnTo>
                    <a:pt x="0" y="12"/>
                  </a:lnTo>
                  <a:lnTo>
                    <a:pt x="0" y="10"/>
                  </a:lnTo>
                  <a:lnTo>
                    <a:pt x="10" y="6"/>
                  </a:lnTo>
                  <a:lnTo>
                    <a:pt x="18" y="0"/>
                  </a:lnTo>
                  <a:lnTo>
                    <a:pt x="18" y="0"/>
                  </a:lnTo>
                  <a:lnTo>
                    <a:pt x="18" y="0"/>
                  </a:lnTo>
                  <a:lnTo>
                    <a:pt x="28" y="0"/>
                  </a:lnTo>
                  <a:lnTo>
                    <a:pt x="36" y="2"/>
                  </a:lnTo>
                  <a:lnTo>
                    <a:pt x="36" y="2"/>
                  </a:lnTo>
                  <a:lnTo>
                    <a:pt x="36" y="4"/>
                  </a:lnTo>
                  <a:lnTo>
                    <a:pt x="36" y="4"/>
                  </a:lnTo>
                  <a:lnTo>
                    <a:pt x="36" y="6"/>
                  </a:lnTo>
                  <a:lnTo>
                    <a:pt x="30" y="16"/>
                  </a:lnTo>
                  <a:lnTo>
                    <a:pt x="30" y="24"/>
                  </a:lnTo>
                  <a:lnTo>
                    <a:pt x="30" y="24"/>
                  </a:lnTo>
                  <a:lnTo>
                    <a:pt x="28" y="26"/>
                  </a:lnTo>
                  <a:lnTo>
                    <a:pt x="22" y="28"/>
                  </a:lnTo>
                  <a:lnTo>
                    <a:pt x="16" y="32"/>
                  </a:lnTo>
                  <a:lnTo>
                    <a:pt x="16" y="32"/>
                  </a:lnTo>
                  <a:lnTo>
                    <a:pt x="16" y="32"/>
                  </a:lnTo>
                  <a:lnTo>
                    <a:pt x="16"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8" name="Freeform 1066"/>
            <p:cNvSpPr>
              <a:spLocks noEditPoints="1"/>
            </p:cNvSpPr>
            <p:nvPr/>
          </p:nvSpPr>
          <p:spPr bwMode="auto">
            <a:xfrm>
              <a:off x="4395" y="2231"/>
              <a:ext cx="40" cy="36"/>
            </a:xfrm>
            <a:custGeom>
              <a:avLst/>
              <a:gdLst>
                <a:gd name="T0" fmla="*/ 30 w 40"/>
                <a:gd name="T1" fmla="*/ 4 h 36"/>
                <a:gd name="T2" fmla="*/ 36 w 40"/>
                <a:gd name="T3" fmla="*/ 6 h 36"/>
                <a:gd name="T4" fmla="*/ 34 w 40"/>
                <a:gd name="T5" fmla="*/ 12 h 36"/>
                <a:gd name="T6" fmla="*/ 30 w 40"/>
                <a:gd name="T7" fmla="*/ 18 h 36"/>
                <a:gd name="T8" fmla="*/ 30 w 40"/>
                <a:gd name="T9" fmla="*/ 26 h 36"/>
                <a:gd name="T10" fmla="*/ 22 w 40"/>
                <a:gd name="T11" fmla="*/ 28 h 36"/>
                <a:gd name="T12" fmla="*/ 18 w 40"/>
                <a:gd name="T13" fmla="*/ 32 h 36"/>
                <a:gd name="T14" fmla="*/ 8 w 40"/>
                <a:gd name="T15" fmla="*/ 30 h 36"/>
                <a:gd name="T16" fmla="*/ 4 w 40"/>
                <a:gd name="T17" fmla="*/ 24 h 36"/>
                <a:gd name="T18" fmla="*/ 4 w 40"/>
                <a:gd name="T19" fmla="*/ 14 h 36"/>
                <a:gd name="T20" fmla="*/ 12 w 40"/>
                <a:gd name="T21" fmla="*/ 10 h 36"/>
                <a:gd name="T22" fmla="*/ 20 w 40"/>
                <a:gd name="T23" fmla="*/ 4 h 36"/>
                <a:gd name="T24" fmla="*/ 30 w 40"/>
                <a:gd name="T25" fmla="*/ 4 h 36"/>
                <a:gd name="T26" fmla="*/ 30 w 40"/>
                <a:gd name="T27" fmla="*/ 0 h 36"/>
                <a:gd name="T28" fmla="*/ 20 w 40"/>
                <a:gd name="T29" fmla="*/ 0 h 36"/>
                <a:gd name="T30" fmla="*/ 20 w 40"/>
                <a:gd name="T31" fmla="*/ 0 h 36"/>
                <a:gd name="T32" fmla="*/ 18 w 40"/>
                <a:gd name="T33" fmla="*/ 2 h 36"/>
                <a:gd name="T34" fmla="*/ 10 w 40"/>
                <a:gd name="T35" fmla="*/ 6 h 36"/>
                <a:gd name="T36" fmla="*/ 2 w 40"/>
                <a:gd name="T37" fmla="*/ 10 h 36"/>
                <a:gd name="T38" fmla="*/ 2 w 40"/>
                <a:gd name="T39" fmla="*/ 10 h 36"/>
                <a:gd name="T40" fmla="*/ 0 w 40"/>
                <a:gd name="T41" fmla="*/ 12 h 36"/>
                <a:gd name="T42" fmla="*/ 0 w 40"/>
                <a:gd name="T43" fmla="*/ 14 h 36"/>
                <a:gd name="T44" fmla="*/ 0 w 40"/>
                <a:gd name="T45" fmla="*/ 24 h 36"/>
                <a:gd name="T46" fmla="*/ 0 w 40"/>
                <a:gd name="T47" fmla="*/ 24 h 36"/>
                <a:gd name="T48" fmla="*/ 0 w 40"/>
                <a:gd name="T49" fmla="*/ 26 h 36"/>
                <a:gd name="T50" fmla="*/ 6 w 40"/>
                <a:gd name="T51" fmla="*/ 34 h 36"/>
                <a:gd name="T52" fmla="*/ 6 w 40"/>
                <a:gd name="T53" fmla="*/ 34 h 36"/>
                <a:gd name="T54" fmla="*/ 8 w 40"/>
                <a:gd name="T55" fmla="*/ 34 h 36"/>
                <a:gd name="T56" fmla="*/ 16 w 40"/>
                <a:gd name="T57" fmla="*/ 36 h 36"/>
                <a:gd name="T58" fmla="*/ 16 w 40"/>
                <a:gd name="T59" fmla="*/ 36 h 36"/>
                <a:gd name="T60" fmla="*/ 18 w 40"/>
                <a:gd name="T61" fmla="*/ 36 h 36"/>
                <a:gd name="T62" fmla="*/ 18 w 40"/>
                <a:gd name="T63" fmla="*/ 36 h 36"/>
                <a:gd name="T64" fmla="*/ 20 w 40"/>
                <a:gd name="T65" fmla="*/ 36 h 36"/>
                <a:gd name="T66" fmla="*/ 24 w 40"/>
                <a:gd name="T67" fmla="*/ 32 h 36"/>
                <a:gd name="T68" fmla="*/ 30 w 40"/>
                <a:gd name="T69" fmla="*/ 30 h 36"/>
                <a:gd name="T70" fmla="*/ 30 w 40"/>
                <a:gd name="T71" fmla="*/ 30 h 36"/>
                <a:gd name="T72" fmla="*/ 32 w 40"/>
                <a:gd name="T73" fmla="*/ 30 h 36"/>
                <a:gd name="T74" fmla="*/ 34 w 40"/>
                <a:gd name="T75" fmla="*/ 26 h 36"/>
                <a:gd name="T76" fmla="*/ 34 w 40"/>
                <a:gd name="T77" fmla="*/ 18 h 36"/>
                <a:gd name="T78" fmla="*/ 36 w 40"/>
                <a:gd name="T79" fmla="*/ 14 h 36"/>
                <a:gd name="T80" fmla="*/ 40 w 40"/>
                <a:gd name="T81" fmla="*/ 8 h 36"/>
                <a:gd name="T82" fmla="*/ 40 w 40"/>
                <a:gd name="T83" fmla="*/ 8 h 36"/>
                <a:gd name="T84" fmla="*/ 40 w 40"/>
                <a:gd name="T85" fmla="*/ 4 h 36"/>
                <a:gd name="T86" fmla="*/ 40 w 40"/>
                <a:gd name="T87" fmla="*/ 4 h 36"/>
                <a:gd name="T88" fmla="*/ 38 w 40"/>
                <a:gd name="T89" fmla="*/ 2 h 36"/>
                <a:gd name="T90" fmla="*/ 30 w 40"/>
                <a:gd name="T91" fmla="*/ 0 h 36"/>
                <a:gd name="T92" fmla="*/ 30 w 40"/>
                <a:gd name="T93" fmla="*/ 0 h 36"/>
                <a:gd name="T94" fmla="*/ 30 w 40"/>
                <a:gd name="T95" fmla="*/ 0 h 36"/>
                <a:gd name="T96" fmla="*/ 30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30" y="4"/>
                  </a:moveTo>
                  <a:lnTo>
                    <a:pt x="36" y="6"/>
                  </a:lnTo>
                  <a:lnTo>
                    <a:pt x="34" y="12"/>
                  </a:lnTo>
                  <a:lnTo>
                    <a:pt x="30" y="18"/>
                  </a:lnTo>
                  <a:lnTo>
                    <a:pt x="30" y="26"/>
                  </a:lnTo>
                  <a:lnTo>
                    <a:pt x="22" y="28"/>
                  </a:lnTo>
                  <a:lnTo>
                    <a:pt x="18" y="32"/>
                  </a:lnTo>
                  <a:lnTo>
                    <a:pt x="8" y="30"/>
                  </a:lnTo>
                  <a:lnTo>
                    <a:pt x="4" y="24"/>
                  </a:lnTo>
                  <a:lnTo>
                    <a:pt x="4" y="14"/>
                  </a:lnTo>
                  <a:lnTo>
                    <a:pt x="12" y="10"/>
                  </a:lnTo>
                  <a:lnTo>
                    <a:pt x="20" y="4"/>
                  </a:lnTo>
                  <a:lnTo>
                    <a:pt x="30" y="4"/>
                  </a:lnTo>
                  <a:close/>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 name="Freeform 1067"/>
            <p:cNvSpPr>
              <a:spLocks/>
            </p:cNvSpPr>
            <p:nvPr/>
          </p:nvSpPr>
          <p:spPr bwMode="auto">
            <a:xfrm>
              <a:off x="4399" y="2235"/>
              <a:ext cx="32" cy="28"/>
            </a:xfrm>
            <a:custGeom>
              <a:avLst/>
              <a:gdLst>
                <a:gd name="T0" fmla="*/ 26 w 32"/>
                <a:gd name="T1" fmla="*/ 0 h 28"/>
                <a:gd name="T2" fmla="*/ 32 w 32"/>
                <a:gd name="T3" fmla="*/ 2 h 28"/>
                <a:gd name="T4" fmla="*/ 30 w 32"/>
                <a:gd name="T5" fmla="*/ 8 h 28"/>
                <a:gd name="T6" fmla="*/ 26 w 32"/>
                <a:gd name="T7" fmla="*/ 14 h 28"/>
                <a:gd name="T8" fmla="*/ 26 w 32"/>
                <a:gd name="T9" fmla="*/ 22 h 28"/>
                <a:gd name="T10" fmla="*/ 18 w 32"/>
                <a:gd name="T11" fmla="*/ 24 h 28"/>
                <a:gd name="T12" fmla="*/ 14 w 32"/>
                <a:gd name="T13" fmla="*/ 28 h 28"/>
                <a:gd name="T14" fmla="*/ 4 w 32"/>
                <a:gd name="T15" fmla="*/ 26 h 28"/>
                <a:gd name="T16" fmla="*/ 0 w 32"/>
                <a:gd name="T17" fmla="*/ 20 h 28"/>
                <a:gd name="T18" fmla="*/ 0 w 32"/>
                <a:gd name="T19" fmla="*/ 10 h 28"/>
                <a:gd name="T20" fmla="*/ 8 w 32"/>
                <a:gd name="T21" fmla="*/ 6 h 28"/>
                <a:gd name="T22" fmla="*/ 16 w 32"/>
                <a:gd name="T23" fmla="*/ 0 h 28"/>
                <a:gd name="T24" fmla="*/ 26 w 32"/>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8">
                  <a:moveTo>
                    <a:pt x="26" y="0"/>
                  </a:moveTo>
                  <a:lnTo>
                    <a:pt x="32" y="2"/>
                  </a:lnTo>
                  <a:lnTo>
                    <a:pt x="30" y="8"/>
                  </a:lnTo>
                  <a:lnTo>
                    <a:pt x="26" y="14"/>
                  </a:lnTo>
                  <a:lnTo>
                    <a:pt x="26" y="22"/>
                  </a:lnTo>
                  <a:lnTo>
                    <a:pt x="18" y="24"/>
                  </a:lnTo>
                  <a:lnTo>
                    <a:pt x="14" y="28"/>
                  </a:lnTo>
                  <a:lnTo>
                    <a:pt x="4" y="26"/>
                  </a:lnTo>
                  <a:lnTo>
                    <a:pt x="0" y="20"/>
                  </a:lnTo>
                  <a:lnTo>
                    <a:pt x="0" y="10"/>
                  </a:lnTo>
                  <a:lnTo>
                    <a:pt x="8" y="6"/>
                  </a:lnTo>
                  <a:lnTo>
                    <a:pt x="1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0" name="Freeform 1068"/>
            <p:cNvSpPr>
              <a:spLocks/>
            </p:cNvSpPr>
            <p:nvPr/>
          </p:nvSpPr>
          <p:spPr bwMode="auto">
            <a:xfrm>
              <a:off x="4395" y="2231"/>
              <a:ext cx="40" cy="36"/>
            </a:xfrm>
            <a:custGeom>
              <a:avLst/>
              <a:gdLst>
                <a:gd name="T0" fmla="*/ 30 w 40"/>
                <a:gd name="T1" fmla="*/ 0 h 36"/>
                <a:gd name="T2" fmla="*/ 20 w 40"/>
                <a:gd name="T3" fmla="*/ 0 h 36"/>
                <a:gd name="T4" fmla="*/ 20 w 40"/>
                <a:gd name="T5" fmla="*/ 0 h 36"/>
                <a:gd name="T6" fmla="*/ 18 w 40"/>
                <a:gd name="T7" fmla="*/ 2 h 36"/>
                <a:gd name="T8" fmla="*/ 10 w 40"/>
                <a:gd name="T9" fmla="*/ 6 h 36"/>
                <a:gd name="T10" fmla="*/ 2 w 40"/>
                <a:gd name="T11" fmla="*/ 10 h 36"/>
                <a:gd name="T12" fmla="*/ 2 w 40"/>
                <a:gd name="T13" fmla="*/ 10 h 36"/>
                <a:gd name="T14" fmla="*/ 0 w 40"/>
                <a:gd name="T15" fmla="*/ 12 h 36"/>
                <a:gd name="T16" fmla="*/ 0 w 40"/>
                <a:gd name="T17" fmla="*/ 14 h 36"/>
                <a:gd name="T18" fmla="*/ 0 w 40"/>
                <a:gd name="T19" fmla="*/ 24 h 36"/>
                <a:gd name="T20" fmla="*/ 0 w 40"/>
                <a:gd name="T21" fmla="*/ 24 h 36"/>
                <a:gd name="T22" fmla="*/ 0 w 40"/>
                <a:gd name="T23" fmla="*/ 26 h 36"/>
                <a:gd name="T24" fmla="*/ 6 w 40"/>
                <a:gd name="T25" fmla="*/ 34 h 36"/>
                <a:gd name="T26" fmla="*/ 6 w 40"/>
                <a:gd name="T27" fmla="*/ 34 h 36"/>
                <a:gd name="T28" fmla="*/ 8 w 40"/>
                <a:gd name="T29" fmla="*/ 34 h 36"/>
                <a:gd name="T30" fmla="*/ 16 w 40"/>
                <a:gd name="T31" fmla="*/ 36 h 36"/>
                <a:gd name="T32" fmla="*/ 16 w 40"/>
                <a:gd name="T33" fmla="*/ 36 h 36"/>
                <a:gd name="T34" fmla="*/ 18 w 40"/>
                <a:gd name="T35" fmla="*/ 36 h 36"/>
                <a:gd name="T36" fmla="*/ 18 w 40"/>
                <a:gd name="T37" fmla="*/ 36 h 36"/>
                <a:gd name="T38" fmla="*/ 20 w 40"/>
                <a:gd name="T39" fmla="*/ 36 h 36"/>
                <a:gd name="T40" fmla="*/ 24 w 40"/>
                <a:gd name="T41" fmla="*/ 32 h 36"/>
                <a:gd name="T42" fmla="*/ 30 w 40"/>
                <a:gd name="T43" fmla="*/ 30 h 36"/>
                <a:gd name="T44" fmla="*/ 30 w 40"/>
                <a:gd name="T45" fmla="*/ 30 h 36"/>
                <a:gd name="T46" fmla="*/ 32 w 40"/>
                <a:gd name="T47" fmla="*/ 30 h 36"/>
                <a:gd name="T48" fmla="*/ 34 w 40"/>
                <a:gd name="T49" fmla="*/ 26 h 36"/>
                <a:gd name="T50" fmla="*/ 34 w 40"/>
                <a:gd name="T51" fmla="*/ 18 h 36"/>
                <a:gd name="T52" fmla="*/ 36 w 40"/>
                <a:gd name="T53" fmla="*/ 14 h 36"/>
                <a:gd name="T54" fmla="*/ 40 w 40"/>
                <a:gd name="T55" fmla="*/ 8 h 36"/>
                <a:gd name="T56" fmla="*/ 40 w 40"/>
                <a:gd name="T57" fmla="*/ 8 h 36"/>
                <a:gd name="T58" fmla="*/ 40 w 40"/>
                <a:gd name="T59" fmla="*/ 4 h 36"/>
                <a:gd name="T60" fmla="*/ 40 w 40"/>
                <a:gd name="T61" fmla="*/ 4 h 36"/>
                <a:gd name="T62" fmla="*/ 38 w 40"/>
                <a:gd name="T63" fmla="*/ 2 h 36"/>
                <a:gd name="T64" fmla="*/ 30 w 40"/>
                <a:gd name="T65" fmla="*/ 0 h 36"/>
                <a:gd name="T66" fmla="*/ 30 w 40"/>
                <a:gd name="T67" fmla="*/ 0 h 36"/>
                <a:gd name="T68" fmla="*/ 30 w 40"/>
                <a:gd name="T69" fmla="*/ 0 h 36"/>
                <a:gd name="T70" fmla="*/ 30 w 40"/>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36">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1" name="Freeform 1069"/>
            <p:cNvSpPr>
              <a:spLocks/>
            </p:cNvSpPr>
            <p:nvPr/>
          </p:nvSpPr>
          <p:spPr bwMode="auto">
            <a:xfrm>
              <a:off x="4839" y="1829"/>
              <a:ext cx="86" cy="78"/>
            </a:xfrm>
            <a:custGeom>
              <a:avLst/>
              <a:gdLst>
                <a:gd name="T0" fmla="*/ 2 w 86"/>
                <a:gd name="T1" fmla="*/ 78 h 78"/>
                <a:gd name="T2" fmla="*/ 2 w 86"/>
                <a:gd name="T3" fmla="*/ 78 h 78"/>
                <a:gd name="T4" fmla="*/ 0 w 86"/>
                <a:gd name="T5" fmla="*/ 66 h 78"/>
                <a:gd name="T6" fmla="*/ 0 w 86"/>
                <a:gd name="T7" fmla="*/ 52 h 78"/>
                <a:gd name="T8" fmla="*/ 0 w 86"/>
                <a:gd name="T9" fmla="*/ 50 h 78"/>
                <a:gd name="T10" fmla="*/ 8 w 86"/>
                <a:gd name="T11" fmla="*/ 44 h 78"/>
                <a:gd name="T12" fmla="*/ 8 w 86"/>
                <a:gd name="T13" fmla="*/ 38 h 78"/>
                <a:gd name="T14" fmla="*/ 16 w 86"/>
                <a:gd name="T15" fmla="*/ 36 h 78"/>
                <a:gd name="T16" fmla="*/ 16 w 86"/>
                <a:gd name="T17" fmla="*/ 36 h 78"/>
                <a:gd name="T18" fmla="*/ 24 w 86"/>
                <a:gd name="T19" fmla="*/ 38 h 78"/>
                <a:gd name="T20" fmla="*/ 26 w 86"/>
                <a:gd name="T21" fmla="*/ 2 h 78"/>
                <a:gd name="T22" fmla="*/ 28 w 86"/>
                <a:gd name="T23" fmla="*/ 0 h 78"/>
                <a:gd name="T24" fmla="*/ 28 w 86"/>
                <a:gd name="T25" fmla="*/ 0 h 78"/>
                <a:gd name="T26" fmla="*/ 30 w 86"/>
                <a:gd name="T27" fmla="*/ 2 h 78"/>
                <a:gd name="T28" fmla="*/ 46 w 86"/>
                <a:gd name="T29" fmla="*/ 16 h 78"/>
                <a:gd name="T30" fmla="*/ 70 w 86"/>
                <a:gd name="T31" fmla="*/ 28 h 78"/>
                <a:gd name="T32" fmla="*/ 76 w 86"/>
                <a:gd name="T33" fmla="*/ 24 h 78"/>
                <a:gd name="T34" fmla="*/ 84 w 86"/>
                <a:gd name="T35" fmla="*/ 24 h 78"/>
                <a:gd name="T36" fmla="*/ 86 w 86"/>
                <a:gd name="T37" fmla="*/ 24 h 78"/>
                <a:gd name="T38" fmla="*/ 84 w 86"/>
                <a:gd name="T39" fmla="*/ 26 h 78"/>
                <a:gd name="T40" fmla="*/ 84 w 86"/>
                <a:gd name="T41" fmla="*/ 36 h 78"/>
                <a:gd name="T42" fmla="*/ 86 w 86"/>
                <a:gd name="T43" fmla="*/ 38 h 78"/>
                <a:gd name="T44" fmla="*/ 86 w 86"/>
                <a:gd name="T45" fmla="*/ 40 h 78"/>
                <a:gd name="T46" fmla="*/ 78 w 86"/>
                <a:gd name="T47" fmla="*/ 48 h 78"/>
                <a:gd name="T48" fmla="*/ 74 w 86"/>
                <a:gd name="T49" fmla="*/ 50 h 78"/>
                <a:gd name="T50" fmla="*/ 74 w 86"/>
                <a:gd name="T51" fmla="*/ 50 h 78"/>
                <a:gd name="T52" fmla="*/ 68 w 86"/>
                <a:gd name="T53" fmla="*/ 48 h 78"/>
                <a:gd name="T54" fmla="*/ 56 w 86"/>
                <a:gd name="T55" fmla="*/ 52 h 78"/>
                <a:gd name="T56" fmla="*/ 50 w 86"/>
                <a:gd name="T57" fmla="*/ 64 h 78"/>
                <a:gd name="T58" fmla="*/ 50 w 86"/>
                <a:gd name="T59" fmla="*/ 66 h 78"/>
                <a:gd name="T60" fmla="*/ 48 w 86"/>
                <a:gd name="T61" fmla="*/ 66 h 78"/>
                <a:gd name="T62" fmla="*/ 48 w 86"/>
                <a:gd name="T63" fmla="*/ 66 h 78"/>
                <a:gd name="T64" fmla="*/ 34 w 86"/>
                <a:gd name="T65" fmla="*/ 56 h 78"/>
                <a:gd name="T66" fmla="*/ 24 w 86"/>
                <a:gd name="T67" fmla="*/ 56 h 78"/>
                <a:gd name="T68" fmla="*/ 22 w 86"/>
                <a:gd name="T69" fmla="*/ 60 h 78"/>
                <a:gd name="T70" fmla="*/ 22 w 86"/>
                <a:gd name="T71" fmla="*/ 60 h 78"/>
                <a:gd name="T72" fmla="*/ 22 w 86"/>
                <a:gd name="T73" fmla="*/ 60 h 78"/>
                <a:gd name="T74" fmla="*/ 14 w 86"/>
                <a:gd name="T75" fmla="*/ 56 h 78"/>
                <a:gd name="T76" fmla="*/ 10 w 86"/>
                <a:gd name="T77" fmla="*/ 56 h 78"/>
                <a:gd name="T78" fmla="*/ 16 w 86"/>
                <a:gd name="T79" fmla="*/ 62 h 78"/>
                <a:gd name="T80" fmla="*/ 18 w 86"/>
                <a:gd name="T81" fmla="*/ 64 h 78"/>
                <a:gd name="T82" fmla="*/ 16 w 86"/>
                <a:gd name="T83" fmla="*/ 70 h 78"/>
                <a:gd name="T84" fmla="*/ 10 w 86"/>
                <a:gd name="T85" fmla="*/ 74 h 78"/>
                <a:gd name="T86" fmla="*/ 4 w 86"/>
                <a:gd name="T87" fmla="*/ 78 h 78"/>
                <a:gd name="T88" fmla="*/ 2 w 86"/>
                <a:gd name="T8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8">
                  <a:moveTo>
                    <a:pt x="2" y="78"/>
                  </a:moveTo>
                  <a:lnTo>
                    <a:pt x="2" y="78"/>
                  </a:lnTo>
                  <a:lnTo>
                    <a:pt x="2" y="78"/>
                  </a:lnTo>
                  <a:lnTo>
                    <a:pt x="2" y="78"/>
                  </a:lnTo>
                  <a:lnTo>
                    <a:pt x="0" y="76"/>
                  </a:lnTo>
                  <a:lnTo>
                    <a:pt x="0" y="66"/>
                  </a:lnTo>
                  <a:lnTo>
                    <a:pt x="0" y="60"/>
                  </a:lnTo>
                  <a:lnTo>
                    <a:pt x="0" y="52"/>
                  </a:lnTo>
                  <a:lnTo>
                    <a:pt x="0" y="52"/>
                  </a:lnTo>
                  <a:lnTo>
                    <a:pt x="0" y="50"/>
                  </a:lnTo>
                  <a:lnTo>
                    <a:pt x="6" y="48"/>
                  </a:lnTo>
                  <a:lnTo>
                    <a:pt x="8" y="44"/>
                  </a:lnTo>
                  <a:lnTo>
                    <a:pt x="8" y="38"/>
                  </a:lnTo>
                  <a:lnTo>
                    <a:pt x="8" y="38"/>
                  </a:lnTo>
                  <a:lnTo>
                    <a:pt x="10" y="36"/>
                  </a:lnTo>
                  <a:lnTo>
                    <a:pt x="16" y="36"/>
                  </a:lnTo>
                  <a:lnTo>
                    <a:pt x="16" y="36"/>
                  </a:lnTo>
                  <a:lnTo>
                    <a:pt x="16" y="36"/>
                  </a:lnTo>
                  <a:lnTo>
                    <a:pt x="22" y="40"/>
                  </a:lnTo>
                  <a:lnTo>
                    <a:pt x="24" y="38"/>
                  </a:lnTo>
                  <a:lnTo>
                    <a:pt x="26" y="18"/>
                  </a:lnTo>
                  <a:lnTo>
                    <a:pt x="26" y="2"/>
                  </a:lnTo>
                  <a:lnTo>
                    <a:pt x="26" y="2"/>
                  </a:lnTo>
                  <a:lnTo>
                    <a:pt x="28" y="0"/>
                  </a:lnTo>
                  <a:lnTo>
                    <a:pt x="28" y="0"/>
                  </a:lnTo>
                  <a:lnTo>
                    <a:pt x="28" y="0"/>
                  </a:lnTo>
                  <a:lnTo>
                    <a:pt x="28" y="0"/>
                  </a:lnTo>
                  <a:lnTo>
                    <a:pt x="30" y="2"/>
                  </a:lnTo>
                  <a:lnTo>
                    <a:pt x="36" y="6"/>
                  </a:lnTo>
                  <a:lnTo>
                    <a:pt x="46" y="16"/>
                  </a:lnTo>
                  <a:lnTo>
                    <a:pt x="62" y="26"/>
                  </a:lnTo>
                  <a:lnTo>
                    <a:pt x="70" y="28"/>
                  </a:lnTo>
                  <a:lnTo>
                    <a:pt x="76" y="24"/>
                  </a:lnTo>
                  <a:lnTo>
                    <a:pt x="76" y="24"/>
                  </a:lnTo>
                  <a:lnTo>
                    <a:pt x="78" y="24"/>
                  </a:lnTo>
                  <a:lnTo>
                    <a:pt x="84" y="24"/>
                  </a:lnTo>
                  <a:lnTo>
                    <a:pt x="84" y="24"/>
                  </a:lnTo>
                  <a:lnTo>
                    <a:pt x="86" y="24"/>
                  </a:lnTo>
                  <a:lnTo>
                    <a:pt x="86" y="24"/>
                  </a:lnTo>
                  <a:lnTo>
                    <a:pt x="84" y="26"/>
                  </a:lnTo>
                  <a:lnTo>
                    <a:pt x="80" y="30"/>
                  </a:lnTo>
                  <a:lnTo>
                    <a:pt x="84" y="36"/>
                  </a:lnTo>
                  <a:lnTo>
                    <a:pt x="86" y="38"/>
                  </a:lnTo>
                  <a:lnTo>
                    <a:pt x="86" y="38"/>
                  </a:lnTo>
                  <a:lnTo>
                    <a:pt x="86" y="40"/>
                  </a:lnTo>
                  <a:lnTo>
                    <a:pt x="86" y="40"/>
                  </a:lnTo>
                  <a:lnTo>
                    <a:pt x="86" y="42"/>
                  </a:lnTo>
                  <a:lnTo>
                    <a:pt x="78" y="48"/>
                  </a:lnTo>
                  <a:lnTo>
                    <a:pt x="74" y="50"/>
                  </a:lnTo>
                  <a:lnTo>
                    <a:pt x="74" y="50"/>
                  </a:lnTo>
                  <a:lnTo>
                    <a:pt x="74" y="50"/>
                  </a:lnTo>
                  <a:lnTo>
                    <a:pt x="74" y="50"/>
                  </a:lnTo>
                  <a:lnTo>
                    <a:pt x="74" y="50"/>
                  </a:lnTo>
                  <a:lnTo>
                    <a:pt x="68" y="48"/>
                  </a:lnTo>
                  <a:lnTo>
                    <a:pt x="64" y="50"/>
                  </a:lnTo>
                  <a:lnTo>
                    <a:pt x="56" y="52"/>
                  </a:lnTo>
                  <a:lnTo>
                    <a:pt x="50" y="60"/>
                  </a:lnTo>
                  <a:lnTo>
                    <a:pt x="50" y="64"/>
                  </a:lnTo>
                  <a:lnTo>
                    <a:pt x="50" y="64"/>
                  </a:lnTo>
                  <a:lnTo>
                    <a:pt x="50" y="66"/>
                  </a:lnTo>
                  <a:lnTo>
                    <a:pt x="50" y="66"/>
                  </a:lnTo>
                  <a:lnTo>
                    <a:pt x="48" y="66"/>
                  </a:lnTo>
                  <a:lnTo>
                    <a:pt x="48" y="66"/>
                  </a:lnTo>
                  <a:lnTo>
                    <a:pt x="48" y="66"/>
                  </a:lnTo>
                  <a:lnTo>
                    <a:pt x="40" y="62"/>
                  </a:lnTo>
                  <a:lnTo>
                    <a:pt x="34" y="56"/>
                  </a:lnTo>
                  <a:lnTo>
                    <a:pt x="26" y="56"/>
                  </a:lnTo>
                  <a:lnTo>
                    <a:pt x="24" y="56"/>
                  </a:lnTo>
                  <a:lnTo>
                    <a:pt x="22" y="60"/>
                  </a:lnTo>
                  <a:lnTo>
                    <a:pt x="22" y="60"/>
                  </a:lnTo>
                  <a:lnTo>
                    <a:pt x="22" y="60"/>
                  </a:lnTo>
                  <a:lnTo>
                    <a:pt x="22" y="60"/>
                  </a:lnTo>
                  <a:lnTo>
                    <a:pt x="22" y="60"/>
                  </a:lnTo>
                  <a:lnTo>
                    <a:pt x="22" y="60"/>
                  </a:lnTo>
                  <a:lnTo>
                    <a:pt x="20" y="60"/>
                  </a:lnTo>
                  <a:lnTo>
                    <a:pt x="14" y="56"/>
                  </a:lnTo>
                  <a:lnTo>
                    <a:pt x="12" y="56"/>
                  </a:lnTo>
                  <a:lnTo>
                    <a:pt x="10" y="56"/>
                  </a:lnTo>
                  <a:lnTo>
                    <a:pt x="12" y="60"/>
                  </a:lnTo>
                  <a:lnTo>
                    <a:pt x="16" y="62"/>
                  </a:lnTo>
                  <a:lnTo>
                    <a:pt x="16" y="62"/>
                  </a:lnTo>
                  <a:lnTo>
                    <a:pt x="18" y="64"/>
                  </a:lnTo>
                  <a:lnTo>
                    <a:pt x="16" y="70"/>
                  </a:lnTo>
                  <a:lnTo>
                    <a:pt x="16" y="70"/>
                  </a:lnTo>
                  <a:lnTo>
                    <a:pt x="14" y="72"/>
                  </a:lnTo>
                  <a:lnTo>
                    <a:pt x="10" y="74"/>
                  </a:lnTo>
                  <a:lnTo>
                    <a:pt x="4" y="78"/>
                  </a:lnTo>
                  <a:lnTo>
                    <a:pt x="4" y="78"/>
                  </a:lnTo>
                  <a:lnTo>
                    <a:pt x="2" y="78"/>
                  </a:lnTo>
                  <a:lnTo>
                    <a:pt x="2"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2" name="Freeform 1070"/>
            <p:cNvSpPr>
              <a:spLocks noEditPoints="1"/>
            </p:cNvSpPr>
            <p:nvPr/>
          </p:nvSpPr>
          <p:spPr bwMode="auto">
            <a:xfrm>
              <a:off x="4837" y="1827"/>
              <a:ext cx="90" cy="82"/>
            </a:xfrm>
            <a:custGeom>
              <a:avLst/>
              <a:gdLst>
                <a:gd name="T0" fmla="*/ 46 w 90"/>
                <a:gd name="T1" fmla="*/ 20 h 82"/>
                <a:gd name="T2" fmla="*/ 80 w 90"/>
                <a:gd name="T3" fmla="*/ 28 h 82"/>
                <a:gd name="T4" fmla="*/ 84 w 90"/>
                <a:gd name="T5" fmla="*/ 38 h 82"/>
                <a:gd name="T6" fmla="*/ 76 w 90"/>
                <a:gd name="T7" fmla="*/ 50 h 82"/>
                <a:gd name="T8" fmla="*/ 56 w 90"/>
                <a:gd name="T9" fmla="*/ 54 h 82"/>
                <a:gd name="T10" fmla="*/ 44 w 90"/>
                <a:gd name="T11" fmla="*/ 62 h 82"/>
                <a:gd name="T12" fmla="*/ 24 w 90"/>
                <a:gd name="T13" fmla="*/ 56 h 82"/>
                <a:gd name="T14" fmla="*/ 12 w 90"/>
                <a:gd name="T15" fmla="*/ 56 h 82"/>
                <a:gd name="T16" fmla="*/ 18 w 90"/>
                <a:gd name="T17" fmla="*/ 66 h 82"/>
                <a:gd name="T18" fmla="*/ 4 w 90"/>
                <a:gd name="T19" fmla="*/ 78 h 82"/>
                <a:gd name="T20" fmla="*/ 4 w 90"/>
                <a:gd name="T21" fmla="*/ 54 h 82"/>
                <a:gd name="T22" fmla="*/ 12 w 90"/>
                <a:gd name="T23" fmla="*/ 40 h 82"/>
                <a:gd name="T24" fmla="*/ 28 w 90"/>
                <a:gd name="T25" fmla="*/ 42 h 82"/>
                <a:gd name="T26" fmla="*/ 86 w 90"/>
                <a:gd name="T27" fmla="*/ 28 h 82"/>
                <a:gd name="T28" fmla="*/ 30 w 90"/>
                <a:gd name="T29" fmla="*/ 0 h 82"/>
                <a:gd name="T30" fmla="*/ 28 w 90"/>
                <a:gd name="T31" fmla="*/ 2 h 82"/>
                <a:gd name="T32" fmla="*/ 24 w 90"/>
                <a:gd name="T33" fmla="*/ 40 h 82"/>
                <a:gd name="T34" fmla="*/ 20 w 90"/>
                <a:gd name="T35" fmla="*/ 36 h 82"/>
                <a:gd name="T36" fmla="*/ 12 w 90"/>
                <a:gd name="T37" fmla="*/ 36 h 82"/>
                <a:gd name="T38" fmla="*/ 8 w 90"/>
                <a:gd name="T39" fmla="*/ 44 h 82"/>
                <a:gd name="T40" fmla="*/ 2 w 90"/>
                <a:gd name="T41" fmla="*/ 50 h 82"/>
                <a:gd name="T42" fmla="*/ 0 w 90"/>
                <a:gd name="T43" fmla="*/ 60 h 82"/>
                <a:gd name="T44" fmla="*/ 0 w 90"/>
                <a:gd name="T45" fmla="*/ 68 h 82"/>
                <a:gd name="T46" fmla="*/ 4 w 90"/>
                <a:gd name="T47" fmla="*/ 82 h 82"/>
                <a:gd name="T48" fmla="*/ 4 w 90"/>
                <a:gd name="T49" fmla="*/ 82 h 82"/>
                <a:gd name="T50" fmla="*/ 18 w 90"/>
                <a:gd name="T51" fmla="*/ 76 h 82"/>
                <a:gd name="T52" fmla="*/ 22 w 90"/>
                <a:gd name="T53" fmla="*/ 68 h 82"/>
                <a:gd name="T54" fmla="*/ 20 w 90"/>
                <a:gd name="T55" fmla="*/ 64 h 82"/>
                <a:gd name="T56" fmla="*/ 24 w 90"/>
                <a:gd name="T57" fmla="*/ 64 h 82"/>
                <a:gd name="T58" fmla="*/ 28 w 90"/>
                <a:gd name="T59" fmla="*/ 60 h 82"/>
                <a:gd name="T60" fmla="*/ 40 w 90"/>
                <a:gd name="T61" fmla="*/ 66 h 82"/>
                <a:gd name="T62" fmla="*/ 48 w 90"/>
                <a:gd name="T63" fmla="*/ 70 h 82"/>
                <a:gd name="T64" fmla="*/ 50 w 90"/>
                <a:gd name="T65" fmla="*/ 70 h 82"/>
                <a:gd name="T66" fmla="*/ 54 w 90"/>
                <a:gd name="T67" fmla="*/ 66 h 82"/>
                <a:gd name="T68" fmla="*/ 66 w 90"/>
                <a:gd name="T69" fmla="*/ 54 h 82"/>
                <a:gd name="T70" fmla="*/ 74 w 90"/>
                <a:gd name="T71" fmla="*/ 54 h 82"/>
                <a:gd name="T72" fmla="*/ 78 w 90"/>
                <a:gd name="T73" fmla="*/ 54 h 82"/>
                <a:gd name="T74" fmla="*/ 82 w 90"/>
                <a:gd name="T75" fmla="*/ 50 h 82"/>
                <a:gd name="T76" fmla="*/ 90 w 90"/>
                <a:gd name="T77" fmla="*/ 42 h 82"/>
                <a:gd name="T78" fmla="*/ 86 w 90"/>
                <a:gd name="T79" fmla="*/ 36 h 82"/>
                <a:gd name="T80" fmla="*/ 88 w 90"/>
                <a:gd name="T81" fmla="*/ 30 h 82"/>
                <a:gd name="T82" fmla="*/ 88 w 90"/>
                <a:gd name="T83" fmla="*/ 24 h 82"/>
                <a:gd name="T84" fmla="*/ 80 w 90"/>
                <a:gd name="T85" fmla="*/ 24 h 82"/>
                <a:gd name="T86" fmla="*/ 72 w 90"/>
                <a:gd name="T87" fmla="*/ 28 h 82"/>
                <a:gd name="T88" fmla="*/ 40 w 90"/>
                <a:gd name="T89" fmla="*/ 8 h 82"/>
                <a:gd name="T90" fmla="*/ 32 w 90"/>
                <a:gd name="T91" fmla="*/ 2 h 82"/>
                <a:gd name="T92" fmla="*/ 30 w 9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 h="82">
                  <a:moveTo>
                    <a:pt x="30" y="4"/>
                  </a:moveTo>
                  <a:lnTo>
                    <a:pt x="38" y="10"/>
                  </a:lnTo>
                  <a:lnTo>
                    <a:pt x="46" y="20"/>
                  </a:lnTo>
                  <a:lnTo>
                    <a:pt x="64" y="28"/>
                  </a:lnTo>
                  <a:lnTo>
                    <a:pt x="72" y="32"/>
                  </a:lnTo>
                  <a:lnTo>
                    <a:pt x="80" y="28"/>
                  </a:lnTo>
                  <a:lnTo>
                    <a:pt x="86" y="28"/>
                  </a:lnTo>
                  <a:lnTo>
                    <a:pt x="80" y="32"/>
                  </a:lnTo>
                  <a:lnTo>
                    <a:pt x="84" y="38"/>
                  </a:lnTo>
                  <a:lnTo>
                    <a:pt x="86" y="42"/>
                  </a:lnTo>
                  <a:lnTo>
                    <a:pt x="80" y="48"/>
                  </a:lnTo>
                  <a:lnTo>
                    <a:pt x="76" y="50"/>
                  </a:lnTo>
                  <a:lnTo>
                    <a:pt x="70" y="48"/>
                  </a:lnTo>
                  <a:lnTo>
                    <a:pt x="66" y="50"/>
                  </a:lnTo>
                  <a:lnTo>
                    <a:pt x="56" y="54"/>
                  </a:lnTo>
                  <a:lnTo>
                    <a:pt x="50" y="60"/>
                  </a:lnTo>
                  <a:lnTo>
                    <a:pt x="50" y="66"/>
                  </a:lnTo>
                  <a:lnTo>
                    <a:pt x="44" y="62"/>
                  </a:lnTo>
                  <a:lnTo>
                    <a:pt x="36" y="56"/>
                  </a:lnTo>
                  <a:lnTo>
                    <a:pt x="28" y="56"/>
                  </a:lnTo>
                  <a:lnTo>
                    <a:pt x="24" y="56"/>
                  </a:lnTo>
                  <a:lnTo>
                    <a:pt x="24" y="60"/>
                  </a:lnTo>
                  <a:lnTo>
                    <a:pt x="18" y="56"/>
                  </a:lnTo>
                  <a:lnTo>
                    <a:pt x="12" y="56"/>
                  </a:lnTo>
                  <a:lnTo>
                    <a:pt x="10" y="58"/>
                  </a:lnTo>
                  <a:lnTo>
                    <a:pt x="12" y="64"/>
                  </a:lnTo>
                  <a:lnTo>
                    <a:pt x="18" y="66"/>
                  </a:lnTo>
                  <a:lnTo>
                    <a:pt x="16" y="72"/>
                  </a:lnTo>
                  <a:lnTo>
                    <a:pt x="10" y="74"/>
                  </a:lnTo>
                  <a:lnTo>
                    <a:pt x="4" y="78"/>
                  </a:lnTo>
                  <a:lnTo>
                    <a:pt x="4" y="68"/>
                  </a:lnTo>
                  <a:lnTo>
                    <a:pt x="4" y="60"/>
                  </a:lnTo>
                  <a:lnTo>
                    <a:pt x="4" y="54"/>
                  </a:lnTo>
                  <a:lnTo>
                    <a:pt x="8" y="52"/>
                  </a:lnTo>
                  <a:lnTo>
                    <a:pt x="12" y="46"/>
                  </a:lnTo>
                  <a:lnTo>
                    <a:pt x="12" y="40"/>
                  </a:lnTo>
                  <a:lnTo>
                    <a:pt x="18" y="40"/>
                  </a:lnTo>
                  <a:lnTo>
                    <a:pt x="24" y="44"/>
                  </a:lnTo>
                  <a:lnTo>
                    <a:pt x="28" y="42"/>
                  </a:lnTo>
                  <a:lnTo>
                    <a:pt x="30" y="20"/>
                  </a:lnTo>
                  <a:lnTo>
                    <a:pt x="30" y="4"/>
                  </a:lnTo>
                  <a:close/>
                  <a:moveTo>
                    <a:pt x="86" y="28"/>
                  </a:moveTo>
                  <a:lnTo>
                    <a:pt x="86" y="28"/>
                  </a:lnTo>
                  <a:close/>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 name="Freeform 1071"/>
            <p:cNvSpPr>
              <a:spLocks/>
            </p:cNvSpPr>
            <p:nvPr/>
          </p:nvSpPr>
          <p:spPr bwMode="auto">
            <a:xfrm>
              <a:off x="4841" y="1831"/>
              <a:ext cx="82" cy="74"/>
            </a:xfrm>
            <a:custGeom>
              <a:avLst/>
              <a:gdLst>
                <a:gd name="T0" fmla="*/ 26 w 82"/>
                <a:gd name="T1" fmla="*/ 0 h 74"/>
                <a:gd name="T2" fmla="*/ 34 w 82"/>
                <a:gd name="T3" fmla="*/ 6 h 74"/>
                <a:gd name="T4" fmla="*/ 42 w 82"/>
                <a:gd name="T5" fmla="*/ 16 h 74"/>
                <a:gd name="T6" fmla="*/ 60 w 82"/>
                <a:gd name="T7" fmla="*/ 24 h 74"/>
                <a:gd name="T8" fmla="*/ 68 w 82"/>
                <a:gd name="T9" fmla="*/ 28 h 74"/>
                <a:gd name="T10" fmla="*/ 76 w 82"/>
                <a:gd name="T11" fmla="*/ 24 h 74"/>
                <a:gd name="T12" fmla="*/ 82 w 82"/>
                <a:gd name="T13" fmla="*/ 24 h 74"/>
                <a:gd name="T14" fmla="*/ 76 w 82"/>
                <a:gd name="T15" fmla="*/ 28 h 74"/>
                <a:gd name="T16" fmla="*/ 80 w 82"/>
                <a:gd name="T17" fmla="*/ 34 h 74"/>
                <a:gd name="T18" fmla="*/ 82 w 82"/>
                <a:gd name="T19" fmla="*/ 38 h 74"/>
                <a:gd name="T20" fmla="*/ 76 w 82"/>
                <a:gd name="T21" fmla="*/ 44 h 74"/>
                <a:gd name="T22" fmla="*/ 72 w 82"/>
                <a:gd name="T23" fmla="*/ 46 h 74"/>
                <a:gd name="T24" fmla="*/ 66 w 82"/>
                <a:gd name="T25" fmla="*/ 44 h 74"/>
                <a:gd name="T26" fmla="*/ 62 w 82"/>
                <a:gd name="T27" fmla="*/ 46 h 74"/>
                <a:gd name="T28" fmla="*/ 52 w 82"/>
                <a:gd name="T29" fmla="*/ 50 h 74"/>
                <a:gd name="T30" fmla="*/ 46 w 82"/>
                <a:gd name="T31" fmla="*/ 56 h 74"/>
                <a:gd name="T32" fmla="*/ 46 w 82"/>
                <a:gd name="T33" fmla="*/ 62 h 74"/>
                <a:gd name="T34" fmla="*/ 40 w 82"/>
                <a:gd name="T35" fmla="*/ 58 h 74"/>
                <a:gd name="T36" fmla="*/ 32 w 82"/>
                <a:gd name="T37" fmla="*/ 52 h 74"/>
                <a:gd name="T38" fmla="*/ 24 w 82"/>
                <a:gd name="T39" fmla="*/ 52 h 74"/>
                <a:gd name="T40" fmla="*/ 20 w 82"/>
                <a:gd name="T41" fmla="*/ 52 h 74"/>
                <a:gd name="T42" fmla="*/ 20 w 82"/>
                <a:gd name="T43" fmla="*/ 56 h 74"/>
                <a:gd name="T44" fmla="*/ 14 w 82"/>
                <a:gd name="T45" fmla="*/ 52 h 74"/>
                <a:gd name="T46" fmla="*/ 8 w 82"/>
                <a:gd name="T47" fmla="*/ 52 h 74"/>
                <a:gd name="T48" fmla="*/ 6 w 82"/>
                <a:gd name="T49" fmla="*/ 54 h 74"/>
                <a:gd name="T50" fmla="*/ 8 w 82"/>
                <a:gd name="T51" fmla="*/ 60 h 74"/>
                <a:gd name="T52" fmla="*/ 14 w 82"/>
                <a:gd name="T53" fmla="*/ 62 h 74"/>
                <a:gd name="T54" fmla="*/ 12 w 82"/>
                <a:gd name="T55" fmla="*/ 68 h 74"/>
                <a:gd name="T56" fmla="*/ 6 w 82"/>
                <a:gd name="T57" fmla="*/ 70 h 74"/>
                <a:gd name="T58" fmla="*/ 0 w 82"/>
                <a:gd name="T59" fmla="*/ 74 h 74"/>
                <a:gd name="T60" fmla="*/ 0 w 82"/>
                <a:gd name="T61" fmla="*/ 64 h 74"/>
                <a:gd name="T62" fmla="*/ 0 w 82"/>
                <a:gd name="T63" fmla="*/ 56 h 74"/>
                <a:gd name="T64" fmla="*/ 0 w 82"/>
                <a:gd name="T65" fmla="*/ 50 h 74"/>
                <a:gd name="T66" fmla="*/ 4 w 82"/>
                <a:gd name="T67" fmla="*/ 48 h 74"/>
                <a:gd name="T68" fmla="*/ 8 w 82"/>
                <a:gd name="T69" fmla="*/ 42 h 74"/>
                <a:gd name="T70" fmla="*/ 8 w 82"/>
                <a:gd name="T71" fmla="*/ 36 h 74"/>
                <a:gd name="T72" fmla="*/ 14 w 82"/>
                <a:gd name="T73" fmla="*/ 36 h 74"/>
                <a:gd name="T74" fmla="*/ 20 w 82"/>
                <a:gd name="T75" fmla="*/ 40 h 74"/>
                <a:gd name="T76" fmla="*/ 24 w 82"/>
                <a:gd name="T77" fmla="*/ 38 h 74"/>
                <a:gd name="T78" fmla="*/ 26 w 82"/>
                <a:gd name="T79" fmla="*/ 16 h 74"/>
                <a:gd name="T80" fmla="*/ 26 w 82"/>
                <a:gd name="T8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74">
                  <a:moveTo>
                    <a:pt x="26" y="0"/>
                  </a:moveTo>
                  <a:lnTo>
                    <a:pt x="34" y="6"/>
                  </a:lnTo>
                  <a:lnTo>
                    <a:pt x="42" y="16"/>
                  </a:lnTo>
                  <a:lnTo>
                    <a:pt x="60" y="24"/>
                  </a:lnTo>
                  <a:lnTo>
                    <a:pt x="68" y="28"/>
                  </a:lnTo>
                  <a:lnTo>
                    <a:pt x="76" y="24"/>
                  </a:lnTo>
                  <a:lnTo>
                    <a:pt x="82" y="24"/>
                  </a:lnTo>
                  <a:lnTo>
                    <a:pt x="76" y="28"/>
                  </a:lnTo>
                  <a:lnTo>
                    <a:pt x="80" y="34"/>
                  </a:lnTo>
                  <a:lnTo>
                    <a:pt x="82" y="38"/>
                  </a:lnTo>
                  <a:lnTo>
                    <a:pt x="76" y="44"/>
                  </a:lnTo>
                  <a:lnTo>
                    <a:pt x="72" y="46"/>
                  </a:lnTo>
                  <a:lnTo>
                    <a:pt x="66" y="44"/>
                  </a:lnTo>
                  <a:lnTo>
                    <a:pt x="62" y="46"/>
                  </a:lnTo>
                  <a:lnTo>
                    <a:pt x="52" y="50"/>
                  </a:lnTo>
                  <a:lnTo>
                    <a:pt x="46" y="56"/>
                  </a:lnTo>
                  <a:lnTo>
                    <a:pt x="46" y="62"/>
                  </a:lnTo>
                  <a:lnTo>
                    <a:pt x="40" y="58"/>
                  </a:lnTo>
                  <a:lnTo>
                    <a:pt x="32" y="52"/>
                  </a:lnTo>
                  <a:lnTo>
                    <a:pt x="24" y="52"/>
                  </a:lnTo>
                  <a:lnTo>
                    <a:pt x="20" y="52"/>
                  </a:lnTo>
                  <a:lnTo>
                    <a:pt x="20" y="56"/>
                  </a:lnTo>
                  <a:lnTo>
                    <a:pt x="14" y="52"/>
                  </a:lnTo>
                  <a:lnTo>
                    <a:pt x="8" y="52"/>
                  </a:lnTo>
                  <a:lnTo>
                    <a:pt x="6" y="54"/>
                  </a:lnTo>
                  <a:lnTo>
                    <a:pt x="8" y="60"/>
                  </a:lnTo>
                  <a:lnTo>
                    <a:pt x="14" y="62"/>
                  </a:lnTo>
                  <a:lnTo>
                    <a:pt x="12" y="68"/>
                  </a:lnTo>
                  <a:lnTo>
                    <a:pt x="6" y="70"/>
                  </a:lnTo>
                  <a:lnTo>
                    <a:pt x="0" y="74"/>
                  </a:lnTo>
                  <a:lnTo>
                    <a:pt x="0" y="64"/>
                  </a:lnTo>
                  <a:lnTo>
                    <a:pt x="0" y="56"/>
                  </a:lnTo>
                  <a:lnTo>
                    <a:pt x="0" y="50"/>
                  </a:lnTo>
                  <a:lnTo>
                    <a:pt x="4" y="48"/>
                  </a:lnTo>
                  <a:lnTo>
                    <a:pt x="8" y="42"/>
                  </a:lnTo>
                  <a:lnTo>
                    <a:pt x="8" y="36"/>
                  </a:lnTo>
                  <a:lnTo>
                    <a:pt x="14" y="36"/>
                  </a:lnTo>
                  <a:lnTo>
                    <a:pt x="20" y="40"/>
                  </a:lnTo>
                  <a:lnTo>
                    <a:pt x="24" y="38"/>
                  </a:lnTo>
                  <a:lnTo>
                    <a:pt x="26" y="1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4" name="Line 1072"/>
            <p:cNvSpPr>
              <a:spLocks noChangeShapeType="1"/>
            </p:cNvSpPr>
            <p:nvPr/>
          </p:nvSpPr>
          <p:spPr bwMode="auto">
            <a:xfrm>
              <a:off x="4923" y="185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5" name="Freeform 1073"/>
            <p:cNvSpPr>
              <a:spLocks/>
            </p:cNvSpPr>
            <p:nvPr/>
          </p:nvSpPr>
          <p:spPr bwMode="auto">
            <a:xfrm>
              <a:off x="4837" y="1827"/>
              <a:ext cx="90" cy="82"/>
            </a:xfrm>
            <a:custGeom>
              <a:avLst/>
              <a:gdLst>
                <a:gd name="T0" fmla="*/ 30 w 90"/>
                <a:gd name="T1" fmla="*/ 0 h 82"/>
                <a:gd name="T2" fmla="*/ 28 w 90"/>
                <a:gd name="T3" fmla="*/ 0 h 82"/>
                <a:gd name="T4" fmla="*/ 26 w 90"/>
                <a:gd name="T5" fmla="*/ 4 h 82"/>
                <a:gd name="T6" fmla="*/ 24 w 90"/>
                <a:gd name="T7" fmla="*/ 40 h 82"/>
                <a:gd name="T8" fmla="*/ 20 w 90"/>
                <a:gd name="T9" fmla="*/ 36 h 82"/>
                <a:gd name="T10" fmla="*/ 18 w 90"/>
                <a:gd name="T11" fmla="*/ 36 h 82"/>
                <a:gd name="T12" fmla="*/ 12 w 90"/>
                <a:gd name="T13" fmla="*/ 36 h 82"/>
                <a:gd name="T14" fmla="*/ 8 w 90"/>
                <a:gd name="T15" fmla="*/ 40 h 82"/>
                <a:gd name="T16" fmla="*/ 6 w 90"/>
                <a:gd name="T17" fmla="*/ 48 h 82"/>
                <a:gd name="T18" fmla="*/ 2 w 90"/>
                <a:gd name="T19" fmla="*/ 50 h 82"/>
                <a:gd name="T20" fmla="*/ 0 w 90"/>
                <a:gd name="T21" fmla="*/ 54 h 82"/>
                <a:gd name="T22" fmla="*/ 0 w 90"/>
                <a:gd name="T23" fmla="*/ 60 h 82"/>
                <a:gd name="T24" fmla="*/ 0 w 90"/>
                <a:gd name="T25" fmla="*/ 68 h 82"/>
                <a:gd name="T26" fmla="*/ 0 w 90"/>
                <a:gd name="T27" fmla="*/ 78 h 82"/>
                <a:gd name="T28" fmla="*/ 4 w 90"/>
                <a:gd name="T29" fmla="*/ 82 h 82"/>
                <a:gd name="T30" fmla="*/ 4 w 90"/>
                <a:gd name="T31" fmla="*/ 82 h 82"/>
                <a:gd name="T32" fmla="*/ 12 w 90"/>
                <a:gd name="T33" fmla="*/ 78 h 82"/>
                <a:gd name="T34" fmla="*/ 18 w 90"/>
                <a:gd name="T35" fmla="*/ 76 h 82"/>
                <a:gd name="T36" fmla="*/ 22 w 90"/>
                <a:gd name="T37" fmla="*/ 68 h 82"/>
                <a:gd name="T38" fmla="*/ 20 w 90"/>
                <a:gd name="T39" fmla="*/ 64 h 82"/>
                <a:gd name="T40" fmla="*/ 24 w 90"/>
                <a:gd name="T41" fmla="*/ 64 h 82"/>
                <a:gd name="T42" fmla="*/ 24 w 90"/>
                <a:gd name="T43" fmla="*/ 64 h 82"/>
                <a:gd name="T44" fmla="*/ 26 w 90"/>
                <a:gd name="T45" fmla="*/ 62 h 82"/>
                <a:gd name="T46" fmla="*/ 30 w 90"/>
                <a:gd name="T47" fmla="*/ 60 h 82"/>
                <a:gd name="T48" fmla="*/ 40 w 90"/>
                <a:gd name="T49" fmla="*/ 66 h 82"/>
                <a:gd name="T50" fmla="*/ 42 w 90"/>
                <a:gd name="T51" fmla="*/ 66 h 82"/>
                <a:gd name="T52" fmla="*/ 48 w 90"/>
                <a:gd name="T53" fmla="*/ 70 h 82"/>
                <a:gd name="T54" fmla="*/ 50 w 90"/>
                <a:gd name="T55" fmla="*/ 70 h 82"/>
                <a:gd name="T56" fmla="*/ 52 w 90"/>
                <a:gd name="T57" fmla="*/ 70 h 82"/>
                <a:gd name="T58" fmla="*/ 54 w 90"/>
                <a:gd name="T59" fmla="*/ 62 h 82"/>
                <a:gd name="T60" fmla="*/ 66 w 90"/>
                <a:gd name="T61" fmla="*/ 54 h 82"/>
                <a:gd name="T62" fmla="*/ 74 w 90"/>
                <a:gd name="T63" fmla="*/ 54 h 82"/>
                <a:gd name="T64" fmla="*/ 76 w 90"/>
                <a:gd name="T65" fmla="*/ 54 h 82"/>
                <a:gd name="T66" fmla="*/ 78 w 90"/>
                <a:gd name="T67" fmla="*/ 54 h 82"/>
                <a:gd name="T68" fmla="*/ 82 w 90"/>
                <a:gd name="T69" fmla="*/ 52 h 82"/>
                <a:gd name="T70" fmla="*/ 90 w 90"/>
                <a:gd name="T71" fmla="*/ 46 h 82"/>
                <a:gd name="T72" fmla="*/ 90 w 90"/>
                <a:gd name="T73" fmla="*/ 42 h 82"/>
                <a:gd name="T74" fmla="*/ 90 w 90"/>
                <a:gd name="T75" fmla="*/ 40 h 82"/>
                <a:gd name="T76" fmla="*/ 84 w 90"/>
                <a:gd name="T77" fmla="*/ 34 h 82"/>
                <a:gd name="T78" fmla="*/ 88 w 90"/>
                <a:gd name="T79" fmla="*/ 30 h 82"/>
                <a:gd name="T80" fmla="*/ 90 w 90"/>
                <a:gd name="T81" fmla="*/ 28 h 82"/>
                <a:gd name="T82" fmla="*/ 86 w 90"/>
                <a:gd name="T83" fmla="*/ 24 h 82"/>
                <a:gd name="T84" fmla="*/ 80 w 90"/>
                <a:gd name="T85" fmla="*/ 24 h 82"/>
                <a:gd name="T86" fmla="*/ 78 w 90"/>
                <a:gd name="T87" fmla="*/ 24 h 82"/>
                <a:gd name="T88" fmla="*/ 66 w 90"/>
                <a:gd name="T89" fmla="*/ 26 h 82"/>
                <a:gd name="T90" fmla="*/ 40 w 90"/>
                <a:gd name="T91" fmla="*/ 8 h 82"/>
                <a:gd name="T92" fmla="*/ 40 w 90"/>
                <a:gd name="T93" fmla="*/ 8 h 82"/>
                <a:gd name="T94" fmla="*/ 32 w 90"/>
                <a:gd name="T95" fmla="*/ 2 h 82"/>
                <a:gd name="T96" fmla="*/ 30 w 90"/>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82">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6" name="Freeform 1074"/>
            <p:cNvSpPr>
              <a:spLocks/>
            </p:cNvSpPr>
            <p:nvPr/>
          </p:nvSpPr>
          <p:spPr bwMode="auto">
            <a:xfrm>
              <a:off x="4731" y="2015"/>
              <a:ext cx="38" cy="26"/>
            </a:xfrm>
            <a:custGeom>
              <a:avLst/>
              <a:gdLst>
                <a:gd name="T0" fmla="*/ 14 w 38"/>
                <a:gd name="T1" fmla="*/ 26 h 26"/>
                <a:gd name="T2" fmla="*/ 8 w 38"/>
                <a:gd name="T3" fmla="*/ 24 h 26"/>
                <a:gd name="T4" fmla="*/ 8 w 38"/>
                <a:gd name="T5" fmla="*/ 24 h 26"/>
                <a:gd name="T6" fmla="*/ 6 w 38"/>
                <a:gd name="T7" fmla="*/ 22 h 26"/>
                <a:gd name="T8" fmla="*/ 6 w 38"/>
                <a:gd name="T9" fmla="*/ 18 h 26"/>
                <a:gd name="T10" fmla="*/ 2 w 38"/>
                <a:gd name="T11" fmla="*/ 16 h 26"/>
                <a:gd name="T12" fmla="*/ 2 w 38"/>
                <a:gd name="T13" fmla="*/ 16 h 26"/>
                <a:gd name="T14" fmla="*/ 0 w 38"/>
                <a:gd name="T15" fmla="*/ 14 h 26"/>
                <a:gd name="T16" fmla="*/ 0 w 38"/>
                <a:gd name="T17" fmla="*/ 14 h 26"/>
                <a:gd name="T18" fmla="*/ 2 w 38"/>
                <a:gd name="T19" fmla="*/ 12 h 26"/>
                <a:gd name="T20" fmla="*/ 8 w 38"/>
                <a:gd name="T21" fmla="*/ 8 h 26"/>
                <a:gd name="T22" fmla="*/ 8 w 38"/>
                <a:gd name="T23" fmla="*/ 8 h 26"/>
                <a:gd name="T24" fmla="*/ 10 w 38"/>
                <a:gd name="T25" fmla="*/ 6 h 26"/>
                <a:gd name="T26" fmla="*/ 16 w 38"/>
                <a:gd name="T27" fmla="*/ 6 h 26"/>
                <a:gd name="T28" fmla="*/ 22 w 38"/>
                <a:gd name="T29" fmla="*/ 6 h 26"/>
                <a:gd name="T30" fmla="*/ 24 w 38"/>
                <a:gd name="T31" fmla="*/ 0 h 26"/>
                <a:gd name="T32" fmla="*/ 24 w 38"/>
                <a:gd name="T33" fmla="*/ 0 h 26"/>
                <a:gd name="T34" fmla="*/ 26 w 38"/>
                <a:gd name="T35" fmla="*/ 0 h 26"/>
                <a:gd name="T36" fmla="*/ 32 w 38"/>
                <a:gd name="T37" fmla="*/ 0 h 26"/>
                <a:gd name="T38" fmla="*/ 32 w 38"/>
                <a:gd name="T39" fmla="*/ 0 h 26"/>
                <a:gd name="T40" fmla="*/ 34 w 38"/>
                <a:gd name="T41" fmla="*/ 0 h 26"/>
                <a:gd name="T42" fmla="*/ 38 w 38"/>
                <a:gd name="T43" fmla="*/ 6 h 26"/>
                <a:gd name="T44" fmla="*/ 38 w 38"/>
                <a:gd name="T45" fmla="*/ 6 h 26"/>
                <a:gd name="T46" fmla="*/ 38 w 38"/>
                <a:gd name="T47" fmla="*/ 8 h 26"/>
                <a:gd name="T48" fmla="*/ 36 w 38"/>
                <a:gd name="T49" fmla="*/ 10 h 26"/>
                <a:gd name="T50" fmla="*/ 32 w 38"/>
                <a:gd name="T51" fmla="*/ 14 h 26"/>
                <a:gd name="T52" fmla="*/ 32 w 38"/>
                <a:gd name="T53" fmla="*/ 14 h 26"/>
                <a:gd name="T54" fmla="*/ 32 w 38"/>
                <a:gd name="T55" fmla="*/ 16 h 26"/>
                <a:gd name="T56" fmla="*/ 28 w 38"/>
                <a:gd name="T57" fmla="*/ 18 h 26"/>
                <a:gd name="T58" fmla="*/ 28 w 38"/>
                <a:gd name="T59" fmla="*/ 18 h 26"/>
                <a:gd name="T60" fmla="*/ 28 w 38"/>
                <a:gd name="T61" fmla="*/ 18 h 26"/>
                <a:gd name="T62" fmla="*/ 28 w 38"/>
                <a:gd name="T63" fmla="*/ 18 h 26"/>
                <a:gd name="T64" fmla="*/ 28 w 38"/>
                <a:gd name="T65" fmla="*/ 18 h 26"/>
                <a:gd name="T66" fmla="*/ 24 w 38"/>
                <a:gd name="T67" fmla="*/ 16 h 26"/>
                <a:gd name="T68" fmla="*/ 20 w 38"/>
                <a:gd name="T69" fmla="*/ 18 h 26"/>
                <a:gd name="T70" fmla="*/ 16 w 38"/>
                <a:gd name="T71" fmla="*/ 26 h 26"/>
                <a:gd name="T72" fmla="*/ 16 w 38"/>
                <a:gd name="T73" fmla="*/ 26 h 26"/>
                <a:gd name="T74" fmla="*/ 14 w 38"/>
                <a:gd name="T75" fmla="*/ 26 h 26"/>
                <a:gd name="T76" fmla="*/ 14 w 38"/>
                <a:gd name="T77" fmla="*/ 26 h 26"/>
                <a:gd name="T78" fmla="*/ 14 w 38"/>
                <a:gd name="T79" fmla="*/ 26 h 26"/>
                <a:gd name="T80" fmla="*/ 14 w 38"/>
                <a:gd name="T8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6">
                  <a:moveTo>
                    <a:pt x="14" y="26"/>
                  </a:moveTo>
                  <a:lnTo>
                    <a:pt x="8" y="24"/>
                  </a:lnTo>
                  <a:lnTo>
                    <a:pt x="8" y="24"/>
                  </a:lnTo>
                  <a:lnTo>
                    <a:pt x="6" y="22"/>
                  </a:lnTo>
                  <a:lnTo>
                    <a:pt x="6" y="18"/>
                  </a:lnTo>
                  <a:lnTo>
                    <a:pt x="2" y="16"/>
                  </a:lnTo>
                  <a:lnTo>
                    <a:pt x="2" y="16"/>
                  </a:lnTo>
                  <a:lnTo>
                    <a:pt x="0" y="14"/>
                  </a:lnTo>
                  <a:lnTo>
                    <a:pt x="0" y="14"/>
                  </a:lnTo>
                  <a:lnTo>
                    <a:pt x="2" y="12"/>
                  </a:lnTo>
                  <a:lnTo>
                    <a:pt x="8" y="8"/>
                  </a:lnTo>
                  <a:lnTo>
                    <a:pt x="8" y="8"/>
                  </a:lnTo>
                  <a:lnTo>
                    <a:pt x="10" y="6"/>
                  </a:lnTo>
                  <a:lnTo>
                    <a:pt x="16" y="6"/>
                  </a:lnTo>
                  <a:lnTo>
                    <a:pt x="22" y="6"/>
                  </a:lnTo>
                  <a:lnTo>
                    <a:pt x="24" y="0"/>
                  </a:lnTo>
                  <a:lnTo>
                    <a:pt x="24" y="0"/>
                  </a:lnTo>
                  <a:lnTo>
                    <a:pt x="26" y="0"/>
                  </a:lnTo>
                  <a:lnTo>
                    <a:pt x="32" y="0"/>
                  </a:lnTo>
                  <a:lnTo>
                    <a:pt x="32" y="0"/>
                  </a:lnTo>
                  <a:lnTo>
                    <a:pt x="34" y="0"/>
                  </a:lnTo>
                  <a:lnTo>
                    <a:pt x="38" y="6"/>
                  </a:lnTo>
                  <a:lnTo>
                    <a:pt x="38" y="6"/>
                  </a:lnTo>
                  <a:lnTo>
                    <a:pt x="38" y="8"/>
                  </a:lnTo>
                  <a:lnTo>
                    <a:pt x="36" y="10"/>
                  </a:lnTo>
                  <a:lnTo>
                    <a:pt x="32" y="14"/>
                  </a:lnTo>
                  <a:lnTo>
                    <a:pt x="32" y="14"/>
                  </a:lnTo>
                  <a:lnTo>
                    <a:pt x="32" y="16"/>
                  </a:lnTo>
                  <a:lnTo>
                    <a:pt x="28" y="18"/>
                  </a:lnTo>
                  <a:lnTo>
                    <a:pt x="28" y="18"/>
                  </a:lnTo>
                  <a:lnTo>
                    <a:pt x="28" y="18"/>
                  </a:lnTo>
                  <a:lnTo>
                    <a:pt x="28" y="18"/>
                  </a:lnTo>
                  <a:lnTo>
                    <a:pt x="28" y="18"/>
                  </a:lnTo>
                  <a:lnTo>
                    <a:pt x="24" y="16"/>
                  </a:lnTo>
                  <a:lnTo>
                    <a:pt x="20" y="18"/>
                  </a:lnTo>
                  <a:lnTo>
                    <a:pt x="16" y="26"/>
                  </a:lnTo>
                  <a:lnTo>
                    <a:pt x="16"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7" name="Freeform 1075"/>
            <p:cNvSpPr>
              <a:spLocks noEditPoints="1"/>
            </p:cNvSpPr>
            <p:nvPr/>
          </p:nvSpPr>
          <p:spPr bwMode="auto">
            <a:xfrm>
              <a:off x="4729" y="2013"/>
              <a:ext cx="42" cy="30"/>
            </a:xfrm>
            <a:custGeom>
              <a:avLst/>
              <a:gdLst>
                <a:gd name="T0" fmla="*/ 34 w 42"/>
                <a:gd name="T1" fmla="*/ 4 h 30"/>
                <a:gd name="T2" fmla="*/ 38 w 42"/>
                <a:gd name="T3" fmla="*/ 8 h 30"/>
                <a:gd name="T4" fmla="*/ 36 w 42"/>
                <a:gd name="T5" fmla="*/ 10 h 30"/>
                <a:gd name="T6" fmla="*/ 34 w 42"/>
                <a:gd name="T7" fmla="*/ 16 h 30"/>
                <a:gd name="T8" fmla="*/ 30 w 42"/>
                <a:gd name="T9" fmla="*/ 18 h 30"/>
                <a:gd name="T10" fmla="*/ 24 w 42"/>
                <a:gd name="T11" fmla="*/ 16 h 30"/>
                <a:gd name="T12" fmla="*/ 20 w 42"/>
                <a:gd name="T13" fmla="*/ 20 h 30"/>
                <a:gd name="T14" fmla="*/ 16 w 42"/>
                <a:gd name="T15" fmla="*/ 26 h 30"/>
                <a:gd name="T16" fmla="*/ 10 w 42"/>
                <a:gd name="T17" fmla="*/ 24 h 30"/>
                <a:gd name="T18" fmla="*/ 10 w 42"/>
                <a:gd name="T19" fmla="*/ 20 h 30"/>
                <a:gd name="T20" fmla="*/ 4 w 42"/>
                <a:gd name="T21" fmla="*/ 16 h 30"/>
                <a:gd name="T22" fmla="*/ 12 w 42"/>
                <a:gd name="T23" fmla="*/ 10 h 30"/>
                <a:gd name="T24" fmla="*/ 18 w 42"/>
                <a:gd name="T25" fmla="*/ 10 h 30"/>
                <a:gd name="T26" fmla="*/ 24 w 42"/>
                <a:gd name="T27" fmla="*/ 8 h 30"/>
                <a:gd name="T28" fmla="*/ 28 w 42"/>
                <a:gd name="T29" fmla="*/ 4 h 30"/>
                <a:gd name="T30" fmla="*/ 34 w 42"/>
                <a:gd name="T31" fmla="*/ 4 h 30"/>
                <a:gd name="T32" fmla="*/ 34 w 42"/>
                <a:gd name="T33" fmla="*/ 0 h 30"/>
                <a:gd name="T34" fmla="*/ 28 w 42"/>
                <a:gd name="T35" fmla="*/ 0 h 30"/>
                <a:gd name="T36" fmla="*/ 28 w 42"/>
                <a:gd name="T37" fmla="*/ 0 h 30"/>
                <a:gd name="T38" fmla="*/ 24 w 42"/>
                <a:gd name="T39" fmla="*/ 2 h 30"/>
                <a:gd name="T40" fmla="*/ 22 w 42"/>
                <a:gd name="T41" fmla="*/ 6 h 30"/>
                <a:gd name="T42" fmla="*/ 18 w 42"/>
                <a:gd name="T43" fmla="*/ 6 h 30"/>
                <a:gd name="T44" fmla="*/ 12 w 42"/>
                <a:gd name="T45" fmla="*/ 6 h 30"/>
                <a:gd name="T46" fmla="*/ 12 w 42"/>
                <a:gd name="T47" fmla="*/ 6 h 30"/>
                <a:gd name="T48" fmla="*/ 10 w 42"/>
                <a:gd name="T49" fmla="*/ 8 h 30"/>
                <a:gd name="T50" fmla="*/ 2 w 42"/>
                <a:gd name="T51" fmla="*/ 12 h 30"/>
                <a:gd name="T52" fmla="*/ 2 w 42"/>
                <a:gd name="T53" fmla="*/ 12 h 30"/>
                <a:gd name="T54" fmla="*/ 0 w 42"/>
                <a:gd name="T55" fmla="*/ 16 h 30"/>
                <a:gd name="T56" fmla="*/ 0 w 42"/>
                <a:gd name="T57" fmla="*/ 16 h 30"/>
                <a:gd name="T58" fmla="*/ 2 w 42"/>
                <a:gd name="T59" fmla="*/ 20 h 30"/>
                <a:gd name="T60" fmla="*/ 6 w 42"/>
                <a:gd name="T61" fmla="*/ 22 h 30"/>
                <a:gd name="T62" fmla="*/ 6 w 42"/>
                <a:gd name="T63" fmla="*/ 24 h 30"/>
                <a:gd name="T64" fmla="*/ 6 w 42"/>
                <a:gd name="T65" fmla="*/ 24 h 30"/>
                <a:gd name="T66" fmla="*/ 6 w 42"/>
                <a:gd name="T67" fmla="*/ 26 h 30"/>
                <a:gd name="T68" fmla="*/ 8 w 42"/>
                <a:gd name="T69" fmla="*/ 28 h 30"/>
                <a:gd name="T70" fmla="*/ 16 w 42"/>
                <a:gd name="T71" fmla="*/ 30 h 30"/>
                <a:gd name="T72" fmla="*/ 16 w 42"/>
                <a:gd name="T73" fmla="*/ 30 h 30"/>
                <a:gd name="T74" fmla="*/ 16 w 42"/>
                <a:gd name="T75" fmla="*/ 30 h 30"/>
                <a:gd name="T76" fmla="*/ 16 w 42"/>
                <a:gd name="T77" fmla="*/ 30 h 30"/>
                <a:gd name="T78" fmla="*/ 18 w 42"/>
                <a:gd name="T79" fmla="*/ 30 h 30"/>
                <a:gd name="T80" fmla="*/ 20 w 42"/>
                <a:gd name="T81" fmla="*/ 28 h 30"/>
                <a:gd name="T82" fmla="*/ 24 w 42"/>
                <a:gd name="T83" fmla="*/ 22 h 30"/>
                <a:gd name="T84" fmla="*/ 26 w 42"/>
                <a:gd name="T85" fmla="*/ 20 h 30"/>
                <a:gd name="T86" fmla="*/ 28 w 42"/>
                <a:gd name="T87" fmla="*/ 22 h 30"/>
                <a:gd name="T88" fmla="*/ 28 w 42"/>
                <a:gd name="T89" fmla="*/ 22 h 30"/>
                <a:gd name="T90" fmla="*/ 30 w 42"/>
                <a:gd name="T91" fmla="*/ 22 h 30"/>
                <a:gd name="T92" fmla="*/ 30 w 42"/>
                <a:gd name="T93" fmla="*/ 22 h 30"/>
                <a:gd name="T94" fmla="*/ 32 w 42"/>
                <a:gd name="T95" fmla="*/ 22 h 30"/>
                <a:gd name="T96" fmla="*/ 36 w 42"/>
                <a:gd name="T97" fmla="*/ 20 h 30"/>
                <a:gd name="T98" fmla="*/ 36 w 42"/>
                <a:gd name="T99" fmla="*/ 20 h 30"/>
                <a:gd name="T100" fmla="*/ 36 w 42"/>
                <a:gd name="T101" fmla="*/ 18 h 30"/>
                <a:gd name="T102" fmla="*/ 40 w 42"/>
                <a:gd name="T103" fmla="*/ 14 h 30"/>
                <a:gd name="T104" fmla="*/ 42 w 42"/>
                <a:gd name="T105" fmla="*/ 12 h 30"/>
                <a:gd name="T106" fmla="*/ 42 w 42"/>
                <a:gd name="T107" fmla="*/ 12 h 30"/>
                <a:gd name="T108" fmla="*/ 42 w 42"/>
                <a:gd name="T109" fmla="*/ 10 h 30"/>
                <a:gd name="T110" fmla="*/ 42 w 42"/>
                <a:gd name="T111" fmla="*/ 6 h 30"/>
                <a:gd name="T112" fmla="*/ 38 w 42"/>
                <a:gd name="T113" fmla="*/ 2 h 30"/>
                <a:gd name="T114" fmla="*/ 38 w 42"/>
                <a:gd name="T115" fmla="*/ 2 h 30"/>
                <a:gd name="T116" fmla="*/ 34 w 42"/>
                <a:gd name="T117" fmla="*/ 0 h 30"/>
                <a:gd name="T118" fmla="*/ 34 w 42"/>
                <a:gd name="T1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0">
                  <a:moveTo>
                    <a:pt x="34" y="4"/>
                  </a:moveTo>
                  <a:lnTo>
                    <a:pt x="38" y="8"/>
                  </a:lnTo>
                  <a:lnTo>
                    <a:pt x="36" y="10"/>
                  </a:lnTo>
                  <a:lnTo>
                    <a:pt x="34" y="16"/>
                  </a:lnTo>
                  <a:lnTo>
                    <a:pt x="30" y="18"/>
                  </a:lnTo>
                  <a:lnTo>
                    <a:pt x="24" y="16"/>
                  </a:lnTo>
                  <a:lnTo>
                    <a:pt x="20" y="20"/>
                  </a:lnTo>
                  <a:lnTo>
                    <a:pt x="16" y="26"/>
                  </a:lnTo>
                  <a:lnTo>
                    <a:pt x="10" y="24"/>
                  </a:lnTo>
                  <a:lnTo>
                    <a:pt x="10" y="20"/>
                  </a:lnTo>
                  <a:lnTo>
                    <a:pt x="4" y="16"/>
                  </a:lnTo>
                  <a:lnTo>
                    <a:pt x="12" y="10"/>
                  </a:lnTo>
                  <a:lnTo>
                    <a:pt x="18" y="10"/>
                  </a:lnTo>
                  <a:lnTo>
                    <a:pt x="24" y="8"/>
                  </a:lnTo>
                  <a:lnTo>
                    <a:pt x="28" y="4"/>
                  </a:lnTo>
                  <a:lnTo>
                    <a:pt x="34" y="4"/>
                  </a:lnTo>
                  <a:close/>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8" name="Freeform 1076"/>
            <p:cNvSpPr>
              <a:spLocks/>
            </p:cNvSpPr>
            <p:nvPr/>
          </p:nvSpPr>
          <p:spPr bwMode="auto">
            <a:xfrm>
              <a:off x="4733" y="2017"/>
              <a:ext cx="34" cy="22"/>
            </a:xfrm>
            <a:custGeom>
              <a:avLst/>
              <a:gdLst>
                <a:gd name="T0" fmla="*/ 30 w 34"/>
                <a:gd name="T1" fmla="*/ 0 h 22"/>
                <a:gd name="T2" fmla="*/ 34 w 34"/>
                <a:gd name="T3" fmla="*/ 4 h 22"/>
                <a:gd name="T4" fmla="*/ 32 w 34"/>
                <a:gd name="T5" fmla="*/ 6 h 22"/>
                <a:gd name="T6" fmla="*/ 30 w 34"/>
                <a:gd name="T7" fmla="*/ 12 h 22"/>
                <a:gd name="T8" fmla="*/ 26 w 34"/>
                <a:gd name="T9" fmla="*/ 14 h 22"/>
                <a:gd name="T10" fmla="*/ 20 w 34"/>
                <a:gd name="T11" fmla="*/ 12 h 22"/>
                <a:gd name="T12" fmla="*/ 16 w 34"/>
                <a:gd name="T13" fmla="*/ 16 h 22"/>
                <a:gd name="T14" fmla="*/ 12 w 34"/>
                <a:gd name="T15" fmla="*/ 22 h 22"/>
                <a:gd name="T16" fmla="*/ 6 w 34"/>
                <a:gd name="T17" fmla="*/ 20 h 22"/>
                <a:gd name="T18" fmla="*/ 6 w 34"/>
                <a:gd name="T19" fmla="*/ 16 h 22"/>
                <a:gd name="T20" fmla="*/ 0 w 34"/>
                <a:gd name="T21" fmla="*/ 12 h 22"/>
                <a:gd name="T22" fmla="*/ 8 w 34"/>
                <a:gd name="T23" fmla="*/ 6 h 22"/>
                <a:gd name="T24" fmla="*/ 14 w 34"/>
                <a:gd name="T25" fmla="*/ 6 h 22"/>
                <a:gd name="T26" fmla="*/ 20 w 34"/>
                <a:gd name="T27" fmla="*/ 4 h 22"/>
                <a:gd name="T28" fmla="*/ 24 w 34"/>
                <a:gd name="T29" fmla="*/ 0 h 22"/>
                <a:gd name="T30" fmla="*/ 30 w 34"/>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2">
                  <a:moveTo>
                    <a:pt x="30" y="0"/>
                  </a:moveTo>
                  <a:lnTo>
                    <a:pt x="34" y="4"/>
                  </a:lnTo>
                  <a:lnTo>
                    <a:pt x="32" y="6"/>
                  </a:lnTo>
                  <a:lnTo>
                    <a:pt x="30" y="12"/>
                  </a:lnTo>
                  <a:lnTo>
                    <a:pt x="26" y="14"/>
                  </a:lnTo>
                  <a:lnTo>
                    <a:pt x="20" y="12"/>
                  </a:lnTo>
                  <a:lnTo>
                    <a:pt x="16" y="16"/>
                  </a:lnTo>
                  <a:lnTo>
                    <a:pt x="12" y="22"/>
                  </a:lnTo>
                  <a:lnTo>
                    <a:pt x="6" y="20"/>
                  </a:lnTo>
                  <a:lnTo>
                    <a:pt x="6" y="16"/>
                  </a:lnTo>
                  <a:lnTo>
                    <a:pt x="0" y="12"/>
                  </a:lnTo>
                  <a:lnTo>
                    <a:pt x="8" y="6"/>
                  </a:lnTo>
                  <a:lnTo>
                    <a:pt x="14" y="6"/>
                  </a:lnTo>
                  <a:lnTo>
                    <a:pt x="20" y="4"/>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 name="Freeform 1077"/>
            <p:cNvSpPr>
              <a:spLocks/>
            </p:cNvSpPr>
            <p:nvPr/>
          </p:nvSpPr>
          <p:spPr bwMode="auto">
            <a:xfrm>
              <a:off x="4729" y="2013"/>
              <a:ext cx="42" cy="30"/>
            </a:xfrm>
            <a:custGeom>
              <a:avLst/>
              <a:gdLst>
                <a:gd name="T0" fmla="*/ 34 w 42"/>
                <a:gd name="T1" fmla="*/ 0 h 30"/>
                <a:gd name="T2" fmla="*/ 28 w 42"/>
                <a:gd name="T3" fmla="*/ 0 h 30"/>
                <a:gd name="T4" fmla="*/ 28 w 42"/>
                <a:gd name="T5" fmla="*/ 0 h 30"/>
                <a:gd name="T6" fmla="*/ 24 w 42"/>
                <a:gd name="T7" fmla="*/ 2 h 30"/>
                <a:gd name="T8" fmla="*/ 22 w 42"/>
                <a:gd name="T9" fmla="*/ 6 h 30"/>
                <a:gd name="T10" fmla="*/ 18 w 42"/>
                <a:gd name="T11" fmla="*/ 6 h 30"/>
                <a:gd name="T12" fmla="*/ 12 w 42"/>
                <a:gd name="T13" fmla="*/ 6 h 30"/>
                <a:gd name="T14" fmla="*/ 12 w 42"/>
                <a:gd name="T15" fmla="*/ 6 h 30"/>
                <a:gd name="T16" fmla="*/ 10 w 42"/>
                <a:gd name="T17" fmla="*/ 8 h 30"/>
                <a:gd name="T18" fmla="*/ 2 w 42"/>
                <a:gd name="T19" fmla="*/ 12 h 30"/>
                <a:gd name="T20" fmla="*/ 2 w 42"/>
                <a:gd name="T21" fmla="*/ 12 h 30"/>
                <a:gd name="T22" fmla="*/ 0 w 42"/>
                <a:gd name="T23" fmla="*/ 16 h 30"/>
                <a:gd name="T24" fmla="*/ 0 w 42"/>
                <a:gd name="T25" fmla="*/ 16 h 30"/>
                <a:gd name="T26" fmla="*/ 2 w 42"/>
                <a:gd name="T27" fmla="*/ 20 h 30"/>
                <a:gd name="T28" fmla="*/ 6 w 42"/>
                <a:gd name="T29" fmla="*/ 22 h 30"/>
                <a:gd name="T30" fmla="*/ 6 w 42"/>
                <a:gd name="T31" fmla="*/ 24 h 30"/>
                <a:gd name="T32" fmla="*/ 6 w 42"/>
                <a:gd name="T33" fmla="*/ 24 h 30"/>
                <a:gd name="T34" fmla="*/ 6 w 42"/>
                <a:gd name="T35" fmla="*/ 26 h 30"/>
                <a:gd name="T36" fmla="*/ 8 w 42"/>
                <a:gd name="T37" fmla="*/ 28 h 30"/>
                <a:gd name="T38" fmla="*/ 16 w 42"/>
                <a:gd name="T39" fmla="*/ 30 h 30"/>
                <a:gd name="T40" fmla="*/ 16 w 42"/>
                <a:gd name="T41" fmla="*/ 30 h 30"/>
                <a:gd name="T42" fmla="*/ 16 w 42"/>
                <a:gd name="T43" fmla="*/ 30 h 30"/>
                <a:gd name="T44" fmla="*/ 16 w 42"/>
                <a:gd name="T45" fmla="*/ 30 h 30"/>
                <a:gd name="T46" fmla="*/ 18 w 42"/>
                <a:gd name="T47" fmla="*/ 30 h 30"/>
                <a:gd name="T48" fmla="*/ 20 w 42"/>
                <a:gd name="T49" fmla="*/ 28 h 30"/>
                <a:gd name="T50" fmla="*/ 24 w 42"/>
                <a:gd name="T51" fmla="*/ 22 h 30"/>
                <a:gd name="T52" fmla="*/ 26 w 42"/>
                <a:gd name="T53" fmla="*/ 20 h 30"/>
                <a:gd name="T54" fmla="*/ 28 w 42"/>
                <a:gd name="T55" fmla="*/ 22 h 30"/>
                <a:gd name="T56" fmla="*/ 28 w 42"/>
                <a:gd name="T57" fmla="*/ 22 h 30"/>
                <a:gd name="T58" fmla="*/ 30 w 42"/>
                <a:gd name="T59" fmla="*/ 22 h 30"/>
                <a:gd name="T60" fmla="*/ 30 w 42"/>
                <a:gd name="T61" fmla="*/ 22 h 30"/>
                <a:gd name="T62" fmla="*/ 32 w 42"/>
                <a:gd name="T63" fmla="*/ 22 h 30"/>
                <a:gd name="T64" fmla="*/ 36 w 42"/>
                <a:gd name="T65" fmla="*/ 20 h 30"/>
                <a:gd name="T66" fmla="*/ 36 w 42"/>
                <a:gd name="T67" fmla="*/ 20 h 30"/>
                <a:gd name="T68" fmla="*/ 36 w 42"/>
                <a:gd name="T69" fmla="*/ 18 h 30"/>
                <a:gd name="T70" fmla="*/ 40 w 42"/>
                <a:gd name="T71" fmla="*/ 14 h 30"/>
                <a:gd name="T72" fmla="*/ 42 w 42"/>
                <a:gd name="T73" fmla="*/ 12 h 30"/>
                <a:gd name="T74" fmla="*/ 42 w 42"/>
                <a:gd name="T75" fmla="*/ 12 h 30"/>
                <a:gd name="T76" fmla="*/ 42 w 42"/>
                <a:gd name="T77" fmla="*/ 10 h 30"/>
                <a:gd name="T78" fmla="*/ 42 w 42"/>
                <a:gd name="T79" fmla="*/ 6 h 30"/>
                <a:gd name="T80" fmla="*/ 38 w 42"/>
                <a:gd name="T81" fmla="*/ 2 h 30"/>
                <a:gd name="T82" fmla="*/ 38 w 42"/>
                <a:gd name="T83" fmla="*/ 2 h 30"/>
                <a:gd name="T84" fmla="*/ 34 w 42"/>
                <a:gd name="T85" fmla="*/ 0 h 30"/>
                <a:gd name="T86" fmla="*/ 34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 name="Freeform 1078"/>
            <p:cNvSpPr>
              <a:spLocks/>
            </p:cNvSpPr>
            <p:nvPr/>
          </p:nvSpPr>
          <p:spPr bwMode="auto">
            <a:xfrm>
              <a:off x="4693" y="2021"/>
              <a:ext cx="38" cy="48"/>
            </a:xfrm>
            <a:custGeom>
              <a:avLst/>
              <a:gdLst>
                <a:gd name="T0" fmla="*/ 24 w 38"/>
                <a:gd name="T1" fmla="*/ 48 h 48"/>
                <a:gd name="T2" fmla="*/ 18 w 38"/>
                <a:gd name="T3" fmla="*/ 46 h 48"/>
                <a:gd name="T4" fmla="*/ 18 w 38"/>
                <a:gd name="T5" fmla="*/ 46 h 48"/>
                <a:gd name="T6" fmla="*/ 16 w 38"/>
                <a:gd name="T7" fmla="*/ 44 h 48"/>
                <a:gd name="T8" fmla="*/ 16 w 38"/>
                <a:gd name="T9" fmla="*/ 40 h 48"/>
                <a:gd name="T10" fmla="*/ 16 w 38"/>
                <a:gd name="T11" fmla="*/ 36 h 48"/>
                <a:gd name="T12" fmla="*/ 12 w 38"/>
                <a:gd name="T13" fmla="*/ 36 h 48"/>
                <a:gd name="T14" fmla="*/ 12 w 38"/>
                <a:gd name="T15" fmla="*/ 36 h 48"/>
                <a:gd name="T16" fmla="*/ 10 w 38"/>
                <a:gd name="T17" fmla="*/ 34 h 48"/>
                <a:gd name="T18" fmla="*/ 10 w 38"/>
                <a:gd name="T19" fmla="*/ 34 h 48"/>
                <a:gd name="T20" fmla="*/ 10 w 38"/>
                <a:gd name="T21" fmla="*/ 34 h 48"/>
                <a:gd name="T22" fmla="*/ 12 w 38"/>
                <a:gd name="T23" fmla="*/ 28 h 48"/>
                <a:gd name="T24" fmla="*/ 16 w 38"/>
                <a:gd name="T25" fmla="*/ 22 h 48"/>
                <a:gd name="T26" fmla="*/ 16 w 38"/>
                <a:gd name="T27" fmla="*/ 20 h 48"/>
                <a:gd name="T28" fmla="*/ 14 w 38"/>
                <a:gd name="T29" fmla="*/ 16 h 48"/>
                <a:gd name="T30" fmla="*/ 2 w 38"/>
                <a:gd name="T31" fmla="*/ 20 h 48"/>
                <a:gd name="T32" fmla="*/ 2 w 38"/>
                <a:gd name="T33" fmla="*/ 20 h 48"/>
                <a:gd name="T34" fmla="*/ 2 w 38"/>
                <a:gd name="T35" fmla="*/ 20 h 48"/>
                <a:gd name="T36" fmla="*/ 2 w 38"/>
                <a:gd name="T37" fmla="*/ 20 h 48"/>
                <a:gd name="T38" fmla="*/ 0 w 38"/>
                <a:gd name="T39" fmla="*/ 18 h 48"/>
                <a:gd name="T40" fmla="*/ 0 w 38"/>
                <a:gd name="T41" fmla="*/ 18 h 48"/>
                <a:gd name="T42" fmla="*/ 0 w 38"/>
                <a:gd name="T43" fmla="*/ 16 h 48"/>
                <a:gd name="T44" fmla="*/ 4 w 38"/>
                <a:gd name="T45" fmla="*/ 12 h 48"/>
                <a:gd name="T46" fmla="*/ 10 w 38"/>
                <a:gd name="T47" fmla="*/ 6 h 48"/>
                <a:gd name="T48" fmla="*/ 14 w 38"/>
                <a:gd name="T49" fmla="*/ 0 h 48"/>
                <a:gd name="T50" fmla="*/ 14 w 38"/>
                <a:gd name="T51" fmla="*/ 0 h 48"/>
                <a:gd name="T52" fmla="*/ 16 w 38"/>
                <a:gd name="T53" fmla="*/ 0 h 48"/>
                <a:gd name="T54" fmla="*/ 22 w 38"/>
                <a:gd name="T55" fmla="*/ 0 h 48"/>
                <a:gd name="T56" fmla="*/ 22 w 38"/>
                <a:gd name="T57" fmla="*/ 0 h 48"/>
                <a:gd name="T58" fmla="*/ 24 w 38"/>
                <a:gd name="T59" fmla="*/ 0 h 48"/>
                <a:gd name="T60" fmla="*/ 28 w 38"/>
                <a:gd name="T61" fmla="*/ 6 h 48"/>
                <a:gd name="T62" fmla="*/ 32 w 38"/>
                <a:gd name="T63" fmla="*/ 8 h 48"/>
                <a:gd name="T64" fmla="*/ 36 w 38"/>
                <a:gd name="T65" fmla="*/ 14 h 48"/>
                <a:gd name="T66" fmla="*/ 36 w 38"/>
                <a:gd name="T67" fmla="*/ 14 h 48"/>
                <a:gd name="T68" fmla="*/ 38 w 38"/>
                <a:gd name="T69" fmla="*/ 16 h 48"/>
                <a:gd name="T70" fmla="*/ 36 w 38"/>
                <a:gd name="T71" fmla="*/ 24 h 48"/>
                <a:gd name="T72" fmla="*/ 36 w 38"/>
                <a:gd name="T73" fmla="*/ 24 h 48"/>
                <a:gd name="T74" fmla="*/ 34 w 38"/>
                <a:gd name="T75" fmla="*/ 24 h 48"/>
                <a:gd name="T76" fmla="*/ 32 w 38"/>
                <a:gd name="T77" fmla="*/ 26 h 48"/>
                <a:gd name="T78" fmla="*/ 30 w 38"/>
                <a:gd name="T79" fmla="*/ 30 h 48"/>
                <a:gd name="T80" fmla="*/ 30 w 38"/>
                <a:gd name="T81" fmla="*/ 38 h 48"/>
                <a:gd name="T82" fmla="*/ 26 w 38"/>
                <a:gd name="T83" fmla="*/ 46 h 48"/>
                <a:gd name="T84" fmla="*/ 26 w 38"/>
                <a:gd name="T85" fmla="*/ 46 h 48"/>
                <a:gd name="T86" fmla="*/ 24 w 38"/>
                <a:gd name="T87" fmla="*/ 48 h 48"/>
                <a:gd name="T88" fmla="*/ 24 w 38"/>
                <a:gd name="T89" fmla="*/ 48 h 48"/>
                <a:gd name="T90" fmla="*/ 24 w 38"/>
                <a:gd name="T91" fmla="*/ 48 h 48"/>
                <a:gd name="T92" fmla="*/ 24 w 38"/>
                <a:gd name="T9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 h="48">
                  <a:moveTo>
                    <a:pt x="24" y="48"/>
                  </a:moveTo>
                  <a:lnTo>
                    <a:pt x="18" y="46"/>
                  </a:lnTo>
                  <a:lnTo>
                    <a:pt x="18" y="46"/>
                  </a:lnTo>
                  <a:lnTo>
                    <a:pt x="16" y="44"/>
                  </a:lnTo>
                  <a:lnTo>
                    <a:pt x="16" y="40"/>
                  </a:lnTo>
                  <a:lnTo>
                    <a:pt x="16" y="36"/>
                  </a:lnTo>
                  <a:lnTo>
                    <a:pt x="12" y="36"/>
                  </a:lnTo>
                  <a:lnTo>
                    <a:pt x="12" y="36"/>
                  </a:lnTo>
                  <a:lnTo>
                    <a:pt x="10" y="34"/>
                  </a:lnTo>
                  <a:lnTo>
                    <a:pt x="10" y="34"/>
                  </a:lnTo>
                  <a:lnTo>
                    <a:pt x="10" y="34"/>
                  </a:lnTo>
                  <a:lnTo>
                    <a:pt x="12" y="28"/>
                  </a:lnTo>
                  <a:lnTo>
                    <a:pt x="16" y="22"/>
                  </a:lnTo>
                  <a:lnTo>
                    <a:pt x="16" y="20"/>
                  </a:lnTo>
                  <a:lnTo>
                    <a:pt x="14" y="16"/>
                  </a:lnTo>
                  <a:lnTo>
                    <a:pt x="2" y="20"/>
                  </a:lnTo>
                  <a:lnTo>
                    <a:pt x="2" y="20"/>
                  </a:lnTo>
                  <a:lnTo>
                    <a:pt x="2" y="20"/>
                  </a:lnTo>
                  <a:lnTo>
                    <a:pt x="2" y="20"/>
                  </a:lnTo>
                  <a:lnTo>
                    <a:pt x="0" y="18"/>
                  </a:lnTo>
                  <a:lnTo>
                    <a:pt x="0" y="18"/>
                  </a:lnTo>
                  <a:lnTo>
                    <a:pt x="0" y="16"/>
                  </a:lnTo>
                  <a:lnTo>
                    <a:pt x="4" y="12"/>
                  </a:lnTo>
                  <a:lnTo>
                    <a:pt x="10" y="6"/>
                  </a:lnTo>
                  <a:lnTo>
                    <a:pt x="14" y="0"/>
                  </a:lnTo>
                  <a:lnTo>
                    <a:pt x="14" y="0"/>
                  </a:lnTo>
                  <a:lnTo>
                    <a:pt x="16" y="0"/>
                  </a:lnTo>
                  <a:lnTo>
                    <a:pt x="22" y="0"/>
                  </a:lnTo>
                  <a:lnTo>
                    <a:pt x="22" y="0"/>
                  </a:lnTo>
                  <a:lnTo>
                    <a:pt x="24" y="0"/>
                  </a:lnTo>
                  <a:lnTo>
                    <a:pt x="28" y="6"/>
                  </a:lnTo>
                  <a:lnTo>
                    <a:pt x="32" y="8"/>
                  </a:lnTo>
                  <a:lnTo>
                    <a:pt x="36" y="14"/>
                  </a:lnTo>
                  <a:lnTo>
                    <a:pt x="36" y="14"/>
                  </a:lnTo>
                  <a:lnTo>
                    <a:pt x="38" y="16"/>
                  </a:lnTo>
                  <a:lnTo>
                    <a:pt x="36" y="24"/>
                  </a:lnTo>
                  <a:lnTo>
                    <a:pt x="36" y="24"/>
                  </a:lnTo>
                  <a:lnTo>
                    <a:pt x="34" y="24"/>
                  </a:lnTo>
                  <a:lnTo>
                    <a:pt x="32" y="26"/>
                  </a:lnTo>
                  <a:lnTo>
                    <a:pt x="30" y="30"/>
                  </a:lnTo>
                  <a:lnTo>
                    <a:pt x="30" y="38"/>
                  </a:lnTo>
                  <a:lnTo>
                    <a:pt x="26" y="46"/>
                  </a:lnTo>
                  <a:lnTo>
                    <a:pt x="26" y="46"/>
                  </a:lnTo>
                  <a:lnTo>
                    <a:pt x="24" y="48"/>
                  </a:lnTo>
                  <a:lnTo>
                    <a:pt x="24" y="48"/>
                  </a:lnTo>
                  <a:lnTo>
                    <a:pt x="24" y="48"/>
                  </a:lnTo>
                  <a:lnTo>
                    <a:pt x="2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1" name="Freeform 1079"/>
            <p:cNvSpPr>
              <a:spLocks noEditPoints="1"/>
            </p:cNvSpPr>
            <p:nvPr/>
          </p:nvSpPr>
          <p:spPr bwMode="auto">
            <a:xfrm>
              <a:off x="4691" y="2019"/>
              <a:ext cx="42" cy="52"/>
            </a:xfrm>
            <a:custGeom>
              <a:avLst/>
              <a:gdLst>
                <a:gd name="T0" fmla="*/ 28 w 42"/>
                <a:gd name="T1" fmla="*/ 8 h 52"/>
                <a:gd name="T2" fmla="*/ 38 w 42"/>
                <a:gd name="T3" fmla="*/ 18 h 52"/>
                <a:gd name="T4" fmla="*/ 32 w 42"/>
                <a:gd name="T5" fmla="*/ 26 h 52"/>
                <a:gd name="T6" fmla="*/ 30 w 42"/>
                <a:gd name="T7" fmla="*/ 40 h 52"/>
                <a:gd name="T8" fmla="*/ 20 w 42"/>
                <a:gd name="T9" fmla="*/ 46 h 52"/>
                <a:gd name="T10" fmla="*/ 22 w 42"/>
                <a:gd name="T11" fmla="*/ 36 h 52"/>
                <a:gd name="T12" fmla="*/ 16 w 42"/>
                <a:gd name="T13" fmla="*/ 30 h 52"/>
                <a:gd name="T14" fmla="*/ 20 w 42"/>
                <a:gd name="T15" fmla="*/ 22 h 52"/>
                <a:gd name="T16" fmla="*/ 10 w 42"/>
                <a:gd name="T17" fmla="*/ 18 h 52"/>
                <a:gd name="T18" fmla="*/ 8 w 42"/>
                <a:gd name="T19" fmla="*/ 14 h 52"/>
                <a:gd name="T20" fmla="*/ 18 w 42"/>
                <a:gd name="T21" fmla="*/ 4 h 52"/>
                <a:gd name="T22" fmla="*/ 24 w 42"/>
                <a:gd name="T23" fmla="*/ 0 h 52"/>
                <a:gd name="T24" fmla="*/ 18 w 42"/>
                <a:gd name="T25" fmla="*/ 0 h 52"/>
                <a:gd name="T26" fmla="*/ 10 w 42"/>
                <a:gd name="T27" fmla="*/ 8 h 52"/>
                <a:gd name="T28" fmla="*/ 4 w 42"/>
                <a:gd name="T29" fmla="*/ 10 h 52"/>
                <a:gd name="T30" fmla="*/ 0 w 42"/>
                <a:gd name="T31" fmla="*/ 18 h 52"/>
                <a:gd name="T32" fmla="*/ 0 w 42"/>
                <a:gd name="T33" fmla="*/ 20 h 52"/>
                <a:gd name="T34" fmla="*/ 0 w 42"/>
                <a:gd name="T35" fmla="*/ 22 h 52"/>
                <a:gd name="T36" fmla="*/ 4 w 42"/>
                <a:gd name="T37" fmla="*/ 24 h 52"/>
                <a:gd name="T38" fmla="*/ 12 w 42"/>
                <a:gd name="T39" fmla="*/ 22 h 52"/>
                <a:gd name="T40" fmla="*/ 16 w 42"/>
                <a:gd name="T41" fmla="*/ 22 h 52"/>
                <a:gd name="T42" fmla="*/ 12 w 42"/>
                <a:gd name="T43" fmla="*/ 28 h 52"/>
                <a:gd name="T44" fmla="*/ 12 w 42"/>
                <a:gd name="T45" fmla="*/ 30 h 52"/>
                <a:gd name="T46" fmla="*/ 10 w 42"/>
                <a:gd name="T47" fmla="*/ 34 h 52"/>
                <a:gd name="T48" fmla="*/ 10 w 42"/>
                <a:gd name="T49" fmla="*/ 38 h 52"/>
                <a:gd name="T50" fmla="*/ 16 w 42"/>
                <a:gd name="T51" fmla="*/ 40 h 52"/>
                <a:gd name="T52" fmla="*/ 16 w 42"/>
                <a:gd name="T53" fmla="*/ 42 h 52"/>
                <a:gd name="T54" fmla="*/ 16 w 42"/>
                <a:gd name="T55" fmla="*/ 46 h 52"/>
                <a:gd name="T56" fmla="*/ 16 w 42"/>
                <a:gd name="T57" fmla="*/ 48 h 52"/>
                <a:gd name="T58" fmla="*/ 26 w 42"/>
                <a:gd name="T59" fmla="*/ 52 h 52"/>
                <a:gd name="T60" fmla="*/ 26 w 42"/>
                <a:gd name="T61" fmla="*/ 52 h 52"/>
                <a:gd name="T62" fmla="*/ 28 w 42"/>
                <a:gd name="T63" fmla="*/ 52 h 52"/>
                <a:gd name="T64" fmla="*/ 34 w 42"/>
                <a:gd name="T65" fmla="*/ 40 h 52"/>
                <a:gd name="T66" fmla="*/ 34 w 42"/>
                <a:gd name="T67" fmla="*/ 40 h 52"/>
                <a:gd name="T68" fmla="*/ 36 w 42"/>
                <a:gd name="T69" fmla="*/ 30 h 52"/>
                <a:gd name="T70" fmla="*/ 38 w 42"/>
                <a:gd name="T71" fmla="*/ 28 h 52"/>
                <a:gd name="T72" fmla="*/ 42 w 42"/>
                <a:gd name="T73" fmla="*/ 18 h 52"/>
                <a:gd name="T74" fmla="*/ 40 w 42"/>
                <a:gd name="T75" fmla="*/ 16 h 52"/>
                <a:gd name="T76" fmla="*/ 36 w 42"/>
                <a:gd name="T77" fmla="*/ 10 h 52"/>
                <a:gd name="T78" fmla="*/ 32 w 42"/>
                <a:gd name="T79" fmla="*/ 6 h 52"/>
                <a:gd name="T80" fmla="*/ 28 w 42"/>
                <a:gd name="T81" fmla="*/ 2 h 52"/>
                <a:gd name="T82" fmla="*/ 24 w 42"/>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52">
                  <a:moveTo>
                    <a:pt x="24" y="4"/>
                  </a:moveTo>
                  <a:lnTo>
                    <a:pt x="28" y="8"/>
                  </a:lnTo>
                  <a:lnTo>
                    <a:pt x="34" y="12"/>
                  </a:lnTo>
                  <a:lnTo>
                    <a:pt x="38" y="18"/>
                  </a:lnTo>
                  <a:lnTo>
                    <a:pt x="36" y="24"/>
                  </a:lnTo>
                  <a:lnTo>
                    <a:pt x="32" y="26"/>
                  </a:lnTo>
                  <a:lnTo>
                    <a:pt x="30" y="32"/>
                  </a:lnTo>
                  <a:lnTo>
                    <a:pt x="30" y="40"/>
                  </a:lnTo>
                  <a:lnTo>
                    <a:pt x="26" y="48"/>
                  </a:lnTo>
                  <a:lnTo>
                    <a:pt x="20" y="46"/>
                  </a:lnTo>
                  <a:lnTo>
                    <a:pt x="20" y="42"/>
                  </a:lnTo>
                  <a:lnTo>
                    <a:pt x="22" y="36"/>
                  </a:lnTo>
                  <a:lnTo>
                    <a:pt x="14" y="36"/>
                  </a:lnTo>
                  <a:lnTo>
                    <a:pt x="16" y="30"/>
                  </a:lnTo>
                  <a:lnTo>
                    <a:pt x="20" y="24"/>
                  </a:lnTo>
                  <a:lnTo>
                    <a:pt x="20" y="22"/>
                  </a:lnTo>
                  <a:lnTo>
                    <a:pt x="18" y="16"/>
                  </a:lnTo>
                  <a:lnTo>
                    <a:pt x="10" y="18"/>
                  </a:lnTo>
                  <a:lnTo>
                    <a:pt x="4" y="20"/>
                  </a:lnTo>
                  <a:lnTo>
                    <a:pt x="8" y="14"/>
                  </a:lnTo>
                  <a:lnTo>
                    <a:pt x="12" y="10"/>
                  </a:lnTo>
                  <a:lnTo>
                    <a:pt x="18" y="4"/>
                  </a:lnTo>
                  <a:lnTo>
                    <a:pt x="24" y="4"/>
                  </a:lnTo>
                  <a:close/>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2" name="Freeform 1080"/>
            <p:cNvSpPr>
              <a:spLocks/>
            </p:cNvSpPr>
            <p:nvPr/>
          </p:nvSpPr>
          <p:spPr bwMode="auto">
            <a:xfrm>
              <a:off x="4695" y="2023"/>
              <a:ext cx="34" cy="44"/>
            </a:xfrm>
            <a:custGeom>
              <a:avLst/>
              <a:gdLst>
                <a:gd name="T0" fmla="*/ 20 w 34"/>
                <a:gd name="T1" fmla="*/ 0 h 44"/>
                <a:gd name="T2" fmla="*/ 24 w 34"/>
                <a:gd name="T3" fmla="*/ 4 h 44"/>
                <a:gd name="T4" fmla="*/ 30 w 34"/>
                <a:gd name="T5" fmla="*/ 8 h 44"/>
                <a:gd name="T6" fmla="*/ 34 w 34"/>
                <a:gd name="T7" fmla="*/ 14 h 44"/>
                <a:gd name="T8" fmla="*/ 32 w 34"/>
                <a:gd name="T9" fmla="*/ 20 h 44"/>
                <a:gd name="T10" fmla="*/ 28 w 34"/>
                <a:gd name="T11" fmla="*/ 22 h 44"/>
                <a:gd name="T12" fmla="*/ 26 w 34"/>
                <a:gd name="T13" fmla="*/ 28 h 44"/>
                <a:gd name="T14" fmla="*/ 26 w 34"/>
                <a:gd name="T15" fmla="*/ 36 h 44"/>
                <a:gd name="T16" fmla="*/ 22 w 34"/>
                <a:gd name="T17" fmla="*/ 44 h 44"/>
                <a:gd name="T18" fmla="*/ 16 w 34"/>
                <a:gd name="T19" fmla="*/ 42 h 44"/>
                <a:gd name="T20" fmla="*/ 16 w 34"/>
                <a:gd name="T21" fmla="*/ 38 h 44"/>
                <a:gd name="T22" fmla="*/ 18 w 34"/>
                <a:gd name="T23" fmla="*/ 32 h 44"/>
                <a:gd name="T24" fmla="*/ 10 w 34"/>
                <a:gd name="T25" fmla="*/ 32 h 44"/>
                <a:gd name="T26" fmla="*/ 12 w 34"/>
                <a:gd name="T27" fmla="*/ 26 h 44"/>
                <a:gd name="T28" fmla="*/ 16 w 34"/>
                <a:gd name="T29" fmla="*/ 20 h 44"/>
                <a:gd name="T30" fmla="*/ 16 w 34"/>
                <a:gd name="T31" fmla="*/ 18 h 44"/>
                <a:gd name="T32" fmla="*/ 14 w 34"/>
                <a:gd name="T33" fmla="*/ 12 h 44"/>
                <a:gd name="T34" fmla="*/ 6 w 34"/>
                <a:gd name="T35" fmla="*/ 14 h 44"/>
                <a:gd name="T36" fmla="*/ 0 w 34"/>
                <a:gd name="T37" fmla="*/ 16 h 44"/>
                <a:gd name="T38" fmla="*/ 4 w 34"/>
                <a:gd name="T39" fmla="*/ 10 h 44"/>
                <a:gd name="T40" fmla="*/ 8 w 34"/>
                <a:gd name="T41" fmla="*/ 6 h 44"/>
                <a:gd name="T42" fmla="*/ 14 w 34"/>
                <a:gd name="T43" fmla="*/ 0 h 44"/>
                <a:gd name="T44" fmla="*/ 20 w 34"/>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4">
                  <a:moveTo>
                    <a:pt x="20" y="0"/>
                  </a:moveTo>
                  <a:lnTo>
                    <a:pt x="24" y="4"/>
                  </a:lnTo>
                  <a:lnTo>
                    <a:pt x="30" y="8"/>
                  </a:lnTo>
                  <a:lnTo>
                    <a:pt x="34" y="14"/>
                  </a:lnTo>
                  <a:lnTo>
                    <a:pt x="32" y="20"/>
                  </a:lnTo>
                  <a:lnTo>
                    <a:pt x="28" y="22"/>
                  </a:lnTo>
                  <a:lnTo>
                    <a:pt x="26" y="28"/>
                  </a:lnTo>
                  <a:lnTo>
                    <a:pt x="26" y="36"/>
                  </a:lnTo>
                  <a:lnTo>
                    <a:pt x="22" y="44"/>
                  </a:lnTo>
                  <a:lnTo>
                    <a:pt x="16" y="42"/>
                  </a:lnTo>
                  <a:lnTo>
                    <a:pt x="16" y="38"/>
                  </a:lnTo>
                  <a:lnTo>
                    <a:pt x="18" y="32"/>
                  </a:lnTo>
                  <a:lnTo>
                    <a:pt x="10" y="32"/>
                  </a:lnTo>
                  <a:lnTo>
                    <a:pt x="12" y="26"/>
                  </a:lnTo>
                  <a:lnTo>
                    <a:pt x="16" y="20"/>
                  </a:lnTo>
                  <a:lnTo>
                    <a:pt x="16" y="18"/>
                  </a:lnTo>
                  <a:lnTo>
                    <a:pt x="14" y="12"/>
                  </a:lnTo>
                  <a:lnTo>
                    <a:pt x="6" y="14"/>
                  </a:lnTo>
                  <a:lnTo>
                    <a:pt x="0" y="16"/>
                  </a:lnTo>
                  <a:lnTo>
                    <a:pt x="4" y="10"/>
                  </a:lnTo>
                  <a:lnTo>
                    <a:pt x="8" y="6"/>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 name="Freeform 1081"/>
            <p:cNvSpPr>
              <a:spLocks/>
            </p:cNvSpPr>
            <p:nvPr/>
          </p:nvSpPr>
          <p:spPr bwMode="auto">
            <a:xfrm>
              <a:off x="4691" y="2019"/>
              <a:ext cx="42" cy="52"/>
            </a:xfrm>
            <a:custGeom>
              <a:avLst/>
              <a:gdLst>
                <a:gd name="T0" fmla="*/ 24 w 42"/>
                <a:gd name="T1" fmla="*/ 0 h 52"/>
                <a:gd name="T2" fmla="*/ 18 w 42"/>
                <a:gd name="T3" fmla="*/ 0 h 52"/>
                <a:gd name="T4" fmla="*/ 18 w 42"/>
                <a:gd name="T5" fmla="*/ 0 h 52"/>
                <a:gd name="T6" fmla="*/ 14 w 42"/>
                <a:gd name="T7" fmla="*/ 0 h 52"/>
                <a:gd name="T8" fmla="*/ 10 w 42"/>
                <a:gd name="T9" fmla="*/ 8 h 52"/>
                <a:gd name="T10" fmla="*/ 4 w 42"/>
                <a:gd name="T11" fmla="*/ 10 h 52"/>
                <a:gd name="T12" fmla="*/ 4 w 42"/>
                <a:gd name="T13" fmla="*/ 10 h 52"/>
                <a:gd name="T14" fmla="*/ 4 w 42"/>
                <a:gd name="T15" fmla="*/ 12 h 52"/>
                <a:gd name="T16" fmla="*/ 0 w 42"/>
                <a:gd name="T17" fmla="*/ 18 h 52"/>
                <a:gd name="T18" fmla="*/ 0 w 42"/>
                <a:gd name="T19" fmla="*/ 18 h 52"/>
                <a:gd name="T20" fmla="*/ 0 w 42"/>
                <a:gd name="T21" fmla="*/ 20 h 52"/>
                <a:gd name="T22" fmla="*/ 0 w 42"/>
                <a:gd name="T23" fmla="*/ 22 h 52"/>
                <a:gd name="T24" fmla="*/ 0 w 42"/>
                <a:gd name="T25" fmla="*/ 22 h 52"/>
                <a:gd name="T26" fmla="*/ 4 w 42"/>
                <a:gd name="T27" fmla="*/ 24 h 52"/>
                <a:gd name="T28" fmla="*/ 4 w 42"/>
                <a:gd name="T29" fmla="*/ 24 h 52"/>
                <a:gd name="T30" fmla="*/ 4 w 42"/>
                <a:gd name="T31" fmla="*/ 24 h 52"/>
                <a:gd name="T32" fmla="*/ 12 w 42"/>
                <a:gd name="T33" fmla="*/ 22 h 52"/>
                <a:gd name="T34" fmla="*/ 16 w 42"/>
                <a:gd name="T35" fmla="*/ 20 h 52"/>
                <a:gd name="T36" fmla="*/ 16 w 42"/>
                <a:gd name="T37" fmla="*/ 22 h 52"/>
                <a:gd name="T38" fmla="*/ 16 w 42"/>
                <a:gd name="T39" fmla="*/ 24 h 52"/>
                <a:gd name="T40" fmla="*/ 12 w 42"/>
                <a:gd name="T41" fmla="*/ 28 h 52"/>
                <a:gd name="T42" fmla="*/ 12 w 42"/>
                <a:gd name="T43" fmla="*/ 28 h 52"/>
                <a:gd name="T44" fmla="*/ 12 w 42"/>
                <a:gd name="T45" fmla="*/ 30 h 52"/>
                <a:gd name="T46" fmla="*/ 10 w 42"/>
                <a:gd name="T47" fmla="*/ 34 h 52"/>
                <a:gd name="T48" fmla="*/ 10 w 42"/>
                <a:gd name="T49" fmla="*/ 34 h 52"/>
                <a:gd name="T50" fmla="*/ 10 w 42"/>
                <a:gd name="T51" fmla="*/ 38 h 52"/>
                <a:gd name="T52" fmla="*/ 10 w 42"/>
                <a:gd name="T53" fmla="*/ 38 h 52"/>
                <a:gd name="T54" fmla="*/ 14 w 42"/>
                <a:gd name="T55" fmla="*/ 40 h 52"/>
                <a:gd name="T56" fmla="*/ 16 w 42"/>
                <a:gd name="T57" fmla="*/ 40 h 52"/>
                <a:gd name="T58" fmla="*/ 16 w 42"/>
                <a:gd name="T59" fmla="*/ 42 h 52"/>
                <a:gd name="T60" fmla="*/ 16 w 42"/>
                <a:gd name="T61" fmla="*/ 42 h 52"/>
                <a:gd name="T62" fmla="*/ 16 w 42"/>
                <a:gd name="T63" fmla="*/ 42 h 52"/>
                <a:gd name="T64" fmla="*/ 16 w 42"/>
                <a:gd name="T65" fmla="*/ 46 h 52"/>
                <a:gd name="T66" fmla="*/ 16 w 42"/>
                <a:gd name="T67" fmla="*/ 46 h 52"/>
                <a:gd name="T68" fmla="*/ 16 w 42"/>
                <a:gd name="T69" fmla="*/ 48 h 52"/>
                <a:gd name="T70" fmla="*/ 18 w 42"/>
                <a:gd name="T71" fmla="*/ 50 h 52"/>
                <a:gd name="T72" fmla="*/ 26 w 42"/>
                <a:gd name="T73" fmla="*/ 52 h 52"/>
                <a:gd name="T74" fmla="*/ 26 w 42"/>
                <a:gd name="T75" fmla="*/ 52 h 52"/>
                <a:gd name="T76" fmla="*/ 26 w 42"/>
                <a:gd name="T77" fmla="*/ 52 h 52"/>
                <a:gd name="T78" fmla="*/ 26 w 42"/>
                <a:gd name="T79" fmla="*/ 52 h 52"/>
                <a:gd name="T80" fmla="*/ 28 w 42"/>
                <a:gd name="T81" fmla="*/ 52 h 52"/>
                <a:gd name="T82" fmla="*/ 30 w 42"/>
                <a:gd name="T83" fmla="*/ 50 h 52"/>
                <a:gd name="T84" fmla="*/ 34 w 42"/>
                <a:gd name="T85" fmla="*/ 40 h 52"/>
                <a:gd name="T86" fmla="*/ 34 w 42"/>
                <a:gd name="T87" fmla="*/ 40 h 52"/>
                <a:gd name="T88" fmla="*/ 34 w 42"/>
                <a:gd name="T89" fmla="*/ 40 h 52"/>
                <a:gd name="T90" fmla="*/ 34 w 42"/>
                <a:gd name="T91" fmla="*/ 32 h 52"/>
                <a:gd name="T92" fmla="*/ 36 w 42"/>
                <a:gd name="T93" fmla="*/ 30 h 52"/>
                <a:gd name="T94" fmla="*/ 38 w 42"/>
                <a:gd name="T95" fmla="*/ 28 h 52"/>
                <a:gd name="T96" fmla="*/ 38 w 42"/>
                <a:gd name="T97" fmla="*/ 28 h 52"/>
                <a:gd name="T98" fmla="*/ 40 w 42"/>
                <a:gd name="T99" fmla="*/ 26 h 52"/>
                <a:gd name="T100" fmla="*/ 42 w 42"/>
                <a:gd name="T101" fmla="*/ 18 h 52"/>
                <a:gd name="T102" fmla="*/ 42 w 42"/>
                <a:gd name="T103" fmla="*/ 18 h 52"/>
                <a:gd name="T104" fmla="*/ 40 w 42"/>
                <a:gd name="T105" fmla="*/ 16 h 52"/>
                <a:gd name="T106" fmla="*/ 36 w 42"/>
                <a:gd name="T107" fmla="*/ 10 h 52"/>
                <a:gd name="T108" fmla="*/ 36 w 42"/>
                <a:gd name="T109" fmla="*/ 10 h 52"/>
                <a:gd name="T110" fmla="*/ 36 w 42"/>
                <a:gd name="T111" fmla="*/ 10 h 52"/>
                <a:gd name="T112" fmla="*/ 32 w 42"/>
                <a:gd name="T113" fmla="*/ 6 h 52"/>
                <a:gd name="T114" fmla="*/ 28 w 42"/>
                <a:gd name="T115" fmla="*/ 2 h 52"/>
                <a:gd name="T116" fmla="*/ 28 w 42"/>
                <a:gd name="T117" fmla="*/ 2 h 52"/>
                <a:gd name="T118" fmla="*/ 24 w 42"/>
                <a:gd name="T119" fmla="*/ 0 h 52"/>
                <a:gd name="T120" fmla="*/ 24 w 42"/>
                <a:gd name="T1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 h="52">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 name="Freeform 1082"/>
            <p:cNvSpPr>
              <a:spLocks/>
            </p:cNvSpPr>
            <p:nvPr/>
          </p:nvSpPr>
          <p:spPr bwMode="auto">
            <a:xfrm>
              <a:off x="4715" y="1897"/>
              <a:ext cx="160" cy="138"/>
            </a:xfrm>
            <a:custGeom>
              <a:avLst/>
              <a:gdLst>
                <a:gd name="T0" fmla="*/ 68 w 160"/>
                <a:gd name="T1" fmla="*/ 138 h 138"/>
                <a:gd name="T2" fmla="*/ 56 w 160"/>
                <a:gd name="T3" fmla="*/ 128 h 138"/>
                <a:gd name="T4" fmla="*/ 56 w 160"/>
                <a:gd name="T5" fmla="*/ 124 h 138"/>
                <a:gd name="T6" fmla="*/ 54 w 160"/>
                <a:gd name="T7" fmla="*/ 116 h 138"/>
                <a:gd name="T8" fmla="*/ 48 w 160"/>
                <a:gd name="T9" fmla="*/ 120 h 138"/>
                <a:gd name="T10" fmla="*/ 18 w 160"/>
                <a:gd name="T11" fmla="*/ 126 h 138"/>
                <a:gd name="T12" fmla="*/ 10 w 160"/>
                <a:gd name="T13" fmla="*/ 132 h 138"/>
                <a:gd name="T14" fmla="*/ 4 w 160"/>
                <a:gd name="T15" fmla="*/ 130 h 138"/>
                <a:gd name="T16" fmla="*/ 0 w 160"/>
                <a:gd name="T17" fmla="*/ 124 h 138"/>
                <a:gd name="T18" fmla="*/ 12 w 160"/>
                <a:gd name="T19" fmla="*/ 116 h 138"/>
                <a:gd name="T20" fmla="*/ 30 w 160"/>
                <a:gd name="T21" fmla="*/ 102 h 138"/>
                <a:gd name="T22" fmla="*/ 70 w 160"/>
                <a:gd name="T23" fmla="*/ 100 h 138"/>
                <a:gd name="T24" fmla="*/ 84 w 160"/>
                <a:gd name="T25" fmla="*/ 76 h 138"/>
                <a:gd name="T26" fmla="*/ 90 w 160"/>
                <a:gd name="T27" fmla="*/ 68 h 138"/>
                <a:gd name="T28" fmla="*/ 90 w 160"/>
                <a:gd name="T29" fmla="*/ 68 h 138"/>
                <a:gd name="T30" fmla="*/ 94 w 160"/>
                <a:gd name="T31" fmla="*/ 78 h 138"/>
                <a:gd name="T32" fmla="*/ 126 w 160"/>
                <a:gd name="T33" fmla="*/ 48 h 138"/>
                <a:gd name="T34" fmla="*/ 128 w 160"/>
                <a:gd name="T35" fmla="*/ 18 h 138"/>
                <a:gd name="T36" fmla="*/ 132 w 160"/>
                <a:gd name="T37" fmla="*/ 10 h 138"/>
                <a:gd name="T38" fmla="*/ 136 w 160"/>
                <a:gd name="T39" fmla="*/ 8 h 138"/>
                <a:gd name="T40" fmla="*/ 138 w 160"/>
                <a:gd name="T41" fmla="*/ 8 h 138"/>
                <a:gd name="T42" fmla="*/ 146 w 160"/>
                <a:gd name="T43" fmla="*/ 8 h 138"/>
                <a:gd name="T44" fmla="*/ 142 w 160"/>
                <a:gd name="T45" fmla="*/ 4 h 138"/>
                <a:gd name="T46" fmla="*/ 148 w 160"/>
                <a:gd name="T47" fmla="*/ 0 h 138"/>
                <a:gd name="T48" fmla="*/ 150 w 160"/>
                <a:gd name="T49" fmla="*/ 0 h 138"/>
                <a:gd name="T50" fmla="*/ 152 w 160"/>
                <a:gd name="T51" fmla="*/ 2 h 138"/>
                <a:gd name="T52" fmla="*/ 158 w 160"/>
                <a:gd name="T53" fmla="*/ 26 h 138"/>
                <a:gd name="T54" fmla="*/ 160 w 160"/>
                <a:gd name="T55" fmla="*/ 36 h 138"/>
                <a:gd name="T56" fmla="*/ 146 w 160"/>
                <a:gd name="T57" fmla="*/ 62 h 138"/>
                <a:gd name="T58" fmla="*/ 146 w 160"/>
                <a:gd name="T59" fmla="*/ 76 h 138"/>
                <a:gd name="T60" fmla="*/ 140 w 160"/>
                <a:gd name="T61" fmla="*/ 92 h 138"/>
                <a:gd name="T62" fmla="*/ 140 w 160"/>
                <a:gd name="T63" fmla="*/ 102 h 138"/>
                <a:gd name="T64" fmla="*/ 136 w 160"/>
                <a:gd name="T65" fmla="*/ 110 h 138"/>
                <a:gd name="T66" fmla="*/ 130 w 160"/>
                <a:gd name="T67" fmla="*/ 114 h 138"/>
                <a:gd name="T68" fmla="*/ 130 w 160"/>
                <a:gd name="T69" fmla="*/ 114 h 138"/>
                <a:gd name="T70" fmla="*/ 120 w 160"/>
                <a:gd name="T71" fmla="*/ 108 h 138"/>
                <a:gd name="T72" fmla="*/ 120 w 160"/>
                <a:gd name="T73" fmla="*/ 114 h 138"/>
                <a:gd name="T74" fmla="*/ 118 w 160"/>
                <a:gd name="T75" fmla="*/ 120 h 138"/>
                <a:gd name="T76" fmla="*/ 116 w 160"/>
                <a:gd name="T77" fmla="*/ 120 h 138"/>
                <a:gd name="T78" fmla="*/ 108 w 160"/>
                <a:gd name="T79" fmla="*/ 116 h 138"/>
                <a:gd name="T80" fmla="*/ 106 w 160"/>
                <a:gd name="T81" fmla="*/ 118 h 138"/>
                <a:gd name="T82" fmla="*/ 86 w 160"/>
                <a:gd name="T83" fmla="*/ 120 h 138"/>
                <a:gd name="T84" fmla="*/ 86 w 160"/>
                <a:gd name="T85" fmla="*/ 124 h 138"/>
                <a:gd name="T86" fmla="*/ 76 w 160"/>
                <a:gd name="T87" fmla="*/ 134 h 138"/>
                <a:gd name="T88" fmla="*/ 70 w 160"/>
                <a:gd name="T8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38">
                  <a:moveTo>
                    <a:pt x="68" y="138"/>
                  </a:moveTo>
                  <a:lnTo>
                    <a:pt x="68" y="138"/>
                  </a:lnTo>
                  <a:lnTo>
                    <a:pt x="68" y="138"/>
                  </a:lnTo>
                  <a:lnTo>
                    <a:pt x="62" y="130"/>
                  </a:lnTo>
                  <a:lnTo>
                    <a:pt x="56" y="128"/>
                  </a:lnTo>
                  <a:lnTo>
                    <a:pt x="56" y="128"/>
                  </a:lnTo>
                  <a:lnTo>
                    <a:pt x="56" y="126"/>
                  </a:lnTo>
                  <a:lnTo>
                    <a:pt x="56" y="126"/>
                  </a:lnTo>
                  <a:lnTo>
                    <a:pt x="56" y="124"/>
                  </a:lnTo>
                  <a:lnTo>
                    <a:pt x="64" y="118"/>
                  </a:lnTo>
                  <a:lnTo>
                    <a:pt x="64" y="116"/>
                  </a:lnTo>
                  <a:lnTo>
                    <a:pt x="54" y="116"/>
                  </a:lnTo>
                  <a:lnTo>
                    <a:pt x="48" y="120"/>
                  </a:lnTo>
                  <a:lnTo>
                    <a:pt x="48" y="120"/>
                  </a:lnTo>
                  <a:lnTo>
                    <a:pt x="48" y="120"/>
                  </a:lnTo>
                  <a:lnTo>
                    <a:pt x="36" y="122"/>
                  </a:lnTo>
                  <a:lnTo>
                    <a:pt x="28" y="126"/>
                  </a:lnTo>
                  <a:lnTo>
                    <a:pt x="18" y="126"/>
                  </a:lnTo>
                  <a:lnTo>
                    <a:pt x="12" y="130"/>
                  </a:lnTo>
                  <a:lnTo>
                    <a:pt x="12" y="130"/>
                  </a:lnTo>
                  <a:lnTo>
                    <a:pt x="10" y="132"/>
                  </a:lnTo>
                  <a:lnTo>
                    <a:pt x="10" y="132"/>
                  </a:lnTo>
                  <a:lnTo>
                    <a:pt x="10" y="132"/>
                  </a:lnTo>
                  <a:lnTo>
                    <a:pt x="4" y="130"/>
                  </a:lnTo>
                  <a:lnTo>
                    <a:pt x="4" y="130"/>
                  </a:lnTo>
                  <a:lnTo>
                    <a:pt x="2" y="128"/>
                  </a:lnTo>
                  <a:lnTo>
                    <a:pt x="0" y="124"/>
                  </a:lnTo>
                  <a:lnTo>
                    <a:pt x="0" y="124"/>
                  </a:lnTo>
                  <a:lnTo>
                    <a:pt x="2" y="122"/>
                  </a:lnTo>
                  <a:lnTo>
                    <a:pt x="12" y="116"/>
                  </a:lnTo>
                  <a:lnTo>
                    <a:pt x="24" y="108"/>
                  </a:lnTo>
                  <a:lnTo>
                    <a:pt x="30" y="102"/>
                  </a:lnTo>
                  <a:lnTo>
                    <a:pt x="30" y="102"/>
                  </a:lnTo>
                  <a:lnTo>
                    <a:pt x="30" y="102"/>
                  </a:lnTo>
                  <a:lnTo>
                    <a:pt x="42" y="100"/>
                  </a:lnTo>
                  <a:lnTo>
                    <a:pt x="70" y="100"/>
                  </a:lnTo>
                  <a:lnTo>
                    <a:pt x="72" y="92"/>
                  </a:lnTo>
                  <a:lnTo>
                    <a:pt x="80" y="82"/>
                  </a:lnTo>
                  <a:lnTo>
                    <a:pt x="84" y="76"/>
                  </a:lnTo>
                  <a:lnTo>
                    <a:pt x="88" y="68"/>
                  </a:lnTo>
                  <a:lnTo>
                    <a:pt x="88" y="68"/>
                  </a:lnTo>
                  <a:lnTo>
                    <a:pt x="90" y="68"/>
                  </a:lnTo>
                  <a:lnTo>
                    <a:pt x="90" y="68"/>
                  </a:lnTo>
                  <a:lnTo>
                    <a:pt x="90" y="68"/>
                  </a:lnTo>
                  <a:lnTo>
                    <a:pt x="90" y="68"/>
                  </a:lnTo>
                  <a:lnTo>
                    <a:pt x="92" y="68"/>
                  </a:lnTo>
                  <a:lnTo>
                    <a:pt x="94" y="74"/>
                  </a:lnTo>
                  <a:lnTo>
                    <a:pt x="94" y="78"/>
                  </a:lnTo>
                  <a:lnTo>
                    <a:pt x="100" y="74"/>
                  </a:lnTo>
                  <a:lnTo>
                    <a:pt x="114" y="66"/>
                  </a:lnTo>
                  <a:lnTo>
                    <a:pt x="126" y="48"/>
                  </a:lnTo>
                  <a:lnTo>
                    <a:pt x="132" y="34"/>
                  </a:lnTo>
                  <a:lnTo>
                    <a:pt x="130" y="30"/>
                  </a:lnTo>
                  <a:lnTo>
                    <a:pt x="128" y="18"/>
                  </a:lnTo>
                  <a:lnTo>
                    <a:pt x="128" y="18"/>
                  </a:lnTo>
                  <a:lnTo>
                    <a:pt x="128" y="18"/>
                  </a:lnTo>
                  <a:lnTo>
                    <a:pt x="132" y="10"/>
                  </a:lnTo>
                  <a:lnTo>
                    <a:pt x="132" y="10"/>
                  </a:lnTo>
                  <a:lnTo>
                    <a:pt x="132" y="10"/>
                  </a:lnTo>
                  <a:lnTo>
                    <a:pt x="136" y="8"/>
                  </a:lnTo>
                  <a:lnTo>
                    <a:pt x="136" y="8"/>
                  </a:lnTo>
                  <a:lnTo>
                    <a:pt x="138" y="8"/>
                  </a:lnTo>
                  <a:lnTo>
                    <a:pt x="138" y="8"/>
                  </a:lnTo>
                  <a:lnTo>
                    <a:pt x="138" y="8"/>
                  </a:lnTo>
                  <a:lnTo>
                    <a:pt x="144" y="10"/>
                  </a:lnTo>
                  <a:lnTo>
                    <a:pt x="146" y="8"/>
                  </a:lnTo>
                  <a:lnTo>
                    <a:pt x="142" y="6"/>
                  </a:lnTo>
                  <a:lnTo>
                    <a:pt x="142" y="6"/>
                  </a:lnTo>
                  <a:lnTo>
                    <a:pt x="142" y="4"/>
                  </a:lnTo>
                  <a:lnTo>
                    <a:pt x="142" y="4"/>
                  </a:lnTo>
                  <a:lnTo>
                    <a:pt x="144" y="2"/>
                  </a:lnTo>
                  <a:lnTo>
                    <a:pt x="148" y="0"/>
                  </a:lnTo>
                  <a:lnTo>
                    <a:pt x="148" y="0"/>
                  </a:lnTo>
                  <a:lnTo>
                    <a:pt x="150" y="0"/>
                  </a:lnTo>
                  <a:lnTo>
                    <a:pt x="150" y="0"/>
                  </a:lnTo>
                  <a:lnTo>
                    <a:pt x="150" y="0"/>
                  </a:lnTo>
                  <a:lnTo>
                    <a:pt x="150" y="0"/>
                  </a:lnTo>
                  <a:lnTo>
                    <a:pt x="152" y="2"/>
                  </a:lnTo>
                  <a:lnTo>
                    <a:pt x="154" y="10"/>
                  </a:lnTo>
                  <a:lnTo>
                    <a:pt x="154" y="18"/>
                  </a:lnTo>
                  <a:lnTo>
                    <a:pt x="158" y="26"/>
                  </a:lnTo>
                  <a:lnTo>
                    <a:pt x="160" y="34"/>
                  </a:lnTo>
                  <a:lnTo>
                    <a:pt x="160" y="34"/>
                  </a:lnTo>
                  <a:lnTo>
                    <a:pt x="160" y="36"/>
                  </a:lnTo>
                  <a:lnTo>
                    <a:pt x="156" y="46"/>
                  </a:lnTo>
                  <a:lnTo>
                    <a:pt x="148" y="56"/>
                  </a:lnTo>
                  <a:lnTo>
                    <a:pt x="146" y="62"/>
                  </a:lnTo>
                  <a:lnTo>
                    <a:pt x="146" y="74"/>
                  </a:lnTo>
                  <a:lnTo>
                    <a:pt x="146" y="74"/>
                  </a:lnTo>
                  <a:lnTo>
                    <a:pt x="146" y="76"/>
                  </a:lnTo>
                  <a:lnTo>
                    <a:pt x="142" y="82"/>
                  </a:lnTo>
                  <a:lnTo>
                    <a:pt x="140" y="90"/>
                  </a:lnTo>
                  <a:lnTo>
                    <a:pt x="140" y="92"/>
                  </a:lnTo>
                  <a:lnTo>
                    <a:pt x="140" y="102"/>
                  </a:lnTo>
                  <a:lnTo>
                    <a:pt x="140" y="102"/>
                  </a:lnTo>
                  <a:lnTo>
                    <a:pt x="140" y="102"/>
                  </a:lnTo>
                  <a:lnTo>
                    <a:pt x="138" y="110"/>
                  </a:lnTo>
                  <a:lnTo>
                    <a:pt x="138" y="110"/>
                  </a:lnTo>
                  <a:lnTo>
                    <a:pt x="136" y="110"/>
                  </a:lnTo>
                  <a:lnTo>
                    <a:pt x="130" y="114"/>
                  </a:lnTo>
                  <a:lnTo>
                    <a:pt x="130" y="114"/>
                  </a:lnTo>
                  <a:lnTo>
                    <a:pt x="130" y="114"/>
                  </a:lnTo>
                  <a:lnTo>
                    <a:pt x="130" y="114"/>
                  </a:lnTo>
                  <a:lnTo>
                    <a:pt x="130" y="114"/>
                  </a:lnTo>
                  <a:lnTo>
                    <a:pt x="130" y="114"/>
                  </a:lnTo>
                  <a:lnTo>
                    <a:pt x="128" y="114"/>
                  </a:lnTo>
                  <a:lnTo>
                    <a:pt x="124" y="110"/>
                  </a:lnTo>
                  <a:lnTo>
                    <a:pt x="120" y="108"/>
                  </a:lnTo>
                  <a:lnTo>
                    <a:pt x="118" y="108"/>
                  </a:lnTo>
                  <a:lnTo>
                    <a:pt x="120" y="114"/>
                  </a:lnTo>
                  <a:lnTo>
                    <a:pt x="120" y="114"/>
                  </a:lnTo>
                  <a:lnTo>
                    <a:pt x="120" y="116"/>
                  </a:lnTo>
                  <a:lnTo>
                    <a:pt x="118" y="120"/>
                  </a:lnTo>
                  <a:lnTo>
                    <a:pt x="118" y="120"/>
                  </a:lnTo>
                  <a:lnTo>
                    <a:pt x="116" y="120"/>
                  </a:lnTo>
                  <a:lnTo>
                    <a:pt x="116" y="120"/>
                  </a:lnTo>
                  <a:lnTo>
                    <a:pt x="116" y="120"/>
                  </a:lnTo>
                  <a:lnTo>
                    <a:pt x="116" y="120"/>
                  </a:lnTo>
                  <a:lnTo>
                    <a:pt x="114" y="120"/>
                  </a:lnTo>
                  <a:lnTo>
                    <a:pt x="108" y="116"/>
                  </a:lnTo>
                  <a:lnTo>
                    <a:pt x="108" y="118"/>
                  </a:lnTo>
                  <a:lnTo>
                    <a:pt x="108" y="118"/>
                  </a:lnTo>
                  <a:lnTo>
                    <a:pt x="106" y="118"/>
                  </a:lnTo>
                  <a:lnTo>
                    <a:pt x="84" y="118"/>
                  </a:lnTo>
                  <a:lnTo>
                    <a:pt x="86" y="120"/>
                  </a:lnTo>
                  <a:lnTo>
                    <a:pt x="86" y="120"/>
                  </a:lnTo>
                  <a:lnTo>
                    <a:pt x="86" y="122"/>
                  </a:lnTo>
                  <a:lnTo>
                    <a:pt x="86" y="122"/>
                  </a:lnTo>
                  <a:lnTo>
                    <a:pt x="86" y="124"/>
                  </a:lnTo>
                  <a:lnTo>
                    <a:pt x="80" y="128"/>
                  </a:lnTo>
                  <a:lnTo>
                    <a:pt x="76" y="134"/>
                  </a:lnTo>
                  <a:lnTo>
                    <a:pt x="76" y="134"/>
                  </a:lnTo>
                  <a:lnTo>
                    <a:pt x="76" y="134"/>
                  </a:lnTo>
                  <a:lnTo>
                    <a:pt x="70" y="138"/>
                  </a:lnTo>
                  <a:lnTo>
                    <a:pt x="70" y="138"/>
                  </a:lnTo>
                  <a:lnTo>
                    <a:pt x="68" y="138"/>
                  </a:lnTo>
                  <a:lnTo>
                    <a:pt x="6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5" name="Freeform 1083"/>
            <p:cNvSpPr>
              <a:spLocks noEditPoints="1"/>
            </p:cNvSpPr>
            <p:nvPr/>
          </p:nvSpPr>
          <p:spPr bwMode="auto">
            <a:xfrm>
              <a:off x="4713" y="1895"/>
              <a:ext cx="164" cy="142"/>
            </a:xfrm>
            <a:custGeom>
              <a:avLst/>
              <a:gdLst>
                <a:gd name="T0" fmla="*/ 158 w 164"/>
                <a:gd name="T1" fmla="*/ 30 h 142"/>
                <a:gd name="T2" fmla="*/ 146 w 164"/>
                <a:gd name="T3" fmla="*/ 64 h 142"/>
                <a:gd name="T4" fmla="*/ 140 w 164"/>
                <a:gd name="T5" fmla="*/ 94 h 142"/>
                <a:gd name="T6" fmla="*/ 138 w 164"/>
                <a:gd name="T7" fmla="*/ 112 h 142"/>
                <a:gd name="T8" fmla="*/ 118 w 164"/>
                <a:gd name="T9" fmla="*/ 110 h 142"/>
                <a:gd name="T10" fmla="*/ 108 w 164"/>
                <a:gd name="T11" fmla="*/ 118 h 142"/>
                <a:gd name="T12" fmla="*/ 86 w 164"/>
                <a:gd name="T13" fmla="*/ 114 h 142"/>
                <a:gd name="T14" fmla="*/ 76 w 164"/>
                <a:gd name="T15" fmla="*/ 134 h 142"/>
                <a:gd name="T16" fmla="*/ 68 w 164"/>
                <a:gd name="T17" fmla="*/ 122 h 142"/>
                <a:gd name="T18" fmla="*/ 38 w 164"/>
                <a:gd name="T19" fmla="*/ 122 h 142"/>
                <a:gd name="T20" fmla="*/ 6 w 164"/>
                <a:gd name="T21" fmla="*/ 130 h 142"/>
                <a:gd name="T22" fmla="*/ 32 w 164"/>
                <a:gd name="T23" fmla="*/ 106 h 142"/>
                <a:gd name="T24" fmla="*/ 76 w 164"/>
                <a:gd name="T25" fmla="*/ 94 h 142"/>
                <a:gd name="T26" fmla="*/ 94 w 164"/>
                <a:gd name="T27" fmla="*/ 76 h 142"/>
                <a:gd name="T28" fmla="*/ 130 w 164"/>
                <a:gd name="T29" fmla="*/ 52 h 142"/>
                <a:gd name="T30" fmla="*/ 136 w 164"/>
                <a:gd name="T31" fmla="*/ 14 h 142"/>
                <a:gd name="T32" fmla="*/ 146 w 164"/>
                <a:gd name="T33" fmla="*/ 6 h 142"/>
                <a:gd name="T34" fmla="*/ 150 w 164"/>
                <a:gd name="T35" fmla="*/ 0 h 142"/>
                <a:gd name="T36" fmla="*/ 142 w 164"/>
                <a:gd name="T37" fmla="*/ 4 h 142"/>
                <a:gd name="T38" fmla="*/ 140 w 164"/>
                <a:gd name="T39" fmla="*/ 8 h 142"/>
                <a:gd name="T40" fmla="*/ 134 w 164"/>
                <a:gd name="T41" fmla="*/ 10 h 142"/>
                <a:gd name="T42" fmla="*/ 128 w 164"/>
                <a:gd name="T43" fmla="*/ 18 h 142"/>
                <a:gd name="T44" fmla="*/ 130 w 164"/>
                <a:gd name="T45" fmla="*/ 32 h 142"/>
                <a:gd name="T46" fmla="*/ 102 w 164"/>
                <a:gd name="T47" fmla="*/ 74 h 142"/>
                <a:gd name="T48" fmla="*/ 96 w 164"/>
                <a:gd name="T49" fmla="*/ 70 h 142"/>
                <a:gd name="T50" fmla="*/ 92 w 164"/>
                <a:gd name="T51" fmla="*/ 68 h 142"/>
                <a:gd name="T52" fmla="*/ 84 w 164"/>
                <a:gd name="T53" fmla="*/ 76 h 142"/>
                <a:gd name="T54" fmla="*/ 72 w 164"/>
                <a:gd name="T55" fmla="*/ 92 h 142"/>
                <a:gd name="T56" fmla="*/ 44 w 164"/>
                <a:gd name="T57" fmla="*/ 100 h 142"/>
                <a:gd name="T58" fmla="*/ 32 w 164"/>
                <a:gd name="T59" fmla="*/ 102 h 142"/>
                <a:gd name="T60" fmla="*/ 2 w 164"/>
                <a:gd name="T61" fmla="*/ 122 h 142"/>
                <a:gd name="T62" fmla="*/ 2 w 164"/>
                <a:gd name="T63" fmla="*/ 132 h 142"/>
                <a:gd name="T64" fmla="*/ 12 w 164"/>
                <a:gd name="T65" fmla="*/ 136 h 142"/>
                <a:gd name="T66" fmla="*/ 22 w 164"/>
                <a:gd name="T67" fmla="*/ 130 h 142"/>
                <a:gd name="T68" fmla="*/ 40 w 164"/>
                <a:gd name="T69" fmla="*/ 126 h 142"/>
                <a:gd name="T70" fmla="*/ 56 w 164"/>
                <a:gd name="T71" fmla="*/ 120 h 142"/>
                <a:gd name="T72" fmla="*/ 56 w 164"/>
                <a:gd name="T73" fmla="*/ 128 h 142"/>
                <a:gd name="T74" fmla="*/ 68 w 164"/>
                <a:gd name="T75" fmla="*/ 140 h 142"/>
                <a:gd name="T76" fmla="*/ 72 w 164"/>
                <a:gd name="T77" fmla="*/ 142 h 142"/>
                <a:gd name="T78" fmla="*/ 82 w 164"/>
                <a:gd name="T79" fmla="*/ 130 h 142"/>
                <a:gd name="T80" fmla="*/ 90 w 164"/>
                <a:gd name="T81" fmla="*/ 126 h 142"/>
                <a:gd name="T82" fmla="*/ 108 w 164"/>
                <a:gd name="T83" fmla="*/ 122 h 142"/>
                <a:gd name="T84" fmla="*/ 116 w 164"/>
                <a:gd name="T85" fmla="*/ 124 h 142"/>
                <a:gd name="T86" fmla="*/ 118 w 164"/>
                <a:gd name="T87" fmla="*/ 124 h 142"/>
                <a:gd name="T88" fmla="*/ 124 w 164"/>
                <a:gd name="T89" fmla="*/ 116 h 142"/>
                <a:gd name="T90" fmla="*/ 128 w 164"/>
                <a:gd name="T91" fmla="*/ 118 h 142"/>
                <a:gd name="T92" fmla="*/ 132 w 164"/>
                <a:gd name="T93" fmla="*/ 118 h 142"/>
                <a:gd name="T94" fmla="*/ 140 w 164"/>
                <a:gd name="T95" fmla="*/ 114 h 142"/>
                <a:gd name="T96" fmla="*/ 144 w 164"/>
                <a:gd name="T97" fmla="*/ 104 h 142"/>
                <a:gd name="T98" fmla="*/ 144 w 164"/>
                <a:gd name="T99" fmla="*/ 92 h 142"/>
                <a:gd name="T100" fmla="*/ 150 w 164"/>
                <a:gd name="T101" fmla="*/ 76 h 142"/>
                <a:gd name="T102" fmla="*/ 158 w 164"/>
                <a:gd name="T103" fmla="*/ 50 h 142"/>
                <a:gd name="T104" fmla="*/ 164 w 164"/>
                <a:gd name="T105" fmla="*/ 36 h 142"/>
                <a:gd name="T106" fmla="*/ 158 w 164"/>
                <a:gd name="T107" fmla="*/ 20 h 142"/>
                <a:gd name="T108" fmla="*/ 156 w 164"/>
                <a:gd name="T109" fmla="*/ 4 h 142"/>
                <a:gd name="T110" fmla="*/ 152 w 164"/>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42">
                  <a:moveTo>
                    <a:pt x="152" y="4"/>
                  </a:moveTo>
                  <a:lnTo>
                    <a:pt x="154" y="14"/>
                  </a:lnTo>
                  <a:lnTo>
                    <a:pt x="154" y="20"/>
                  </a:lnTo>
                  <a:lnTo>
                    <a:pt x="158" y="30"/>
                  </a:lnTo>
                  <a:lnTo>
                    <a:pt x="160" y="36"/>
                  </a:lnTo>
                  <a:lnTo>
                    <a:pt x="156" y="48"/>
                  </a:lnTo>
                  <a:lnTo>
                    <a:pt x="148" y="56"/>
                  </a:lnTo>
                  <a:lnTo>
                    <a:pt x="146" y="64"/>
                  </a:lnTo>
                  <a:lnTo>
                    <a:pt x="146" y="76"/>
                  </a:lnTo>
                  <a:lnTo>
                    <a:pt x="142" y="82"/>
                  </a:lnTo>
                  <a:lnTo>
                    <a:pt x="140" y="92"/>
                  </a:lnTo>
                  <a:lnTo>
                    <a:pt x="140" y="94"/>
                  </a:lnTo>
                  <a:lnTo>
                    <a:pt x="140" y="96"/>
                  </a:lnTo>
                  <a:lnTo>
                    <a:pt x="140" y="102"/>
                  </a:lnTo>
                  <a:lnTo>
                    <a:pt x="140" y="104"/>
                  </a:lnTo>
                  <a:lnTo>
                    <a:pt x="138" y="112"/>
                  </a:lnTo>
                  <a:lnTo>
                    <a:pt x="132" y="114"/>
                  </a:lnTo>
                  <a:lnTo>
                    <a:pt x="128" y="110"/>
                  </a:lnTo>
                  <a:lnTo>
                    <a:pt x="122" y="108"/>
                  </a:lnTo>
                  <a:lnTo>
                    <a:pt x="118" y="110"/>
                  </a:lnTo>
                  <a:lnTo>
                    <a:pt x="120" y="116"/>
                  </a:lnTo>
                  <a:lnTo>
                    <a:pt x="118" y="120"/>
                  </a:lnTo>
                  <a:lnTo>
                    <a:pt x="110" y="114"/>
                  </a:lnTo>
                  <a:lnTo>
                    <a:pt x="108" y="118"/>
                  </a:lnTo>
                  <a:lnTo>
                    <a:pt x="104" y="118"/>
                  </a:lnTo>
                  <a:lnTo>
                    <a:pt x="96" y="118"/>
                  </a:lnTo>
                  <a:lnTo>
                    <a:pt x="86" y="118"/>
                  </a:lnTo>
                  <a:lnTo>
                    <a:pt x="86" y="114"/>
                  </a:lnTo>
                  <a:lnTo>
                    <a:pt x="84" y="118"/>
                  </a:lnTo>
                  <a:lnTo>
                    <a:pt x="86" y="124"/>
                  </a:lnTo>
                  <a:lnTo>
                    <a:pt x="80" y="128"/>
                  </a:lnTo>
                  <a:lnTo>
                    <a:pt x="76" y="134"/>
                  </a:lnTo>
                  <a:lnTo>
                    <a:pt x="70" y="138"/>
                  </a:lnTo>
                  <a:lnTo>
                    <a:pt x="66" y="132"/>
                  </a:lnTo>
                  <a:lnTo>
                    <a:pt x="60" y="128"/>
                  </a:lnTo>
                  <a:lnTo>
                    <a:pt x="68" y="122"/>
                  </a:lnTo>
                  <a:lnTo>
                    <a:pt x="68" y="116"/>
                  </a:lnTo>
                  <a:lnTo>
                    <a:pt x="54" y="116"/>
                  </a:lnTo>
                  <a:lnTo>
                    <a:pt x="50" y="120"/>
                  </a:lnTo>
                  <a:lnTo>
                    <a:pt x="38" y="122"/>
                  </a:lnTo>
                  <a:lnTo>
                    <a:pt x="30" y="126"/>
                  </a:lnTo>
                  <a:lnTo>
                    <a:pt x="20" y="126"/>
                  </a:lnTo>
                  <a:lnTo>
                    <a:pt x="12" y="132"/>
                  </a:lnTo>
                  <a:lnTo>
                    <a:pt x="6" y="130"/>
                  </a:lnTo>
                  <a:lnTo>
                    <a:pt x="4" y="126"/>
                  </a:lnTo>
                  <a:lnTo>
                    <a:pt x="14" y="120"/>
                  </a:lnTo>
                  <a:lnTo>
                    <a:pt x="28" y="112"/>
                  </a:lnTo>
                  <a:lnTo>
                    <a:pt x="32" y="106"/>
                  </a:lnTo>
                  <a:lnTo>
                    <a:pt x="44" y="104"/>
                  </a:lnTo>
                  <a:lnTo>
                    <a:pt x="58" y="104"/>
                  </a:lnTo>
                  <a:lnTo>
                    <a:pt x="72" y="104"/>
                  </a:lnTo>
                  <a:lnTo>
                    <a:pt x="76" y="94"/>
                  </a:lnTo>
                  <a:lnTo>
                    <a:pt x="84" y="86"/>
                  </a:lnTo>
                  <a:lnTo>
                    <a:pt x="86" y="78"/>
                  </a:lnTo>
                  <a:lnTo>
                    <a:pt x="92" y="72"/>
                  </a:lnTo>
                  <a:lnTo>
                    <a:pt x="94" y="76"/>
                  </a:lnTo>
                  <a:lnTo>
                    <a:pt x="94" y="82"/>
                  </a:lnTo>
                  <a:lnTo>
                    <a:pt x="104" y="78"/>
                  </a:lnTo>
                  <a:lnTo>
                    <a:pt x="118" y="70"/>
                  </a:lnTo>
                  <a:lnTo>
                    <a:pt x="130" y="52"/>
                  </a:lnTo>
                  <a:lnTo>
                    <a:pt x="136" y="36"/>
                  </a:lnTo>
                  <a:lnTo>
                    <a:pt x="134" y="32"/>
                  </a:lnTo>
                  <a:lnTo>
                    <a:pt x="132" y="20"/>
                  </a:lnTo>
                  <a:lnTo>
                    <a:pt x="136" y="14"/>
                  </a:lnTo>
                  <a:lnTo>
                    <a:pt x="140" y="12"/>
                  </a:lnTo>
                  <a:lnTo>
                    <a:pt x="148" y="14"/>
                  </a:lnTo>
                  <a:lnTo>
                    <a:pt x="150" y="10"/>
                  </a:lnTo>
                  <a:lnTo>
                    <a:pt x="146" y="6"/>
                  </a:lnTo>
                  <a:lnTo>
                    <a:pt x="152" y="4"/>
                  </a:lnTo>
                  <a:close/>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6" name="Freeform 1084"/>
            <p:cNvSpPr>
              <a:spLocks/>
            </p:cNvSpPr>
            <p:nvPr/>
          </p:nvSpPr>
          <p:spPr bwMode="auto">
            <a:xfrm>
              <a:off x="4717" y="1899"/>
              <a:ext cx="156" cy="134"/>
            </a:xfrm>
            <a:custGeom>
              <a:avLst/>
              <a:gdLst>
                <a:gd name="T0" fmla="*/ 150 w 156"/>
                <a:gd name="T1" fmla="*/ 10 h 134"/>
                <a:gd name="T2" fmla="*/ 154 w 156"/>
                <a:gd name="T3" fmla="*/ 26 h 134"/>
                <a:gd name="T4" fmla="*/ 152 w 156"/>
                <a:gd name="T5" fmla="*/ 44 h 134"/>
                <a:gd name="T6" fmla="*/ 142 w 156"/>
                <a:gd name="T7" fmla="*/ 60 h 134"/>
                <a:gd name="T8" fmla="*/ 138 w 156"/>
                <a:gd name="T9" fmla="*/ 78 h 134"/>
                <a:gd name="T10" fmla="*/ 136 w 156"/>
                <a:gd name="T11" fmla="*/ 90 h 134"/>
                <a:gd name="T12" fmla="*/ 136 w 156"/>
                <a:gd name="T13" fmla="*/ 98 h 134"/>
                <a:gd name="T14" fmla="*/ 134 w 156"/>
                <a:gd name="T15" fmla="*/ 108 h 134"/>
                <a:gd name="T16" fmla="*/ 124 w 156"/>
                <a:gd name="T17" fmla="*/ 106 h 134"/>
                <a:gd name="T18" fmla="*/ 114 w 156"/>
                <a:gd name="T19" fmla="*/ 106 h 134"/>
                <a:gd name="T20" fmla="*/ 114 w 156"/>
                <a:gd name="T21" fmla="*/ 116 h 134"/>
                <a:gd name="T22" fmla="*/ 104 w 156"/>
                <a:gd name="T23" fmla="*/ 114 h 134"/>
                <a:gd name="T24" fmla="*/ 92 w 156"/>
                <a:gd name="T25" fmla="*/ 114 h 134"/>
                <a:gd name="T26" fmla="*/ 82 w 156"/>
                <a:gd name="T27" fmla="*/ 110 h 134"/>
                <a:gd name="T28" fmla="*/ 82 w 156"/>
                <a:gd name="T29" fmla="*/ 120 h 134"/>
                <a:gd name="T30" fmla="*/ 72 w 156"/>
                <a:gd name="T31" fmla="*/ 130 h 134"/>
                <a:gd name="T32" fmla="*/ 62 w 156"/>
                <a:gd name="T33" fmla="*/ 128 h 134"/>
                <a:gd name="T34" fmla="*/ 64 w 156"/>
                <a:gd name="T35" fmla="*/ 118 h 134"/>
                <a:gd name="T36" fmla="*/ 50 w 156"/>
                <a:gd name="T37" fmla="*/ 112 h 134"/>
                <a:gd name="T38" fmla="*/ 34 w 156"/>
                <a:gd name="T39" fmla="*/ 118 h 134"/>
                <a:gd name="T40" fmla="*/ 16 w 156"/>
                <a:gd name="T41" fmla="*/ 122 h 134"/>
                <a:gd name="T42" fmla="*/ 2 w 156"/>
                <a:gd name="T43" fmla="*/ 126 h 134"/>
                <a:gd name="T44" fmla="*/ 10 w 156"/>
                <a:gd name="T45" fmla="*/ 116 h 134"/>
                <a:gd name="T46" fmla="*/ 28 w 156"/>
                <a:gd name="T47" fmla="*/ 102 h 134"/>
                <a:gd name="T48" fmla="*/ 54 w 156"/>
                <a:gd name="T49" fmla="*/ 100 h 134"/>
                <a:gd name="T50" fmla="*/ 72 w 156"/>
                <a:gd name="T51" fmla="*/ 90 h 134"/>
                <a:gd name="T52" fmla="*/ 82 w 156"/>
                <a:gd name="T53" fmla="*/ 74 h 134"/>
                <a:gd name="T54" fmla="*/ 90 w 156"/>
                <a:gd name="T55" fmla="*/ 72 h 134"/>
                <a:gd name="T56" fmla="*/ 100 w 156"/>
                <a:gd name="T57" fmla="*/ 74 h 134"/>
                <a:gd name="T58" fmla="*/ 126 w 156"/>
                <a:gd name="T59" fmla="*/ 48 h 134"/>
                <a:gd name="T60" fmla="*/ 130 w 156"/>
                <a:gd name="T61" fmla="*/ 28 h 134"/>
                <a:gd name="T62" fmla="*/ 132 w 156"/>
                <a:gd name="T63" fmla="*/ 10 h 134"/>
                <a:gd name="T64" fmla="*/ 144 w 156"/>
                <a:gd name="T65" fmla="*/ 10 h 134"/>
                <a:gd name="T66" fmla="*/ 142 w 156"/>
                <a:gd name="T6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4">
                  <a:moveTo>
                    <a:pt x="148" y="0"/>
                  </a:moveTo>
                  <a:lnTo>
                    <a:pt x="150" y="10"/>
                  </a:lnTo>
                  <a:lnTo>
                    <a:pt x="150" y="16"/>
                  </a:lnTo>
                  <a:lnTo>
                    <a:pt x="154" y="26"/>
                  </a:lnTo>
                  <a:lnTo>
                    <a:pt x="156" y="32"/>
                  </a:lnTo>
                  <a:lnTo>
                    <a:pt x="152" y="44"/>
                  </a:lnTo>
                  <a:lnTo>
                    <a:pt x="144" y="52"/>
                  </a:lnTo>
                  <a:lnTo>
                    <a:pt x="142" y="60"/>
                  </a:lnTo>
                  <a:lnTo>
                    <a:pt x="142" y="72"/>
                  </a:lnTo>
                  <a:lnTo>
                    <a:pt x="138" y="78"/>
                  </a:lnTo>
                  <a:lnTo>
                    <a:pt x="136" y="88"/>
                  </a:lnTo>
                  <a:lnTo>
                    <a:pt x="136" y="90"/>
                  </a:lnTo>
                  <a:lnTo>
                    <a:pt x="136" y="92"/>
                  </a:lnTo>
                  <a:lnTo>
                    <a:pt x="136" y="98"/>
                  </a:lnTo>
                  <a:lnTo>
                    <a:pt x="136" y="100"/>
                  </a:lnTo>
                  <a:lnTo>
                    <a:pt x="134" y="108"/>
                  </a:lnTo>
                  <a:lnTo>
                    <a:pt x="128" y="110"/>
                  </a:lnTo>
                  <a:lnTo>
                    <a:pt x="124" y="106"/>
                  </a:lnTo>
                  <a:lnTo>
                    <a:pt x="118" y="104"/>
                  </a:lnTo>
                  <a:lnTo>
                    <a:pt x="114" y="106"/>
                  </a:lnTo>
                  <a:lnTo>
                    <a:pt x="116" y="112"/>
                  </a:lnTo>
                  <a:lnTo>
                    <a:pt x="114" y="116"/>
                  </a:lnTo>
                  <a:lnTo>
                    <a:pt x="106" y="110"/>
                  </a:lnTo>
                  <a:lnTo>
                    <a:pt x="104" y="114"/>
                  </a:lnTo>
                  <a:lnTo>
                    <a:pt x="100" y="114"/>
                  </a:lnTo>
                  <a:lnTo>
                    <a:pt x="92" y="114"/>
                  </a:lnTo>
                  <a:lnTo>
                    <a:pt x="82" y="114"/>
                  </a:lnTo>
                  <a:lnTo>
                    <a:pt x="82" y="110"/>
                  </a:lnTo>
                  <a:lnTo>
                    <a:pt x="80" y="114"/>
                  </a:lnTo>
                  <a:lnTo>
                    <a:pt x="82" y="120"/>
                  </a:lnTo>
                  <a:lnTo>
                    <a:pt x="76" y="124"/>
                  </a:lnTo>
                  <a:lnTo>
                    <a:pt x="72" y="130"/>
                  </a:lnTo>
                  <a:lnTo>
                    <a:pt x="66" y="134"/>
                  </a:lnTo>
                  <a:lnTo>
                    <a:pt x="62" y="128"/>
                  </a:lnTo>
                  <a:lnTo>
                    <a:pt x="56" y="124"/>
                  </a:lnTo>
                  <a:lnTo>
                    <a:pt x="64" y="118"/>
                  </a:lnTo>
                  <a:lnTo>
                    <a:pt x="64" y="112"/>
                  </a:lnTo>
                  <a:lnTo>
                    <a:pt x="50" y="112"/>
                  </a:lnTo>
                  <a:lnTo>
                    <a:pt x="46" y="116"/>
                  </a:lnTo>
                  <a:lnTo>
                    <a:pt x="34" y="118"/>
                  </a:lnTo>
                  <a:lnTo>
                    <a:pt x="26" y="122"/>
                  </a:lnTo>
                  <a:lnTo>
                    <a:pt x="16" y="122"/>
                  </a:lnTo>
                  <a:lnTo>
                    <a:pt x="8" y="128"/>
                  </a:lnTo>
                  <a:lnTo>
                    <a:pt x="2" y="126"/>
                  </a:lnTo>
                  <a:lnTo>
                    <a:pt x="0" y="122"/>
                  </a:lnTo>
                  <a:lnTo>
                    <a:pt x="10" y="116"/>
                  </a:lnTo>
                  <a:lnTo>
                    <a:pt x="24" y="108"/>
                  </a:lnTo>
                  <a:lnTo>
                    <a:pt x="28" y="102"/>
                  </a:lnTo>
                  <a:lnTo>
                    <a:pt x="40" y="100"/>
                  </a:lnTo>
                  <a:lnTo>
                    <a:pt x="54" y="100"/>
                  </a:lnTo>
                  <a:lnTo>
                    <a:pt x="68" y="100"/>
                  </a:lnTo>
                  <a:lnTo>
                    <a:pt x="72" y="90"/>
                  </a:lnTo>
                  <a:lnTo>
                    <a:pt x="80" y="82"/>
                  </a:lnTo>
                  <a:lnTo>
                    <a:pt x="82" y="74"/>
                  </a:lnTo>
                  <a:lnTo>
                    <a:pt x="88" y="68"/>
                  </a:lnTo>
                  <a:lnTo>
                    <a:pt x="90" y="72"/>
                  </a:lnTo>
                  <a:lnTo>
                    <a:pt x="90" y="78"/>
                  </a:lnTo>
                  <a:lnTo>
                    <a:pt x="100" y="74"/>
                  </a:lnTo>
                  <a:lnTo>
                    <a:pt x="114" y="66"/>
                  </a:lnTo>
                  <a:lnTo>
                    <a:pt x="126" y="48"/>
                  </a:lnTo>
                  <a:lnTo>
                    <a:pt x="132" y="32"/>
                  </a:lnTo>
                  <a:lnTo>
                    <a:pt x="130" y="28"/>
                  </a:lnTo>
                  <a:lnTo>
                    <a:pt x="128" y="16"/>
                  </a:lnTo>
                  <a:lnTo>
                    <a:pt x="132" y="10"/>
                  </a:lnTo>
                  <a:lnTo>
                    <a:pt x="136" y="8"/>
                  </a:lnTo>
                  <a:lnTo>
                    <a:pt x="144" y="10"/>
                  </a:lnTo>
                  <a:lnTo>
                    <a:pt x="146" y="6"/>
                  </a:lnTo>
                  <a:lnTo>
                    <a:pt x="142" y="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 name="Freeform 1085"/>
            <p:cNvSpPr>
              <a:spLocks/>
            </p:cNvSpPr>
            <p:nvPr/>
          </p:nvSpPr>
          <p:spPr bwMode="auto">
            <a:xfrm>
              <a:off x="4713" y="1895"/>
              <a:ext cx="164" cy="142"/>
            </a:xfrm>
            <a:custGeom>
              <a:avLst/>
              <a:gdLst>
                <a:gd name="T0" fmla="*/ 150 w 164"/>
                <a:gd name="T1" fmla="*/ 0 h 142"/>
                <a:gd name="T2" fmla="*/ 142 w 164"/>
                <a:gd name="T3" fmla="*/ 4 h 142"/>
                <a:gd name="T4" fmla="*/ 144 w 164"/>
                <a:gd name="T5" fmla="*/ 8 h 142"/>
                <a:gd name="T6" fmla="*/ 140 w 164"/>
                <a:gd name="T7" fmla="*/ 8 h 142"/>
                <a:gd name="T8" fmla="*/ 134 w 164"/>
                <a:gd name="T9" fmla="*/ 10 h 142"/>
                <a:gd name="T10" fmla="*/ 128 w 164"/>
                <a:gd name="T11" fmla="*/ 18 h 142"/>
                <a:gd name="T12" fmla="*/ 130 w 164"/>
                <a:gd name="T13" fmla="*/ 32 h 142"/>
                <a:gd name="T14" fmla="*/ 132 w 164"/>
                <a:gd name="T15" fmla="*/ 36 h 142"/>
                <a:gd name="T16" fmla="*/ 102 w 164"/>
                <a:gd name="T17" fmla="*/ 74 h 142"/>
                <a:gd name="T18" fmla="*/ 98 w 164"/>
                <a:gd name="T19" fmla="*/ 76 h 142"/>
                <a:gd name="T20" fmla="*/ 92 w 164"/>
                <a:gd name="T21" fmla="*/ 68 h 142"/>
                <a:gd name="T22" fmla="*/ 92 w 164"/>
                <a:gd name="T23" fmla="*/ 68 h 142"/>
                <a:gd name="T24" fmla="*/ 84 w 164"/>
                <a:gd name="T25" fmla="*/ 76 h 142"/>
                <a:gd name="T26" fmla="*/ 72 w 164"/>
                <a:gd name="T27" fmla="*/ 92 h 142"/>
                <a:gd name="T28" fmla="*/ 70 w 164"/>
                <a:gd name="T29" fmla="*/ 100 h 142"/>
                <a:gd name="T30" fmla="*/ 44 w 164"/>
                <a:gd name="T31" fmla="*/ 100 h 142"/>
                <a:gd name="T32" fmla="*/ 32 w 164"/>
                <a:gd name="T33" fmla="*/ 102 h 142"/>
                <a:gd name="T34" fmla="*/ 12 w 164"/>
                <a:gd name="T35" fmla="*/ 116 h 142"/>
                <a:gd name="T36" fmla="*/ 0 w 164"/>
                <a:gd name="T37" fmla="*/ 124 h 142"/>
                <a:gd name="T38" fmla="*/ 2 w 164"/>
                <a:gd name="T39" fmla="*/ 132 h 142"/>
                <a:gd name="T40" fmla="*/ 12 w 164"/>
                <a:gd name="T41" fmla="*/ 136 h 142"/>
                <a:gd name="T42" fmla="*/ 16 w 164"/>
                <a:gd name="T43" fmla="*/ 134 h 142"/>
                <a:gd name="T44" fmla="*/ 30 w 164"/>
                <a:gd name="T45" fmla="*/ 130 h 142"/>
                <a:gd name="T46" fmla="*/ 50 w 164"/>
                <a:gd name="T47" fmla="*/ 124 h 142"/>
                <a:gd name="T48" fmla="*/ 56 w 164"/>
                <a:gd name="T49" fmla="*/ 120 h 142"/>
                <a:gd name="T50" fmla="*/ 58 w 164"/>
                <a:gd name="T51" fmla="*/ 124 h 142"/>
                <a:gd name="T52" fmla="*/ 58 w 164"/>
                <a:gd name="T53" fmla="*/ 130 h 142"/>
                <a:gd name="T54" fmla="*/ 68 w 164"/>
                <a:gd name="T55" fmla="*/ 140 h 142"/>
                <a:gd name="T56" fmla="*/ 72 w 164"/>
                <a:gd name="T57" fmla="*/ 142 h 142"/>
                <a:gd name="T58" fmla="*/ 80 w 164"/>
                <a:gd name="T59" fmla="*/ 136 h 142"/>
                <a:gd name="T60" fmla="*/ 88 w 164"/>
                <a:gd name="T61" fmla="*/ 128 h 142"/>
                <a:gd name="T62" fmla="*/ 90 w 164"/>
                <a:gd name="T63" fmla="*/ 122 h 142"/>
                <a:gd name="T64" fmla="*/ 108 w 164"/>
                <a:gd name="T65" fmla="*/ 122 h 142"/>
                <a:gd name="T66" fmla="*/ 116 w 164"/>
                <a:gd name="T67" fmla="*/ 124 h 142"/>
                <a:gd name="T68" fmla="*/ 118 w 164"/>
                <a:gd name="T69" fmla="*/ 124 h 142"/>
                <a:gd name="T70" fmla="*/ 122 w 164"/>
                <a:gd name="T71" fmla="*/ 122 h 142"/>
                <a:gd name="T72" fmla="*/ 124 w 164"/>
                <a:gd name="T73" fmla="*/ 116 h 142"/>
                <a:gd name="T74" fmla="*/ 126 w 164"/>
                <a:gd name="T75" fmla="*/ 112 h 142"/>
                <a:gd name="T76" fmla="*/ 132 w 164"/>
                <a:gd name="T77" fmla="*/ 118 h 142"/>
                <a:gd name="T78" fmla="*/ 132 w 164"/>
                <a:gd name="T79" fmla="*/ 118 h 142"/>
                <a:gd name="T80" fmla="*/ 140 w 164"/>
                <a:gd name="T81" fmla="*/ 114 h 142"/>
                <a:gd name="T82" fmla="*/ 144 w 164"/>
                <a:gd name="T83" fmla="*/ 106 h 142"/>
                <a:gd name="T84" fmla="*/ 144 w 164"/>
                <a:gd name="T85" fmla="*/ 96 h 142"/>
                <a:gd name="T86" fmla="*/ 146 w 164"/>
                <a:gd name="T87" fmla="*/ 84 h 142"/>
                <a:gd name="T88" fmla="*/ 150 w 164"/>
                <a:gd name="T89" fmla="*/ 76 h 142"/>
                <a:gd name="T90" fmla="*/ 158 w 164"/>
                <a:gd name="T91" fmla="*/ 50 h 142"/>
                <a:gd name="T92" fmla="*/ 164 w 164"/>
                <a:gd name="T93" fmla="*/ 38 h 142"/>
                <a:gd name="T94" fmla="*/ 162 w 164"/>
                <a:gd name="T95" fmla="*/ 28 h 142"/>
                <a:gd name="T96" fmla="*/ 158 w 164"/>
                <a:gd name="T97" fmla="*/ 20 h 142"/>
                <a:gd name="T98" fmla="*/ 158 w 164"/>
                <a:gd name="T99" fmla="*/ 12 h 142"/>
                <a:gd name="T100" fmla="*/ 154 w 164"/>
                <a:gd name="T101" fmla="*/ 0 h 142"/>
                <a:gd name="T102" fmla="*/ 152 w 164"/>
                <a:gd name="T10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42">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 name="Freeform 1086"/>
            <p:cNvSpPr>
              <a:spLocks/>
            </p:cNvSpPr>
            <p:nvPr/>
          </p:nvSpPr>
          <p:spPr bwMode="auto">
            <a:xfrm>
              <a:off x="4647" y="1947"/>
              <a:ext cx="50" cy="72"/>
            </a:xfrm>
            <a:custGeom>
              <a:avLst/>
              <a:gdLst>
                <a:gd name="T0" fmla="*/ 4 w 50"/>
                <a:gd name="T1" fmla="*/ 72 h 72"/>
                <a:gd name="T2" fmla="*/ 4 w 50"/>
                <a:gd name="T3" fmla="*/ 72 h 72"/>
                <a:gd name="T4" fmla="*/ 0 w 50"/>
                <a:gd name="T5" fmla="*/ 64 h 72"/>
                <a:gd name="T6" fmla="*/ 0 w 50"/>
                <a:gd name="T7" fmla="*/ 64 h 72"/>
                <a:gd name="T8" fmla="*/ 2 w 50"/>
                <a:gd name="T9" fmla="*/ 48 h 72"/>
                <a:gd name="T10" fmla="*/ 4 w 50"/>
                <a:gd name="T11" fmla="*/ 46 h 72"/>
                <a:gd name="T12" fmla="*/ 6 w 50"/>
                <a:gd name="T13" fmla="*/ 38 h 72"/>
                <a:gd name="T14" fmla="*/ 2 w 50"/>
                <a:gd name="T15" fmla="*/ 34 h 72"/>
                <a:gd name="T16" fmla="*/ 2 w 50"/>
                <a:gd name="T17" fmla="*/ 28 h 72"/>
                <a:gd name="T18" fmla="*/ 4 w 50"/>
                <a:gd name="T19" fmla="*/ 26 h 72"/>
                <a:gd name="T20" fmla="*/ 4 w 50"/>
                <a:gd name="T21" fmla="*/ 26 h 72"/>
                <a:gd name="T22" fmla="*/ 6 w 50"/>
                <a:gd name="T23" fmla="*/ 26 h 72"/>
                <a:gd name="T24" fmla="*/ 12 w 50"/>
                <a:gd name="T25" fmla="*/ 28 h 72"/>
                <a:gd name="T26" fmla="*/ 8 w 50"/>
                <a:gd name="T27" fmla="*/ 22 h 72"/>
                <a:gd name="T28" fmla="*/ 6 w 50"/>
                <a:gd name="T29" fmla="*/ 20 h 72"/>
                <a:gd name="T30" fmla="*/ 10 w 50"/>
                <a:gd name="T31" fmla="*/ 8 h 72"/>
                <a:gd name="T32" fmla="*/ 20 w 50"/>
                <a:gd name="T33" fmla="*/ 2 h 72"/>
                <a:gd name="T34" fmla="*/ 30 w 50"/>
                <a:gd name="T35" fmla="*/ 0 h 72"/>
                <a:gd name="T36" fmla="*/ 30 w 50"/>
                <a:gd name="T37" fmla="*/ 0 h 72"/>
                <a:gd name="T38" fmla="*/ 38 w 50"/>
                <a:gd name="T39" fmla="*/ 8 h 72"/>
                <a:gd name="T40" fmla="*/ 48 w 50"/>
                <a:gd name="T41" fmla="*/ 30 h 72"/>
                <a:gd name="T42" fmla="*/ 48 w 50"/>
                <a:gd name="T43" fmla="*/ 50 h 72"/>
                <a:gd name="T44" fmla="*/ 50 w 50"/>
                <a:gd name="T45" fmla="*/ 52 h 72"/>
                <a:gd name="T46" fmla="*/ 50 w 50"/>
                <a:gd name="T47" fmla="*/ 54 h 72"/>
                <a:gd name="T48" fmla="*/ 34 w 50"/>
                <a:gd name="T49" fmla="*/ 64 h 72"/>
                <a:gd name="T50" fmla="*/ 34 w 50"/>
                <a:gd name="T51" fmla="*/ 64 h 72"/>
                <a:gd name="T52" fmla="*/ 32 w 50"/>
                <a:gd name="T53" fmla="*/ 64 h 72"/>
                <a:gd name="T54" fmla="*/ 26 w 50"/>
                <a:gd name="T55" fmla="*/ 64 h 72"/>
                <a:gd name="T56" fmla="*/ 18 w 50"/>
                <a:gd name="T57" fmla="*/ 70 h 72"/>
                <a:gd name="T58" fmla="*/ 18 w 50"/>
                <a:gd name="T59" fmla="*/ 70 h 72"/>
                <a:gd name="T60" fmla="*/ 14 w 50"/>
                <a:gd name="T61" fmla="*/ 68 h 72"/>
                <a:gd name="T62" fmla="*/ 6 w 50"/>
                <a:gd name="T63" fmla="*/ 72 h 72"/>
                <a:gd name="T64" fmla="*/ 4 w 50"/>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72">
                  <a:moveTo>
                    <a:pt x="4" y="72"/>
                  </a:moveTo>
                  <a:lnTo>
                    <a:pt x="4" y="72"/>
                  </a:lnTo>
                  <a:lnTo>
                    <a:pt x="4" y="72"/>
                  </a:lnTo>
                  <a:lnTo>
                    <a:pt x="4" y="72"/>
                  </a:lnTo>
                  <a:lnTo>
                    <a:pt x="2" y="70"/>
                  </a:lnTo>
                  <a:lnTo>
                    <a:pt x="0" y="64"/>
                  </a:lnTo>
                  <a:lnTo>
                    <a:pt x="0" y="64"/>
                  </a:lnTo>
                  <a:lnTo>
                    <a:pt x="0" y="64"/>
                  </a:lnTo>
                  <a:lnTo>
                    <a:pt x="2" y="56"/>
                  </a:lnTo>
                  <a:lnTo>
                    <a:pt x="2" y="48"/>
                  </a:lnTo>
                  <a:lnTo>
                    <a:pt x="2" y="48"/>
                  </a:lnTo>
                  <a:lnTo>
                    <a:pt x="4" y="46"/>
                  </a:lnTo>
                  <a:lnTo>
                    <a:pt x="6" y="44"/>
                  </a:lnTo>
                  <a:lnTo>
                    <a:pt x="6" y="38"/>
                  </a:lnTo>
                  <a:lnTo>
                    <a:pt x="2" y="34"/>
                  </a:lnTo>
                  <a:lnTo>
                    <a:pt x="2" y="34"/>
                  </a:lnTo>
                  <a:lnTo>
                    <a:pt x="2" y="32"/>
                  </a:lnTo>
                  <a:lnTo>
                    <a:pt x="2" y="28"/>
                  </a:lnTo>
                  <a:lnTo>
                    <a:pt x="2" y="28"/>
                  </a:lnTo>
                  <a:lnTo>
                    <a:pt x="4" y="26"/>
                  </a:lnTo>
                  <a:lnTo>
                    <a:pt x="4" y="26"/>
                  </a:lnTo>
                  <a:lnTo>
                    <a:pt x="4" y="26"/>
                  </a:lnTo>
                  <a:lnTo>
                    <a:pt x="4" y="26"/>
                  </a:lnTo>
                  <a:lnTo>
                    <a:pt x="6" y="26"/>
                  </a:lnTo>
                  <a:lnTo>
                    <a:pt x="10" y="28"/>
                  </a:lnTo>
                  <a:lnTo>
                    <a:pt x="12" y="28"/>
                  </a:lnTo>
                  <a:lnTo>
                    <a:pt x="10" y="24"/>
                  </a:lnTo>
                  <a:lnTo>
                    <a:pt x="8" y="22"/>
                  </a:lnTo>
                  <a:lnTo>
                    <a:pt x="8" y="22"/>
                  </a:lnTo>
                  <a:lnTo>
                    <a:pt x="6" y="20"/>
                  </a:lnTo>
                  <a:lnTo>
                    <a:pt x="10" y="8"/>
                  </a:lnTo>
                  <a:lnTo>
                    <a:pt x="10" y="8"/>
                  </a:lnTo>
                  <a:lnTo>
                    <a:pt x="12" y="6"/>
                  </a:lnTo>
                  <a:lnTo>
                    <a:pt x="20" y="2"/>
                  </a:lnTo>
                  <a:lnTo>
                    <a:pt x="30" y="0"/>
                  </a:lnTo>
                  <a:lnTo>
                    <a:pt x="30" y="0"/>
                  </a:lnTo>
                  <a:lnTo>
                    <a:pt x="30" y="0"/>
                  </a:lnTo>
                  <a:lnTo>
                    <a:pt x="30" y="0"/>
                  </a:lnTo>
                  <a:lnTo>
                    <a:pt x="32" y="2"/>
                  </a:lnTo>
                  <a:lnTo>
                    <a:pt x="38" y="8"/>
                  </a:lnTo>
                  <a:lnTo>
                    <a:pt x="44" y="18"/>
                  </a:lnTo>
                  <a:lnTo>
                    <a:pt x="48" y="30"/>
                  </a:lnTo>
                  <a:lnTo>
                    <a:pt x="50" y="40"/>
                  </a:lnTo>
                  <a:lnTo>
                    <a:pt x="48" y="50"/>
                  </a:lnTo>
                  <a:lnTo>
                    <a:pt x="48" y="50"/>
                  </a:lnTo>
                  <a:lnTo>
                    <a:pt x="50" y="52"/>
                  </a:lnTo>
                  <a:lnTo>
                    <a:pt x="50" y="54"/>
                  </a:lnTo>
                  <a:lnTo>
                    <a:pt x="50" y="54"/>
                  </a:lnTo>
                  <a:lnTo>
                    <a:pt x="48" y="56"/>
                  </a:lnTo>
                  <a:lnTo>
                    <a:pt x="34" y="64"/>
                  </a:lnTo>
                  <a:lnTo>
                    <a:pt x="34" y="64"/>
                  </a:lnTo>
                  <a:lnTo>
                    <a:pt x="34" y="64"/>
                  </a:lnTo>
                  <a:lnTo>
                    <a:pt x="34" y="64"/>
                  </a:lnTo>
                  <a:lnTo>
                    <a:pt x="32" y="64"/>
                  </a:lnTo>
                  <a:lnTo>
                    <a:pt x="28" y="62"/>
                  </a:lnTo>
                  <a:lnTo>
                    <a:pt x="26" y="64"/>
                  </a:lnTo>
                  <a:lnTo>
                    <a:pt x="18" y="70"/>
                  </a:lnTo>
                  <a:lnTo>
                    <a:pt x="18" y="70"/>
                  </a:lnTo>
                  <a:lnTo>
                    <a:pt x="18" y="70"/>
                  </a:lnTo>
                  <a:lnTo>
                    <a:pt x="18" y="70"/>
                  </a:lnTo>
                  <a:lnTo>
                    <a:pt x="16" y="70"/>
                  </a:lnTo>
                  <a:lnTo>
                    <a:pt x="14" y="68"/>
                  </a:lnTo>
                  <a:lnTo>
                    <a:pt x="6" y="72"/>
                  </a:lnTo>
                  <a:lnTo>
                    <a:pt x="6" y="72"/>
                  </a:lnTo>
                  <a:lnTo>
                    <a:pt x="4" y="72"/>
                  </a:lnTo>
                  <a:lnTo>
                    <a:pt x="4"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9" name="Freeform 1087"/>
            <p:cNvSpPr>
              <a:spLocks noEditPoints="1"/>
            </p:cNvSpPr>
            <p:nvPr/>
          </p:nvSpPr>
          <p:spPr bwMode="auto">
            <a:xfrm>
              <a:off x="4645" y="1945"/>
              <a:ext cx="54" cy="76"/>
            </a:xfrm>
            <a:custGeom>
              <a:avLst/>
              <a:gdLst>
                <a:gd name="T0" fmla="*/ 38 w 54"/>
                <a:gd name="T1" fmla="*/ 12 h 76"/>
                <a:gd name="T2" fmla="*/ 48 w 54"/>
                <a:gd name="T3" fmla="*/ 32 h 76"/>
                <a:gd name="T4" fmla="*/ 48 w 54"/>
                <a:gd name="T5" fmla="*/ 54 h 76"/>
                <a:gd name="T6" fmla="*/ 50 w 54"/>
                <a:gd name="T7" fmla="*/ 56 h 76"/>
                <a:gd name="T8" fmla="*/ 38 w 54"/>
                <a:gd name="T9" fmla="*/ 62 h 76"/>
                <a:gd name="T10" fmla="*/ 30 w 54"/>
                <a:gd name="T11" fmla="*/ 60 h 76"/>
                <a:gd name="T12" fmla="*/ 20 w 54"/>
                <a:gd name="T13" fmla="*/ 70 h 76"/>
                <a:gd name="T14" fmla="*/ 6 w 54"/>
                <a:gd name="T15" fmla="*/ 72 h 76"/>
                <a:gd name="T16" fmla="*/ 6 w 54"/>
                <a:gd name="T17" fmla="*/ 58 h 76"/>
                <a:gd name="T18" fmla="*/ 10 w 54"/>
                <a:gd name="T19" fmla="*/ 48 h 76"/>
                <a:gd name="T20" fmla="*/ 6 w 54"/>
                <a:gd name="T21" fmla="*/ 34 h 76"/>
                <a:gd name="T22" fmla="*/ 12 w 54"/>
                <a:gd name="T23" fmla="*/ 32 h 76"/>
                <a:gd name="T24" fmla="*/ 14 w 54"/>
                <a:gd name="T25" fmla="*/ 24 h 76"/>
                <a:gd name="T26" fmla="*/ 14 w 54"/>
                <a:gd name="T27" fmla="*/ 10 h 76"/>
                <a:gd name="T28" fmla="*/ 32 w 54"/>
                <a:gd name="T29" fmla="*/ 4 h 76"/>
                <a:gd name="T30" fmla="*/ 32 w 54"/>
                <a:gd name="T31" fmla="*/ 0 h 76"/>
                <a:gd name="T32" fmla="*/ 22 w 54"/>
                <a:gd name="T33" fmla="*/ 2 h 76"/>
                <a:gd name="T34" fmla="*/ 22 w 54"/>
                <a:gd name="T35" fmla="*/ 2 h 76"/>
                <a:gd name="T36" fmla="*/ 12 w 54"/>
                <a:gd name="T37" fmla="*/ 6 h 76"/>
                <a:gd name="T38" fmla="*/ 6 w 54"/>
                <a:gd name="T39" fmla="*/ 22 h 76"/>
                <a:gd name="T40" fmla="*/ 6 w 54"/>
                <a:gd name="T41" fmla="*/ 24 h 76"/>
                <a:gd name="T42" fmla="*/ 10 w 54"/>
                <a:gd name="T43" fmla="*/ 28 h 76"/>
                <a:gd name="T44" fmla="*/ 8 w 54"/>
                <a:gd name="T45" fmla="*/ 26 h 76"/>
                <a:gd name="T46" fmla="*/ 6 w 54"/>
                <a:gd name="T47" fmla="*/ 26 h 76"/>
                <a:gd name="T48" fmla="*/ 4 w 54"/>
                <a:gd name="T49" fmla="*/ 28 h 76"/>
                <a:gd name="T50" fmla="*/ 2 w 54"/>
                <a:gd name="T51" fmla="*/ 34 h 76"/>
                <a:gd name="T52" fmla="*/ 4 w 54"/>
                <a:gd name="T53" fmla="*/ 36 h 76"/>
                <a:gd name="T54" fmla="*/ 6 w 54"/>
                <a:gd name="T55" fmla="*/ 44 h 76"/>
                <a:gd name="T56" fmla="*/ 4 w 54"/>
                <a:gd name="T57" fmla="*/ 46 h 76"/>
                <a:gd name="T58" fmla="*/ 2 w 54"/>
                <a:gd name="T59" fmla="*/ 58 h 76"/>
                <a:gd name="T60" fmla="*/ 0 w 54"/>
                <a:gd name="T61" fmla="*/ 66 h 76"/>
                <a:gd name="T62" fmla="*/ 2 w 54"/>
                <a:gd name="T63" fmla="*/ 72 h 76"/>
                <a:gd name="T64" fmla="*/ 4 w 54"/>
                <a:gd name="T65" fmla="*/ 76 h 76"/>
                <a:gd name="T66" fmla="*/ 6 w 54"/>
                <a:gd name="T67" fmla="*/ 76 h 76"/>
                <a:gd name="T68" fmla="*/ 8 w 54"/>
                <a:gd name="T69" fmla="*/ 76 h 76"/>
                <a:gd name="T70" fmla="*/ 18 w 54"/>
                <a:gd name="T71" fmla="*/ 74 h 76"/>
                <a:gd name="T72" fmla="*/ 20 w 54"/>
                <a:gd name="T73" fmla="*/ 74 h 76"/>
                <a:gd name="T74" fmla="*/ 22 w 54"/>
                <a:gd name="T75" fmla="*/ 74 h 76"/>
                <a:gd name="T76" fmla="*/ 28 w 54"/>
                <a:gd name="T77" fmla="*/ 68 h 76"/>
                <a:gd name="T78" fmla="*/ 30 w 54"/>
                <a:gd name="T79" fmla="*/ 66 h 76"/>
                <a:gd name="T80" fmla="*/ 32 w 54"/>
                <a:gd name="T81" fmla="*/ 68 h 76"/>
                <a:gd name="T82" fmla="*/ 36 w 54"/>
                <a:gd name="T83" fmla="*/ 68 h 76"/>
                <a:gd name="T84" fmla="*/ 40 w 54"/>
                <a:gd name="T85" fmla="*/ 66 h 76"/>
                <a:gd name="T86" fmla="*/ 52 w 54"/>
                <a:gd name="T87" fmla="*/ 60 h 76"/>
                <a:gd name="T88" fmla="*/ 54 w 54"/>
                <a:gd name="T89" fmla="*/ 56 h 76"/>
                <a:gd name="T90" fmla="*/ 54 w 54"/>
                <a:gd name="T91" fmla="*/ 54 h 76"/>
                <a:gd name="T92" fmla="*/ 54 w 54"/>
                <a:gd name="T93" fmla="*/ 42 h 76"/>
                <a:gd name="T94" fmla="*/ 54 w 54"/>
                <a:gd name="T95" fmla="*/ 42 h 76"/>
                <a:gd name="T96" fmla="*/ 52 w 54"/>
                <a:gd name="T97" fmla="*/ 32 h 76"/>
                <a:gd name="T98" fmla="*/ 48 w 54"/>
                <a:gd name="T99" fmla="*/ 20 h 76"/>
                <a:gd name="T100" fmla="*/ 48 w 54"/>
                <a:gd name="T101" fmla="*/ 20 h 76"/>
                <a:gd name="T102" fmla="*/ 42 w 54"/>
                <a:gd name="T103" fmla="*/ 10 h 76"/>
                <a:gd name="T104" fmla="*/ 34 w 54"/>
                <a:gd name="T105" fmla="*/ 2 h 76"/>
                <a:gd name="T106" fmla="*/ 32 w 54"/>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76">
                  <a:moveTo>
                    <a:pt x="32" y="4"/>
                  </a:moveTo>
                  <a:lnTo>
                    <a:pt x="38" y="12"/>
                  </a:lnTo>
                  <a:lnTo>
                    <a:pt x="44" y="22"/>
                  </a:lnTo>
                  <a:lnTo>
                    <a:pt x="48" y="32"/>
                  </a:lnTo>
                  <a:lnTo>
                    <a:pt x="50" y="42"/>
                  </a:lnTo>
                  <a:lnTo>
                    <a:pt x="48" y="54"/>
                  </a:lnTo>
                  <a:lnTo>
                    <a:pt x="50" y="54"/>
                  </a:lnTo>
                  <a:lnTo>
                    <a:pt x="50" y="56"/>
                  </a:lnTo>
                  <a:lnTo>
                    <a:pt x="46" y="58"/>
                  </a:lnTo>
                  <a:lnTo>
                    <a:pt x="38" y="62"/>
                  </a:lnTo>
                  <a:lnTo>
                    <a:pt x="36" y="64"/>
                  </a:lnTo>
                  <a:lnTo>
                    <a:pt x="30" y="60"/>
                  </a:lnTo>
                  <a:lnTo>
                    <a:pt x="26" y="64"/>
                  </a:lnTo>
                  <a:lnTo>
                    <a:pt x="20" y="70"/>
                  </a:lnTo>
                  <a:lnTo>
                    <a:pt x="16" y="68"/>
                  </a:lnTo>
                  <a:lnTo>
                    <a:pt x="6" y="72"/>
                  </a:lnTo>
                  <a:lnTo>
                    <a:pt x="4" y="66"/>
                  </a:lnTo>
                  <a:lnTo>
                    <a:pt x="6" y="58"/>
                  </a:lnTo>
                  <a:lnTo>
                    <a:pt x="6" y="50"/>
                  </a:lnTo>
                  <a:lnTo>
                    <a:pt x="10" y="48"/>
                  </a:lnTo>
                  <a:lnTo>
                    <a:pt x="10" y="40"/>
                  </a:lnTo>
                  <a:lnTo>
                    <a:pt x="6" y="34"/>
                  </a:lnTo>
                  <a:lnTo>
                    <a:pt x="6" y="30"/>
                  </a:lnTo>
                  <a:lnTo>
                    <a:pt x="12" y="32"/>
                  </a:lnTo>
                  <a:lnTo>
                    <a:pt x="16" y="30"/>
                  </a:lnTo>
                  <a:lnTo>
                    <a:pt x="14" y="24"/>
                  </a:lnTo>
                  <a:lnTo>
                    <a:pt x="10" y="24"/>
                  </a:lnTo>
                  <a:lnTo>
                    <a:pt x="14" y="10"/>
                  </a:lnTo>
                  <a:lnTo>
                    <a:pt x="22" y="6"/>
                  </a:lnTo>
                  <a:lnTo>
                    <a:pt x="32" y="4"/>
                  </a:lnTo>
                  <a:close/>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0" name="Freeform 1088"/>
            <p:cNvSpPr>
              <a:spLocks/>
            </p:cNvSpPr>
            <p:nvPr/>
          </p:nvSpPr>
          <p:spPr bwMode="auto">
            <a:xfrm>
              <a:off x="4649" y="1949"/>
              <a:ext cx="46" cy="68"/>
            </a:xfrm>
            <a:custGeom>
              <a:avLst/>
              <a:gdLst>
                <a:gd name="T0" fmla="*/ 28 w 46"/>
                <a:gd name="T1" fmla="*/ 0 h 68"/>
                <a:gd name="T2" fmla="*/ 34 w 46"/>
                <a:gd name="T3" fmla="*/ 8 h 68"/>
                <a:gd name="T4" fmla="*/ 40 w 46"/>
                <a:gd name="T5" fmla="*/ 18 h 68"/>
                <a:gd name="T6" fmla="*/ 44 w 46"/>
                <a:gd name="T7" fmla="*/ 28 h 68"/>
                <a:gd name="T8" fmla="*/ 46 w 46"/>
                <a:gd name="T9" fmla="*/ 38 h 68"/>
                <a:gd name="T10" fmla="*/ 44 w 46"/>
                <a:gd name="T11" fmla="*/ 50 h 68"/>
                <a:gd name="T12" fmla="*/ 46 w 46"/>
                <a:gd name="T13" fmla="*/ 50 h 68"/>
                <a:gd name="T14" fmla="*/ 46 w 46"/>
                <a:gd name="T15" fmla="*/ 52 h 68"/>
                <a:gd name="T16" fmla="*/ 42 w 46"/>
                <a:gd name="T17" fmla="*/ 54 h 68"/>
                <a:gd name="T18" fmla="*/ 34 w 46"/>
                <a:gd name="T19" fmla="*/ 58 h 68"/>
                <a:gd name="T20" fmla="*/ 32 w 46"/>
                <a:gd name="T21" fmla="*/ 60 h 68"/>
                <a:gd name="T22" fmla="*/ 26 w 46"/>
                <a:gd name="T23" fmla="*/ 56 h 68"/>
                <a:gd name="T24" fmla="*/ 22 w 46"/>
                <a:gd name="T25" fmla="*/ 60 h 68"/>
                <a:gd name="T26" fmla="*/ 16 w 46"/>
                <a:gd name="T27" fmla="*/ 66 h 68"/>
                <a:gd name="T28" fmla="*/ 12 w 46"/>
                <a:gd name="T29" fmla="*/ 64 h 68"/>
                <a:gd name="T30" fmla="*/ 2 w 46"/>
                <a:gd name="T31" fmla="*/ 68 h 68"/>
                <a:gd name="T32" fmla="*/ 0 w 46"/>
                <a:gd name="T33" fmla="*/ 62 h 68"/>
                <a:gd name="T34" fmla="*/ 2 w 46"/>
                <a:gd name="T35" fmla="*/ 54 h 68"/>
                <a:gd name="T36" fmla="*/ 2 w 46"/>
                <a:gd name="T37" fmla="*/ 46 h 68"/>
                <a:gd name="T38" fmla="*/ 6 w 46"/>
                <a:gd name="T39" fmla="*/ 44 h 68"/>
                <a:gd name="T40" fmla="*/ 6 w 46"/>
                <a:gd name="T41" fmla="*/ 36 h 68"/>
                <a:gd name="T42" fmla="*/ 2 w 46"/>
                <a:gd name="T43" fmla="*/ 30 h 68"/>
                <a:gd name="T44" fmla="*/ 2 w 46"/>
                <a:gd name="T45" fmla="*/ 26 h 68"/>
                <a:gd name="T46" fmla="*/ 8 w 46"/>
                <a:gd name="T47" fmla="*/ 28 h 68"/>
                <a:gd name="T48" fmla="*/ 12 w 46"/>
                <a:gd name="T49" fmla="*/ 26 h 68"/>
                <a:gd name="T50" fmla="*/ 10 w 46"/>
                <a:gd name="T51" fmla="*/ 20 h 68"/>
                <a:gd name="T52" fmla="*/ 6 w 46"/>
                <a:gd name="T53" fmla="*/ 20 h 68"/>
                <a:gd name="T54" fmla="*/ 10 w 46"/>
                <a:gd name="T55" fmla="*/ 6 h 68"/>
                <a:gd name="T56" fmla="*/ 18 w 46"/>
                <a:gd name="T57" fmla="*/ 2 h 68"/>
                <a:gd name="T58" fmla="*/ 28 w 46"/>
                <a:gd name="T5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68">
                  <a:moveTo>
                    <a:pt x="28" y="0"/>
                  </a:moveTo>
                  <a:lnTo>
                    <a:pt x="34" y="8"/>
                  </a:lnTo>
                  <a:lnTo>
                    <a:pt x="40" y="18"/>
                  </a:lnTo>
                  <a:lnTo>
                    <a:pt x="44" y="28"/>
                  </a:lnTo>
                  <a:lnTo>
                    <a:pt x="46" y="38"/>
                  </a:lnTo>
                  <a:lnTo>
                    <a:pt x="44" y="50"/>
                  </a:lnTo>
                  <a:lnTo>
                    <a:pt x="46" y="50"/>
                  </a:lnTo>
                  <a:lnTo>
                    <a:pt x="46" y="52"/>
                  </a:lnTo>
                  <a:lnTo>
                    <a:pt x="42" y="54"/>
                  </a:lnTo>
                  <a:lnTo>
                    <a:pt x="34" y="58"/>
                  </a:lnTo>
                  <a:lnTo>
                    <a:pt x="32" y="60"/>
                  </a:lnTo>
                  <a:lnTo>
                    <a:pt x="26" y="56"/>
                  </a:lnTo>
                  <a:lnTo>
                    <a:pt x="22" y="60"/>
                  </a:lnTo>
                  <a:lnTo>
                    <a:pt x="16" y="66"/>
                  </a:lnTo>
                  <a:lnTo>
                    <a:pt x="12" y="64"/>
                  </a:lnTo>
                  <a:lnTo>
                    <a:pt x="2" y="68"/>
                  </a:lnTo>
                  <a:lnTo>
                    <a:pt x="0" y="62"/>
                  </a:lnTo>
                  <a:lnTo>
                    <a:pt x="2" y="54"/>
                  </a:lnTo>
                  <a:lnTo>
                    <a:pt x="2" y="46"/>
                  </a:lnTo>
                  <a:lnTo>
                    <a:pt x="6" y="44"/>
                  </a:lnTo>
                  <a:lnTo>
                    <a:pt x="6" y="36"/>
                  </a:lnTo>
                  <a:lnTo>
                    <a:pt x="2" y="30"/>
                  </a:lnTo>
                  <a:lnTo>
                    <a:pt x="2" y="26"/>
                  </a:lnTo>
                  <a:lnTo>
                    <a:pt x="8" y="28"/>
                  </a:lnTo>
                  <a:lnTo>
                    <a:pt x="12" y="26"/>
                  </a:lnTo>
                  <a:lnTo>
                    <a:pt x="10" y="20"/>
                  </a:lnTo>
                  <a:lnTo>
                    <a:pt x="6" y="20"/>
                  </a:lnTo>
                  <a:lnTo>
                    <a:pt x="10" y="6"/>
                  </a:lnTo>
                  <a:lnTo>
                    <a:pt x="18"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1" name="Freeform 1089"/>
            <p:cNvSpPr>
              <a:spLocks/>
            </p:cNvSpPr>
            <p:nvPr/>
          </p:nvSpPr>
          <p:spPr bwMode="auto">
            <a:xfrm>
              <a:off x="4645" y="1945"/>
              <a:ext cx="54" cy="76"/>
            </a:xfrm>
            <a:custGeom>
              <a:avLst/>
              <a:gdLst>
                <a:gd name="T0" fmla="*/ 32 w 54"/>
                <a:gd name="T1" fmla="*/ 0 h 76"/>
                <a:gd name="T2" fmla="*/ 22 w 54"/>
                <a:gd name="T3" fmla="*/ 2 h 76"/>
                <a:gd name="T4" fmla="*/ 22 w 54"/>
                <a:gd name="T5" fmla="*/ 2 h 76"/>
                <a:gd name="T6" fmla="*/ 12 w 54"/>
                <a:gd name="T7" fmla="*/ 6 h 76"/>
                <a:gd name="T8" fmla="*/ 6 w 54"/>
                <a:gd name="T9" fmla="*/ 22 h 76"/>
                <a:gd name="T10" fmla="*/ 6 w 54"/>
                <a:gd name="T11" fmla="*/ 24 h 76"/>
                <a:gd name="T12" fmla="*/ 10 w 54"/>
                <a:gd name="T13" fmla="*/ 28 h 76"/>
                <a:gd name="T14" fmla="*/ 8 w 54"/>
                <a:gd name="T15" fmla="*/ 26 h 76"/>
                <a:gd name="T16" fmla="*/ 6 w 54"/>
                <a:gd name="T17" fmla="*/ 26 h 76"/>
                <a:gd name="T18" fmla="*/ 4 w 54"/>
                <a:gd name="T19" fmla="*/ 28 h 76"/>
                <a:gd name="T20" fmla="*/ 2 w 54"/>
                <a:gd name="T21" fmla="*/ 34 h 76"/>
                <a:gd name="T22" fmla="*/ 4 w 54"/>
                <a:gd name="T23" fmla="*/ 36 h 76"/>
                <a:gd name="T24" fmla="*/ 6 w 54"/>
                <a:gd name="T25" fmla="*/ 44 h 76"/>
                <a:gd name="T26" fmla="*/ 4 w 54"/>
                <a:gd name="T27" fmla="*/ 46 h 76"/>
                <a:gd name="T28" fmla="*/ 2 w 54"/>
                <a:gd name="T29" fmla="*/ 58 h 76"/>
                <a:gd name="T30" fmla="*/ 0 w 54"/>
                <a:gd name="T31" fmla="*/ 66 h 76"/>
                <a:gd name="T32" fmla="*/ 2 w 54"/>
                <a:gd name="T33" fmla="*/ 72 h 76"/>
                <a:gd name="T34" fmla="*/ 4 w 54"/>
                <a:gd name="T35" fmla="*/ 76 h 76"/>
                <a:gd name="T36" fmla="*/ 6 w 54"/>
                <a:gd name="T37" fmla="*/ 76 h 76"/>
                <a:gd name="T38" fmla="*/ 8 w 54"/>
                <a:gd name="T39" fmla="*/ 76 h 76"/>
                <a:gd name="T40" fmla="*/ 18 w 54"/>
                <a:gd name="T41" fmla="*/ 74 h 76"/>
                <a:gd name="T42" fmla="*/ 20 w 54"/>
                <a:gd name="T43" fmla="*/ 74 h 76"/>
                <a:gd name="T44" fmla="*/ 22 w 54"/>
                <a:gd name="T45" fmla="*/ 74 h 76"/>
                <a:gd name="T46" fmla="*/ 28 w 54"/>
                <a:gd name="T47" fmla="*/ 68 h 76"/>
                <a:gd name="T48" fmla="*/ 30 w 54"/>
                <a:gd name="T49" fmla="*/ 66 h 76"/>
                <a:gd name="T50" fmla="*/ 32 w 54"/>
                <a:gd name="T51" fmla="*/ 68 h 76"/>
                <a:gd name="T52" fmla="*/ 36 w 54"/>
                <a:gd name="T53" fmla="*/ 68 h 76"/>
                <a:gd name="T54" fmla="*/ 40 w 54"/>
                <a:gd name="T55" fmla="*/ 66 h 76"/>
                <a:gd name="T56" fmla="*/ 52 w 54"/>
                <a:gd name="T57" fmla="*/ 60 h 76"/>
                <a:gd name="T58" fmla="*/ 54 w 54"/>
                <a:gd name="T59" fmla="*/ 56 h 76"/>
                <a:gd name="T60" fmla="*/ 54 w 54"/>
                <a:gd name="T61" fmla="*/ 54 h 76"/>
                <a:gd name="T62" fmla="*/ 54 w 54"/>
                <a:gd name="T63" fmla="*/ 42 h 76"/>
                <a:gd name="T64" fmla="*/ 54 w 54"/>
                <a:gd name="T65" fmla="*/ 42 h 76"/>
                <a:gd name="T66" fmla="*/ 52 w 54"/>
                <a:gd name="T67" fmla="*/ 32 h 76"/>
                <a:gd name="T68" fmla="*/ 48 w 54"/>
                <a:gd name="T69" fmla="*/ 20 h 76"/>
                <a:gd name="T70" fmla="*/ 48 w 54"/>
                <a:gd name="T71" fmla="*/ 20 h 76"/>
                <a:gd name="T72" fmla="*/ 42 w 54"/>
                <a:gd name="T73" fmla="*/ 10 h 76"/>
                <a:gd name="T74" fmla="*/ 34 w 54"/>
                <a:gd name="T75" fmla="*/ 2 h 76"/>
                <a:gd name="T76" fmla="*/ 32 w 54"/>
                <a:gd name="T7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76">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2" name="Freeform 1090"/>
            <p:cNvSpPr>
              <a:spLocks/>
            </p:cNvSpPr>
            <p:nvPr/>
          </p:nvSpPr>
          <p:spPr bwMode="auto">
            <a:xfrm>
              <a:off x="4625" y="1875"/>
              <a:ext cx="88" cy="88"/>
            </a:xfrm>
            <a:custGeom>
              <a:avLst/>
              <a:gdLst>
                <a:gd name="T0" fmla="*/ 34 w 88"/>
                <a:gd name="T1" fmla="*/ 88 h 88"/>
                <a:gd name="T2" fmla="*/ 22 w 88"/>
                <a:gd name="T3" fmla="*/ 84 h 88"/>
                <a:gd name="T4" fmla="*/ 14 w 88"/>
                <a:gd name="T5" fmla="*/ 86 h 88"/>
                <a:gd name="T6" fmla="*/ 12 w 88"/>
                <a:gd name="T7" fmla="*/ 86 h 88"/>
                <a:gd name="T8" fmla="*/ 8 w 88"/>
                <a:gd name="T9" fmla="*/ 80 h 88"/>
                <a:gd name="T10" fmla="*/ 8 w 88"/>
                <a:gd name="T11" fmla="*/ 78 h 88"/>
                <a:gd name="T12" fmla="*/ 10 w 88"/>
                <a:gd name="T13" fmla="*/ 62 h 88"/>
                <a:gd name="T14" fmla="*/ 8 w 88"/>
                <a:gd name="T15" fmla="*/ 56 h 88"/>
                <a:gd name="T16" fmla="*/ 6 w 88"/>
                <a:gd name="T17" fmla="*/ 56 h 88"/>
                <a:gd name="T18" fmla="*/ 2 w 88"/>
                <a:gd name="T19" fmla="*/ 52 h 88"/>
                <a:gd name="T20" fmla="*/ 0 w 88"/>
                <a:gd name="T21" fmla="*/ 50 h 88"/>
                <a:gd name="T22" fmla="*/ 6 w 88"/>
                <a:gd name="T23" fmla="*/ 42 h 88"/>
                <a:gd name="T24" fmla="*/ 26 w 88"/>
                <a:gd name="T25" fmla="*/ 28 h 88"/>
                <a:gd name="T26" fmla="*/ 36 w 88"/>
                <a:gd name="T27" fmla="*/ 18 h 88"/>
                <a:gd name="T28" fmla="*/ 36 w 88"/>
                <a:gd name="T29" fmla="*/ 18 h 88"/>
                <a:gd name="T30" fmla="*/ 38 w 88"/>
                <a:gd name="T31" fmla="*/ 18 h 88"/>
                <a:gd name="T32" fmla="*/ 52 w 88"/>
                <a:gd name="T33" fmla="*/ 20 h 88"/>
                <a:gd name="T34" fmla="*/ 54 w 88"/>
                <a:gd name="T35" fmla="*/ 16 h 88"/>
                <a:gd name="T36" fmla="*/ 64 w 88"/>
                <a:gd name="T37" fmla="*/ 14 h 88"/>
                <a:gd name="T38" fmla="*/ 70 w 88"/>
                <a:gd name="T39" fmla="*/ 4 h 88"/>
                <a:gd name="T40" fmla="*/ 72 w 88"/>
                <a:gd name="T41" fmla="*/ 4 h 88"/>
                <a:gd name="T42" fmla="*/ 76 w 88"/>
                <a:gd name="T43" fmla="*/ 0 h 88"/>
                <a:gd name="T44" fmla="*/ 78 w 88"/>
                <a:gd name="T45" fmla="*/ 0 h 88"/>
                <a:gd name="T46" fmla="*/ 88 w 88"/>
                <a:gd name="T47" fmla="*/ 6 h 88"/>
                <a:gd name="T48" fmla="*/ 88 w 88"/>
                <a:gd name="T49" fmla="*/ 8 h 88"/>
                <a:gd name="T50" fmla="*/ 88 w 88"/>
                <a:gd name="T51" fmla="*/ 10 h 88"/>
                <a:gd name="T52" fmla="*/ 76 w 88"/>
                <a:gd name="T53" fmla="*/ 18 h 88"/>
                <a:gd name="T54" fmla="*/ 72 w 88"/>
                <a:gd name="T55" fmla="*/ 36 h 88"/>
                <a:gd name="T56" fmla="*/ 70 w 88"/>
                <a:gd name="T57" fmla="*/ 40 h 88"/>
                <a:gd name="T58" fmla="*/ 62 w 88"/>
                <a:gd name="T59" fmla="*/ 44 h 88"/>
                <a:gd name="T60" fmla="*/ 46 w 88"/>
                <a:gd name="T61" fmla="*/ 52 h 88"/>
                <a:gd name="T62" fmla="*/ 48 w 88"/>
                <a:gd name="T63" fmla="*/ 68 h 88"/>
                <a:gd name="T64" fmla="*/ 56 w 88"/>
                <a:gd name="T65" fmla="*/ 74 h 88"/>
                <a:gd name="T66" fmla="*/ 56 w 88"/>
                <a:gd name="T67" fmla="*/ 76 h 88"/>
                <a:gd name="T68" fmla="*/ 54 w 88"/>
                <a:gd name="T69" fmla="*/ 78 h 88"/>
                <a:gd name="T70" fmla="*/ 38 w 88"/>
                <a:gd name="T71" fmla="*/ 82 h 88"/>
                <a:gd name="T72" fmla="*/ 34 w 88"/>
                <a:gd name="T73" fmla="*/ 86 h 88"/>
                <a:gd name="T74" fmla="*/ 34 w 88"/>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88">
                  <a:moveTo>
                    <a:pt x="34" y="88"/>
                  </a:moveTo>
                  <a:lnTo>
                    <a:pt x="34" y="88"/>
                  </a:lnTo>
                  <a:lnTo>
                    <a:pt x="32" y="88"/>
                  </a:lnTo>
                  <a:lnTo>
                    <a:pt x="22" y="84"/>
                  </a:lnTo>
                  <a:lnTo>
                    <a:pt x="14" y="86"/>
                  </a:lnTo>
                  <a:lnTo>
                    <a:pt x="14" y="86"/>
                  </a:lnTo>
                  <a:lnTo>
                    <a:pt x="12" y="86"/>
                  </a:lnTo>
                  <a:lnTo>
                    <a:pt x="12" y="86"/>
                  </a:lnTo>
                  <a:lnTo>
                    <a:pt x="12" y="84"/>
                  </a:lnTo>
                  <a:lnTo>
                    <a:pt x="8" y="80"/>
                  </a:lnTo>
                  <a:lnTo>
                    <a:pt x="8" y="80"/>
                  </a:lnTo>
                  <a:lnTo>
                    <a:pt x="8" y="78"/>
                  </a:lnTo>
                  <a:lnTo>
                    <a:pt x="10" y="72"/>
                  </a:lnTo>
                  <a:lnTo>
                    <a:pt x="10" y="62"/>
                  </a:lnTo>
                  <a:lnTo>
                    <a:pt x="14" y="56"/>
                  </a:lnTo>
                  <a:lnTo>
                    <a:pt x="8" y="56"/>
                  </a:lnTo>
                  <a:lnTo>
                    <a:pt x="8" y="56"/>
                  </a:lnTo>
                  <a:lnTo>
                    <a:pt x="6" y="56"/>
                  </a:lnTo>
                  <a:lnTo>
                    <a:pt x="2" y="52"/>
                  </a:lnTo>
                  <a:lnTo>
                    <a:pt x="2" y="52"/>
                  </a:lnTo>
                  <a:lnTo>
                    <a:pt x="0" y="50"/>
                  </a:lnTo>
                  <a:lnTo>
                    <a:pt x="0" y="50"/>
                  </a:lnTo>
                  <a:lnTo>
                    <a:pt x="0" y="50"/>
                  </a:lnTo>
                  <a:lnTo>
                    <a:pt x="6" y="42"/>
                  </a:lnTo>
                  <a:lnTo>
                    <a:pt x="20" y="34"/>
                  </a:lnTo>
                  <a:lnTo>
                    <a:pt x="26" y="28"/>
                  </a:lnTo>
                  <a:lnTo>
                    <a:pt x="32" y="22"/>
                  </a:lnTo>
                  <a:lnTo>
                    <a:pt x="36" y="18"/>
                  </a:lnTo>
                  <a:lnTo>
                    <a:pt x="36" y="18"/>
                  </a:lnTo>
                  <a:lnTo>
                    <a:pt x="36" y="18"/>
                  </a:lnTo>
                  <a:lnTo>
                    <a:pt x="36" y="18"/>
                  </a:lnTo>
                  <a:lnTo>
                    <a:pt x="38" y="18"/>
                  </a:lnTo>
                  <a:lnTo>
                    <a:pt x="46" y="22"/>
                  </a:lnTo>
                  <a:lnTo>
                    <a:pt x="52" y="20"/>
                  </a:lnTo>
                  <a:lnTo>
                    <a:pt x="54" y="16"/>
                  </a:lnTo>
                  <a:lnTo>
                    <a:pt x="54" y="16"/>
                  </a:lnTo>
                  <a:lnTo>
                    <a:pt x="56" y="14"/>
                  </a:lnTo>
                  <a:lnTo>
                    <a:pt x="64" y="14"/>
                  </a:lnTo>
                  <a:lnTo>
                    <a:pt x="70" y="10"/>
                  </a:lnTo>
                  <a:lnTo>
                    <a:pt x="70" y="4"/>
                  </a:lnTo>
                  <a:lnTo>
                    <a:pt x="70" y="4"/>
                  </a:lnTo>
                  <a:lnTo>
                    <a:pt x="72" y="4"/>
                  </a:lnTo>
                  <a:lnTo>
                    <a:pt x="76" y="0"/>
                  </a:lnTo>
                  <a:lnTo>
                    <a:pt x="76" y="0"/>
                  </a:lnTo>
                  <a:lnTo>
                    <a:pt x="78" y="0"/>
                  </a:lnTo>
                  <a:lnTo>
                    <a:pt x="78" y="0"/>
                  </a:lnTo>
                  <a:lnTo>
                    <a:pt x="80" y="0"/>
                  </a:lnTo>
                  <a:lnTo>
                    <a:pt x="88" y="6"/>
                  </a:lnTo>
                  <a:lnTo>
                    <a:pt x="88" y="6"/>
                  </a:lnTo>
                  <a:lnTo>
                    <a:pt x="88" y="8"/>
                  </a:lnTo>
                  <a:lnTo>
                    <a:pt x="88" y="8"/>
                  </a:lnTo>
                  <a:lnTo>
                    <a:pt x="88" y="10"/>
                  </a:lnTo>
                  <a:lnTo>
                    <a:pt x="82" y="14"/>
                  </a:lnTo>
                  <a:lnTo>
                    <a:pt x="76" y="18"/>
                  </a:lnTo>
                  <a:lnTo>
                    <a:pt x="72" y="26"/>
                  </a:lnTo>
                  <a:lnTo>
                    <a:pt x="72" y="36"/>
                  </a:lnTo>
                  <a:lnTo>
                    <a:pt x="70" y="40"/>
                  </a:lnTo>
                  <a:lnTo>
                    <a:pt x="70" y="40"/>
                  </a:lnTo>
                  <a:lnTo>
                    <a:pt x="68" y="40"/>
                  </a:lnTo>
                  <a:lnTo>
                    <a:pt x="62" y="44"/>
                  </a:lnTo>
                  <a:lnTo>
                    <a:pt x="48" y="48"/>
                  </a:lnTo>
                  <a:lnTo>
                    <a:pt x="46" y="52"/>
                  </a:lnTo>
                  <a:lnTo>
                    <a:pt x="46" y="60"/>
                  </a:lnTo>
                  <a:lnTo>
                    <a:pt x="48" y="68"/>
                  </a:lnTo>
                  <a:lnTo>
                    <a:pt x="52" y="70"/>
                  </a:lnTo>
                  <a:lnTo>
                    <a:pt x="56" y="74"/>
                  </a:lnTo>
                  <a:lnTo>
                    <a:pt x="56" y="74"/>
                  </a:lnTo>
                  <a:lnTo>
                    <a:pt x="56" y="76"/>
                  </a:lnTo>
                  <a:lnTo>
                    <a:pt x="56" y="76"/>
                  </a:lnTo>
                  <a:lnTo>
                    <a:pt x="54" y="78"/>
                  </a:lnTo>
                  <a:lnTo>
                    <a:pt x="46" y="78"/>
                  </a:lnTo>
                  <a:lnTo>
                    <a:pt x="38" y="82"/>
                  </a:lnTo>
                  <a:lnTo>
                    <a:pt x="34" y="86"/>
                  </a:lnTo>
                  <a:lnTo>
                    <a:pt x="34" y="86"/>
                  </a:lnTo>
                  <a:lnTo>
                    <a:pt x="34" y="88"/>
                  </a:lnTo>
                  <a:lnTo>
                    <a:pt x="3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 name="Freeform 1091"/>
            <p:cNvSpPr>
              <a:spLocks noEditPoints="1"/>
            </p:cNvSpPr>
            <p:nvPr/>
          </p:nvSpPr>
          <p:spPr bwMode="auto">
            <a:xfrm>
              <a:off x="4623" y="1873"/>
              <a:ext cx="92" cy="92"/>
            </a:xfrm>
            <a:custGeom>
              <a:avLst/>
              <a:gdLst>
                <a:gd name="T0" fmla="*/ 88 w 92"/>
                <a:gd name="T1" fmla="*/ 10 h 92"/>
                <a:gd name="T2" fmla="*/ 76 w 92"/>
                <a:gd name="T3" fmla="*/ 20 h 92"/>
                <a:gd name="T4" fmla="*/ 72 w 92"/>
                <a:gd name="T5" fmla="*/ 36 h 92"/>
                <a:gd name="T6" fmla="*/ 62 w 92"/>
                <a:gd name="T7" fmla="*/ 44 h 92"/>
                <a:gd name="T8" fmla="*/ 46 w 92"/>
                <a:gd name="T9" fmla="*/ 54 h 92"/>
                <a:gd name="T10" fmla="*/ 50 w 92"/>
                <a:gd name="T11" fmla="*/ 70 h 92"/>
                <a:gd name="T12" fmla="*/ 56 w 92"/>
                <a:gd name="T13" fmla="*/ 78 h 92"/>
                <a:gd name="T14" fmla="*/ 38 w 92"/>
                <a:gd name="T15" fmla="*/ 82 h 92"/>
                <a:gd name="T16" fmla="*/ 26 w 92"/>
                <a:gd name="T17" fmla="*/ 84 h 92"/>
                <a:gd name="T18" fmla="*/ 12 w 92"/>
                <a:gd name="T19" fmla="*/ 80 h 92"/>
                <a:gd name="T20" fmla="*/ 14 w 92"/>
                <a:gd name="T21" fmla="*/ 64 h 92"/>
                <a:gd name="T22" fmla="*/ 10 w 92"/>
                <a:gd name="T23" fmla="*/ 56 h 92"/>
                <a:gd name="T24" fmla="*/ 10 w 92"/>
                <a:gd name="T25" fmla="*/ 46 h 92"/>
                <a:gd name="T26" fmla="*/ 28 w 92"/>
                <a:gd name="T27" fmla="*/ 32 h 92"/>
                <a:gd name="T28" fmla="*/ 38 w 92"/>
                <a:gd name="T29" fmla="*/ 22 h 92"/>
                <a:gd name="T30" fmla="*/ 56 w 92"/>
                <a:gd name="T31" fmla="*/ 24 h 92"/>
                <a:gd name="T32" fmla="*/ 66 w 92"/>
                <a:gd name="T33" fmla="*/ 18 h 92"/>
                <a:gd name="T34" fmla="*/ 74 w 92"/>
                <a:gd name="T35" fmla="*/ 6 h 92"/>
                <a:gd name="T36" fmla="*/ 80 w 92"/>
                <a:gd name="T37" fmla="*/ 0 h 92"/>
                <a:gd name="T38" fmla="*/ 78 w 92"/>
                <a:gd name="T39" fmla="*/ 0 h 92"/>
                <a:gd name="T40" fmla="*/ 72 w 92"/>
                <a:gd name="T41" fmla="*/ 4 h 92"/>
                <a:gd name="T42" fmla="*/ 70 w 92"/>
                <a:gd name="T43" fmla="*/ 10 h 92"/>
                <a:gd name="T44" fmla="*/ 58 w 92"/>
                <a:gd name="T45" fmla="*/ 14 h 92"/>
                <a:gd name="T46" fmla="*/ 56 w 92"/>
                <a:gd name="T47" fmla="*/ 14 h 92"/>
                <a:gd name="T48" fmla="*/ 52 w 92"/>
                <a:gd name="T49" fmla="*/ 22 h 92"/>
                <a:gd name="T50" fmla="*/ 40 w 92"/>
                <a:gd name="T51" fmla="*/ 20 h 92"/>
                <a:gd name="T52" fmla="*/ 38 w 92"/>
                <a:gd name="T53" fmla="*/ 18 h 92"/>
                <a:gd name="T54" fmla="*/ 36 w 92"/>
                <a:gd name="T55" fmla="*/ 20 h 92"/>
                <a:gd name="T56" fmla="*/ 34 w 92"/>
                <a:gd name="T57" fmla="*/ 20 h 92"/>
                <a:gd name="T58" fmla="*/ 26 w 92"/>
                <a:gd name="T59" fmla="*/ 28 h 92"/>
                <a:gd name="T60" fmla="*/ 8 w 92"/>
                <a:gd name="T61" fmla="*/ 42 h 92"/>
                <a:gd name="T62" fmla="*/ 6 w 92"/>
                <a:gd name="T63" fmla="*/ 44 h 92"/>
                <a:gd name="T64" fmla="*/ 2 w 92"/>
                <a:gd name="T65" fmla="*/ 50 h 92"/>
                <a:gd name="T66" fmla="*/ 0 w 92"/>
                <a:gd name="T67" fmla="*/ 54 h 92"/>
                <a:gd name="T68" fmla="*/ 8 w 92"/>
                <a:gd name="T69" fmla="*/ 60 h 92"/>
                <a:gd name="T70" fmla="*/ 10 w 92"/>
                <a:gd name="T71" fmla="*/ 60 h 92"/>
                <a:gd name="T72" fmla="*/ 12 w 92"/>
                <a:gd name="T73" fmla="*/ 64 h 92"/>
                <a:gd name="T74" fmla="*/ 10 w 92"/>
                <a:gd name="T75" fmla="*/ 64 h 92"/>
                <a:gd name="T76" fmla="*/ 8 w 92"/>
                <a:gd name="T77" fmla="*/ 78 h 92"/>
                <a:gd name="T78" fmla="*/ 8 w 92"/>
                <a:gd name="T79" fmla="*/ 82 h 92"/>
                <a:gd name="T80" fmla="*/ 12 w 92"/>
                <a:gd name="T81" fmla="*/ 88 h 92"/>
                <a:gd name="T82" fmla="*/ 14 w 92"/>
                <a:gd name="T83" fmla="*/ 90 h 92"/>
                <a:gd name="T84" fmla="*/ 24 w 92"/>
                <a:gd name="T85" fmla="*/ 88 h 92"/>
                <a:gd name="T86" fmla="*/ 34 w 92"/>
                <a:gd name="T87" fmla="*/ 92 h 92"/>
                <a:gd name="T88" fmla="*/ 36 w 92"/>
                <a:gd name="T89" fmla="*/ 92 h 92"/>
                <a:gd name="T90" fmla="*/ 42 w 92"/>
                <a:gd name="T91" fmla="*/ 86 h 92"/>
                <a:gd name="T92" fmla="*/ 56 w 92"/>
                <a:gd name="T93" fmla="*/ 82 h 92"/>
                <a:gd name="T94" fmla="*/ 60 w 92"/>
                <a:gd name="T95" fmla="*/ 78 h 92"/>
                <a:gd name="T96" fmla="*/ 58 w 92"/>
                <a:gd name="T97" fmla="*/ 74 h 92"/>
                <a:gd name="T98" fmla="*/ 52 w 92"/>
                <a:gd name="T99" fmla="*/ 68 h 92"/>
                <a:gd name="T100" fmla="*/ 50 w 92"/>
                <a:gd name="T101" fmla="*/ 56 h 92"/>
                <a:gd name="T102" fmla="*/ 64 w 92"/>
                <a:gd name="T103" fmla="*/ 48 h 92"/>
                <a:gd name="T104" fmla="*/ 64 w 92"/>
                <a:gd name="T105" fmla="*/ 48 h 92"/>
                <a:gd name="T106" fmla="*/ 72 w 92"/>
                <a:gd name="T107" fmla="*/ 44 h 92"/>
                <a:gd name="T108" fmla="*/ 74 w 92"/>
                <a:gd name="T109" fmla="*/ 38 h 92"/>
                <a:gd name="T110" fmla="*/ 76 w 92"/>
                <a:gd name="T111" fmla="*/ 38 h 92"/>
                <a:gd name="T112" fmla="*/ 80 w 92"/>
                <a:gd name="T113" fmla="*/ 22 h 92"/>
                <a:gd name="T114" fmla="*/ 90 w 92"/>
                <a:gd name="T115" fmla="*/ 14 h 92"/>
                <a:gd name="T116" fmla="*/ 92 w 92"/>
                <a:gd name="T117" fmla="*/ 10 h 92"/>
                <a:gd name="T118" fmla="*/ 90 w 92"/>
                <a:gd name="T119" fmla="*/ 8 h 92"/>
                <a:gd name="T120" fmla="*/ 82 w 92"/>
                <a:gd name="T121" fmla="*/ 0 h 92"/>
                <a:gd name="T122" fmla="*/ 80 w 92"/>
                <a:gd name="T1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92">
                  <a:moveTo>
                    <a:pt x="80" y="4"/>
                  </a:moveTo>
                  <a:lnTo>
                    <a:pt x="88" y="10"/>
                  </a:lnTo>
                  <a:lnTo>
                    <a:pt x="84" y="14"/>
                  </a:lnTo>
                  <a:lnTo>
                    <a:pt x="76" y="20"/>
                  </a:lnTo>
                  <a:lnTo>
                    <a:pt x="72" y="28"/>
                  </a:lnTo>
                  <a:lnTo>
                    <a:pt x="72" y="36"/>
                  </a:lnTo>
                  <a:lnTo>
                    <a:pt x="70" y="40"/>
                  </a:lnTo>
                  <a:lnTo>
                    <a:pt x="62" y="44"/>
                  </a:lnTo>
                  <a:lnTo>
                    <a:pt x="50" y="50"/>
                  </a:lnTo>
                  <a:lnTo>
                    <a:pt x="46" y="54"/>
                  </a:lnTo>
                  <a:lnTo>
                    <a:pt x="46" y="62"/>
                  </a:lnTo>
                  <a:lnTo>
                    <a:pt x="50" y="70"/>
                  </a:lnTo>
                  <a:lnTo>
                    <a:pt x="52" y="74"/>
                  </a:lnTo>
                  <a:lnTo>
                    <a:pt x="56" y="78"/>
                  </a:lnTo>
                  <a:lnTo>
                    <a:pt x="48" y="78"/>
                  </a:lnTo>
                  <a:lnTo>
                    <a:pt x="38" y="82"/>
                  </a:lnTo>
                  <a:lnTo>
                    <a:pt x="36" y="88"/>
                  </a:lnTo>
                  <a:lnTo>
                    <a:pt x="26" y="84"/>
                  </a:lnTo>
                  <a:lnTo>
                    <a:pt x="14" y="86"/>
                  </a:lnTo>
                  <a:lnTo>
                    <a:pt x="12" y="80"/>
                  </a:lnTo>
                  <a:lnTo>
                    <a:pt x="14" y="74"/>
                  </a:lnTo>
                  <a:lnTo>
                    <a:pt x="14" y="64"/>
                  </a:lnTo>
                  <a:lnTo>
                    <a:pt x="18" y="56"/>
                  </a:lnTo>
                  <a:lnTo>
                    <a:pt x="10" y="56"/>
                  </a:lnTo>
                  <a:lnTo>
                    <a:pt x="4" y="52"/>
                  </a:lnTo>
                  <a:lnTo>
                    <a:pt x="10" y="46"/>
                  </a:lnTo>
                  <a:lnTo>
                    <a:pt x="24" y="36"/>
                  </a:lnTo>
                  <a:lnTo>
                    <a:pt x="28" y="32"/>
                  </a:lnTo>
                  <a:lnTo>
                    <a:pt x="36" y="24"/>
                  </a:lnTo>
                  <a:lnTo>
                    <a:pt x="38" y="22"/>
                  </a:lnTo>
                  <a:lnTo>
                    <a:pt x="48" y="26"/>
                  </a:lnTo>
                  <a:lnTo>
                    <a:pt x="56" y="24"/>
                  </a:lnTo>
                  <a:lnTo>
                    <a:pt x="58" y="18"/>
                  </a:lnTo>
                  <a:lnTo>
                    <a:pt x="66" y="18"/>
                  </a:lnTo>
                  <a:lnTo>
                    <a:pt x="72" y="12"/>
                  </a:lnTo>
                  <a:lnTo>
                    <a:pt x="74" y="6"/>
                  </a:lnTo>
                  <a:lnTo>
                    <a:pt x="80" y="4"/>
                  </a:lnTo>
                  <a:close/>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4" name="Freeform 1092"/>
            <p:cNvSpPr>
              <a:spLocks/>
            </p:cNvSpPr>
            <p:nvPr/>
          </p:nvSpPr>
          <p:spPr bwMode="auto">
            <a:xfrm>
              <a:off x="4627" y="1877"/>
              <a:ext cx="84" cy="84"/>
            </a:xfrm>
            <a:custGeom>
              <a:avLst/>
              <a:gdLst>
                <a:gd name="T0" fmla="*/ 76 w 84"/>
                <a:gd name="T1" fmla="*/ 0 h 84"/>
                <a:gd name="T2" fmla="*/ 84 w 84"/>
                <a:gd name="T3" fmla="*/ 6 h 84"/>
                <a:gd name="T4" fmla="*/ 80 w 84"/>
                <a:gd name="T5" fmla="*/ 10 h 84"/>
                <a:gd name="T6" fmla="*/ 72 w 84"/>
                <a:gd name="T7" fmla="*/ 16 h 84"/>
                <a:gd name="T8" fmla="*/ 68 w 84"/>
                <a:gd name="T9" fmla="*/ 24 h 84"/>
                <a:gd name="T10" fmla="*/ 68 w 84"/>
                <a:gd name="T11" fmla="*/ 32 h 84"/>
                <a:gd name="T12" fmla="*/ 66 w 84"/>
                <a:gd name="T13" fmla="*/ 36 h 84"/>
                <a:gd name="T14" fmla="*/ 58 w 84"/>
                <a:gd name="T15" fmla="*/ 40 h 84"/>
                <a:gd name="T16" fmla="*/ 46 w 84"/>
                <a:gd name="T17" fmla="*/ 46 h 84"/>
                <a:gd name="T18" fmla="*/ 42 w 84"/>
                <a:gd name="T19" fmla="*/ 50 h 84"/>
                <a:gd name="T20" fmla="*/ 42 w 84"/>
                <a:gd name="T21" fmla="*/ 58 h 84"/>
                <a:gd name="T22" fmla="*/ 46 w 84"/>
                <a:gd name="T23" fmla="*/ 66 h 84"/>
                <a:gd name="T24" fmla="*/ 48 w 84"/>
                <a:gd name="T25" fmla="*/ 70 h 84"/>
                <a:gd name="T26" fmla="*/ 52 w 84"/>
                <a:gd name="T27" fmla="*/ 74 h 84"/>
                <a:gd name="T28" fmla="*/ 44 w 84"/>
                <a:gd name="T29" fmla="*/ 74 h 84"/>
                <a:gd name="T30" fmla="*/ 34 w 84"/>
                <a:gd name="T31" fmla="*/ 78 h 84"/>
                <a:gd name="T32" fmla="*/ 32 w 84"/>
                <a:gd name="T33" fmla="*/ 84 h 84"/>
                <a:gd name="T34" fmla="*/ 22 w 84"/>
                <a:gd name="T35" fmla="*/ 80 h 84"/>
                <a:gd name="T36" fmla="*/ 10 w 84"/>
                <a:gd name="T37" fmla="*/ 82 h 84"/>
                <a:gd name="T38" fmla="*/ 8 w 84"/>
                <a:gd name="T39" fmla="*/ 76 h 84"/>
                <a:gd name="T40" fmla="*/ 10 w 84"/>
                <a:gd name="T41" fmla="*/ 70 h 84"/>
                <a:gd name="T42" fmla="*/ 10 w 84"/>
                <a:gd name="T43" fmla="*/ 60 h 84"/>
                <a:gd name="T44" fmla="*/ 14 w 84"/>
                <a:gd name="T45" fmla="*/ 52 h 84"/>
                <a:gd name="T46" fmla="*/ 6 w 84"/>
                <a:gd name="T47" fmla="*/ 52 h 84"/>
                <a:gd name="T48" fmla="*/ 0 w 84"/>
                <a:gd name="T49" fmla="*/ 48 h 84"/>
                <a:gd name="T50" fmla="*/ 6 w 84"/>
                <a:gd name="T51" fmla="*/ 42 h 84"/>
                <a:gd name="T52" fmla="*/ 20 w 84"/>
                <a:gd name="T53" fmla="*/ 32 h 84"/>
                <a:gd name="T54" fmla="*/ 24 w 84"/>
                <a:gd name="T55" fmla="*/ 28 h 84"/>
                <a:gd name="T56" fmla="*/ 32 w 84"/>
                <a:gd name="T57" fmla="*/ 20 h 84"/>
                <a:gd name="T58" fmla="*/ 34 w 84"/>
                <a:gd name="T59" fmla="*/ 18 h 84"/>
                <a:gd name="T60" fmla="*/ 44 w 84"/>
                <a:gd name="T61" fmla="*/ 22 h 84"/>
                <a:gd name="T62" fmla="*/ 52 w 84"/>
                <a:gd name="T63" fmla="*/ 20 h 84"/>
                <a:gd name="T64" fmla="*/ 54 w 84"/>
                <a:gd name="T65" fmla="*/ 14 h 84"/>
                <a:gd name="T66" fmla="*/ 62 w 84"/>
                <a:gd name="T67" fmla="*/ 14 h 84"/>
                <a:gd name="T68" fmla="*/ 68 w 84"/>
                <a:gd name="T69" fmla="*/ 8 h 84"/>
                <a:gd name="T70" fmla="*/ 70 w 84"/>
                <a:gd name="T71" fmla="*/ 2 h 84"/>
                <a:gd name="T72" fmla="*/ 76 w 84"/>
                <a:gd name="T7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84">
                  <a:moveTo>
                    <a:pt x="76" y="0"/>
                  </a:moveTo>
                  <a:lnTo>
                    <a:pt x="84" y="6"/>
                  </a:lnTo>
                  <a:lnTo>
                    <a:pt x="80" y="10"/>
                  </a:lnTo>
                  <a:lnTo>
                    <a:pt x="72" y="16"/>
                  </a:lnTo>
                  <a:lnTo>
                    <a:pt x="68" y="24"/>
                  </a:lnTo>
                  <a:lnTo>
                    <a:pt x="68" y="32"/>
                  </a:lnTo>
                  <a:lnTo>
                    <a:pt x="66" y="36"/>
                  </a:lnTo>
                  <a:lnTo>
                    <a:pt x="58" y="40"/>
                  </a:lnTo>
                  <a:lnTo>
                    <a:pt x="46" y="46"/>
                  </a:lnTo>
                  <a:lnTo>
                    <a:pt x="42" y="50"/>
                  </a:lnTo>
                  <a:lnTo>
                    <a:pt x="42" y="58"/>
                  </a:lnTo>
                  <a:lnTo>
                    <a:pt x="46" y="66"/>
                  </a:lnTo>
                  <a:lnTo>
                    <a:pt x="48" y="70"/>
                  </a:lnTo>
                  <a:lnTo>
                    <a:pt x="52" y="74"/>
                  </a:lnTo>
                  <a:lnTo>
                    <a:pt x="44" y="74"/>
                  </a:lnTo>
                  <a:lnTo>
                    <a:pt x="34" y="78"/>
                  </a:lnTo>
                  <a:lnTo>
                    <a:pt x="32" y="84"/>
                  </a:lnTo>
                  <a:lnTo>
                    <a:pt x="22" y="80"/>
                  </a:lnTo>
                  <a:lnTo>
                    <a:pt x="10" y="82"/>
                  </a:lnTo>
                  <a:lnTo>
                    <a:pt x="8" y="76"/>
                  </a:lnTo>
                  <a:lnTo>
                    <a:pt x="10" y="70"/>
                  </a:lnTo>
                  <a:lnTo>
                    <a:pt x="10" y="60"/>
                  </a:lnTo>
                  <a:lnTo>
                    <a:pt x="14" y="52"/>
                  </a:lnTo>
                  <a:lnTo>
                    <a:pt x="6" y="52"/>
                  </a:lnTo>
                  <a:lnTo>
                    <a:pt x="0" y="48"/>
                  </a:lnTo>
                  <a:lnTo>
                    <a:pt x="6" y="42"/>
                  </a:lnTo>
                  <a:lnTo>
                    <a:pt x="20" y="32"/>
                  </a:lnTo>
                  <a:lnTo>
                    <a:pt x="24" y="28"/>
                  </a:lnTo>
                  <a:lnTo>
                    <a:pt x="32" y="20"/>
                  </a:lnTo>
                  <a:lnTo>
                    <a:pt x="34" y="18"/>
                  </a:lnTo>
                  <a:lnTo>
                    <a:pt x="44" y="22"/>
                  </a:lnTo>
                  <a:lnTo>
                    <a:pt x="52" y="20"/>
                  </a:lnTo>
                  <a:lnTo>
                    <a:pt x="54" y="14"/>
                  </a:lnTo>
                  <a:lnTo>
                    <a:pt x="62" y="14"/>
                  </a:lnTo>
                  <a:lnTo>
                    <a:pt x="68" y="8"/>
                  </a:lnTo>
                  <a:lnTo>
                    <a:pt x="70" y="2"/>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 name="Freeform 1093"/>
            <p:cNvSpPr>
              <a:spLocks/>
            </p:cNvSpPr>
            <p:nvPr/>
          </p:nvSpPr>
          <p:spPr bwMode="auto">
            <a:xfrm>
              <a:off x="4623" y="1873"/>
              <a:ext cx="92" cy="92"/>
            </a:xfrm>
            <a:custGeom>
              <a:avLst/>
              <a:gdLst>
                <a:gd name="T0" fmla="*/ 80 w 92"/>
                <a:gd name="T1" fmla="*/ 0 h 92"/>
                <a:gd name="T2" fmla="*/ 72 w 92"/>
                <a:gd name="T3" fmla="*/ 4 h 92"/>
                <a:gd name="T4" fmla="*/ 70 w 92"/>
                <a:gd name="T5" fmla="*/ 6 h 92"/>
                <a:gd name="T6" fmla="*/ 64 w 92"/>
                <a:gd name="T7" fmla="*/ 14 h 92"/>
                <a:gd name="T8" fmla="*/ 58 w 92"/>
                <a:gd name="T9" fmla="*/ 14 h 92"/>
                <a:gd name="T10" fmla="*/ 54 w 92"/>
                <a:gd name="T11" fmla="*/ 16 h 92"/>
                <a:gd name="T12" fmla="*/ 48 w 92"/>
                <a:gd name="T13" fmla="*/ 22 h 92"/>
                <a:gd name="T14" fmla="*/ 40 w 92"/>
                <a:gd name="T15" fmla="*/ 20 h 92"/>
                <a:gd name="T16" fmla="*/ 38 w 92"/>
                <a:gd name="T17" fmla="*/ 18 h 92"/>
                <a:gd name="T18" fmla="*/ 34 w 92"/>
                <a:gd name="T19" fmla="*/ 20 h 92"/>
                <a:gd name="T20" fmla="*/ 32 w 92"/>
                <a:gd name="T21" fmla="*/ 22 h 92"/>
                <a:gd name="T22" fmla="*/ 20 w 92"/>
                <a:gd name="T23" fmla="*/ 34 h 92"/>
                <a:gd name="T24" fmla="*/ 8 w 92"/>
                <a:gd name="T25" fmla="*/ 42 h 92"/>
                <a:gd name="T26" fmla="*/ 2 w 92"/>
                <a:gd name="T27" fmla="*/ 50 h 92"/>
                <a:gd name="T28" fmla="*/ 0 w 92"/>
                <a:gd name="T29" fmla="*/ 54 h 92"/>
                <a:gd name="T30" fmla="*/ 2 w 92"/>
                <a:gd name="T31" fmla="*/ 56 h 92"/>
                <a:gd name="T32" fmla="*/ 8 w 92"/>
                <a:gd name="T33" fmla="*/ 60 h 92"/>
                <a:gd name="T34" fmla="*/ 12 w 92"/>
                <a:gd name="T35" fmla="*/ 60 h 92"/>
                <a:gd name="T36" fmla="*/ 12 w 92"/>
                <a:gd name="T37" fmla="*/ 64 h 92"/>
                <a:gd name="T38" fmla="*/ 10 w 92"/>
                <a:gd name="T39" fmla="*/ 72 h 92"/>
                <a:gd name="T40" fmla="*/ 8 w 92"/>
                <a:gd name="T41" fmla="*/ 78 h 92"/>
                <a:gd name="T42" fmla="*/ 12 w 92"/>
                <a:gd name="T43" fmla="*/ 88 h 92"/>
                <a:gd name="T44" fmla="*/ 14 w 92"/>
                <a:gd name="T45" fmla="*/ 90 h 92"/>
                <a:gd name="T46" fmla="*/ 16 w 92"/>
                <a:gd name="T47" fmla="*/ 90 h 92"/>
                <a:gd name="T48" fmla="*/ 34 w 92"/>
                <a:gd name="T49" fmla="*/ 92 h 92"/>
                <a:gd name="T50" fmla="*/ 36 w 92"/>
                <a:gd name="T51" fmla="*/ 92 h 92"/>
                <a:gd name="T52" fmla="*/ 38 w 92"/>
                <a:gd name="T53" fmla="*/ 90 h 92"/>
                <a:gd name="T54" fmla="*/ 48 w 92"/>
                <a:gd name="T55" fmla="*/ 82 h 92"/>
                <a:gd name="T56" fmla="*/ 56 w 92"/>
                <a:gd name="T57" fmla="*/ 82 h 92"/>
                <a:gd name="T58" fmla="*/ 60 w 92"/>
                <a:gd name="T59" fmla="*/ 78 h 92"/>
                <a:gd name="T60" fmla="*/ 56 w 92"/>
                <a:gd name="T61" fmla="*/ 70 h 92"/>
                <a:gd name="T62" fmla="*/ 50 w 92"/>
                <a:gd name="T63" fmla="*/ 60 h 92"/>
                <a:gd name="T64" fmla="*/ 52 w 92"/>
                <a:gd name="T65" fmla="*/ 52 h 92"/>
                <a:gd name="T66" fmla="*/ 64 w 92"/>
                <a:gd name="T67" fmla="*/ 48 h 92"/>
                <a:gd name="T68" fmla="*/ 72 w 92"/>
                <a:gd name="T69" fmla="*/ 44 h 92"/>
                <a:gd name="T70" fmla="*/ 74 w 92"/>
                <a:gd name="T71" fmla="*/ 42 h 92"/>
                <a:gd name="T72" fmla="*/ 74 w 92"/>
                <a:gd name="T73" fmla="*/ 38 h 92"/>
                <a:gd name="T74" fmla="*/ 76 w 92"/>
                <a:gd name="T75" fmla="*/ 30 h 92"/>
                <a:gd name="T76" fmla="*/ 86 w 92"/>
                <a:gd name="T77" fmla="*/ 18 h 92"/>
                <a:gd name="T78" fmla="*/ 90 w 92"/>
                <a:gd name="T79" fmla="*/ 14 h 92"/>
                <a:gd name="T80" fmla="*/ 92 w 92"/>
                <a:gd name="T81" fmla="*/ 10 h 92"/>
                <a:gd name="T82" fmla="*/ 82 w 92"/>
                <a:gd name="T83" fmla="*/ 0 h 92"/>
                <a:gd name="T84" fmla="*/ 80 w 92"/>
                <a:gd name="T8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92">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 name="Freeform 1094"/>
            <p:cNvSpPr>
              <a:spLocks/>
            </p:cNvSpPr>
            <p:nvPr/>
          </p:nvSpPr>
          <p:spPr bwMode="auto">
            <a:xfrm>
              <a:off x="3903" y="1679"/>
              <a:ext cx="872" cy="552"/>
            </a:xfrm>
            <a:custGeom>
              <a:avLst/>
              <a:gdLst>
                <a:gd name="T0" fmla="*/ 508 w 872"/>
                <a:gd name="T1" fmla="*/ 536 h 552"/>
                <a:gd name="T2" fmla="*/ 472 w 872"/>
                <a:gd name="T3" fmla="*/ 532 h 552"/>
                <a:gd name="T4" fmla="*/ 444 w 872"/>
                <a:gd name="T5" fmla="*/ 520 h 552"/>
                <a:gd name="T6" fmla="*/ 404 w 872"/>
                <a:gd name="T7" fmla="*/ 530 h 552"/>
                <a:gd name="T8" fmla="*/ 394 w 872"/>
                <a:gd name="T9" fmla="*/ 540 h 552"/>
                <a:gd name="T10" fmla="*/ 368 w 872"/>
                <a:gd name="T11" fmla="*/ 528 h 552"/>
                <a:gd name="T12" fmla="*/ 342 w 872"/>
                <a:gd name="T13" fmla="*/ 492 h 552"/>
                <a:gd name="T14" fmla="*/ 340 w 872"/>
                <a:gd name="T15" fmla="*/ 432 h 552"/>
                <a:gd name="T16" fmla="*/ 294 w 872"/>
                <a:gd name="T17" fmla="*/ 426 h 552"/>
                <a:gd name="T18" fmla="*/ 240 w 872"/>
                <a:gd name="T19" fmla="*/ 436 h 552"/>
                <a:gd name="T20" fmla="*/ 174 w 872"/>
                <a:gd name="T21" fmla="*/ 438 h 552"/>
                <a:gd name="T22" fmla="*/ 108 w 872"/>
                <a:gd name="T23" fmla="*/ 406 h 552"/>
                <a:gd name="T24" fmla="*/ 76 w 872"/>
                <a:gd name="T25" fmla="*/ 366 h 552"/>
                <a:gd name="T26" fmla="*/ 76 w 872"/>
                <a:gd name="T27" fmla="*/ 342 h 552"/>
                <a:gd name="T28" fmla="*/ 66 w 872"/>
                <a:gd name="T29" fmla="*/ 320 h 552"/>
                <a:gd name="T30" fmla="*/ 20 w 872"/>
                <a:gd name="T31" fmla="*/ 296 h 552"/>
                <a:gd name="T32" fmla="*/ 10 w 872"/>
                <a:gd name="T33" fmla="*/ 272 h 552"/>
                <a:gd name="T34" fmla="*/ 4 w 872"/>
                <a:gd name="T35" fmla="*/ 246 h 552"/>
                <a:gd name="T36" fmla="*/ 32 w 872"/>
                <a:gd name="T37" fmla="*/ 232 h 552"/>
                <a:gd name="T38" fmla="*/ 68 w 872"/>
                <a:gd name="T39" fmla="*/ 220 h 552"/>
                <a:gd name="T40" fmla="*/ 104 w 872"/>
                <a:gd name="T41" fmla="*/ 190 h 552"/>
                <a:gd name="T42" fmla="*/ 124 w 872"/>
                <a:gd name="T43" fmla="*/ 152 h 552"/>
                <a:gd name="T44" fmla="*/ 174 w 872"/>
                <a:gd name="T45" fmla="*/ 118 h 552"/>
                <a:gd name="T46" fmla="*/ 192 w 872"/>
                <a:gd name="T47" fmla="*/ 84 h 552"/>
                <a:gd name="T48" fmla="*/ 234 w 872"/>
                <a:gd name="T49" fmla="*/ 104 h 552"/>
                <a:gd name="T50" fmla="*/ 250 w 872"/>
                <a:gd name="T51" fmla="*/ 144 h 552"/>
                <a:gd name="T52" fmla="*/ 318 w 872"/>
                <a:gd name="T53" fmla="*/ 178 h 552"/>
                <a:gd name="T54" fmla="*/ 472 w 872"/>
                <a:gd name="T55" fmla="*/ 202 h 552"/>
                <a:gd name="T56" fmla="*/ 542 w 872"/>
                <a:gd name="T57" fmla="*/ 180 h 552"/>
                <a:gd name="T58" fmla="*/ 572 w 872"/>
                <a:gd name="T59" fmla="*/ 158 h 552"/>
                <a:gd name="T60" fmla="*/ 656 w 872"/>
                <a:gd name="T61" fmla="*/ 128 h 552"/>
                <a:gd name="T62" fmla="*/ 598 w 872"/>
                <a:gd name="T63" fmla="*/ 108 h 552"/>
                <a:gd name="T64" fmla="*/ 614 w 872"/>
                <a:gd name="T65" fmla="*/ 68 h 552"/>
                <a:gd name="T66" fmla="*/ 648 w 872"/>
                <a:gd name="T67" fmla="*/ 66 h 552"/>
                <a:gd name="T68" fmla="*/ 660 w 872"/>
                <a:gd name="T69" fmla="*/ 20 h 552"/>
                <a:gd name="T70" fmla="*/ 698 w 872"/>
                <a:gd name="T71" fmla="*/ 0 h 552"/>
                <a:gd name="T72" fmla="*/ 744 w 872"/>
                <a:gd name="T73" fmla="*/ 10 h 552"/>
                <a:gd name="T74" fmla="*/ 796 w 872"/>
                <a:gd name="T75" fmla="*/ 80 h 552"/>
                <a:gd name="T76" fmla="*/ 840 w 872"/>
                <a:gd name="T77" fmla="*/ 102 h 552"/>
                <a:gd name="T78" fmla="*/ 872 w 872"/>
                <a:gd name="T79" fmla="*/ 112 h 552"/>
                <a:gd name="T80" fmla="*/ 836 w 872"/>
                <a:gd name="T81" fmla="*/ 160 h 552"/>
                <a:gd name="T82" fmla="*/ 820 w 872"/>
                <a:gd name="T83" fmla="*/ 194 h 552"/>
                <a:gd name="T84" fmla="*/ 802 w 872"/>
                <a:gd name="T85" fmla="*/ 198 h 552"/>
                <a:gd name="T86" fmla="*/ 768 w 872"/>
                <a:gd name="T87" fmla="*/ 220 h 552"/>
                <a:gd name="T88" fmla="*/ 734 w 872"/>
                <a:gd name="T89" fmla="*/ 238 h 552"/>
                <a:gd name="T90" fmla="*/ 680 w 872"/>
                <a:gd name="T91" fmla="*/ 268 h 552"/>
                <a:gd name="T92" fmla="*/ 680 w 872"/>
                <a:gd name="T93" fmla="*/ 244 h 552"/>
                <a:gd name="T94" fmla="*/ 650 w 872"/>
                <a:gd name="T95" fmla="*/ 258 h 552"/>
                <a:gd name="T96" fmla="*/ 648 w 872"/>
                <a:gd name="T97" fmla="*/ 286 h 552"/>
                <a:gd name="T98" fmla="*/ 672 w 872"/>
                <a:gd name="T99" fmla="*/ 280 h 552"/>
                <a:gd name="T100" fmla="*/ 698 w 872"/>
                <a:gd name="T101" fmla="*/ 294 h 552"/>
                <a:gd name="T102" fmla="*/ 674 w 872"/>
                <a:gd name="T103" fmla="*/ 308 h 552"/>
                <a:gd name="T104" fmla="*/ 666 w 872"/>
                <a:gd name="T105" fmla="*/ 340 h 552"/>
                <a:gd name="T106" fmla="*/ 688 w 872"/>
                <a:gd name="T107" fmla="*/ 382 h 552"/>
                <a:gd name="T108" fmla="*/ 684 w 872"/>
                <a:gd name="T109" fmla="*/ 386 h 552"/>
                <a:gd name="T110" fmla="*/ 672 w 872"/>
                <a:gd name="T111" fmla="*/ 398 h 552"/>
                <a:gd name="T112" fmla="*/ 688 w 872"/>
                <a:gd name="T113" fmla="*/ 416 h 552"/>
                <a:gd name="T114" fmla="*/ 608 w 872"/>
                <a:gd name="T115" fmla="*/ 516 h 552"/>
                <a:gd name="T116" fmla="*/ 568 w 872"/>
                <a:gd name="T117" fmla="*/ 526 h 552"/>
                <a:gd name="T118" fmla="*/ 526 w 872"/>
                <a:gd name="T11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552">
                  <a:moveTo>
                    <a:pt x="524" y="552"/>
                  </a:moveTo>
                  <a:lnTo>
                    <a:pt x="524" y="552"/>
                  </a:lnTo>
                  <a:lnTo>
                    <a:pt x="522" y="552"/>
                  </a:lnTo>
                  <a:lnTo>
                    <a:pt x="516" y="550"/>
                  </a:lnTo>
                  <a:lnTo>
                    <a:pt x="516" y="550"/>
                  </a:lnTo>
                  <a:lnTo>
                    <a:pt x="514" y="548"/>
                  </a:lnTo>
                  <a:lnTo>
                    <a:pt x="514" y="536"/>
                  </a:lnTo>
                  <a:lnTo>
                    <a:pt x="508" y="536"/>
                  </a:lnTo>
                  <a:lnTo>
                    <a:pt x="498" y="534"/>
                  </a:lnTo>
                  <a:lnTo>
                    <a:pt x="490" y="536"/>
                  </a:lnTo>
                  <a:lnTo>
                    <a:pt x="480" y="536"/>
                  </a:lnTo>
                  <a:lnTo>
                    <a:pt x="480" y="536"/>
                  </a:lnTo>
                  <a:lnTo>
                    <a:pt x="480" y="536"/>
                  </a:lnTo>
                  <a:lnTo>
                    <a:pt x="472" y="532"/>
                  </a:lnTo>
                  <a:lnTo>
                    <a:pt x="472" y="532"/>
                  </a:lnTo>
                  <a:lnTo>
                    <a:pt x="472" y="532"/>
                  </a:lnTo>
                  <a:lnTo>
                    <a:pt x="470" y="518"/>
                  </a:lnTo>
                  <a:lnTo>
                    <a:pt x="462" y="516"/>
                  </a:lnTo>
                  <a:lnTo>
                    <a:pt x="462" y="516"/>
                  </a:lnTo>
                  <a:lnTo>
                    <a:pt x="460" y="516"/>
                  </a:lnTo>
                  <a:lnTo>
                    <a:pt x="456" y="514"/>
                  </a:lnTo>
                  <a:lnTo>
                    <a:pt x="450" y="514"/>
                  </a:lnTo>
                  <a:lnTo>
                    <a:pt x="444" y="520"/>
                  </a:lnTo>
                  <a:lnTo>
                    <a:pt x="444" y="520"/>
                  </a:lnTo>
                  <a:lnTo>
                    <a:pt x="442" y="520"/>
                  </a:lnTo>
                  <a:lnTo>
                    <a:pt x="412" y="520"/>
                  </a:lnTo>
                  <a:lnTo>
                    <a:pt x="412" y="524"/>
                  </a:lnTo>
                  <a:lnTo>
                    <a:pt x="412" y="524"/>
                  </a:lnTo>
                  <a:lnTo>
                    <a:pt x="410" y="524"/>
                  </a:lnTo>
                  <a:lnTo>
                    <a:pt x="400" y="524"/>
                  </a:lnTo>
                  <a:lnTo>
                    <a:pt x="400" y="528"/>
                  </a:lnTo>
                  <a:lnTo>
                    <a:pt x="404" y="530"/>
                  </a:lnTo>
                  <a:lnTo>
                    <a:pt x="404" y="530"/>
                  </a:lnTo>
                  <a:lnTo>
                    <a:pt x="406" y="532"/>
                  </a:lnTo>
                  <a:lnTo>
                    <a:pt x="404" y="538"/>
                  </a:lnTo>
                  <a:lnTo>
                    <a:pt x="404" y="538"/>
                  </a:lnTo>
                  <a:lnTo>
                    <a:pt x="402" y="540"/>
                  </a:lnTo>
                  <a:lnTo>
                    <a:pt x="396" y="540"/>
                  </a:lnTo>
                  <a:lnTo>
                    <a:pt x="396" y="540"/>
                  </a:lnTo>
                  <a:lnTo>
                    <a:pt x="394" y="540"/>
                  </a:lnTo>
                  <a:lnTo>
                    <a:pt x="390" y="536"/>
                  </a:lnTo>
                  <a:lnTo>
                    <a:pt x="378" y="536"/>
                  </a:lnTo>
                  <a:lnTo>
                    <a:pt x="378" y="536"/>
                  </a:lnTo>
                  <a:lnTo>
                    <a:pt x="376" y="534"/>
                  </a:lnTo>
                  <a:lnTo>
                    <a:pt x="376" y="530"/>
                  </a:lnTo>
                  <a:lnTo>
                    <a:pt x="370" y="530"/>
                  </a:lnTo>
                  <a:lnTo>
                    <a:pt x="370" y="530"/>
                  </a:lnTo>
                  <a:lnTo>
                    <a:pt x="368" y="528"/>
                  </a:lnTo>
                  <a:lnTo>
                    <a:pt x="368" y="514"/>
                  </a:lnTo>
                  <a:lnTo>
                    <a:pt x="360" y="512"/>
                  </a:lnTo>
                  <a:lnTo>
                    <a:pt x="360" y="512"/>
                  </a:lnTo>
                  <a:lnTo>
                    <a:pt x="360" y="510"/>
                  </a:lnTo>
                  <a:lnTo>
                    <a:pt x="360" y="498"/>
                  </a:lnTo>
                  <a:lnTo>
                    <a:pt x="342" y="494"/>
                  </a:lnTo>
                  <a:lnTo>
                    <a:pt x="342" y="494"/>
                  </a:lnTo>
                  <a:lnTo>
                    <a:pt x="342" y="492"/>
                  </a:lnTo>
                  <a:lnTo>
                    <a:pt x="342" y="488"/>
                  </a:lnTo>
                  <a:lnTo>
                    <a:pt x="342" y="488"/>
                  </a:lnTo>
                  <a:lnTo>
                    <a:pt x="342" y="486"/>
                  </a:lnTo>
                  <a:lnTo>
                    <a:pt x="356" y="468"/>
                  </a:lnTo>
                  <a:lnTo>
                    <a:pt x="358" y="448"/>
                  </a:lnTo>
                  <a:lnTo>
                    <a:pt x="352" y="442"/>
                  </a:lnTo>
                  <a:lnTo>
                    <a:pt x="346" y="434"/>
                  </a:lnTo>
                  <a:lnTo>
                    <a:pt x="340" y="432"/>
                  </a:lnTo>
                  <a:lnTo>
                    <a:pt x="326" y="430"/>
                  </a:lnTo>
                  <a:lnTo>
                    <a:pt x="326" y="430"/>
                  </a:lnTo>
                  <a:lnTo>
                    <a:pt x="324" y="428"/>
                  </a:lnTo>
                  <a:lnTo>
                    <a:pt x="324" y="418"/>
                  </a:lnTo>
                  <a:lnTo>
                    <a:pt x="318" y="420"/>
                  </a:lnTo>
                  <a:lnTo>
                    <a:pt x="298" y="420"/>
                  </a:lnTo>
                  <a:lnTo>
                    <a:pt x="294" y="426"/>
                  </a:lnTo>
                  <a:lnTo>
                    <a:pt x="294" y="426"/>
                  </a:lnTo>
                  <a:lnTo>
                    <a:pt x="292" y="428"/>
                  </a:lnTo>
                  <a:lnTo>
                    <a:pt x="282" y="428"/>
                  </a:lnTo>
                  <a:lnTo>
                    <a:pt x="274" y="438"/>
                  </a:lnTo>
                  <a:lnTo>
                    <a:pt x="274" y="438"/>
                  </a:lnTo>
                  <a:lnTo>
                    <a:pt x="272" y="440"/>
                  </a:lnTo>
                  <a:lnTo>
                    <a:pt x="264" y="442"/>
                  </a:lnTo>
                  <a:lnTo>
                    <a:pt x="250" y="440"/>
                  </a:lnTo>
                  <a:lnTo>
                    <a:pt x="240" y="436"/>
                  </a:lnTo>
                  <a:lnTo>
                    <a:pt x="232" y="436"/>
                  </a:lnTo>
                  <a:lnTo>
                    <a:pt x="228" y="440"/>
                  </a:lnTo>
                  <a:lnTo>
                    <a:pt x="228" y="440"/>
                  </a:lnTo>
                  <a:lnTo>
                    <a:pt x="226" y="442"/>
                  </a:lnTo>
                  <a:lnTo>
                    <a:pt x="208" y="442"/>
                  </a:lnTo>
                  <a:lnTo>
                    <a:pt x="188" y="440"/>
                  </a:lnTo>
                  <a:lnTo>
                    <a:pt x="174" y="438"/>
                  </a:lnTo>
                  <a:lnTo>
                    <a:pt x="174" y="438"/>
                  </a:lnTo>
                  <a:lnTo>
                    <a:pt x="172" y="438"/>
                  </a:lnTo>
                  <a:lnTo>
                    <a:pt x="146" y="420"/>
                  </a:lnTo>
                  <a:lnTo>
                    <a:pt x="132" y="412"/>
                  </a:lnTo>
                  <a:lnTo>
                    <a:pt x="120" y="400"/>
                  </a:lnTo>
                  <a:lnTo>
                    <a:pt x="108" y="406"/>
                  </a:lnTo>
                  <a:lnTo>
                    <a:pt x="108" y="406"/>
                  </a:lnTo>
                  <a:lnTo>
                    <a:pt x="108" y="406"/>
                  </a:lnTo>
                  <a:lnTo>
                    <a:pt x="108" y="406"/>
                  </a:lnTo>
                  <a:lnTo>
                    <a:pt x="106" y="406"/>
                  </a:lnTo>
                  <a:lnTo>
                    <a:pt x="96" y="396"/>
                  </a:lnTo>
                  <a:lnTo>
                    <a:pt x="74" y="386"/>
                  </a:lnTo>
                  <a:lnTo>
                    <a:pt x="74" y="386"/>
                  </a:lnTo>
                  <a:lnTo>
                    <a:pt x="72" y="384"/>
                  </a:lnTo>
                  <a:lnTo>
                    <a:pt x="72" y="376"/>
                  </a:lnTo>
                  <a:lnTo>
                    <a:pt x="76" y="366"/>
                  </a:lnTo>
                  <a:lnTo>
                    <a:pt x="76" y="366"/>
                  </a:lnTo>
                  <a:lnTo>
                    <a:pt x="78" y="366"/>
                  </a:lnTo>
                  <a:lnTo>
                    <a:pt x="84" y="364"/>
                  </a:lnTo>
                  <a:lnTo>
                    <a:pt x="86" y="360"/>
                  </a:lnTo>
                  <a:lnTo>
                    <a:pt x="76" y="354"/>
                  </a:lnTo>
                  <a:lnTo>
                    <a:pt x="76" y="354"/>
                  </a:lnTo>
                  <a:lnTo>
                    <a:pt x="76" y="352"/>
                  </a:lnTo>
                  <a:lnTo>
                    <a:pt x="76" y="342"/>
                  </a:lnTo>
                  <a:lnTo>
                    <a:pt x="76" y="342"/>
                  </a:lnTo>
                  <a:lnTo>
                    <a:pt x="76" y="340"/>
                  </a:lnTo>
                  <a:lnTo>
                    <a:pt x="92" y="334"/>
                  </a:lnTo>
                  <a:lnTo>
                    <a:pt x="98" y="328"/>
                  </a:lnTo>
                  <a:lnTo>
                    <a:pt x="98" y="322"/>
                  </a:lnTo>
                  <a:lnTo>
                    <a:pt x="82" y="312"/>
                  </a:lnTo>
                  <a:lnTo>
                    <a:pt x="66" y="320"/>
                  </a:lnTo>
                  <a:lnTo>
                    <a:pt x="66" y="320"/>
                  </a:lnTo>
                  <a:lnTo>
                    <a:pt x="66" y="320"/>
                  </a:lnTo>
                  <a:lnTo>
                    <a:pt x="66" y="320"/>
                  </a:lnTo>
                  <a:lnTo>
                    <a:pt x="64" y="320"/>
                  </a:lnTo>
                  <a:lnTo>
                    <a:pt x="54" y="318"/>
                  </a:lnTo>
                  <a:lnTo>
                    <a:pt x="36" y="310"/>
                  </a:lnTo>
                  <a:lnTo>
                    <a:pt x="36" y="310"/>
                  </a:lnTo>
                  <a:lnTo>
                    <a:pt x="34" y="308"/>
                  </a:lnTo>
                  <a:lnTo>
                    <a:pt x="34" y="300"/>
                  </a:lnTo>
                  <a:lnTo>
                    <a:pt x="20" y="296"/>
                  </a:lnTo>
                  <a:lnTo>
                    <a:pt x="20" y="296"/>
                  </a:lnTo>
                  <a:lnTo>
                    <a:pt x="18" y="294"/>
                  </a:lnTo>
                  <a:lnTo>
                    <a:pt x="18" y="272"/>
                  </a:lnTo>
                  <a:lnTo>
                    <a:pt x="10" y="272"/>
                  </a:lnTo>
                  <a:lnTo>
                    <a:pt x="10" y="272"/>
                  </a:lnTo>
                  <a:lnTo>
                    <a:pt x="10" y="272"/>
                  </a:lnTo>
                  <a:lnTo>
                    <a:pt x="10" y="272"/>
                  </a:lnTo>
                  <a:lnTo>
                    <a:pt x="10" y="272"/>
                  </a:lnTo>
                  <a:lnTo>
                    <a:pt x="4" y="270"/>
                  </a:lnTo>
                  <a:lnTo>
                    <a:pt x="4" y="270"/>
                  </a:lnTo>
                  <a:lnTo>
                    <a:pt x="2" y="270"/>
                  </a:lnTo>
                  <a:lnTo>
                    <a:pt x="0" y="262"/>
                  </a:lnTo>
                  <a:lnTo>
                    <a:pt x="0" y="262"/>
                  </a:lnTo>
                  <a:lnTo>
                    <a:pt x="0" y="262"/>
                  </a:lnTo>
                  <a:lnTo>
                    <a:pt x="2" y="256"/>
                  </a:lnTo>
                  <a:lnTo>
                    <a:pt x="4" y="246"/>
                  </a:lnTo>
                  <a:lnTo>
                    <a:pt x="4" y="246"/>
                  </a:lnTo>
                  <a:lnTo>
                    <a:pt x="6" y="246"/>
                  </a:lnTo>
                  <a:lnTo>
                    <a:pt x="16" y="238"/>
                  </a:lnTo>
                  <a:lnTo>
                    <a:pt x="16" y="234"/>
                  </a:lnTo>
                  <a:lnTo>
                    <a:pt x="16" y="234"/>
                  </a:lnTo>
                  <a:lnTo>
                    <a:pt x="18" y="232"/>
                  </a:lnTo>
                  <a:lnTo>
                    <a:pt x="32" y="232"/>
                  </a:lnTo>
                  <a:lnTo>
                    <a:pt x="32" y="232"/>
                  </a:lnTo>
                  <a:lnTo>
                    <a:pt x="34" y="234"/>
                  </a:lnTo>
                  <a:lnTo>
                    <a:pt x="34" y="238"/>
                  </a:lnTo>
                  <a:lnTo>
                    <a:pt x="44" y="234"/>
                  </a:lnTo>
                  <a:lnTo>
                    <a:pt x="48" y="226"/>
                  </a:lnTo>
                  <a:lnTo>
                    <a:pt x="48" y="226"/>
                  </a:lnTo>
                  <a:lnTo>
                    <a:pt x="50" y="226"/>
                  </a:lnTo>
                  <a:lnTo>
                    <a:pt x="66" y="226"/>
                  </a:lnTo>
                  <a:lnTo>
                    <a:pt x="68" y="220"/>
                  </a:lnTo>
                  <a:lnTo>
                    <a:pt x="68" y="220"/>
                  </a:lnTo>
                  <a:lnTo>
                    <a:pt x="70" y="218"/>
                  </a:lnTo>
                  <a:lnTo>
                    <a:pt x="92" y="208"/>
                  </a:lnTo>
                  <a:lnTo>
                    <a:pt x="98" y="204"/>
                  </a:lnTo>
                  <a:lnTo>
                    <a:pt x="98" y="196"/>
                  </a:lnTo>
                  <a:lnTo>
                    <a:pt x="98" y="196"/>
                  </a:lnTo>
                  <a:lnTo>
                    <a:pt x="98" y="196"/>
                  </a:lnTo>
                  <a:lnTo>
                    <a:pt x="104" y="190"/>
                  </a:lnTo>
                  <a:lnTo>
                    <a:pt x="100" y="176"/>
                  </a:lnTo>
                  <a:lnTo>
                    <a:pt x="98" y="160"/>
                  </a:lnTo>
                  <a:lnTo>
                    <a:pt x="98" y="160"/>
                  </a:lnTo>
                  <a:lnTo>
                    <a:pt x="98" y="158"/>
                  </a:lnTo>
                  <a:lnTo>
                    <a:pt x="108" y="152"/>
                  </a:lnTo>
                  <a:lnTo>
                    <a:pt x="108" y="152"/>
                  </a:lnTo>
                  <a:lnTo>
                    <a:pt x="110" y="152"/>
                  </a:lnTo>
                  <a:lnTo>
                    <a:pt x="124" y="152"/>
                  </a:lnTo>
                  <a:lnTo>
                    <a:pt x="128" y="140"/>
                  </a:lnTo>
                  <a:lnTo>
                    <a:pt x="136" y="118"/>
                  </a:lnTo>
                  <a:lnTo>
                    <a:pt x="136" y="118"/>
                  </a:lnTo>
                  <a:lnTo>
                    <a:pt x="138" y="118"/>
                  </a:lnTo>
                  <a:lnTo>
                    <a:pt x="138" y="118"/>
                  </a:lnTo>
                  <a:lnTo>
                    <a:pt x="154" y="120"/>
                  </a:lnTo>
                  <a:lnTo>
                    <a:pt x="166" y="120"/>
                  </a:lnTo>
                  <a:lnTo>
                    <a:pt x="174" y="118"/>
                  </a:lnTo>
                  <a:lnTo>
                    <a:pt x="174" y="108"/>
                  </a:lnTo>
                  <a:lnTo>
                    <a:pt x="178" y="94"/>
                  </a:lnTo>
                  <a:lnTo>
                    <a:pt x="178" y="94"/>
                  </a:lnTo>
                  <a:lnTo>
                    <a:pt x="180" y="92"/>
                  </a:lnTo>
                  <a:lnTo>
                    <a:pt x="188" y="92"/>
                  </a:lnTo>
                  <a:lnTo>
                    <a:pt x="190" y="86"/>
                  </a:lnTo>
                  <a:lnTo>
                    <a:pt x="190" y="86"/>
                  </a:lnTo>
                  <a:lnTo>
                    <a:pt x="192" y="84"/>
                  </a:lnTo>
                  <a:lnTo>
                    <a:pt x="206" y="84"/>
                  </a:lnTo>
                  <a:lnTo>
                    <a:pt x="206" y="84"/>
                  </a:lnTo>
                  <a:lnTo>
                    <a:pt x="208" y="84"/>
                  </a:lnTo>
                  <a:lnTo>
                    <a:pt x="212" y="94"/>
                  </a:lnTo>
                  <a:lnTo>
                    <a:pt x="220" y="102"/>
                  </a:lnTo>
                  <a:lnTo>
                    <a:pt x="234" y="104"/>
                  </a:lnTo>
                  <a:lnTo>
                    <a:pt x="234" y="104"/>
                  </a:lnTo>
                  <a:lnTo>
                    <a:pt x="234" y="104"/>
                  </a:lnTo>
                  <a:lnTo>
                    <a:pt x="246" y="116"/>
                  </a:lnTo>
                  <a:lnTo>
                    <a:pt x="254" y="128"/>
                  </a:lnTo>
                  <a:lnTo>
                    <a:pt x="254" y="128"/>
                  </a:lnTo>
                  <a:lnTo>
                    <a:pt x="254" y="128"/>
                  </a:lnTo>
                  <a:lnTo>
                    <a:pt x="254" y="136"/>
                  </a:lnTo>
                  <a:lnTo>
                    <a:pt x="254" y="136"/>
                  </a:lnTo>
                  <a:lnTo>
                    <a:pt x="254" y="138"/>
                  </a:lnTo>
                  <a:lnTo>
                    <a:pt x="250" y="144"/>
                  </a:lnTo>
                  <a:lnTo>
                    <a:pt x="252" y="152"/>
                  </a:lnTo>
                  <a:lnTo>
                    <a:pt x="258" y="156"/>
                  </a:lnTo>
                  <a:lnTo>
                    <a:pt x="288" y="158"/>
                  </a:lnTo>
                  <a:lnTo>
                    <a:pt x="288" y="158"/>
                  </a:lnTo>
                  <a:lnTo>
                    <a:pt x="290" y="158"/>
                  </a:lnTo>
                  <a:lnTo>
                    <a:pt x="298" y="166"/>
                  </a:lnTo>
                  <a:lnTo>
                    <a:pt x="318" y="178"/>
                  </a:lnTo>
                  <a:lnTo>
                    <a:pt x="318" y="178"/>
                  </a:lnTo>
                  <a:lnTo>
                    <a:pt x="318" y="178"/>
                  </a:lnTo>
                  <a:lnTo>
                    <a:pt x="324" y="190"/>
                  </a:lnTo>
                  <a:lnTo>
                    <a:pt x="328" y="196"/>
                  </a:lnTo>
                  <a:lnTo>
                    <a:pt x="376" y="198"/>
                  </a:lnTo>
                  <a:lnTo>
                    <a:pt x="400" y="200"/>
                  </a:lnTo>
                  <a:lnTo>
                    <a:pt x="422" y="212"/>
                  </a:lnTo>
                  <a:lnTo>
                    <a:pt x="454" y="214"/>
                  </a:lnTo>
                  <a:lnTo>
                    <a:pt x="472" y="202"/>
                  </a:lnTo>
                  <a:lnTo>
                    <a:pt x="472" y="202"/>
                  </a:lnTo>
                  <a:lnTo>
                    <a:pt x="474" y="202"/>
                  </a:lnTo>
                  <a:lnTo>
                    <a:pt x="512" y="202"/>
                  </a:lnTo>
                  <a:lnTo>
                    <a:pt x="528" y="194"/>
                  </a:lnTo>
                  <a:lnTo>
                    <a:pt x="528" y="190"/>
                  </a:lnTo>
                  <a:lnTo>
                    <a:pt x="528" y="190"/>
                  </a:lnTo>
                  <a:lnTo>
                    <a:pt x="528" y="188"/>
                  </a:lnTo>
                  <a:lnTo>
                    <a:pt x="542" y="180"/>
                  </a:lnTo>
                  <a:lnTo>
                    <a:pt x="538" y="170"/>
                  </a:lnTo>
                  <a:lnTo>
                    <a:pt x="538" y="170"/>
                  </a:lnTo>
                  <a:lnTo>
                    <a:pt x="538" y="170"/>
                  </a:lnTo>
                  <a:lnTo>
                    <a:pt x="544" y="158"/>
                  </a:lnTo>
                  <a:lnTo>
                    <a:pt x="544" y="158"/>
                  </a:lnTo>
                  <a:lnTo>
                    <a:pt x="546" y="158"/>
                  </a:lnTo>
                  <a:lnTo>
                    <a:pt x="558" y="158"/>
                  </a:lnTo>
                  <a:lnTo>
                    <a:pt x="572" y="158"/>
                  </a:lnTo>
                  <a:lnTo>
                    <a:pt x="584" y="148"/>
                  </a:lnTo>
                  <a:lnTo>
                    <a:pt x="584" y="148"/>
                  </a:lnTo>
                  <a:lnTo>
                    <a:pt x="586" y="146"/>
                  </a:lnTo>
                  <a:lnTo>
                    <a:pt x="600" y="146"/>
                  </a:lnTo>
                  <a:lnTo>
                    <a:pt x="616" y="134"/>
                  </a:lnTo>
                  <a:lnTo>
                    <a:pt x="634" y="126"/>
                  </a:lnTo>
                  <a:lnTo>
                    <a:pt x="646" y="126"/>
                  </a:lnTo>
                  <a:lnTo>
                    <a:pt x="656" y="128"/>
                  </a:lnTo>
                  <a:lnTo>
                    <a:pt x="656" y="122"/>
                  </a:lnTo>
                  <a:lnTo>
                    <a:pt x="638" y="106"/>
                  </a:lnTo>
                  <a:lnTo>
                    <a:pt x="632" y="104"/>
                  </a:lnTo>
                  <a:lnTo>
                    <a:pt x="624" y="108"/>
                  </a:lnTo>
                  <a:lnTo>
                    <a:pt x="624" y="108"/>
                  </a:lnTo>
                  <a:lnTo>
                    <a:pt x="624" y="110"/>
                  </a:lnTo>
                  <a:lnTo>
                    <a:pt x="624" y="110"/>
                  </a:lnTo>
                  <a:lnTo>
                    <a:pt x="598" y="108"/>
                  </a:lnTo>
                  <a:lnTo>
                    <a:pt x="598" y="108"/>
                  </a:lnTo>
                  <a:lnTo>
                    <a:pt x="598" y="106"/>
                  </a:lnTo>
                  <a:lnTo>
                    <a:pt x="598" y="106"/>
                  </a:lnTo>
                  <a:lnTo>
                    <a:pt x="596" y="104"/>
                  </a:lnTo>
                  <a:lnTo>
                    <a:pt x="600" y="92"/>
                  </a:lnTo>
                  <a:lnTo>
                    <a:pt x="608" y="76"/>
                  </a:lnTo>
                  <a:lnTo>
                    <a:pt x="614" y="68"/>
                  </a:lnTo>
                  <a:lnTo>
                    <a:pt x="614" y="68"/>
                  </a:lnTo>
                  <a:lnTo>
                    <a:pt x="614" y="68"/>
                  </a:lnTo>
                  <a:lnTo>
                    <a:pt x="614" y="68"/>
                  </a:lnTo>
                  <a:lnTo>
                    <a:pt x="616" y="68"/>
                  </a:lnTo>
                  <a:lnTo>
                    <a:pt x="630" y="76"/>
                  </a:lnTo>
                  <a:lnTo>
                    <a:pt x="638" y="68"/>
                  </a:lnTo>
                  <a:lnTo>
                    <a:pt x="638" y="68"/>
                  </a:lnTo>
                  <a:lnTo>
                    <a:pt x="640" y="68"/>
                  </a:lnTo>
                  <a:lnTo>
                    <a:pt x="648" y="66"/>
                  </a:lnTo>
                  <a:lnTo>
                    <a:pt x="652" y="52"/>
                  </a:lnTo>
                  <a:lnTo>
                    <a:pt x="662" y="36"/>
                  </a:lnTo>
                  <a:lnTo>
                    <a:pt x="662" y="36"/>
                  </a:lnTo>
                  <a:lnTo>
                    <a:pt x="662" y="36"/>
                  </a:lnTo>
                  <a:lnTo>
                    <a:pt x="670" y="30"/>
                  </a:lnTo>
                  <a:lnTo>
                    <a:pt x="670" y="20"/>
                  </a:lnTo>
                  <a:lnTo>
                    <a:pt x="660" y="20"/>
                  </a:lnTo>
                  <a:lnTo>
                    <a:pt x="660" y="20"/>
                  </a:lnTo>
                  <a:lnTo>
                    <a:pt x="660" y="18"/>
                  </a:lnTo>
                  <a:lnTo>
                    <a:pt x="660" y="18"/>
                  </a:lnTo>
                  <a:lnTo>
                    <a:pt x="660" y="16"/>
                  </a:lnTo>
                  <a:lnTo>
                    <a:pt x="662" y="10"/>
                  </a:lnTo>
                  <a:lnTo>
                    <a:pt x="662" y="10"/>
                  </a:lnTo>
                  <a:lnTo>
                    <a:pt x="662" y="8"/>
                  </a:lnTo>
                  <a:lnTo>
                    <a:pt x="674" y="2"/>
                  </a:lnTo>
                  <a:lnTo>
                    <a:pt x="698" y="0"/>
                  </a:lnTo>
                  <a:lnTo>
                    <a:pt x="698" y="0"/>
                  </a:lnTo>
                  <a:lnTo>
                    <a:pt x="714" y="0"/>
                  </a:lnTo>
                  <a:lnTo>
                    <a:pt x="714" y="0"/>
                  </a:lnTo>
                  <a:lnTo>
                    <a:pt x="716" y="0"/>
                  </a:lnTo>
                  <a:lnTo>
                    <a:pt x="730" y="4"/>
                  </a:lnTo>
                  <a:lnTo>
                    <a:pt x="742" y="10"/>
                  </a:lnTo>
                  <a:lnTo>
                    <a:pt x="742" y="10"/>
                  </a:lnTo>
                  <a:lnTo>
                    <a:pt x="744" y="10"/>
                  </a:lnTo>
                  <a:lnTo>
                    <a:pt x="754" y="28"/>
                  </a:lnTo>
                  <a:lnTo>
                    <a:pt x="762" y="48"/>
                  </a:lnTo>
                  <a:lnTo>
                    <a:pt x="768" y="62"/>
                  </a:lnTo>
                  <a:lnTo>
                    <a:pt x="774" y="74"/>
                  </a:lnTo>
                  <a:lnTo>
                    <a:pt x="786" y="74"/>
                  </a:lnTo>
                  <a:lnTo>
                    <a:pt x="786" y="74"/>
                  </a:lnTo>
                  <a:lnTo>
                    <a:pt x="788" y="74"/>
                  </a:lnTo>
                  <a:lnTo>
                    <a:pt x="796" y="80"/>
                  </a:lnTo>
                  <a:lnTo>
                    <a:pt x="808" y="88"/>
                  </a:lnTo>
                  <a:lnTo>
                    <a:pt x="814" y="90"/>
                  </a:lnTo>
                  <a:lnTo>
                    <a:pt x="814" y="90"/>
                  </a:lnTo>
                  <a:lnTo>
                    <a:pt x="814" y="90"/>
                  </a:lnTo>
                  <a:lnTo>
                    <a:pt x="818" y="108"/>
                  </a:lnTo>
                  <a:lnTo>
                    <a:pt x="836" y="108"/>
                  </a:lnTo>
                  <a:lnTo>
                    <a:pt x="840" y="102"/>
                  </a:lnTo>
                  <a:lnTo>
                    <a:pt x="840" y="102"/>
                  </a:lnTo>
                  <a:lnTo>
                    <a:pt x="842" y="102"/>
                  </a:lnTo>
                  <a:lnTo>
                    <a:pt x="854" y="100"/>
                  </a:lnTo>
                  <a:lnTo>
                    <a:pt x="854" y="100"/>
                  </a:lnTo>
                  <a:lnTo>
                    <a:pt x="868" y="98"/>
                  </a:lnTo>
                  <a:lnTo>
                    <a:pt x="868" y="98"/>
                  </a:lnTo>
                  <a:lnTo>
                    <a:pt x="870" y="100"/>
                  </a:lnTo>
                  <a:lnTo>
                    <a:pt x="872" y="112"/>
                  </a:lnTo>
                  <a:lnTo>
                    <a:pt x="872" y="112"/>
                  </a:lnTo>
                  <a:lnTo>
                    <a:pt x="870" y="114"/>
                  </a:lnTo>
                  <a:lnTo>
                    <a:pt x="864" y="118"/>
                  </a:lnTo>
                  <a:lnTo>
                    <a:pt x="860" y="136"/>
                  </a:lnTo>
                  <a:lnTo>
                    <a:pt x="848" y="156"/>
                  </a:lnTo>
                  <a:lnTo>
                    <a:pt x="848" y="156"/>
                  </a:lnTo>
                  <a:lnTo>
                    <a:pt x="848" y="158"/>
                  </a:lnTo>
                  <a:lnTo>
                    <a:pt x="836" y="160"/>
                  </a:lnTo>
                  <a:lnTo>
                    <a:pt x="836" y="160"/>
                  </a:lnTo>
                  <a:lnTo>
                    <a:pt x="836" y="160"/>
                  </a:lnTo>
                  <a:lnTo>
                    <a:pt x="836" y="160"/>
                  </a:lnTo>
                  <a:lnTo>
                    <a:pt x="834" y="158"/>
                  </a:lnTo>
                  <a:lnTo>
                    <a:pt x="830" y="154"/>
                  </a:lnTo>
                  <a:lnTo>
                    <a:pt x="820" y="162"/>
                  </a:lnTo>
                  <a:lnTo>
                    <a:pt x="820" y="194"/>
                  </a:lnTo>
                  <a:lnTo>
                    <a:pt x="820" y="194"/>
                  </a:lnTo>
                  <a:lnTo>
                    <a:pt x="820" y="194"/>
                  </a:lnTo>
                  <a:lnTo>
                    <a:pt x="812" y="204"/>
                  </a:lnTo>
                  <a:lnTo>
                    <a:pt x="812" y="204"/>
                  </a:lnTo>
                  <a:lnTo>
                    <a:pt x="812" y="204"/>
                  </a:lnTo>
                  <a:lnTo>
                    <a:pt x="812" y="204"/>
                  </a:lnTo>
                  <a:lnTo>
                    <a:pt x="812" y="204"/>
                  </a:lnTo>
                  <a:lnTo>
                    <a:pt x="812" y="204"/>
                  </a:lnTo>
                  <a:lnTo>
                    <a:pt x="810" y="204"/>
                  </a:lnTo>
                  <a:lnTo>
                    <a:pt x="802" y="198"/>
                  </a:lnTo>
                  <a:lnTo>
                    <a:pt x="790" y="210"/>
                  </a:lnTo>
                  <a:lnTo>
                    <a:pt x="790" y="210"/>
                  </a:lnTo>
                  <a:lnTo>
                    <a:pt x="788" y="212"/>
                  </a:lnTo>
                  <a:lnTo>
                    <a:pt x="780" y="212"/>
                  </a:lnTo>
                  <a:lnTo>
                    <a:pt x="780" y="218"/>
                  </a:lnTo>
                  <a:lnTo>
                    <a:pt x="780" y="218"/>
                  </a:lnTo>
                  <a:lnTo>
                    <a:pt x="778" y="218"/>
                  </a:lnTo>
                  <a:lnTo>
                    <a:pt x="768" y="220"/>
                  </a:lnTo>
                  <a:lnTo>
                    <a:pt x="768" y="220"/>
                  </a:lnTo>
                  <a:lnTo>
                    <a:pt x="768" y="220"/>
                  </a:lnTo>
                  <a:lnTo>
                    <a:pt x="768" y="220"/>
                  </a:lnTo>
                  <a:lnTo>
                    <a:pt x="768" y="220"/>
                  </a:lnTo>
                  <a:lnTo>
                    <a:pt x="760" y="218"/>
                  </a:lnTo>
                  <a:lnTo>
                    <a:pt x="756" y="218"/>
                  </a:lnTo>
                  <a:lnTo>
                    <a:pt x="744" y="230"/>
                  </a:lnTo>
                  <a:lnTo>
                    <a:pt x="734" y="238"/>
                  </a:lnTo>
                  <a:lnTo>
                    <a:pt x="726" y="246"/>
                  </a:lnTo>
                  <a:lnTo>
                    <a:pt x="726" y="246"/>
                  </a:lnTo>
                  <a:lnTo>
                    <a:pt x="724" y="248"/>
                  </a:lnTo>
                  <a:lnTo>
                    <a:pt x="706" y="252"/>
                  </a:lnTo>
                  <a:lnTo>
                    <a:pt x="682" y="266"/>
                  </a:lnTo>
                  <a:lnTo>
                    <a:pt x="682" y="266"/>
                  </a:lnTo>
                  <a:lnTo>
                    <a:pt x="680" y="268"/>
                  </a:lnTo>
                  <a:lnTo>
                    <a:pt x="680" y="268"/>
                  </a:lnTo>
                  <a:lnTo>
                    <a:pt x="680" y="268"/>
                  </a:lnTo>
                  <a:lnTo>
                    <a:pt x="680" y="268"/>
                  </a:lnTo>
                  <a:lnTo>
                    <a:pt x="678" y="266"/>
                  </a:lnTo>
                  <a:lnTo>
                    <a:pt x="678" y="254"/>
                  </a:lnTo>
                  <a:lnTo>
                    <a:pt x="678" y="254"/>
                  </a:lnTo>
                  <a:lnTo>
                    <a:pt x="678" y="254"/>
                  </a:lnTo>
                  <a:lnTo>
                    <a:pt x="680" y="244"/>
                  </a:lnTo>
                  <a:lnTo>
                    <a:pt x="680" y="244"/>
                  </a:lnTo>
                  <a:lnTo>
                    <a:pt x="682" y="244"/>
                  </a:lnTo>
                  <a:lnTo>
                    <a:pt x="690" y="240"/>
                  </a:lnTo>
                  <a:lnTo>
                    <a:pt x="688" y="234"/>
                  </a:lnTo>
                  <a:lnTo>
                    <a:pt x="682" y="234"/>
                  </a:lnTo>
                  <a:lnTo>
                    <a:pt x="672" y="234"/>
                  </a:lnTo>
                  <a:lnTo>
                    <a:pt x="654" y="250"/>
                  </a:lnTo>
                  <a:lnTo>
                    <a:pt x="650" y="258"/>
                  </a:lnTo>
                  <a:lnTo>
                    <a:pt x="650" y="258"/>
                  </a:lnTo>
                  <a:lnTo>
                    <a:pt x="648" y="260"/>
                  </a:lnTo>
                  <a:lnTo>
                    <a:pt x="632" y="260"/>
                  </a:lnTo>
                  <a:lnTo>
                    <a:pt x="630" y="266"/>
                  </a:lnTo>
                  <a:lnTo>
                    <a:pt x="634" y="276"/>
                  </a:lnTo>
                  <a:lnTo>
                    <a:pt x="646" y="278"/>
                  </a:lnTo>
                  <a:lnTo>
                    <a:pt x="646" y="278"/>
                  </a:lnTo>
                  <a:lnTo>
                    <a:pt x="648" y="280"/>
                  </a:lnTo>
                  <a:lnTo>
                    <a:pt x="648" y="286"/>
                  </a:lnTo>
                  <a:lnTo>
                    <a:pt x="648" y="290"/>
                  </a:lnTo>
                  <a:lnTo>
                    <a:pt x="656" y="288"/>
                  </a:lnTo>
                  <a:lnTo>
                    <a:pt x="664" y="282"/>
                  </a:lnTo>
                  <a:lnTo>
                    <a:pt x="664" y="282"/>
                  </a:lnTo>
                  <a:lnTo>
                    <a:pt x="664" y="282"/>
                  </a:lnTo>
                  <a:lnTo>
                    <a:pt x="672" y="280"/>
                  </a:lnTo>
                  <a:lnTo>
                    <a:pt x="672" y="280"/>
                  </a:lnTo>
                  <a:lnTo>
                    <a:pt x="672" y="280"/>
                  </a:lnTo>
                  <a:lnTo>
                    <a:pt x="672" y="280"/>
                  </a:lnTo>
                  <a:lnTo>
                    <a:pt x="672" y="280"/>
                  </a:lnTo>
                  <a:lnTo>
                    <a:pt x="680" y="284"/>
                  </a:lnTo>
                  <a:lnTo>
                    <a:pt x="694" y="286"/>
                  </a:lnTo>
                  <a:lnTo>
                    <a:pt x="694" y="286"/>
                  </a:lnTo>
                  <a:lnTo>
                    <a:pt x="696" y="288"/>
                  </a:lnTo>
                  <a:lnTo>
                    <a:pt x="698" y="294"/>
                  </a:lnTo>
                  <a:lnTo>
                    <a:pt x="698" y="294"/>
                  </a:lnTo>
                  <a:lnTo>
                    <a:pt x="698" y="296"/>
                  </a:lnTo>
                  <a:lnTo>
                    <a:pt x="698" y="296"/>
                  </a:lnTo>
                  <a:lnTo>
                    <a:pt x="698" y="298"/>
                  </a:lnTo>
                  <a:lnTo>
                    <a:pt x="692" y="300"/>
                  </a:lnTo>
                  <a:lnTo>
                    <a:pt x="682" y="300"/>
                  </a:lnTo>
                  <a:lnTo>
                    <a:pt x="676" y="302"/>
                  </a:lnTo>
                  <a:lnTo>
                    <a:pt x="674" y="308"/>
                  </a:lnTo>
                  <a:lnTo>
                    <a:pt x="674" y="308"/>
                  </a:lnTo>
                  <a:lnTo>
                    <a:pt x="672" y="308"/>
                  </a:lnTo>
                  <a:lnTo>
                    <a:pt x="664" y="312"/>
                  </a:lnTo>
                  <a:lnTo>
                    <a:pt x="656" y="324"/>
                  </a:lnTo>
                  <a:lnTo>
                    <a:pt x="654" y="330"/>
                  </a:lnTo>
                  <a:lnTo>
                    <a:pt x="660" y="334"/>
                  </a:lnTo>
                  <a:lnTo>
                    <a:pt x="660" y="334"/>
                  </a:lnTo>
                  <a:lnTo>
                    <a:pt x="660" y="334"/>
                  </a:lnTo>
                  <a:lnTo>
                    <a:pt x="666" y="340"/>
                  </a:lnTo>
                  <a:lnTo>
                    <a:pt x="666" y="340"/>
                  </a:lnTo>
                  <a:lnTo>
                    <a:pt x="666" y="340"/>
                  </a:lnTo>
                  <a:lnTo>
                    <a:pt x="674" y="358"/>
                  </a:lnTo>
                  <a:lnTo>
                    <a:pt x="676" y="364"/>
                  </a:lnTo>
                  <a:lnTo>
                    <a:pt x="690" y="376"/>
                  </a:lnTo>
                  <a:lnTo>
                    <a:pt x="690" y="376"/>
                  </a:lnTo>
                  <a:lnTo>
                    <a:pt x="690" y="378"/>
                  </a:lnTo>
                  <a:lnTo>
                    <a:pt x="688" y="382"/>
                  </a:lnTo>
                  <a:lnTo>
                    <a:pt x="688" y="382"/>
                  </a:lnTo>
                  <a:lnTo>
                    <a:pt x="686" y="382"/>
                  </a:lnTo>
                  <a:lnTo>
                    <a:pt x="686" y="382"/>
                  </a:lnTo>
                  <a:lnTo>
                    <a:pt x="686" y="382"/>
                  </a:lnTo>
                  <a:lnTo>
                    <a:pt x="678" y="380"/>
                  </a:lnTo>
                  <a:lnTo>
                    <a:pt x="676" y="382"/>
                  </a:lnTo>
                  <a:lnTo>
                    <a:pt x="684" y="386"/>
                  </a:lnTo>
                  <a:lnTo>
                    <a:pt x="684" y="386"/>
                  </a:lnTo>
                  <a:lnTo>
                    <a:pt x="686" y="386"/>
                  </a:lnTo>
                  <a:lnTo>
                    <a:pt x="690" y="392"/>
                  </a:lnTo>
                  <a:lnTo>
                    <a:pt x="690" y="392"/>
                  </a:lnTo>
                  <a:lnTo>
                    <a:pt x="690" y="394"/>
                  </a:lnTo>
                  <a:lnTo>
                    <a:pt x="690" y="394"/>
                  </a:lnTo>
                  <a:lnTo>
                    <a:pt x="688" y="394"/>
                  </a:lnTo>
                  <a:lnTo>
                    <a:pt x="682" y="396"/>
                  </a:lnTo>
                  <a:lnTo>
                    <a:pt x="672" y="398"/>
                  </a:lnTo>
                  <a:lnTo>
                    <a:pt x="670" y="400"/>
                  </a:lnTo>
                  <a:lnTo>
                    <a:pt x="678" y="402"/>
                  </a:lnTo>
                  <a:lnTo>
                    <a:pt x="686" y="404"/>
                  </a:lnTo>
                  <a:lnTo>
                    <a:pt x="686" y="404"/>
                  </a:lnTo>
                  <a:lnTo>
                    <a:pt x="688" y="406"/>
                  </a:lnTo>
                  <a:lnTo>
                    <a:pt x="688" y="416"/>
                  </a:lnTo>
                  <a:lnTo>
                    <a:pt x="688" y="416"/>
                  </a:lnTo>
                  <a:lnTo>
                    <a:pt x="688" y="416"/>
                  </a:lnTo>
                  <a:lnTo>
                    <a:pt x="680" y="434"/>
                  </a:lnTo>
                  <a:lnTo>
                    <a:pt x="662" y="456"/>
                  </a:lnTo>
                  <a:lnTo>
                    <a:pt x="650" y="474"/>
                  </a:lnTo>
                  <a:lnTo>
                    <a:pt x="642" y="488"/>
                  </a:lnTo>
                  <a:lnTo>
                    <a:pt x="622" y="506"/>
                  </a:lnTo>
                  <a:lnTo>
                    <a:pt x="608" y="516"/>
                  </a:lnTo>
                  <a:lnTo>
                    <a:pt x="608" y="516"/>
                  </a:lnTo>
                  <a:lnTo>
                    <a:pt x="608" y="516"/>
                  </a:lnTo>
                  <a:lnTo>
                    <a:pt x="588" y="520"/>
                  </a:lnTo>
                  <a:lnTo>
                    <a:pt x="578" y="520"/>
                  </a:lnTo>
                  <a:lnTo>
                    <a:pt x="578" y="520"/>
                  </a:lnTo>
                  <a:lnTo>
                    <a:pt x="576" y="520"/>
                  </a:lnTo>
                  <a:lnTo>
                    <a:pt x="572" y="514"/>
                  </a:lnTo>
                  <a:lnTo>
                    <a:pt x="568" y="514"/>
                  </a:lnTo>
                  <a:lnTo>
                    <a:pt x="568" y="526"/>
                  </a:lnTo>
                  <a:lnTo>
                    <a:pt x="568" y="526"/>
                  </a:lnTo>
                  <a:lnTo>
                    <a:pt x="568" y="528"/>
                  </a:lnTo>
                  <a:lnTo>
                    <a:pt x="554" y="532"/>
                  </a:lnTo>
                  <a:lnTo>
                    <a:pt x="536" y="536"/>
                  </a:lnTo>
                  <a:lnTo>
                    <a:pt x="526" y="538"/>
                  </a:lnTo>
                  <a:lnTo>
                    <a:pt x="524" y="544"/>
                  </a:lnTo>
                  <a:lnTo>
                    <a:pt x="526" y="550"/>
                  </a:lnTo>
                  <a:lnTo>
                    <a:pt x="526" y="550"/>
                  </a:lnTo>
                  <a:lnTo>
                    <a:pt x="526" y="552"/>
                  </a:lnTo>
                  <a:lnTo>
                    <a:pt x="526" y="552"/>
                  </a:lnTo>
                  <a:lnTo>
                    <a:pt x="524" y="552"/>
                  </a:lnTo>
                  <a:lnTo>
                    <a:pt x="524" y="5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7" name="Freeform 1095"/>
            <p:cNvSpPr>
              <a:spLocks noEditPoints="1"/>
            </p:cNvSpPr>
            <p:nvPr/>
          </p:nvSpPr>
          <p:spPr bwMode="auto">
            <a:xfrm>
              <a:off x="3901" y="1677"/>
              <a:ext cx="876" cy="556"/>
            </a:xfrm>
            <a:custGeom>
              <a:avLst/>
              <a:gdLst>
                <a:gd name="T0" fmla="*/ 844 w 876"/>
                <a:gd name="T1" fmla="*/ 106 h 556"/>
                <a:gd name="T2" fmla="*/ 780 w 876"/>
                <a:gd name="T3" fmla="*/ 212 h 556"/>
                <a:gd name="T4" fmla="*/ 692 w 876"/>
                <a:gd name="T5" fmla="*/ 234 h 556"/>
                <a:gd name="T6" fmla="*/ 682 w 876"/>
                <a:gd name="T7" fmla="*/ 288 h 556"/>
                <a:gd name="T8" fmla="*/ 690 w 876"/>
                <a:gd name="T9" fmla="*/ 378 h 556"/>
                <a:gd name="T10" fmla="*/ 664 w 876"/>
                <a:gd name="T11" fmla="*/ 456 h 556"/>
                <a:gd name="T12" fmla="*/ 526 w 876"/>
                <a:gd name="T13" fmla="*/ 552 h 556"/>
                <a:gd name="T14" fmla="*/ 414 w 876"/>
                <a:gd name="T15" fmla="*/ 520 h 556"/>
                <a:gd name="T16" fmla="*/ 364 w 876"/>
                <a:gd name="T17" fmla="*/ 500 h 556"/>
                <a:gd name="T18" fmla="*/ 274 w 876"/>
                <a:gd name="T19" fmla="*/ 440 h 556"/>
                <a:gd name="T20" fmla="*/ 100 w 876"/>
                <a:gd name="T21" fmla="*/ 396 h 556"/>
                <a:gd name="T22" fmla="*/ 38 w 876"/>
                <a:gd name="T23" fmla="*/ 310 h 556"/>
                <a:gd name="T24" fmla="*/ 48 w 876"/>
                <a:gd name="T25" fmla="*/ 238 h 556"/>
                <a:gd name="T26" fmla="*/ 156 w 876"/>
                <a:gd name="T27" fmla="*/ 124 h 556"/>
                <a:gd name="T28" fmla="*/ 250 w 876"/>
                <a:gd name="T29" fmla="*/ 146 h 556"/>
                <a:gd name="T30" fmla="*/ 532 w 876"/>
                <a:gd name="T31" fmla="*/ 198 h 556"/>
                <a:gd name="T32" fmla="*/ 642 w 876"/>
                <a:gd name="T33" fmla="*/ 106 h 556"/>
                <a:gd name="T34" fmla="*/ 664 w 876"/>
                <a:gd name="T35" fmla="*/ 20 h 556"/>
                <a:gd name="T36" fmla="*/ 662 w 876"/>
                <a:gd name="T37" fmla="*/ 12 h 556"/>
                <a:gd name="T38" fmla="*/ 650 w 876"/>
                <a:gd name="T39" fmla="*/ 66 h 556"/>
                <a:gd name="T40" fmla="*/ 600 w 876"/>
                <a:gd name="T41" fmla="*/ 94 h 556"/>
                <a:gd name="T42" fmla="*/ 656 w 876"/>
                <a:gd name="T43" fmla="*/ 126 h 556"/>
                <a:gd name="T44" fmla="*/ 586 w 876"/>
                <a:gd name="T45" fmla="*/ 148 h 556"/>
                <a:gd name="T46" fmla="*/ 528 w 876"/>
                <a:gd name="T47" fmla="*/ 192 h 556"/>
                <a:gd name="T48" fmla="*/ 322 w 876"/>
                <a:gd name="T49" fmla="*/ 180 h 556"/>
                <a:gd name="T50" fmla="*/ 258 w 876"/>
                <a:gd name="T51" fmla="*/ 130 h 556"/>
                <a:gd name="T52" fmla="*/ 194 w 876"/>
                <a:gd name="T53" fmla="*/ 84 h 556"/>
                <a:gd name="T54" fmla="*/ 156 w 876"/>
                <a:gd name="T55" fmla="*/ 120 h 556"/>
                <a:gd name="T56" fmla="*/ 100 w 876"/>
                <a:gd name="T57" fmla="*/ 158 h 556"/>
                <a:gd name="T58" fmla="*/ 70 w 876"/>
                <a:gd name="T59" fmla="*/ 218 h 556"/>
                <a:gd name="T60" fmla="*/ 20 w 876"/>
                <a:gd name="T61" fmla="*/ 232 h 556"/>
                <a:gd name="T62" fmla="*/ 10 w 876"/>
                <a:gd name="T63" fmla="*/ 276 h 556"/>
                <a:gd name="T64" fmla="*/ 36 w 876"/>
                <a:gd name="T65" fmla="*/ 312 h 556"/>
                <a:gd name="T66" fmla="*/ 78 w 876"/>
                <a:gd name="T67" fmla="*/ 340 h 556"/>
                <a:gd name="T68" fmla="*/ 72 w 876"/>
                <a:gd name="T69" fmla="*/ 386 h 556"/>
                <a:gd name="T70" fmla="*/ 148 w 876"/>
                <a:gd name="T71" fmla="*/ 424 h 556"/>
                <a:gd name="T72" fmla="*/ 252 w 876"/>
                <a:gd name="T73" fmla="*/ 444 h 556"/>
                <a:gd name="T74" fmla="*/ 318 w 876"/>
                <a:gd name="T75" fmla="*/ 424 h 556"/>
                <a:gd name="T76" fmla="*/ 356 w 876"/>
                <a:gd name="T77" fmla="*/ 468 h 556"/>
                <a:gd name="T78" fmla="*/ 368 w 876"/>
                <a:gd name="T79" fmla="*/ 530 h 556"/>
                <a:gd name="T80" fmla="*/ 404 w 876"/>
                <a:gd name="T81" fmla="*/ 544 h 556"/>
                <a:gd name="T82" fmla="*/ 416 w 876"/>
                <a:gd name="T83" fmla="*/ 524 h 556"/>
                <a:gd name="T84" fmla="*/ 482 w 876"/>
                <a:gd name="T85" fmla="*/ 540 h 556"/>
                <a:gd name="T86" fmla="*/ 524 w 876"/>
                <a:gd name="T87" fmla="*/ 556 h 556"/>
                <a:gd name="T88" fmla="*/ 570 w 876"/>
                <a:gd name="T89" fmla="*/ 532 h 556"/>
                <a:gd name="T90" fmla="*/ 624 w 876"/>
                <a:gd name="T91" fmla="*/ 510 h 556"/>
                <a:gd name="T92" fmla="*/ 692 w 876"/>
                <a:gd name="T93" fmla="*/ 404 h 556"/>
                <a:gd name="T94" fmla="*/ 692 w 876"/>
                <a:gd name="T95" fmla="*/ 384 h 556"/>
                <a:gd name="T96" fmla="*/ 662 w 876"/>
                <a:gd name="T97" fmla="*/ 334 h 556"/>
                <a:gd name="T98" fmla="*/ 702 w 876"/>
                <a:gd name="T99" fmla="*/ 300 h 556"/>
                <a:gd name="T100" fmla="*/ 664 w 876"/>
                <a:gd name="T101" fmla="*/ 282 h 556"/>
                <a:gd name="T102" fmla="*/ 654 w 876"/>
                <a:gd name="T103" fmla="*/ 262 h 556"/>
                <a:gd name="T104" fmla="*/ 682 w 876"/>
                <a:gd name="T105" fmla="*/ 270 h 556"/>
                <a:gd name="T106" fmla="*/ 760 w 876"/>
                <a:gd name="T107" fmla="*/ 222 h 556"/>
                <a:gd name="T108" fmla="*/ 792 w 876"/>
                <a:gd name="T109" fmla="*/ 214 h 556"/>
                <a:gd name="T110" fmla="*/ 836 w 876"/>
                <a:gd name="T111" fmla="*/ 162 h 556"/>
                <a:gd name="T112" fmla="*/ 876 w 876"/>
                <a:gd name="T113" fmla="*/ 116 h 556"/>
                <a:gd name="T114" fmla="*/ 818 w 876"/>
                <a:gd name="T115" fmla="*/ 92 h 556"/>
                <a:gd name="T116" fmla="*/ 758 w 876"/>
                <a:gd name="T117"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6" h="556">
                  <a:moveTo>
                    <a:pt x="716" y="4"/>
                  </a:moveTo>
                  <a:lnTo>
                    <a:pt x="730" y="8"/>
                  </a:lnTo>
                  <a:lnTo>
                    <a:pt x="744" y="14"/>
                  </a:lnTo>
                  <a:lnTo>
                    <a:pt x="754" y="32"/>
                  </a:lnTo>
                  <a:lnTo>
                    <a:pt x="762" y="50"/>
                  </a:lnTo>
                  <a:lnTo>
                    <a:pt x="768" y="64"/>
                  </a:lnTo>
                  <a:lnTo>
                    <a:pt x="774" y="78"/>
                  </a:lnTo>
                  <a:lnTo>
                    <a:pt x="788" y="78"/>
                  </a:lnTo>
                  <a:lnTo>
                    <a:pt x="796" y="84"/>
                  </a:lnTo>
                  <a:lnTo>
                    <a:pt x="810" y="92"/>
                  </a:lnTo>
                  <a:lnTo>
                    <a:pt x="814" y="92"/>
                  </a:lnTo>
                  <a:lnTo>
                    <a:pt x="818" y="110"/>
                  </a:lnTo>
                  <a:lnTo>
                    <a:pt x="838" y="112"/>
                  </a:lnTo>
                  <a:lnTo>
                    <a:pt x="844" y="106"/>
                  </a:lnTo>
                  <a:lnTo>
                    <a:pt x="856" y="104"/>
                  </a:lnTo>
                  <a:lnTo>
                    <a:pt x="870" y="102"/>
                  </a:lnTo>
                  <a:lnTo>
                    <a:pt x="872" y="114"/>
                  </a:lnTo>
                  <a:lnTo>
                    <a:pt x="864" y="118"/>
                  </a:lnTo>
                  <a:lnTo>
                    <a:pt x="860" y="138"/>
                  </a:lnTo>
                  <a:lnTo>
                    <a:pt x="848" y="158"/>
                  </a:lnTo>
                  <a:lnTo>
                    <a:pt x="838" y="160"/>
                  </a:lnTo>
                  <a:lnTo>
                    <a:pt x="832" y="154"/>
                  </a:lnTo>
                  <a:lnTo>
                    <a:pt x="820" y="164"/>
                  </a:lnTo>
                  <a:lnTo>
                    <a:pt x="820" y="196"/>
                  </a:lnTo>
                  <a:lnTo>
                    <a:pt x="814" y="204"/>
                  </a:lnTo>
                  <a:lnTo>
                    <a:pt x="804" y="198"/>
                  </a:lnTo>
                  <a:lnTo>
                    <a:pt x="790" y="212"/>
                  </a:lnTo>
                  <a:lnTo>
                    <a:pt x="780" y="212"/>
                  </a:lnTo>
                  <a:lnTo>
                    <a:pt x="780" y="218"/>
                  </a:lnTo>
                  <a:lnTo>
                    <a:pt x="770" y="220"/>
                  </a:lnTo>
                  <a:lnTo>
                    <a:pt x="762" y="216"/>
                  </a:lnTo>
                  <a:lnTo>
                    <a:pt x="758" y="218"/>
                  </a:lnTo>
                  <a:lnTo>
                    <a:pt x="746" y="232"/>
                  </a:lnTo>
                  <a:lnTo>
                    <a:pt x="734" y="238"/>
                  </a:lnTo>
                  <a:lnTo>
                    <a:pt x="726" y="248"/>
                  </a:lnTo>
                  <a:lnTo>
                    <a:pt x="716" y="250"/>
                  </a:lnTo>
                  <a:lnTo>
                    <a:pt x="708" y="252"/>
                  </a:lnTo>
                  <a:lnTo>
                    <a:pt x="682" y="268"/>
                  </a:lnTo>
                  <a:lnTo>
                    <a:pt x="682" y="256"/>
                  </a:lnTo>
                  <a:lnTo>
                    <a:pt x="684" y="248"/>
                  </a:lnTo>
                  <a:lnTo>
                    <a:pt x="694" y="242"/>
                  </a:lnTo>
                  <a:lnTo>
                    <a:pt x="692" y="234"/>
                  </a:lnTo>
                  <a:lnTo>
                    <a:pt x="684" y="234"/>
                  </a:lnTo>
                  <a:lnTo>
                    <a:pt x="674" y="234"/>
                  </a:lnTo>
                  <a:lnTo>
                    <a:pt x="654" y="252"/>
                  </a:lnTo>
                  <a:lnTo>
                    <a:pt x="650" y="260"/>
                  </a:lnTo>
                  <a:lnTo>
                    <a:pt x="632" y="260"/>
                  </a:lnTo>
                  <a:lnTo>
                    <a:pt x="630" y="268"/>
                  </a:lnTo>
                  <a:lnTo>
                    <a:pt x="634" y="280"/>
                  </a:lnTo>
                  <a:lnTo>
                    <a:pt x="648" y="282"/>
                  </a:lnTo>
                  <a:lnTo>
                    <a:pt x="648" y="288"/>
                  </a:lnTo>
                  <a:lnTo>
                    <a:pt x="648" y="294"/>
                  </a:lnTo>
                  <a:lnTo>
                    <a:pt x="660" y="292"/>
                  </a:lnTo>
                  <a:lnTo>
                    <a:pt x="666" y="286"/>
                  </a:lnTo>
                  <a:lnTo>
                    <a:pt x="674" y="284"/>
                  </a:lnTo>
                  <a:lnTo>
                    <a:pt x="682" y="288"/>
                  </a:lnTo>
                  <a:lnTo>
                    <a:pt x="696" y="290"/>
                  </a:lnTo>
                  <a:lnTo>
                    <a:pt x="698" y="298"/>
                  </a:lnTo>
                  <a:lnTo>
                    <a:pt x="694" y="300"/>
                  </a:lnTo>
                  <a:lnTo>
                    <a:pt x="682" y="300"/>
                  </a:lnTo>
                  <a:lnTo>
                    <a:pt x="676" y="304"/>
                  </a:lnTo>
                  <a:lnTo>
                    <a:pt x="674" y="308"/>
                  </a:lnTo>
                  <a:lnTo>
                    <a:pt x="664" y="312"/>
                  </a:lnTo>
                  <a:lnTo>
                    <a:pt x="656" y="324"/>
                  </a:lnTo>
                  <a:lnTo>
                    <a:pt x="652" y="334"/>
                  </a:lnTo>
                  <a:lnTo>
                    <a:pt x="662" y="338"/>
                  </a:lnTo>
                  <a:lnTo>
                    <a:pt x="666" y="342"/>
                  </a:lnTo>
                  <a:lnTo>
                    <a:pt x="674" y="360"/>
                  </a:lnTo>
                  <a:lnTo>
                    <a:pt x="676" y="368"/>
                  </a:lnTo>
                  <a:lnTo>
                    <a:pt x="690" y="378"/>
                  </a:lnTo>
                  <a:lnTo>
                    <a:pt x="688" y="382"/>
                  </a:lnTo>
                  <a:lnTo>
                    <a:pt x="680" y="378"/>
                  </a:lnTo>
                  <a:lnTo>
                    <a:pt x="676" y="386"/>
                  </a:lnTo>
                  <a:lnTo>
                    <a:pt x="686" y="390"/>
                  </a:lnTo>
                  <a:lnTo>
                    <a:pt x="690" y="394"/>
                  </a:lnTo>
                  <a:lnTo>
                    <a:pt x="682" y="396"/>
                  </a:lnTo>
                  <a:lnTo>
                    <a:pt x="674" y="398"/>
                  </a:lnTo>
                  <a:lnTo>
                    <a:pt x="668" y="402"/>
                  </a:lnTo>
                  <a:lnTo>
                    <a:pt x="666" y="404"/>
                  </a:lnTo>
                  <a:lnTo>
                    <a:pt x="680" y="406"/>
                  </a:lnTo>
                  <a:lnTo>
                    <a:pt x="688" y="408"/>
                  </a:lnTo>
                  <a:lnTo>
                    <a:pt x="688" y="418"/>
                  </a:lnTo>
                  <a:lnTo>
                    <a:pt x="682" y="434"/>
                  </a:lnTo>
                  <a:lnTo>
                    <a:pt x="664" y="456"/>
                  </a:lnTo>
                  <a:lnTo>
                    <a:pt x="650" y="474"/>
                  </a:lnTo>
                  <a:lnTo>
                    <a:pt x="642" y="490"/>
                  </a:lnTo>
                  <a:lnTo>
                    <a:pt x="622" y="506"/>
                  </a:lnTo>
                  <a:lnTo>
                    <a:pt x="610" y="516"/>
                  </a:lnTo>
                  <a:lnTo>
                    <a:pt x="590" y="520"/>
                  </a:lnTo>
                  <a:lnTo>
                    <a:pt x="580" y="520"/>
                  </a:lnTo>
                  <a:lnTo>
                    <a:pt x="574" y="514"/>
                  </a:lnTo>
                  <a:lnTo>
                    <a:pt x="568" y="516"/>
                  </a:lnTo>
                  <a:lnTo>
                    <a:pt x="568" y="528"/>
                  </a:lnTo>
                  <a:lnTo>
                    <a:pt x="556" y="532"/>
                  </a:lnTo>
                  <a:lnTo>
                    <a:pt x="538" y="536"/>
                  </a:lnTo>
                  <a:lnTo>
                    <a:pt x="528" y="538"/>
                  </a:lnTo>
                  <a:lnTo>
                    <a:pt x="524" y="546"/>
                  </a:lnTo>
                  <a:lnTo>
                    <a:pt x="526" y="552"/>
                  </a:lnTo>
                  <a:lnTo>
                    <a:pt x="518" y="550"/>
                  </a:lnTo>
                  <a:lnTo>
                    <a:pt x="518" y="542"/>
                  </a:lnTo>
                  <a:lnTo>
                    <a:pt x="518" y="536"/>
                  </a:lnTo>
                  <a:lnTo>
                    <a:pt x="510" y="536"/>
                  </a:lnTo>
                  <a:lnTo>
                    <a:pt x="500" y="534"/>
                  </a:lnTo>
                  <a:lnTo>
                    <a:pt x="492" y="536"/>
                  </a:lnTo>
                  <a:lnTo>
                    <a:pt x="482" y="536"/>
                  </a:lnTo>
                  <a:lnTo>
                    <a:pt x="476" y="534"/>
                  </a:lnTo>
                  <a:lnTo>
                    <a:pt x="474" y="518"/>
                  </a:lnTo>
                  <a:lnTo>
                    <a:pt x="464" y="516"/>
                  </a:lnTo>
                  <a:lnTo>
                    <a:pt x="458" y="514"/>
                  </a:lnTo>
                  <a:lnTo>
                    <a:pt x="450" y="514"/>
                  </a:lnTo>
                  <a:lnTo>
                    <a:pt x="444" y="520"/>
                  </a:lnTo>
                  <a:lnTo>
                    <a:pt x="414" y="520"/>
                  </a:lnTo>
                  <a:lnTo>
                    <a:pt x="412" y="524"/>
                  </a:lnTo>
                  <a:lnTo>
                    <a:pt x="400" y="524"/>
                  </a:lnTo>
                  <a:lnTo>
                    <a:pt x="400" y="532"/>
                  </a:lnTo>
                  <a:lnTo>
                    <a:pt x="406" y="534"/>
                  </a:lnTo>
                  <a:lnTo>
                    <a:pt x="404" y="540"/>
                  </a:lnTo>
                  <a:lnTo>
                    <a:pt x="398" y="540"/>
                  </a:lnTo>
                  <a:lnTo>
                    <a:pt x="394" y="536"/>
                  </a:lnTo>
                  <a:lnTo>
                    <a:pt x="386" y="536"/>
                  </a:lnTo>
                  <a:lnTo>
                    <a:pt x="380" y="536"/>
                  </a:lnTo>
                  <a:lnTo>
                    <a:pt x="380" y="532"/>
                  </a:lnTo>
                  <a:lnTo>
                    <a:pt x="372" y="530"/>
                  </a:lnTo>
                  <a:lnTo>
                    <a:pt x="372" y="516"/>
                  </a:lnTo>
                  <a:lnTo>
                    <a:pt x="364" y="512"/>
                  </a:lnTo>
                  <a:lnTo>
                    <a:pt x="364" y="500"/>
                  </a:lnTo>
                  <a:lnTo>
                    <a:pt x="346" y="494"/>
                  </a:lnTo>
                  <a:lnTo>
                    <a:pt x="346" y="490"/>
                  </a:lnTo>
                  <a:lnTo>
                    <a:pt x="360" y="470"/>
                  </a:lnTo>
                  <a:lnTo>
                    <a:pt x="362" y="448"/>
                  </a:lnTo>
                  <a:lnTo>
                    <a:pt x="354" y="444"/>
                  </a:lnTo>
                  <a:lnTo>
                    <a:pt x="350" y="434"/>
                  </a:lnTo>
                  <a:lnTo>
                    <a:pt x="342" y="432"/>
                  </a:lnTo>
                  <a:lnTo>
                    <a:pt x="328" y="430"/>
                  </a:lnTo>
                  <a:lnTo>
                    <a:pt x="328" y="418"/>
                  </a:lnTo>
                  <a:lnTo>
                    <a:pt x="318" y="420"/>
                  </a:lnTo>
                  <a:lnTo>
                    <a:pt x="300" y="420"/>
                  </a:lnTo>
                  <a:lnTo>
                    <a:pt x="294" y="428"/>
                  </a:lnTo>
                  <a:lnTo>
                    <a:pt x="284" y="428"/>
                  </a:lnTo>
                  <a:lnTo>
                    <a:pt x="274" y="440"/>
                  </a:lnTo>
                  <a:lnTo>
                    <a:pt x="266" y="442"/>
                  </a:lnTo>
                  <a:lnTo>
                    <a:pt x="252" y="440"/>
                  </a:lnTo>
                  <a:lnTo>
                    <a:pt x="242" y="436"/>
                  </a:lnTo>
                  <a:lnTo>
                    <a:pt x="234" y="436"/>
                  </a:lnTo>
                  <a:lnTo>
                    <a:pt x="228" y="442"/>
                  </a:lnTo>
                  <a:lnTo>
                    <a:pt x="210" y="442"/>
                  </a:lnTo>
                  <a:lnTo>
                    <a:pt x="190" y="440"/>
                  </a:lnTo>
                  <a:lnTo>
                    <a:pt x="176" y="438"/>
                  </a:lnTo>
                  <a:lnTo>
                    <a:pt x="160" y="428"/>
                  </a:lnTo>
                  <a:lnTo>
                    <a:pt x="150" y="420"/>
                  </a:lnTo>
                  <a:lnTo>
                    <a:pt x="136" y="412"/>
                  </a:lnTo>
                  <a:lnTo>
                    <a:pt x="122" y="400"/>
                  </a:lnTo>
                  <a:lnTo>
                    <a:pt x="110" y="406"/>
                  </a:lnTo>
                  <a:lnTo>
                    <a:pt x="100" y="396"/>
                  </a:lnTo>
                  <a:lnTo>
                    <a:pt x="76" y="386"/>
                  </a:lnTo>
                  <a:lnTo>
                    <a:pt x="76" y="378"/>
                  </a:lnTo>
                  <a:lnTo>
                    <a:pt x="80" y="370"/>
                  </a:lnTo>
                  <a:lnTo>
                    <a:pt x="88" y="368"/>
                  </a:lnTo>
                  <a:lnTo>
                    <a:pt x="90" y="360"/>
                  </a:lnTo>
                  <a:lnTo>
                    <a:pt x="80" y="354"/>
                  </a:lnTo>
                  <a:lnTo>
                    <a:pt x="80" y="344"/>
                  </a:lnTo>
                  <a:lnTo>
                    <a:pt x="94" y="338"/>
                  </a:lnTo>
                  <a:lnTo>
                    <a:pt x="102" y="330"/>
                  </a:lnTo>
                  <a:lnTo>
                    <a:pt x="102" y="322"/>
                  </a:lnTo>
                  <a:lnTo>
                    <a:pt x="86" y="312"/>
                  </a:lnTo>
                  <a:lnTo>
                    <a:pt x="68" y="320"/>
                  </a:lnTo>
                  <a:lnTo>
                    <a:pt x="56" y="318"/>
                  </a:lnTo>
                  <a:lnTo>
                    <a:pt x="38" y="310"/>
                  </a:lnTo>
                  <a:lnTo>
                    <a:pt x="38" y="302"/>
                  </a:lnTo>
                  <a:lnTo>
                    <a:pt x="22" y="296"/>
                  </a:lnTo>
                  <a:lnTo>
                    <a:pt x="22" y="288"/>
                  </a:lnTo>
                  <a:lnTo>
                    <a:pt x="22" y="270"/>
                  </a:lnTo>
                  <a:lnTo>
                    <a:pt x="12" y="272"/>
                  </a:lnTo>
                  <a:lnTo>
                    <a:pt x="6" y="270"/>
                  </a:lnTo>
                  <a:lnTo>
                    <a:pt x="4" y="264"/>
                  </a:lnTo>
                  <a:lnTo>
                    <a:pt x="6" y="258"/>
                  </a:lnTo>
                  <a:lnTo>
                    <a:pt x="8" y="250"/>
                  </a:lnTo>
                  <a:lnTo>
                    <a:pt x="20" y="242"/>
                  </a:lnTo>
                  <a:lnTo>
                    <a:pt x="20" y="236"/>
                  </a:lnTo>
                  <a:lnTo>
                    <a:pt x="34" y="236"/>
                  </a:lnTo>
                  <a:lnTo>
                    <a:pt x="34" y="242"/>
                  </a:lnTo>
                  <a:lnTo>
                    <a:pt x="48" y="238"/>
                  </a:lnTo>
                  <a:lnTo>
                    <a:pt x="52" y="230"/>
                  </a:lnTo>
                  <a:lnTo>
                    <a:pt x="70" y="230"/>
                  </a:lnTo>
                  <a:lnTo>
                    <a:pt x="72" y="222"/>
                  </a:lnTo>
                  <a:lnTo>
                    <a:pt x="96" y="212"/>
                  </a:lnTo>
                  <a:lnTo>
                    <a:pt x="102" y="208"/>
                  </a:lnTo>
                  <a:lnTo>
                    <a:pt x="102" y="198"/>
                  </a:lnTo>
                  <a:lnTo>
                    <a:pt x="108" y="192"/>
                  </a:lnTo>
                  <a:lnTo>
                    <a:pt x="102" y="178"/>
                  </a:lnTo>
                  <a:lnTo>
                    <a:pt x="102" y="162"/>
                  </a:lnTo>
                  <a:lnTo>
                    <a:pt x="112" y="156"/>
                  </a:lnTo>
                  <a:lnTo>
                    <a:pt x="128" y="156"/>
                  </a:lnTo>
                  <a:lnTo>
                    <a:pt x="132" y="144"/>
                  </a:lnTo>
                  <a:lnTo>
                    <a:pt x="140" y="122"/>
                  </a:lnTo>
                  <a:lnTo>
                    <a:pt x="156" y="124"/>
                  </a:lnTo>
                  <a:lnTo>
                    <a:pt x="168" y="124"/>
                  </a:lnTo>
                  <a:lnTo>
                    <a:pt x="178" y="122"/>
                  </a:lnTo>
                  <a:lnTo>
                    <a:pt x="178" y="110"/>
                  </a:lnTo>
                  <a:lnTo>
                    <a:pt x="182" y="96"/>
                  </a:lnTo>
                  <a:lnTo>
                    <a:pt x="192" y="96"/>
                  </a:lnTo>
                  <a:lnTo>
                    <a:pt x="194" y="88"/>
                  </a:lnTo>
                  <a:lnTo>
                    <a:pt x="208" y="88"/>
                  </a:lnTo>
                  <a:lnTo>
                    <a:pt x="212" y="96"/>
                  </a:lnTo>
                  <a:lnTo>
                    <a:pt x="220" y="106"/>
                  </a:lnTo>
                  <a:lnTo>
                    <a:pt x="234" y="108"/>
                  </a:lnTo>
                  <a:lnTo>
                    <a:pt x="248" y="120"/>
                  </a:lnTo>
                  <a:lnTo>
                    <a:pt x="254" y="130"/>
                  </a:lnTo>
                  <a:lnTo>
                    <a:pt x="254" y="138"/>
                  </a:lnTo>
                  <a:lnTo>
                    <a:pt x="250" y="146"/>
                  </a:lnTo>
                  <a:lnTo>
                    <a:pt x="252" y="156"/>
                  </a:lnTo>
                  <a:lnTo>
                    <a:pt x="260" y="160"/>
                  </a:lnTo>
                  <a:lnTo>
                    <a:pt x="290" y="162"/>
                  </a:lnTo>
                  <a:lnTo>
                    <a:pt x="300" y="170"/>
                  </a:lnTo>
                  <a:lnTo>
                    <a:pt x="318" y="180"/>
                  </a:lnTo>
                  <a:lnTo>
                    <a:pt x="324" y="194"/>
                  </a:lnTo>
                  <a:lnTo>
                    <a:pt x="330" y="200"/>
                  </a:lnTo>
                  <a:lnTo>
                    <a:pt x="378" y="202"/>
                  </a:lnTo>
                  <a:lnTo>
                    <a:pt x="402" y="204"/>
                  </a:lnTo>
                  <a:lnTo>
                    <a:pt x="424" y="216"/>
                  </a:lnTo>
                  <a:lnTo>
                    <a:pt x="456" y="218"/>
                  </a:lnTo>
                  <a:lnTo>
                    <a:pt x="476" y="206"/>
                  </a:lnTo>
                  <a:lnTo>
                    <a:pt x="516" y="206"/>
                  </a:lnTo>
                  <a:lnTo>
                    <a:pt x="532" y="198"/>
                  </a:lnTo>
                  <a:lnTo>
                    <a:pt x="532" y="192"/>
                  </a:lnTo>
                  <a:lnTo>
                    <a:pt x="548" y="182"/>
                  </a:lnTo>
                  <a:lnTo>
                    <a:pt x="542" y="172"/>
                  </a:lnTo>
                  <a:lnTo>
                    <a:pt x="548" y="162"/>
                  </a:lnTo>
                  <a:lnTo>
                    <a:pt x="560" y="162"/>
                  </a:lnTo>
                  <a:lnTo>
                    <a:pt x="576" y="164"/>
                  </a:lnTo>
                  <a:lnTo>
                    <a:pt x="588" y="150"/>
                  </a:lnTo>
                  <a:lnTo>
                    <a:pt x="602" y="150"/>
                  </a:lnTo>
                  <a:lnTo>
                    <a:pt x="618" y="138"/>
                  </a:lnTo>
                  <a:lnTo>
                    <a:pt x="636" y="130"/>
                  </a:lnTo>
                  <a:lnTo>
                    <a:pt x="648" y="130"/>
                  </a:lnTo>
                  <a:lnTo>
                    <a:pt x="662" y="132"/>
                  </a:lnTo>
                  <a:lnTo>
                    <a:pt x="660" y="124"/>
                  </a:lnTo>
                  <a:lnTo>
                    <a:pt x="642" y="106"/>
                  </a:lnTo>
                  <a:lnTo>
                    <a:pt x="632" y="104"/>
                  </a:lnTo>
                  <a:lnTo>
                    <a:pt x="626" y="110"/>
                  </a:lnTo>
                  <a:lnTo>
                    <a:pt x="600" y="108"/>
                  </a:lnTo>
                  <a:lnTo>
                    <a:pt x="604" y="94"/>
                  </a:lnTo>
                  <a:lnTo>
                    <a:pt x="612" y="78"/>
                  </a:lnTo>
                  <a:lnTo>
                    <a:pt x="616" y="72"/>
                  </a:lnTo>
                  <a:lnTo>
                    <a:pt x="632" y="80"/>
                  </a:lnTo>
                  <a:lnTo>
                    <a:pt x="642" y="72"/>
                  </a:lnTo>
                  <a:lnTo>
                    <a:pt x="652" y="70"/>
                  </a:lnTo>
                  <a:lnTo>
                    <a:pt x="656" y="56"/>
                  </a:lnTo>
                  <a:lnTo>
                    <a:pt x="664" y="40"/>
                  </a:lnTo>
                  <a:lnTo>
                    <a:pt x="674" y="34"/>
                  </a:lnTo>
                  <a:lnTo>
                    <a:pt x="674" y="22"/>
                  </a:lnTo>
                  <a:lnTo>
                    <a:pt x="664" y="20"/>
                  </a:lnTo>
                  <a:lnTo>
                    <a:pt x="664" y="12"/>
                  </a:lnTo>
                  <a:lnTo>
                    <a:pt x="678" y="6"/>
                  </a:lnTo>
                  <a:lnTo>
                    <a:pt x="700" y="4"/>
                  </a:lnTo>
                  <a:lnTo>
                    <a:pt x="716" y="4"/>
                  </a:lnTo>
                  <a:close/>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8" name="Freeform 1096"/>
            <p:cNvSpPr>
              <a:spLocks/>
            </p:cNvSpPr>
            <p:nvPr/>
          </p:nvSpPr>
          <p:spPr bwMode="auto">
            <a:xfrm>
              <a:off x="3905" y="1681"/>
              <a:ext cx="868" cy="548"/>
            </a:xfrm>
            <a:custGeom>
              <a:avLst/>
              <a:gdLst>
                <a:gd name="T0" fmla="*/ 758 w 868"/>
                <a:gd name="T1" fmla="*/ 46 h 548"/>
                <a:gd name="T2" fmla="*/ 806 w 868"/>
                <a:gd name="T3" fmla="*/ 88 h 548"/>
                <a:gd name="T4" fmla="*/ 852 w 868"/>
                <a:gd name="T5" fmla="*/ 100 h 548"/>
                <a:gd name="T6" fmla="*/ 844 w 868"/>
                <a:gd name="T7" fmla="*/ 154 h 548"/>
                <a:gd name="T8" fmla="*/ 810 w 868"/>
                <a:gd name="T9" fmla="*/ 200 h 548"/>
                <a:gd name="T10" fmla="*/ 766 w 868"/>
                <a:gd name="T11" fmla="*/ 216 h 548"/>
                <a:gd name="T12" fmla="*/ 722 w 868"/>
                <a:gd name="T13" fmla="*/ 244 h 548"/>
                <a:gd name="T14" fmla="*/ 680 w 868"/>
                <a:gd name="T15" fmla="*/ 244 h 548"/>
                <a:gd name="T16" fmla="*/ 650 w 868"/>
                <a:gd name="T17" fmla="*/ 248 h 548"/>
                <a:gd name="T18" fmla="*/ 644 w 868"/>
                <a:gd name="T19" fmla="*/ 278 h 548"/>
                <a:gd name="T20" fmla="*/ 670 w 868"/>
                <a:gd name="T21" fmla="*/ 280 h 548"/>
                <a:gd name="T22" fmla="*/ 678 w 868"/>
                <a:gd name="T23" fmla="*/ 296 h 548"/>
                <a:gd name="T24" fmla="*/ 648 w 868"/>
                <a:gd name="T25" fmla="*/ 330 h 548"/>
                <a:gd name="T26" fmla="*/ 686 w 868"/>
                <a:gd name="T27" fmla="*/ 374 h 548"/>
                <a:gd name="T28" fmla="*/ 686 w 868"/>
                <a:gd name="T29" fmla="*/ 390 h 548"/>
                <a:gd name="T30" fmla="*/ 676 w 868"/>
                <a:gd name="T31" fmla="*/ 402 h 548"/>
                <a:gd name="T32" fmla="*/ 646 w 868"/>
                <a:gd name="T33" fmla="*/ 470 h 548"/>
                <a:gd name="T34" fmla="*/ 576 w 868"/>
                <a:gd name="T35" fmla="*/ 516 h 548"/>
                <a:gd name="T36" fmla="*/ 534 w 868"/>
                <a:gd name="T37" fmla="*/ 532 h 548"/>
                <a:gd name="T38" fmla="*/ 514 w 868"/>
                <a:gd name="T39" fmla="*/ 538 h 548"/>
                <a:gd name="T40" fmla="*/ 478 w 868"/>
                <a:gd name="T41" fmla="*/ 532 h 548"/>
                <a:gd name="T42" fmla="*/ 446 w 868"/>
                <a:gd name="T43" fmla="*/ 510 h 548"/>
                <a:gd name="T44" fmla="*/ 396 w 868"/>
                <a:gd name="T45" fmla="*/ 528 h 548"/>
                <a:gd name="T46" fmla="*/ 382 w 868"/>
                <a:gd name="T47" fmla="*/ 532 h 548"/>
                <a:gd name="T48" fmla="*/ 360 w 868"/>
                <a:gd name="T49" fmla="*/ 508 h 548"/>
                <a:gd name="T50" fmla="*/ 358 w 868"/>
                <a:gd name="T51" fmla="*/ 444 h 548"/>
                <a:gd name="T52" fmla="*/ 324 w 868"/>
                <a:gd name="T53" fmla="*/ 414 h 548"/>
                <a:gd name="T54" fmla="*/ 270 w 868"/>
                <a:gd name="T55" fmla="*/ 436 h 548"/>
                <a:gd name="T56" fmla="*/ 224 w 868"/>
                <a:gd name="T57" fmla="*/ 438 h 548"/>
                <a:gd name="T58" fmla="*/ 146 w 868"/>
                <a:gd name="T59" fmla="*/ 416 h 548"/>
                <a:gd name="T60" fmla="*/ 72 w 868"/>
                <a:gd name="T61" fmla="*/ 382 h 548"/>
                <a:gd name="T62" fmla="*/ 76 w 868"/>
                <a:gd name="T63" fmla="*/ 350 h 548"/>
                <a:gd name="T64" fmla="*/ 82 w 868"/>
                <a:gd name="T65" fmla="*/ 308 h 548"/>
                <a:gd name="T66" fmla="*/ 18 w 868"/>
                <a:gd name="T67" fmla="*/ 292 h 548"/>
                <a:gd name="T68" fmla="*/ 0 w 868"/>
                <a:gd name="T69" fmla="*/ 260 h 548"/>
                <a:gd name="T70" fmla="*/ 30 w 868"/>
                <a:gd name="T71" fmla="*/ 232 h 548"/>
                <a:gd name="T72" fmla="*/ 68 w 868"/>
                <a:gd name="T73" fmla="*/ 218 h 548"/>
                <a:gd name="T74" fmla="*/ 98 w 868"/>
                <a:gd name="T75" fmla="*/ 174 h 548"/>
                <a:gd name="T76" fmla="*/ 136 w 868"/>
                <a:gd name="T77" fmla="*/ 118 h 548"/>
                <a:gd name="T78" fmla="*/ 178 w 868"/>
                <a:gd name="T79" fmla="*/ 92 h 548"/>
                <a:gd name="T80" fmla="*/ 216 w 868"/>
                <a:gd name="T81" fmla="*/ 102 h 548"/>
                <a:gd name="T82" fmla="*/ 246 w 868"/>
                <a:gd name="T83" fmla="*/ 142 h 548"/>
                <a:gd name="T84" fmla="*/ 314 w 868"/>
                <a:gd name="T85" fmla="*/ 176 h 548"/>
                <a:gd name="T86" fmla="*/ 420 w 868"/>
                <a:gd name="T87" fmla="*/ 212 h 548"/>
                <a:gd name="T88" fmla="*/ 528 w 868"/>
                <a:gd name="T89" fmla="*/ 188 h 548"/>
                <a:gd name="T90" fmla="*/ 572 w 868"/>
                <a:gd name="T91" fmla="*/ 160 h 548"/>
                <a:gd name="T92" fmla="*/ 644 w 868"/>
                <a:gd name="T93" fmla="*/ 126 h 548"/>
                <a:gd name="T94" fmla="*/ 622 w 868"/>
                <a:gd name="T95" fmla="*/ 106 h 548"/>
                <a:gd name="T96" fmla="*/ 628 w 868"/>
                <a:gd name="T97" fmla="*/ 76 h 548"/>
                <a:gd name="T98" fmla="*/ 670 w 868"/>
                <a:gd name="T99" fmla="*/ 30 h 548"/>
                <a:gd name="T100" fmla="*/ 696 w 868"/>
                <a:gd name="T101"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8" h="548">
                  <a:moveTo>
                    <a:pt x="712" y="0"/>
                  </a:moveTo>
                  <a:lnTo>
                    <a:pt x="726" y="4"/>
                  </a:lnTo>
                  <a:lnTo>
                    <a:pt x="740" y="10"/>
                  </a:lnTo>
                  <a:lnTo>
                    <a:pt x="750" y="28"/>
                  </a:lnTo>
                  <a:lnTo>
                    <a:pt x="758" y="46"/>
                  </a:lnTo>
                  <a:lnTo>
                    <a:pt x="764" y="60"/>
                  </a:lnTo>
                  <a:lnTo>
                    <a:pt x="770" y="74"/>
                  </a:lnTo>
                  <a:lnTo>
                    <a:pt x="784" y="74"/>
                  </a:lnTo>
                  <a:lnTo>
                    <a:pt x="792" y="80"/>
                  </a:lnTo>
                  <a:lnTo>
                    <a:pt x="806" y="88"/>
                  </a:lnTo>
                  <a:lnTo>
                    <a:pt x="810" y="88"/>
                  </a:lnTo>
                  <a:lnTo>
                    <a:pt x="814" y="106"/>
                  </a:lnTo>
                  <a:lnTo>
                    <a:pt x="834" y="108"/>
                  </a:lnTo>
                  <a:lnTo>
                    <a:pt x="840" y="102"/>
                  </a:lnTo>
                  <a:lnTo>
                    <a:pt x="852" y="100"/>
                  </a:lnTo>
                  <a:lnTo>
                    <a:pt x="866" y="98"/>
                  </a:lnTo>
                  <a:lnTo>
                    <a:pt x="868" y="110"/>
                  </a:lnTo>
                  <a:lnTo>
                    <a:pt x="860" y="114"/>
                  </a:lnTo>
                  <a:lnTo>
                    <a:pt x="856" y="134"/>
                  </a:lnTo>
                  <a:lnTo>
                    <a:pt x="844" y="154"/>
                  </a:lnTo>
                  <a:lnTo>
                    <a:pt x="834" y="156"/>
                  </a:lnTo>
                  <a:lnTo>
                    <a:pt x="828" y="150"/>
                  </a:lnTo>
                  <a:lnTo>
                    <a:pt x="816" y="160"/>
                  </a:lnTo>
                  <a:lnTo>
                    <a:pt x="816" y="192"/>
                  </a:lnTo>
                  <a:lnTo>
                    <a:pt x="810" y="200"/>
                  </a:lnTo>
                  <a:lnTo>
                    <a:pt x="800" y="194"/>
                  </a:lnTo>
                  <a:lnTo>
                    <a:pt x="786" y="208"/>
                  </a:lnTo>
                  <a:lnTo>
                    <a:pt x="776" y="208"/>
                  </a:lnTo>
                  <a:lnTo>
                    <a:pt x="776" y="214"/>
                  </a:lnTo>
                  <a:lnTo>
                    <a:pt x="766" y="216"/>
                  </a:lnTo>
                  <a:lnTo>
                    <a:pt x="758" y="212"/>
                  </a:lnTo>
                  <a:lnTo>
                    <a:pt x="754" y="214"/>
                  </a:lnTo>
                  <a:lnTo>
                    <a:pt x="742" y="228"/>
                  </a:lnTo>
                  <a:lnTo>
                    <a:pt x="730" y="234"/>
                  </a:lnTo>
                  <a:lnTo>
                    <a:pt x="722" y="244"/>
                  </a:lnTo>
                  <a:lnTo>
                    <a:pt x="712" y="246"/>
                  </a:lnTo>
                  <a:lnTo>
                    <a:pt x="704" y="248"/>
                  </a:lnTo>
                  <a:lnTo>
                    <a:pt x="678" y="264"/>
                  </a:lnTo>
                  <a:lnTo>
                    <a:pt x="678" y="252"/>
                  </a:lnTo>
                  <a:lnTo>
                    <a:pt x="680" y="244"/>
                  </a:lnTo>
                  <a:lnTo>
                    <a:pt x="690" y="238"/>
                  </a:lnTo>
                  <a:lnTo>
                    <a:pt x="688" y="230"/>
                  </a:lnTo>
                  <a:lnTo>
                    <a:pt x="680" y="230"/>
                  </a:lnTo>
                  <a:lnTo>
                    <a:pt x="670" y="230"/>
                  </a:lnTo>
                  <a:lnTo>
                    <a:pt x="650" y="248"/>
                  </a:lnTo>
                  <a:lnTo>
                    <a:pt x="646" y="256"/>
                  </a:lnTo>
                  <a:lnTo>
                    <a:pt x="628" y="256"/>
                  </a:lnTo>
                  <a:lnTo>
                    <a:pt x="626" y="264"/>
                  </a:lnTo>
                  <a:lnTo>
                    <a:pt x="630" y="276"/>
                  </a:lnTo>
                  <a:lnTo>
                    <a:pt x="644" y="278"/>
                  </a:lnTo>
                  <a:lnTo>
                    <a:pt x="644" y="284"/>
                  </a:lnTo>
                  <a:lnTo>
                    <a:pt x="644" y="290"/>
                  </a:lnTo>
                  <a:lnTo>
                    <a:pt x="656" y="288"/>
                  </a:lnTo>
                  <a:lnTo>
                    <a:pt x="662" y="282"/>
                  </a:lnTo>
                  <a:lnTo>
                    <a:pt x="670" y="280"/>
                  </a:lnTo>
                  <a:lnTo>
                    <a:pt x="678" y="284"/>
                  </a:lnTo>
                  <a:lnTo>
                    <a:pt x="692" y="286"/>
                  </a:lnTo>
                  <a:lnTo>
                    <a:pt x="694" y="294"/>
                  </a:lnTo>
                  <a:lnTo>
                    <a:pt x="690" y="296"/>
                  </a:lnTo>
                  <a:lnTo>
                    <a:pt x="678" y="296"/>
                  </a:lnTo>
                  <a:lnTo>
                    <a:pt x="672" y="300"/>
                  </a:lnTo>
                  <a:lnTo>
                    <a:pt x="670" y="304"/>
                  </a:lnTo>
                  <a:lnTo>
                    <a:pt x="660" y="308"/>
                  </a:lnTo>
                  <a:lnTo>
                    <a:pt x="652" y="320"/>
                  </a:lnTo>
                  <a:lnTo>
                    <a:pt x="648" y="330"/>
                  </a:lnTo>
                  <a:lnTo>
                    <a:pt x="658" y="334"/>
                  </a:lnTo>
                  <a:lnTo>
                    <a:pt x="662" y="338"/>
                  </a:lnTo>
                  <a:lnTo>
                    <a:pt x="670" y="356"/>
                  </a:lnTo>
                  <a:lnTo>
                    <a:pt x="672" y="364"/>
                  </a:lnTo>
                  <a:lnTo>
                    <a:pt x="686" y="374"/>
                  </a:lnTo>
                  <a:lnTo>
                    <a:pt x="684" y="378"/>
                  </a:lnTo>
                  <a:lnTo>
                    <a:pt x="676" y="374"/>
                  </a:lnTo>
                  <a:lnTo>
                    <a:pt x="672" y="382"/>
                  </a:lnTo>
                  <a:lnTo>
                    <a:pt x="682" y="386"/>
                  </a:lnTo>
                  <a:lnTo>
                    <a:pt x="686" y="390"/>
                  </a:lnTo>
                  <a:lnTo>
                    <a:pt x="678" y="392"/>
                  </a:lnTo>
                  <a:lnTo>
                    <a:pt x="670" y="394"/>
                  </a:lnTo>
                  <a:lnTo>
                    <a:pt x="664" y="398"/>
                  </a:lnTo>
                  <a:lnTo>
                    <a:pt x="662" y="400"/>
                  </a:lnTo>
                  <a:lnTo>
                    <a:pt x="676" y="402"/>
                  </a:lnTo>
                  <a:lnTo>
                    <a:pt x="684" y="404"/>
                  </a:lnTo>
                  <a:lnTo>
                    <a:pt x="684" y="414"/>
                  </a:lnTo>
                  <a:lnTo>
                    <a:pt x="678" y="430"/>
                  </a:lnTo>
                  <a:lnTo>
                    <a:pt x="660" y="452"/>
                  </a:lnTo>
                  <a:lnTo>
                    <a:pt x="646" y="470"/>
                  </a:lnTo>
                  <a:lnTo>
                    <a:pt x="638" y="486"/>
                  </a:lnTo>
                  <a:lnTo>
                    <a:pt x="618" y="502"/>
                  </a:lnTo>
                  <a:lnTo>
                    <a:pt x="606" y="512"/>
                  </a:lnTo>
                  <a:lnTo>
                    <a:pt x="586" y="516"/>
                  </a:lnTo>
                  <a:lnTo>
                    <a:pt x="576" y="516"/>
                  </a:lnTo>
                  <a:lnTo>
                    <a:pt x="570" y="510"/>
                  </a:lnTo>
                  <a:lnTo>
                    <a:pt x="564" y="512"/>
                  </a:lnTo>
                  <a:lnTo>
                    <a:pt x="564" y="524"/>
                  </a:lnTo>
                  <a:lnTo>
                    <a:pt x="552" y="528"/>
                  </a:lnTo>
                  <a:lnTo>
                    <a:pt x="534" y="532"/>
                  </a:lnTo>
                  <a:lnTo>
                    <a:pt x="524" y="534"/>
                  </a:lnTo>
                  <a:lnTo>
                    <a:pt x="520" y="542"/>
                  </a:lnTo>
                  <a:lnTo>
                    <a:pt x="522" y="548"/>
                  </a:lnTo>
                  <a:lnTo>
                    <a:pt x="514" y="546"/>
                  </a:lnTo>
                  <a:lnTo>
                    <a:pt x="514" y="538"/>
                  </a:lnTo>
                  <a:lnTo>
                    <a:pt x="514" y="532"/>
                  </a:lnTo>
                  <a:lnTo>
                    <a:pt x="506" y="532"/>
                  </a:lnTo>
                  <a:lnTo>
                    <a:pt x="496" y="530"/>
                  </a:lnTo>
                  <a:lnTo>
                    <a:pt x="488" y="532"/>
                  </a:lnTo>
                  <a:lnTo>
                    <a:pt x="478" y="532"/>
                  </a:lnTo>
                  <a:lnTo>
                    <a:pt x="472" y="530"/>
                  </a:lnTo>
                  <a:lnTo>
                    <a:pt x="470" y="514"/>
                  </a:lnTo>
                  <a:lnTo>
                    <a:pt x="460" y="512"/>
                  </a:lnTo>
                  <a:lnTo>
                    <a:pt x="454" y="510"/>
                  </a:lnTo>
                  <a:lnTo>
                    <a:pt x="446" y="510"/>
                  </a:lnTo>
                  <a:lnTo>
                    <a:pt x="440" y="516"/>
                  </a:lnTo>
                  <a:lnTo>
                    <a:pt x="410" y="516"/>
                  </a:lnTo>
                  <a:lnTo>
                    <a:pt x="408" y="520"/>
                  </a:lnTo>
                  <a:lnTo>
                    <a:pt x="396" y="520"/>
                  </a:lnTo>
                  <a:lnTo>
                    <a:pt x="396" y="528"/>
                  </a:lnTo>
                  <a:lnTo>
                    <a:pt x="402" y="530"/>
                  </a:lnTo>
                  <a:lnTo>
                    <a:pt x="400" y="536"/>
                  </a:lnTo>
                  <a:lnTo>
                    <a:pt x="394" y="536"/>
                  </a:lnTo>
                  <a:lnTo>
                    <a:pt x="390" y="532"/>
                  </a:lnTo>
                  <a:lnTo>
                    <a:pt x="382" y="532"/>
                  </a:lnTo>
                  <a:lnTo>
                    <a:pt x="376" y="532"/>
                  </a:lnTo>
                  <a:lnTo>
                    <a:pt x="376" y="528"/>
                  </a:lnTo>
                  <a:lnTo>
                    <a:pt x="368" y="526"/>
                  </a:lnTo>
                  <a:lnTo>
                    <a:pt x="368" y="512"/>
                  </a:lnTo>
                  <a:lnTo>
                    <a:pt x="360" y="508"/>
                  </a:lnTo>
                  <a:lnTo>
                    <a:pt x="360" y="496"/>
                  </a:lnTo>
                  <a:lnTo>
                    <a:pt x="342" y="490"/>
                  </a:lnTo>
                  <a:lnTo>
                    <a:pt x="342" y="486"/>
                  </a:lnTo>
                  <a:lnTo>
                    <a:pt x="356" y="466"/>
                  </a:lnTo>
                  <a:lnTo>
                    <a:pt x="358" y="444"/>
                  </a:lnTo>
                  <a:lnTo>
                    <a:pt x="350" y="440"/>
                  </a:lnTo>
                  <a:lnTo>
                    <a:pt x="346" y="430"/>
                  </a:lnTo>
                  <a:lnTo>
                    <a:pt x="338" y="428"/>
                  </a:lnTo>
                  <a:lnTo>
                    <a:pt x="324" y="426"/>
                  </a:lnTo>
                  <a:lnTo>
                    <a:pt x="324" y="414"/>
                  </a:lnTo>
                  <a:lnTo>
                    <a:pt x="314" y="416"/>
                  </a:lnTo>
                  <a:lnTo>
                    <a:pt x="296" y="416"/>
                  </a:lnTo>
                  <a:lnTo>
                    <a:pt x="290" y="424"/>
                  </a:lnTo>
                  <a:lnTo>
                    <a:pt x="280" y="424"/>
                  </a:lnTo>
                  <a:lnTo>
                    <a:pt x="270" y="436"/>
                  </a:lnTo>
                  <a:lnTo>
                    <a:pt x="262" y="438"/>
                  </a:lnTo>
                  <a:lnTo>
                    <a:pt x="248" y="436"/>
                  </a:lnTo>
                  <a:lnTo>
                    <a:pt x="238" y="432"/>
                  </a:lnTo>
                  <a:lnTo>
                    <a:pt x="230" y="432"/>
                  </a:lnTo>
                  <a:lnTo>
                    <a:pt x="224" y="438"/>
                  </a:lnTo>
                  <a:lnTo>
                    <a:pt x="206" y="438"/>
                  </a:lnTo>
                  <a:lnTo>
                    <a:pt x="186" y="436"/>
                  </a:lnTo>
                  <a:lnTo>
                    <a:pt x="172" y="434"/>
                  </a:lnTo>
                  <a:lnTo>
                    <a:pt x="156" y="424"/>
                  </a:lnTo>
                  <a:lnTo>
                    <a:pt x="146" y="416"/>
                  </a:lnTo>
                  <a:lnTo>
                    <a:pt x="132" y="408"/>
                  </a:lnTo>
                  <a:lnTo>
                    <a:pt x="118" y="396"/>
                  </a:lnTo>
                  <a:lnTo>
                    <a:pt x="106" y="402"/>
                  </a:lnTo>
                  <a:lnTo>
                    <a:pt x="96" y="392"/>
                  </a:lnTo>
                  <a:lnTo>
                    <a:pt x="72" y="382"/>
                  </a:lnTo>
                  <a:lnTo>
                    <a:pt x="72" y="374"/>
                  </a:lnTo>
                  <a:lnTo>
                    <a:pt x="76" y="366"/>
                  </a:lnTo>
                  <a:lnTo>
                    <a:pt x="84" y="364"/>
                  </a:lnTo>
                  <a:lnTo>
                    <a:pt x="86" y="356"/>
                  </a:lnTo>
                  <a:lnTo>
                    <a:pt x="76" y="350"/>
                  </a:lnTo>
                  <a:lnTo>
                    <a:pt x="76" y="340"/>
                  </a:lnTo>
                  <a:lnTo>
                    <a:pt x="90" y="334"/>
                  </a:lnTo>
                  <a:lnTo>
                    <a:pt x="98" y="326"/>
                  </a:lnTo>
                  <a:lnTo>
                    <a:pt x="98" y="318"/>
                  </a:lnTo>
                  <a:lnTo>
                    <a:pt x="82" y="308"/>
                  </a:lnTo>
                  <a:lnTo>
                    <a:pt x="64" y="316"/>
                  </a:lnTo>
                  <a:lnTo>
                    <a:pt x="52" y="314"/>
                  </a:lnTo>
                  <a:lnTo>
                    <a:pt x="34" y="306"/>
                  </a:lnTo>
                  <a:lnTo>
                    <a:pt x="34" y="298"/>
                  </a:lnTo>
                  <a:lnTo>
                    <a:pt x="18" y="292"/>
                  </a:lnTo>
                  <a:lnTo>
                    <a:pt x="18" y="284"/>
                  </a:lnTo>
                  <a:lnTo>
                    <a:pt x="18" y="266"/>
                  </a:lnTo>
                  <a:lnTo>
                    <a:pt x="8" y="268"/>
                  </a:lnTo>
                  <a:lnTo>
                    <a:pt x="2" y="266"/>
                  </a:lnTo>
                  <a:lnTo>
                    <a:pt x="0" y="260"/>
                  </a:lnTo>
                  <a:lnTo>
                    <a:pt x="2" y="254"/>
                  </a:lnTo>
                  <a:lnTo>
                    <a:pt x="4" y="246"/>
                  </a:lnTo>
                  <a:lnTo>
                    <a:pt x="16" y="238"/>
                  </a:lnTo>
                  <a:lnTo>
                    <a:pt x="16" y="232"/>
                  </a:lnTo>
                  <a:lnTo>
                    <a:pt x="30" y="232"/>
                  </a:lnTo>
                  <a:lnTo>
                    <a:pt x="30" y="238"/>
                  </a:lnTo>
                  <a:lnTo>
                    <a:pt x="44" y="234"/>
                  </a:lnTo>
                  <a:lnTo>
                    <a:pt x="48" y="226"/>
                  </a:lnTo>
                  <a:lnTo>
                    <a:pt x="66" y="226"/>
                  </a:lnTo>
                  <a:lnTo>
                    <a:pt x="68" y="218"/>
                  </a:lnTo>
                  <a:lnTo>
                    <a:pt x="92" y="208"/>
                  </a:lnTo>
                  <a:lnTo>
                    <a:pt x="98" y="204"/>
                  </a:lnTo>
                  <a:lnTo>
                    <a:pt x="98" y="194"/>
                  </a:lnTo>
                  <a:lnTo>
                    <a:pt x="104" y="188"/>
                  </a:lnTo>
                  <a:lnTo>
                    <a:pt x="98" y="174"/>
                  </a:lnTo>
                  <a:lnTo>
                    <a:pt x="98" y="158"/>
                  </a:lnTo>
                  <a:lnTo>
                    <a:pt x="108" y="152"/>
                  </a:lnTo>
                  <a:lnTo>
                    <a:pt x="124" y="152"/>
                  </a:lnTo>
                  <a:lnTo>
                    <a:pt x="128" y="140"/>
                  </a:lnTo>
                  <a:lnTo>
                    <a:pt x="136" y="118"/>
                  </a:lnTo>
                  <a:lnTo>
                    <a:pt x="152" y="120"/>
                  </a:lnTo>
                  <a:lnTo>
                    <a:pt x="164" y="120"/>
                  </a:lnTo>
                  <a:lnTo>
                    <a:pt x="174" y="118"/>
                  </a:lnTo>
                  <a:lnTo>
                    <a:pt x="174" y="106"/>
                  </a:lnTo>
                  <a:lnTo>
                    <a:pt x="178" y="92"/>
                  </a:lnTo>
                  <a:lnTo>
                    <a:pt x="188" y="92"/>
                  </a:lnTo>
                  <a:lnTo>
                    <a:pt x="190" y="84"/>
                  </a:lnTo>
                  <a:lnTo>
                    <a:pt x="204" y="84"/>
                  </a:lnTo>
                  <a:lnTo>
                    <a:pt x="208" y="92"/>
                  </a:lnTo>
                  <a:lnTo>
                    <a:pt x="216" y="102"/>
                  </a:lnTo>
                  <a:lnTo>
                    <a:pt x="230" y="104"/>
                  </a:lnTo>
                  <a:lnTo>
                    <a:pt x="244" y="116"/>
                  </a:lnTo>
                  <a:lnTo>
                    <a:pt x="250" y="126"/>
                  </a:lnTo>
                  <a:lnTo>
                    <a:pt x="250" y="134"/>
                  </a:lnTo>
                  <a:lnTo>
                    <a:pt x="246" y="142"/>
                  </a:lnTo>
                  <a:lnTo>
                    <a:pt x="248" y="152"/>
                  </a:lnTo>
                  <a:lnTo>
                    <a:pt x="256" y="156"/>
                  </a:lnTo>
                  <a:lnTo>
                    <a:pt x="286" y="158"/>
                  </a:lnTo>
                  <a:lnTo>
                    <a:pt x="296" y="166"/>
                  </a:lnTo>
                  <a:lnTo>
                    <a:pt x="314" y="176"/>
                  </a:lnTo>
                  <a:lnTo>
                    <a:pt x="320" y="190"/>
                  </a:lnTo>
                  <a:lnTo>
                    <a:pt x="326" y="196"/>
                  </a:lnTo>
                  <a:lnTo>
                    <a:pt x="374" y="198"/>
                  </a:lnTo>
                  <a:lnTo>
                    <a:pt x="398" y="200"/>
                  </a:lnTo>
                  <a:lnTo>
                    <a:pt x="420" y="212"/>
                  </a:lnTo>
                  <a:lnTo>
                    <a:pt x="452" y="214"/>
                  </a:lnTo>
                  <a:lnTo>
                    <a:pt x="472" y="202"/>
                  </a:lnTo>
                  <a:lnTo>
                    <a:pt x="512" y="202"/>
                  </a:lnTo>
                  <a:lnTo>
                    <a:pt x="528" y="194"/>
                  </a:lnTo>
                  <a:lnTo>
                    <a:pt x="528" y="188"/>
                  </a:lnTo>
                  <a:lnTo>
                    <a:pt x="544" y="178"/>
                  </a:lnTo>
                  <a:lnTo>
                    <a:pt x="538" y="168"/>
                  </a:lnTo>
                  <a:lnTo>
                    <a:pt x="544" y="158"/>
                  </a:lnTo>
                  <a:lnTo>
                    <a:pt x="556" y="158"/>
                  </a:lnTo>
                  <a:lnTo>
                    <a:pt x="572" y="160"/>
                  </a:lnTo>
                  <a:lnTo>
                    <a:pt x="584" y="146"/>
                  </a:lnTo>
                  <a:lnTo>
                    <a:pt x="598" y="146"/>
                  </a:lnTo>
                  <a:lnTo>
                    <a:pt x="614" y="134"/>
                  </a:lnTo>
                  <a:lnTo>
                    <a:pt x="632" y="126"/>
                  </a:lnTo>
                  <a:lnTo>
                    <a:pt x="644" y="126"/>
                  </a:lnTo>
                  <a:lnTo>
                    <a:pt x="658" y="128"/>
                  </a:lnTo>
                  <a:lnTo>
                    <a:pt x="656" y="120"/>
                  </a:lnTo>
                  <a:lnTo>
                    <a:pt x="638" y="102"/>
                  </a:lnTo>
                  <a:lnTo>
                    <a:pt x="628" y="100"/>
                  </a:lnTo>
                  <a:lnTo>
                    <a:pt x="622" y="106"/>
                  </a:lnTo>
                  <a:lnTo>
                    <a:pt x="596" y="104"/>
                  </a:lnTo>
                  <a:lnTo>
                    <a:pt x="600" y="90"/>
                  </a:lnTo>
                  <a:lnTo>
                    <a:pt x="608" y="74"/>
                  </a:lnTo>
                  <a:lnTo>
                    <a:pt x="612" y="68"/>
                  </a:lnTo>
                  <a:lnTo>
                    <a:pt x="628" y="76"/>
                  </a:lnTo>
                  <a:lnTo>
                    <a:pt x="638" y="68"/>
                  </a:lnTo>
                  <a:lnTo>
                    <a:pt x="648" y="66"/>
                  </a:lnTo>
                  <a:lnTo>
                    <a:pt x="652" y="52"/>
                  </a:lnTo>
                  <a:lnTo>
                    <a:pt x="660" y="36"/>
                  </a:lnTo>
                  <a:lnTo>
                    <a:pt x="670" y="30"/>
                  </a:lnTo>
                  <a:lnTo>
                    <a:pt x="670" y="18"/>
                  </a:lnTo>
                  <a:lnTo>
                    <a:pt x="660" y="16"/>
                  </a:lnTo>
                  <a:lnTo>
                    <a:pt x="660" y="8"/>
                  </a:lnTo>
                  <a:lnTo>
                    <a:pt x="674" y="2"/>
                  </a:lnTo>
                  <a:lnTo>
                    <a:pt x="696" y="0"/>
                  </a:lnTo>
                  <a:lnTo>
                    <a:pt x="7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9" name="Freeform 1097"/>
            <p:cNvSpPr>
              <a:spLocks/>
            </p:cNvSpPr>
            <p:nvPr/>
          </p:nvSpPr>
          <p:spPr bwMode="auto">
            <a:xfrm>
              <a:off x="3901" y="1677"/>
              <a:ext cx="876" cy="556"/>
            </a:xfrm>
            <a:custGeom>
              <a:avLst/>
              <a:gdLst>
                <a:gd name="T0" fmla="*/ 662 w 876"/>
                <a:gd name="T1" fmla="*/ 12 h 556"/>
                <a:gd name="T2" fmla="*/ 662 w 876"/>
                <a:gd name="T3" fmla="*/ 38 h 556"/>
                <a:gd name="T4" fmla="*/ 618 w 876"/>
                <a:gd name="T5" fmla="*/ 68 h 556"/>
                <a:gd name="T6" fmla="*/ 596 w 876"/>
                <a:gd name="T7" fmla="*/ 106 h 556"/>
                <a:gd name="T8" fmla="*/ 634 w 876"/>
                <a:gd name="T9" fmla="*/ 108 h 556"/>
                <a:gd name="T10" fmla="*/ 618 w 876"/>
                <a:gd name="T11" fmla="*/ 134 h 556"/>
                <a:gd name="T12" fmla="*/ 560 w 876"/>
                <a:gd name="T13" fmla="*/ 158 h 556"/>
                <a:gd name="T14" fmla="*/ 528 w 876"/>
                <a:gd name="T15" fmla="*/ 192 h 556"/>
                <a:gd name="T16" fmla="*/ 402 w 876"/>
                <a:gd name="T17" fmla="*/ 200 h 556"/>
                <a:gd name="T18" fmla="*/ 290 w 876"/>
                <a:gd name="T19" fmla="*/ 158 h 556"/>
                <a:gd name="T20" fmla="*/ 250 w 876"/>
                <a:gd name="T21" fmla="*/ 118 h 556"/>
                <a:gd name="T22" fmla="*/ 210 w 876"/>
                <a:gd name="T23" fmla="*/ 84 h 556"/>
                <a:gd name="T24" fmla="*/ 178 w 876"/>
                <a:gd name="T25" fmla="*/ 96 h 556"/>
                <a:gd name="T26" fmla="*/ 140 w 876"/>
                <a:gd name="T27" fmla="*/ 118 h 556"/>
                <a:gd name="T28" fmla="*/ 100 w 876"/>
                <a:gd name="T29" fmla="*/ 158 h 556"/>
                <a:gd name="T30" fmla="*/ 98 w 876"/>
                <a:gd name="T31" fmla="*/ 198 h 556"/>
                <a:gd name="T32" fmla="*/ 48 w 876"/>
                <a:gd name="T33" fmla="*/ 228 h 556"/>
                <a:gd name="T34" fmla="*/ 18 w 876"/>
                <a:gd name="T35" fmla="*/ 236 h 556"/>
                <a:gd name="T36" fmla="*/ 2 w 876"/>
                <a:gd name="T37" fmla="*/ 272 h 556"/>
                <a:gd name="T38" fmla="*/ 18 w 876"/>
                <a:gd name="T39" fmla="*/ 296 h 556"/>
                <a:gd name="T40" fmla="*/ 56 w 876"/>
                <a:gd name="T41" fmla="*/ 322 h 556"/>
                <a:gd name="T42" fmla="*/ 78 w 876"/>
                <a:gd name="T43" fmla="*/ 340 h 556"/>
                <a:gd name="T44" fmla="*/ 76 w 876"/>
                <a:gd name="T45" fmla="*/ 368 h 556"/>
                <a:gd name="T46" fmla="*/ 108 w 876"/>
                <a:gd name="T47" fmla="*/ 408 h 556"/>
                <a:gd name="T48" fmla="*/ 174 w 876"/>
                <a:gd name="T49" fmla="*/ 442 h 556"/>
                <a:gd name="T50" fmla="*/ 252 w 876"/>
                <a:gd name="T51" fmla="*/ 444 h 556"/>
                <a:gd name="T52" fmla="*/ 278 w 876"/>
                <a:gd name="T53" fmla="*/ 442 h 556"/>
                <a:gd name="T54" fmla="*/ 324 w 876"/>
                <a:gd name="T55" fmla="*/ 430 h 556"/>
                <a:gd name="T56" fmla="*/ 356 w 876"/>
                <a:gd name="T57" fmla="*/ 468 h 556"/>
                <a:gd name="T58" fmla="*/ 360 w 876"/>
                <a:gd name="T59" fmla="*/ 512 h 556"/>
                <a:gd name="T60" fmla="*/ 376 w 876"/>
                <a:gd name="T61" fmla="*/ 536 h 556"/>
                <a:gd name="T62" fmla="*/ 406 w 876"/>
                <a:gd name="T63" fmla="*/ 544 h 556"/>
                <a:gd name="T64" fmla="*/ 414 w 876"/>
                <a:gd name="T65" fmla="*/ 528 h 556"/>
                <a:gd name="T66" fmla="*/ 462 w 876"/>
                <a:gd name="T67" fmla="*/ 520 h 556"/>
                <a:gd name="T68" fmla="*/ 494 w 876"/>
                <a:gd name="T69" fmla="*/ 540 h 556"/>
                <a:gd name="T70" fmla="*/ 524 w 876"/>
                <a:gd name="T71" fmla="*/ 556 h 556"/>
                <a:gd name="T72" fmla="*/ 538 w 876"/>
                <a:gd name="T73" fmla="*/ 540 h 556"/>
                <a:gd name="T74" fmla="*/ 576 w 876"/>
                <a:gd name="T75" fmla="*/ 522 h 556"/>
                <a:gd name="T76" fmla="*/ 644 w 876"/>
                <a:gd name="T77" fmla="*/ 494 h 556"/>
                <a:gd name="T78" fmla="*/ 692 w 876"/>
                <a:gd name="T79" fmla="*/ 408 h 556"/>
                <a:gd name="T80" fmla="*/ 694 w 876"/>
                <a:gd name="T81" fmla="*/ 396 h 556"/>
                <a:gd name="T82" fmla="*/ 692 w 876"/>
                <a:gd name="T83" fmla="*/ 376 h 556"/>
                <a:gd name="T84" fmla="*/ 662 w 876"/>
                <a:gd name="T85" fmla="*/ 334 h 556"/>
                <a:gd name="T86" fmla="*/ 694 w 876"/>
                <a:gd name="T87" fmla="*/ 304 h 556"/>
                <a:gd name="T88" fmla="*/ 682 w 876"/>
                <a:gd name="T89" fmla="*/ 284 h 556"/>
                <a:gd name="T90" fmla="*/ 652 w 876"/>
                <a:gd name="T91" fmla="*/ 290 h 556"/>
                <a:gd name="T92" fmla="*/ 650 w 876"/>
                <a:gd name="T93" fmla="*/ 264 h 556"/>
                <a:gd name="T94" fmla="*/ 680 w 876"/>
                <a:gd name="T95" fmla="*/ 246 h 556"/>
                <a:gd name="T96" fmla="*/ 684 w 876"/>
                <a:gd name="T97" fmla="*/ 270 h 556"/>
                <a:gd name="T98" fmla="*/ 760 w 876"/>
                <a:gd name="T99" fmla="*/ 222 h 556"/>
                <a:gd name="T100" fmla="*/ 784 w 876"/>
                <a:gd name="T101" fmla="*/ 220 h 556"/>
                <a:gd name="T102" fmla="*/ 814 w 876"/>
                <a:gd name="T103" fmla="*/ 208 h 556"/>
                <a:gd name="T104" fmla="*/ 838 w 876"/>
                <a:gd name="T105" fmla="*/ 164 h 556"/>
                <a:gd name="T106" fmla="*/ 874 w 876"/>
                <a:gd name="T107" fmla="*/ 118 h 556"/>
                <a:gd name="T108" fmla="*/ 856 w 876"/>
                <a:gd name="T109" fmla="*/ 100 h 556"/>
                <a:gd name="T110" fmla="*/ 798 w 876"/>
                <a:gd name="T111" fmla="*/ 80 h 556"/>
                <a:gd name="T112" fmla="*/ 758 w 876"/>
                <a:gd name="T113"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556">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0" name="Freeform 1098"/>
            <p:cNvSpPr>
              <a:spLocks/>
            </p:cNvSpPr>
            <p:nvPr/>
          </p:nvSpPr>
          <p:spPr bwMode="auto">
            <a:xfrm>
              <a:off x="4273" y="2199"/>
              <a:ext cx="116" cy="122"/>
            </a:xfrm>
            <a:custGeom>
              <a:avLst/>
              <a:gdLst>
                <a:gd name="T0" fmla="*/ 84 w 116"/>
                <a:gd name="T1" fmla="*/ 122 h 122"/>
                <a:gd name="T2" fmla="*/ 82 w 116"/>
                <a:gd name="T3" fmla="*/ 116 h 122"/>
                <a:gd name="T4" fmla="*/ 84 w 116"/>
                <a:gd name="T5" fmla="*/ 98 h 122"/>
                <a:gd name="T6" fmla="*/ 76 w 116"/>
                <a:gd name="T7" fmla="*/ 90 h 122"/>
                <a:gd name="T8" fmla="*/ 72 w 116"/>
                <a:gd name="T9" fmla="*/ 74 h 122"/>
                <a:gd name="T10" fmla="*/ 50 w 116"/>
                <a:gd name="T11" fmla="*/ 66 h 122"/>
                <a:gd name="T12" fmla="*/ 48 w 116"/>
                <a:gd name="T13" fmla="*/ 68 h 122"/>
                <a:gd name="T14" fmla="*/ 48 w 116"/>
                <a:gd name="T15" fmla="*/ 68 h 122"/>
                <a:gd name="T16" fmla="*/ 22 w 116"/>
                <a:gd name="T17" fmla="*/ 74 h 122"/>
                <a:gd name="T18" fmla="*/ 20 w 116"/>
                <a:gd name="T19" fmla="*/ 74 h 122"/>
                <a:gd name="T20" fmla="*/ 20 w 116"/>
                <a:gd name="T21" fmla="*/ 74 h 122"/>
                <a:gd name="T22" fmla="*/ 18 w 116"/>
                <a:gd name="T23" fmla="*/ 72 h 122"/>
                <a:gd name="T24" fmla="*/ 18 w 116"/>
                <a:gd name="T25" fmla="*/ 60 h 122"/>
                <a:gd name="T26" fmla="*/ 22 w 116"/>
                <a:gd name="T27" fmla="*/ 56 h 122"/>
                <a:gd name="T28" fmla="*/ 12 w 116"/>
                <a:gd name="T29" fmla="*/ 44 h 122"/>
                <a:gd name="T30" fmla="*/ 10 w 116"/>
                <a:gd name="T31" fmla="*/ 42 h 122"/>
                <a:gd name="T32" fmla="*/ 2 w 116"/>
                <a:gd name="T33" fmla="*/ 32 h 122"/>
                <a:gd name="T34" fmla="*/ 0 w 116"/>
                <a:gd name="T35" fmla="*/ 30 h 122"/>
                <a:gd name="T36" fmla="*/ 2 w 116"/>
                <a:gd name="T37" fmla="*/ 28 h 122"/>
                <a:gd name="T38" fmla="*/ 10 w 116"/>
                <a:gd name="T39" fmla="*/ 16 h 122"/>
                <a:gd name="T40" fmla="*/ 12 w 116"/>
                <a:gd name="T41" fmla="*/ 14 h 122"/>
                <a:gd name="T42" fmla="*/ 12 w 116"/>
                <a:gd name="T43" fmla="*/ 12 h 122"/>
                <a:gd name="T44" fmla="*/ 20 w 116"/>
                <a:gd name="T45" fmla="*/ 12 h 122"/>
                <a:gd name="T46" fmla="*/ 24 w 116"/>
                <a:gd name="T47" fmla="*/ 16 h 122"/>
                <a:gd name="T48" fmla="*/ 30 w 116"/>
                <a:gd name="T49" fmla="*/ 12 h 122"/>
                <a:gd name="T50" fmla="*/ 26 w 116"/>
                <a:gd name="T51" fmla="*/ 12 h 122"/>
                <a:gd name="T52" fmla="*/ 26 w 116"/>
                <a:gd name="T53" fmla="*/ 2 h 122"/>
                <a:gd name="T54" fmla="*/ 28 w 116"/>
                <a:gd name="T55" fmla="*/ 0 h 122"/>
                <a:gd name="T56" fmla="*/ 38 w 116"/>
                <a:gd name="T57" fmla="*/ 0 h 122"/>
                <a:gd name="T58" fmla="*/ 40 w 116"/>
                <a:gd name="T59" fmla="*/ 6 h 122"/>
                <a:gd name="T60" fmla="*/ 48 w 116"/>
                <a:gd name="T61" fmla="*/ 14 h 122"/>
                <a:gd name="T62" fmla="*/ 50 w 116"/>
                <a:gd name="T63" fmla="*/ 24 h 122"/>
                <a:gd name="T64" fmla="*/ 50 w 116"/>
                <a:gd name="T65" fmla="*/ 24 h 122"/>
                <a:gd name="T66" fmla="*/ 68 w 116"/>
                <a:gd name="T67" fmla="*/ 24 h 122"/>
                <a:gd name="T68" fmla="*/ 76 w 116"/>
                <a:gd name="T69" fmla="*/ 32 h 122"/>
                <a:gd name="T70" fmla="*/ 78 w 116"/>
                <a:gd name="T71" fmla="*/ 42 h 122"/>
                <a:gd name="T72" fmla="*/ 78 w 116"/>
                <a:gd name="T73" fmla="*/ 44 h 122"/>
                <a:gd name="T74" fmla="*/ 66 w 116"/>
                <a:gd name="T75" fmla="*/ 44 h 122"/>
                <a:gd name="T76" fmla="*/ 72 w 116"/>
                <a:gd name="T77" fmla="*/ 54 h 122"/>
                <a:gd name="T78" fmla="*/ 112 w 116"/>
                <a:gd name="T79" fmla="*/ 94 h 122"/>
                <a:gd name="T80" fmla="*/ 112 w 116"/>
                <a:gd name="T81" fmla="*/ 94 h 122"/>
                <a:gd name="T82" fmla="*/ 116 w 116"/>
                <a:gd name="T83" fmla="*/ 106 h 122"/>
                <a:gd name="T84" fmla="*/ 114 w 116"/>
                <a:gd name="T85" fmla="*/ 120 h 122"/>
                <a:gd name="T86" fmla="*/ 112 w 116"/>
                <a:gd name="T87" fmla="*/ 120 h 122"/>
                <a:gd name="T88" fmla="*/ 104 w 116"/>
                <a:gd name="T89" fmla="*/ 120 h 122"/>
                <a:gd name="T90" fmla="*/ 100 w 116"/>
                <a:gd name="T91" fmla="*/ 116 h 122"/>
                <a:gd name="T92" fmla="*/ 96 w 116"/>
                <a:gd name="T93" fmla="*/ 122 h 122"/>
                <a:gd name="T94" fmla="*/ 94 w 116"/>
                <a:gd name="T9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22">
                  <a:moveTo>
                    <a:pt x="84" y="122"/>
                  </a:moveTo>
                  <a:lnTo>
                    <a:pt x="84" y="122"/>
                  </a:lnTo>
                  <a:lnTo>
                    <a:pt x="82" y="120"/>
                  </a:lnTo>
                  <a:lnTo>
                    <a:pt x="82" y="116"/>
                  </a:lnTo>
                  <a:lnTo>
                    <a:pt x="84" y="104"/>
                  </a:lnTo>
                  <a:lnTo>
                    <a:pt x="84" y="98"/>
                  </a:lnTo>
                  <a:lnTo>
                    <a:pt x="76" y="90"/>
                  </a:lnTo>
                  <a:lnTo>
                    <a:pt x="76" y="90"/>
                  </a:lnTo>
                  <a:lnTo>
                    <a:pt x="76" y="88"/>
                  </a:lnTo>
                  <a:lnTo>
                    <a:pt x="72" y="74"/>
                  </a:lnTo>
                  <a:lnTo>
                    <a:pt x="60" y="60"/>
                  </a:lnTo>
                  <a:lnTo>
                    <a:pt x="50" y="66"/>
                  </a:lnTo>
                  <a:lnTo>
                    <a:pt x="50" y="66"/>
                  </a:lnTo>
                  <a:lnTo>
                    <a:pt x="48" y="68"/>
                  </a:lnTo>
                  <a:lnTo>
                    <a:pt x="48" y="68"/>
                  </a:lnTo>
                  <a:lnTo>
                    <a:pt x="48" y="68"/>
                  </a:lnTo>
                  <a:lnTo>
                    <a:pt x="38" y="64"/>
                  </a:lnTo>
                  <a:lnTo>
                    <a:pt x="22" y="74"/>
                  </a:lnTo>
                  <a:lnTo>
                    <a:pt x="22" y="74"/>
                  </a:lnTo>
                  <a:lnTo>
                    <a:pt x="20" y="74"/>
                  </a:lnTo>
                  <a:lnTo>
                    <a:pt x="20" y="74"/>
                  </a:lnTo>
                  <a:lnTo>
                    <a:pt x="20" y="74"/>
                  </a:lnTo>
                  <a:lnTo>
                    <a:pt x="20" y="74"/>
                  </a:lnTo>
                  <a:lnTo>
                    <a:pt x="18" y="72"/>
                  </a:lnTo>
                  <a:lnTo>
                    <a:pt x="18" y="60"/>
                  </a:lnTo>
                  <a:lnTo>
                    <a:pt x="18" y="60"/>
                  </a:lnTo>
                  <a:lnTo>
                    <a:pt x="18" y="58"/>
                  </a:lnTo>
                  <a:lnTo>
                    <a:pt x="22" y="56"/>
                  </a:lnTo>
                  <a:lnTo>
                    <a:pt x="18" y="46"/>
                  </a:lnTo>
                  <a:lnTo>
                    <a:pt x="12" y="44"/>
                  </a:lnTo>
                  <a:lnTo>
                    <a:pt x="12" y="44"/>
                  </a:lnTo>
                  <a:lnTo>
                    <a:pt x="10" y="42"/>
                  </a:lnTo>
                  <a:lnTo>
                    <a:pt x="10" y="38"/>
                  </a:lnTo>
                  <a:lnTo>
                    <a:pt x="2" y="32"/>
                  </a:lnTo>
                  <a:lnTo>
                    <a:pt x="2" y="32"/>
                  </a:lnTo>
                  <a:lnTo>
                    <a:pt x="0" y="30"/>
                  </a:lnTo>
                  <a:lnTo>
                    <a:pt x="0" y="30"/>
                  </a:lnTo>
                  <a:lnTo>
                    <a:pt x="2" y="28"/>
                  </a:lnTo>
                  <a:lnTo>
                    <a:pt x="12" y="22"/>
                  </a:lnTo>
                  <a:lnTo>
                    <a:pt x="10" y="16"/>
                  </a:lnTo>
                  <a:lnTo>
                    <a:pt x="10" y="16"/>
                  </a:lnTo>
                  <a:lnTo>
                    <a:pt x="12" y="14"/>
                  </a:lnTo>
                  <a:lnTo>
                    <a:pt x="12" y="14"/>
                  </a:lnTo>
                  <a:lnTo>
                    <a:pt x="12" y="12"/>
                  </a:lnTo>
                  <a:lnTo>
                    <a:pt x="20" y="12"/>
                  </a:lnTo>
                  <a:lnTo>
                    <a:pt x="20" y="12"/>
                  </a:lnTo>
                  <a:lnTo>
                    <a:pt x="22" y="14"/>
                  </a:lnTo>
                  <a:lnTo>
                    <a:pt x="24" y="16"/>
                  </a:lnTo>
                  <a:lnTo>
                    <a:pt x="30" y="16"/>
                  </a:lnTo>
                  <a:lnTo>
                    <a:pt x="30" y="12"/>
                  </a:lnTo>
                  <a:lnTo>
                    <a:pt x="26" y="12"/>
                  </a:lnTo>
                  <a:lnTo>
                    <a:pt x="26" y="12"/>
                  </a:lnTo>
                  <a:lnTo>
                    <a:pt x="26" y="10"/>
                  </a:lnTo>
                  <a:lnTo>
                    <a:pt x="26" y="2"/>
                  </a:lnTo>
                  <a:lnTo>
                    <a:pt x="26" y="2"/>
                  </a:lnTo>
                  <a:lnTo>
                    <a:pt x="28" y="0"/>
                  </a:lnTo>
                  <a:lnTo>
                    <a:pt x="38" y="0"/>
                  </a:lnTo>
                  <a:lnTo>
                    <a:pt x="38" y="0"/>
                  </a:lnTo>
                  <a:lnTo>
                    <a:pt x="40" y="2"/>
                  </a:lnTo>
                  <a:lnTo>
                    <a:pt x="40" y="6"/>
                  </a:lnTo>
                  <a:lnTo>
                    <a:pt x="48" y="14"/>
                  </a:lnTo>
                  <a:lnTo>
                    <a:pt x="48" y="14"/>
                  </a:lnTo>
                  <a:lnTo>
                    <a:pt x="50" y="14"/>
                  </a:lnTo>
                  <a:lnTo>
                    <a:pt x="50" y="24"/>
                  </a:lnTo>
                  <a:lnTo>
                    <a:pt x="50" y="24"/>
                  </a:lnTo>
                  <a:lnTo>
                    <a:pt x="50" y="24"/>
                  </a:lnTo>
                  <a:lnTo>
                    <a:pt x="68" y="24"/>
                  </a:lnTo>
                  <a:lnTo>
                    <a:pt x="68" y="24"/>
                  </a:lnTo>
                  <a:lnTo>
                    <a:pt x="70" y="24"/>
                  </a:lnTo>
                  <a:lnTo>
                    <a:pt x="76" y="32"/>
                  </a:lnTo>
                  <a:lnTo>
                    <a:pt x="78" y="42"/>
                  </a:lnTo>
                  <a:lnTo>
                    <a:pt x="78" y="42"/>
                  </a:lnTo>
                  <a:lnTo>
                    <a:pt x="78" y="44"/>
                  </a:lnTo>
                  <a:lnTo>
                    <a:pt x="78" y="44"/>
                  </a:lnTo>
                  <a:lnTo>
                    <a:pt x="76" y="44"/>
                  </a:lnTo>
                  <a:lnTo>
                    <a:pt x="66" y="44"/>
                  </a:lnTo>
                  <a:lnTo>
                    <a:pt x="66" y="50"/>
                  </a:lnTo>
                  <a:lnTo>
                    <a:pt x="72" y="54"/>
                  </a:lnTo>
                  <a:lnTo>
                    <a:pt x="94" y="74"/>
                  </a:lnTo>
                  <a:lnTo>
                    <a:pt x="112" y="94"/>
                  </a:lnTo>
                  <a:lnTo>
                    <a:pt x="112" y="94"/>
                  </a:lnTo>
                  <a:lnTo>
                    <a:pt x="112" y="94"/>
                  </a:lnTo>
                  <a:lnTo>
                    <a:pt x="116" y="106"/>
                  </a:lnTo>
                  <a:lnTo>
                    <a:pt x="116" y="106"/>
                  </a:lnTo>
                  <a:lnTo>
                    <a:pt x="116" y="108"/>
                  </a:lnTo>
                  <a:lnTo>
                    <a:pt x="114" y="120"/>
                  </a:lnTo>
                  <a:lnTo>
                    <a:pt x="114" y="120"/>
                  </a:lnTo>
                  <a:lnTo>
                    <a:pt x="112" y="120"/>
                  </a:lnTo>
                  <a:lnTo>
                    <a:pt x="104" y="120"/>
                  </a:lnTo>
                  <a:lnTo>
                    <a:pt x="104" y="120"/>
                  </a:lnTo>
                  <a:lnTo>
                    <a:pt x="102" y="120"/>
                  </a:lnTo>
                  <a:lnTo>
                    <a:pt x="100" y="116"/>
                  </a:lnTo>
                  <a:lnTo>
                    <a:pt x="98" y="116"/>
                  </a:lnTo>
                  <a:lnTo>
                    <a:pt x="96" y="122"/>
                  </a:lnTo>
                  <a:lnTo>
                    <a:pt x="96" y="122"/>
                  </a:lnTo>
                  <a:lnTo>
                    <a:pt x="94" y="122"/>
                  </a:lnTo>
                  <a:lnTo>
                    <a:pt x="84"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1" name="Freeform 1099"/>
            <p:cNvSpPr>
              <a:spLocks noEditPoints="1"/>
            </p:cNvSpPr>
            <p:nvPr/>
          </p:nvSpPr>
          <p:spPr bwMode="auto">
            <a:xfrm>
              <a:off x="4271" y="2197"/>
              <a:ext cx="120" cy="126"/>
            </a:xfrm>
            <a:custGeom>
              <a:avLst/>
              <a:gdLst>
                <a:gd name="T0" fmla="*/ 50 w 120"/>
                <a:gd name="T1" fmla="*/ 16 h 126"/>
                <a:gd name="T2" fmla="*/ 70 w 120"/>
                <a:gd name="T3" fmla="*/ 28 h 126"/>
                <a:gd name="T4" fmla="*/ 66 w 120"/>
                <a:gd name="T5" fmla="*/ 44 h 126"/>
                <a:gd name="T6" fmla="*/ 94 w 120"/>
                <a:gd name="T7" fmla="*/ 78 h 126"/>
                <a:gd name="T8" fmla="*/ 114 w 120"/>
                <a:gd name="T9" fmla="*/ 120 h 126"/>
                <a:gd name="T10" fmla="*/ 98 w 120"/>
                <a:gd name="T11" fmla="*/ 116 h 126"/>
                <a:gd name="T12" fmla="*/ 86 w 120"/>
                <a:gd name="T13" fmla="*/ 118 h 126"/>
                <a:gd name="T14" fmla="*/ 80 w 120"/>
                <a:gd name="T15" fmla="*/ 90 h 126"/>
                <a:gd name="T16" fmla="*/ 50 w 120"/>
                <a:gd name="T17" fmla="*/ 68 h 126"/>
                <a:gd name="T18" fmla="*/ 22 w 120"/>
                <a:gd name="T19" fmla="*/ 62 h 126"/>
                <a:gd name="T20" fmla="*/ 14 w 120"/>
                <a:gd name="T21" fmla="*/ 44 h 126"/>
                <a:gd name="T22" fmla="*/ 16 w 120"/>
                <a:gd name="T23" fmla="*/ 26 h 126"/>
                <a:gd name="T24" fmla="*/ 26 w 120"/>
                <a:gd name="T25" fmla="*/ 20 h 126"/>
                <a:gd name="T26" fmla="*/ 30 w 120"/>
                <a:gd name="T27" fmla="*/ 12 h 126"/>
                <a:gd name="T28" fmla="*/ 40 w 120"/>
                <a:gd name="T29" fmla="*/ 0 h 126"/>
                <a:gd name="T30" fmla="*/ 26 w 120"/>
                <a:gd name="T31" fmla="*/ 2 h 126"/>
                <a:gd name="T32" fmla="*/ 26 w 120"/>
                <a:gd name="T33" fmla="*/ 12 h 126"/>
                <a:gd name="T34" fmla="*/ 30 w 120"/>
                <a:gd name="T35" fmla="*/ 16 h 126"/>
                <a:gd name="T36" fmla="*/ 24 w 120"/>
                <a:gd name="T37" fmla="*/ 14 h 126"/>
                <a:gd name="T38" fmla="*/ 14 w 120"/>
                <a:gd name="T39" fmla="*/ 12 h 126"/>
                <a:gd name="T40" fmla="*/ 12 w 120"/>
                <a:gd name="T41" fmla="*/ 14 h 126"/>
                <a:gd name="T42" fmla="*/ 2 w 120"/>
                <a:gd name="T43" fmla="*/ 30 h 126"/>
                <a:gd name="T44" fmla="*/ 0 w 120"/>
                <a:gd name="T45" fmla="*/ 32 h 126"/>
                <a:gd name="T46" fmla="*/ 10 w 120"/>
                <a:gd name="T47" fmla="*/ 44 h 126"/>
                <a:gd name="T48" fmla="*/ 14 w 120"/>
                <a:gd name="T49" fmla="*/ 48 h 126"/>
                <a:gd name="T50" fmla="*/ 20 w 120"/>
                <a:gd name="T51" fmla="*/ 60 h 126"/>
                <a:gd name="T52" fmla="*/ 18 w 120"/>
                <a:gd name="T53" fmla="*/ 74 h 126"/>
                <a:gd name="T54" fmla="*/ 20 w 120"/>
                <a:gd name="T55" fmla="*/ 78 h 126"/>
                <a:gd name="T56" fmla="*/ 24 w 120"/>
                <a:gd name="T57" fmla="*/ 78 h 126"/>
                <a:gd name="T58" fmla="*/ 50 w 120"/>
                <a:gd name="T59" fmla="*/ 72 h 126"/>
                <a:gd name="T60" fmla="*/ 54 w 120"/>
                <a:gd name="T61" fmla="*/ 70 h 126"/>
                <a:gd name="T62" fmla="*/ 76 w 120"/>
                <a:gd name="T63" fmla="*/ 90 h 126"/>
                <a:gd name="T64" fmla="*/ 84 w 120"/>
                <a:gd name="T65" fmla="*/ 100 h 126"/>
                <a:gd name="T66" fmla="*/ 82 w 120"/>
                <a:gd name="T67" fmla="*/ 116 h 126"/>
                <a:gd name="T68" fmla="*/ 82 w 120"/>
                <a:gd name="T69" fmla="*/ 122 h 126"/>
                <a:gd name="T70" fmla="*/ 96 w 120"/>
                <a:gd name="T71" fmla="*/ 126 h 126"/>
                <a:gd name="T72" fmla="*/ 100 w 120"/>
                <a:gd name="T73" fmla="*/ 124 h 126"/>
                <a:gd name="T74" fmla="*/ 102 w 120"/>
                <a:gd name="T75" fmla="*/ 122 h 126"/>
                <a:gd name="T76" fmla="*/ 114 w 120"/>
                <a:gd name="T77" fmla="*/ 124 h 126"/>
                <a:gd name="T78" fmla="*/ 118 w 120"/>
                <a:gd name="T79" fmla="*/ 122 h 126"/>
                <a:gd name="T80" fmla="*/ 120 w 120"/>
                <a:gd name="T81" fmla="*/ 108 h 126"/>
                <a:gd name="T82" fmla="*/ 116 w 120"/>
                <a:gd name="T83" fmla="*/ 94 h 126"/>
                <a:gd name="T84" fmla="*/ 76 w 120"/>
                <a:gd name="T85" fmla="*/ 54 h 126"/>
                <a:gd name="T86" fmla="*/ 70 w 120"/>
                <a:gd name="T87" fmla="*/ 48 h 126"/>
                <a:gd name="T88" fmla="*/ 82 w 120"/>
                <a:gd name="T89" fmla="*/ 48 h 126"/>
                <a:gd name="T90" fmla="*/ 80 w 120"/>
                <a:gd name="T91" fmla="*/ 36 h 126"/>
                <a:gd name="T92" fmla="*/ 74 w 120"/>
                <a:gd name="T93" fmla="*/ 26 h 126"/>
                <a:gd name="T94" fmla="*/ 70 w 120"/>
                <a:gd name="T95" fmla="*/ 24 h 126"/>
                <a:gd name="T96" fmla="*/ 54 w 120"/>
                <a:gd name="T97" fmla="*/ 16 h 126"/>
                <a:gd name="T98" fmla="*/ 44 w 120"/>
                <a:gd name="T99" fmla="*/ 6 h 126"/>
                <a:gd name="T100" fmla="*/ 42 w 120"/>
                <a:gd name="T10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6">
                  <a:moveTo>
                    <a:pt x="40" y="4"/>
                  </a:moveTo>
                  <a:lnTo>
                    <a:pt x="40" y="8"/>
                  </a:lnTo>
                  <a:lnTo>
                    <a:pt x="50" y="16"/>
                  </a:lnTo>
                  <a:lnTo>
                    <a:pt x="50" y="26"/>
                  </a:lnTo>
                  <a:lnTo>
                    <a:pt x="50" y="30"/>
                  </a:lnTo>
                  <a:lnTo>
                    <a:pt x="70" y="28"/>
                  </a:lnTo>
                  <a:lnTo>
                    <a:pt x="76" y="36"/>
                  </a:lnTo>
                  <a:lnTo>
                    <a:pt x="78" y="44"/>
                  </a:lnTo>
                  <a:lnTo>
                    <a:pt x="66" y="44"/>
                  </a:lnTo>
                  <a:lnTo>
                    <a:pt x="66" y="54"/>
                  </a:lnTo>
                  <a:lnTo>
                    <a:pt x="72" y="56"/>
                  </a:lnTo>
                  <a:lnTo>
                    <a:pt x="94" y="78"/>
                  </a:lnTo>
                  <a:lnTo>
                    <a:pt x="112" y="96"/>
                  </a:lnTo>
                  <a:lnTo>
                    <a:pt x="116" y="108"/>
                  </a:lnTo>
                  <a:lnTo>
                    <a:pt x="114" y="120"/>
                  </a:lnTo>
                  <a:lnTo>
                    <a:pt x="106" y="120"/>
                  </a:lnTo>
                  <a:lnTo>
                    <a:pt x="104" y="116"/>
                  </a:lnTo>
                  <a:lnTo>
                    <a:pt x="98" y="116"/>
                  </a:lnTo>
                  <a:lnTo>
                    <a:pt x="96" y="122"/>
                  </a:lnTo>
                  <a:lnTo>
                    <a:pt x="86" y="122"/>
                  </a:lnTo>
                  <a:lnTo>
                    <a:pt x="86" y="118"/>
                  </a:lnTo>
                  <a:lnTo>
                    <a:pt x="88" y="108"/>
                  </a:lnTo>
                  <a:lnTo>
                    <a:pt x="88" y="98"/>
                  </a:lnTo>
                  <a:lnTo>
                    <a:pt x="80" y="90"/>
                  </a:lnTo>
                  <a:lnTo>
                    <a:pt x="76" y="76"/>
                  </a:lnTo>
                  <a:lnTo>
                    <a:pt x="62" y="60"/>
                  </a:lnTo>
                  <a:lnTo>
                    <a:pt x="50" y="68"/>
                  </a:lnTo>
                  <a:lnTo>
                    <a:pt x="40" y="64"/>
                  </a:lnTo>
                  <a:lnTo>
                    <a:pt x="22" y="74"/>
                  </a:lnTo>
                  <a:lnTo>
                    <a:pt x="22" y="62"/>
                  </a:lnTo>
                  <a:lnTo>
                    <a:pt x="26" y="58"/>
                  </a:lnTo>
                  <a:lnTo>
                    <a:pt x="22" y="46"/>
                  </a:lnTo>
                  <a:lnTo>
                    <a:pt x="14" y="44"/>
                  </a:lnTo>
                  <a:lnTo>
                    <a:pt x="14" y="38"/>
                  </a:lnTo>
                  <a:lnTo>
                    <a:pt x="4" y="32"/>
                  </a:lnTo>
                  <a:lnTo>
                    <a:pt x="16" y="26"/>
                  </a:lnTo>
                  <a:lnTo>
                    <a:pt x="14" y="16"/>
                  </a:lnTo>
                  <a:lnTo>
                    <a:pt x="22" y="16"/>
                  </a:lnTo>
                  <a:lnTo>
                    <a:pt x="26" y="20"/>
                  </a:lnTo>
                  <a:lnTo>
                    <a:pt x="32" y="20"/>
                  </a:lnTo>
                  <a:lnTo>
                    <a:pt x="34" y="14"/>
                  </a:lnTo>
                  <a:lnTo>
                    <a:pt x="30" y="12"/>
                  </a:lnTo>
                  <a:lnTo>
                    <a:pt x="30" y="4"/>
                  </a:lnTo>
                  <a:lnTo>
                    <a:pt x="40" y="4"/>
                  </a:lnTo>
                  <a:close/>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2" name="Freeform 1100"/>
            <p:cNvSpPr>
              <a:spLocks/>
            </p:cNvSpPr>
            <p:nvPr/>
          </p:nvSpPr>
          <p:spPr bwMode="auto">
            <a:xfrm>
              <a:off x="4275" y="2201"/>
              <a:ext cx="112" cy="118"/>
            </a:xfrm>
            <a:custGeom>
              <a:avLst/>
              <a:gdLst>
                <a:gd name="T0" fmla="*/ 36 w 112"/>
                <a:gd name="T1" fmla="*/ 0 h 118"/>
                <a:gd name="T2" fmla="*/ 36 w 112"/>
                <a:gd name="T3" fmla="*/ 4 h 118"/>
                <a:gd name="T4" fmla="*/ 46 w 112"/>
                <a:gd name="T5" fmla="*/ 12 h 118"/>
                <a:gd name="T6" fmla="*/ 46 w 112"/>
                <a:gd name="T7" fmla="*/ 22 h 118"/>
                <a:gd name="T8" fmla="*/ 46 w 112"/>
                <a:gd name="T9" fmla="*/ 26 h 118"/>
                <a:gd name="T10" fmla="*/ 66 w 112"/>
                <a:gd name="T11" fmla="*/ 24 h 118"/>
                <a:gd name="T12" fmla="*/ 72 w 112"/>
                <a:gd name="T13" fmla="*/ 32 h 118"/>
                <a:gd name="T14" fmla="*/ 74 w 112"/>
                <a:gd name="T15" fmla="*/ 40 h 118"/>
                <a:gd name="T16" fmla="*/ 62 w 112"/>
                <a:gd name="T17" fmla="*/ 40 h 118"/>
                <a:gd name="T18" fmla="*/ 62 w 112"/>
                <a:gd name="T19" fmla="*/ 50 h 118"/>
                <a:gd name="T20" fmla="*/ 68 w 112"/>
                <a:gd name="T21" fmla="*/ 52 h 118"/>
                <a:gd name="T22" fmla="*/ 90 w 112"/>
                <a:gd name="T23" fmla="*/ 74 h 118"/>
                <a:gd name="T24" fmla="*/ 108 w 112"/>
                <a:gd name="T25" fmla="*/ 92 h 118"/>
                <a:gd name="T26" fmla="*/ 112 w 112"/>
                <a:gd name="T27" fmla="*/ 104 h 118"/>
                <a:gd name="T28" fmla="*/ 110 w 112"/>
                <a:gd name="T29" fmla="*/ 116 h 118"/>
                <a:gd name="T30" fmla="*/ 102 w 112"/>
                <a:gd name="T31" fmla="*/ 116 h 118"/>
                <a:gd name="T32" fmla="*/ 100 w 112"/>
                <a:gd name="T33" fmla="*/ 112 h 118"/>
                <a:gd name="T34" fmla="*/ 94 w 112"/>
                <a:gd name="T35" fmla="*/ 112 h 118"/>
                <a:gd name="T36" fmla="*/ 92 w 112"/>
                <a:gd name="T37" fmla="*/ 118 h 118"/>
                <a:gd name="T38" fmla="*/ 82 w 112"/>
                <a:gd name="T39" fmla="*/ 118 h 118"/>
                <a:gd name="T40" fmla="*/ 82 w 112"/>
                <a:gd name="T41" fmla="*/ 114 h 118"/>
                <a:gd name="T42" fmla="*/ 84 w 112"/>
                <a:gd name="T43" fmla="*/ 104 h 118"/>
                <a:gd name="T44" fmla="*/ 84 w 112"/>
                <a:gd name="T45" fmla="*/ 94 h 118"/>
                <a:gd name="T46" fmla="*/ 76 w 112"/>
                <a:gd name="T47" fmla="*/ 86 h 118"/>
                <a:gd name="T48" fmla="*/ 72 w 112"/>
                <a:gd name="T49" fmla="*/ 72 h 118"/>
                <a:gd name="T50" fmla="*/ 58 w 112"/>
                <a:gd name="T51" fmla="*/ 56 h 118"/>
                <a:gd name="T52" fmla="*/ 46 w 112"/>
                <a:gd name="T53" fmla="*/ 64 h 118"/>
                <a:gd name="T54" fmla="*/ 36 w 112"/>
                <a:gd name="T55" fmla="*/ 60 h 118"/>
                <a:gd name="T56" fmla="*/ 18 w 112"/>
                <a:gd name="T57" fmla="*/ 70 h 118"/>
                <a:gd name="T58" fmla="*/ 18 w 112"/>
                <a:gd name="T59" fmla="*/ 58 h 118"/>
                <a:gd name="T60" fmla="*/ 22 w 112"/>
                <a:gd name="T61" fmla="*/ 54 h 118"/>
                <a:gd name="T62" fmla="*/ 18 w 112"/>
                <a:gd name="T63" fmla="*/ 42 h 118"/>
                <a:gd name="T64" fmla="*/ 10 w 112"/>
                <a:gd name="T65" fmla="*/ 40 h 118"/>
                <a:gd name="T66" fmla="*/ 10 w 112"/>
                <a:gd name="T67" fmla="*/ 34 h 118"/>
                <a:gd name="T68" fmla="*/ 0 w 112"/>
                <a:gd name="T69" fmla="*/ 28 h 118"/>
                <a:gd name="T70" fmla="*/ 12 w 112"/>
                <a:gd name="T71" fmla="*/ 22 h 118"/>
                <a:gd name="T72" fmla="*/ 10 w 112"/>
                <a:gd name="T73" fmla="*/ 12 h 118"/>
                <a:gd name="T74" fmla="*/ 18 w 112"/>
                <a:gd name="T75" fmla="*/ 12 h 118"/>
                <a:gd name="T76" fmla="*/ 22 w 112"/>
                <a:gd name="T77" fmla="*/ 16 h 118"/>
                <a:gd name="T78" fmla="*/ 28 w 112"/>
                <a:gd name="T79" fmla="*/ 16 h 118"/>
                <a:gd name="T80" fmla="*/ 30 w 112"/>
                <a:gd name="T81" fmla="*/ 10 h 118"/>
                <a:gd name="T82" fmla="*/ 26 w 112"/>
                <a:gd name="T83" fmla="*/ 8 h 118"/>
                <a:gd name="T84" fmla="*/ 26 w 112"/>
                <a:gd name="T85" fmla="*/ 0 h 118"/>
                <a:gd name="T86" fmla="*/ 36 w 112"/>
                <a:gd name="T8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118">
                  <a:moveTo>
                    <a:pt x="36" y="0"/>
                  </a:moveTo>
                  <a:lnTo>
                    <a:pt x="36" y="4"/>
                  </a:lnTo>
                  <a:lnTo>
                    <a:pt x="46" y="12"/>
                  </a:lnTo>
                  <a:lnTo>
                    <a:pt x="46" y="22"/>
                  </a:lnTo>
                  <a:lnTo>
                    <a:pt x="46" y="26"/>
                  </a:lnTo>
                  <a:lnTo>
                    <a:pt x="66" y="24"/>
                  </a:lnTo>
                  <a:lnTo>
                    <a:pt x="72" y="32"/>
                  </a:lnTo>
                  <a:lnTo>
                    <a:pt x="74" y="40"/>
                  </a:lnTo>
                  <a:lnTo>
                    <a:pt x="62" y="40"/>
                  </a:lnTo>
                  <a:lnTo>
                    <a:pt x="62" y="50"/>
                  </a:lnTo>
                  <a:lnTo>
                    <a:pt x="68" y="52"/>
                  </a:lnTo>
                  <a:lnTo>
                    <a:pt x="90" y="74"/>
                  </a:lnTo>
                  <a:lnTo>
                    <a:pt x="108" y="92"/>
                  </a:lnTo>
                  <a:lnTo>
                    <a:pt x="112" y="104"/>
                  </a:lnTo>
                  <a:lnTo>
                    <a:pt x="110" y="116"/>
                  </a:lnTo>
                  <a:lnTo>
                    <a:pt x="102" y="116"/>
                  </a:lnTo>
                  <a:lnTo>
                    <a:pt x="100" y="112"/>
                  </a:lnTo>
                  <a:lnTo>
                    <a:pt x="94" y="112"/>
                  </a:lnTo>
                  <a:lnTo>
                    <a:pt x="92" y="118"/>
                  </a:lnTo>
                  <a:lnTo>
                    <a:pt x="82" y="118"/>
                  </a:lnTo>
                  <a:lnTo>
                    <a:pt x="82" y="114"/>
                  </a:lnTo>
                  <a:lnTo>
                    <a:pt x="84" y="104"/>
                  </a:lnTo>
                  <a:lnTo>
                    <a:pt x="84" y="94"/>
                  </a:lnTo>
                  <a:lnTo>
                    <a:pt x="76" y="86"/>
                  </a:lnTo>
                  <a:lnTo>
                    <a:pt x="72" y="72"/>
                  </a:lnTo>
                  <a:lnTo>
                    <a:pt x="58" y="56"/>
                  </a:lnTo>
                  <a:lnTo>
                    <a:pt x="46" y="64"/>
                  </a:lnTo>
                  <a:lnTo>
                    <a:pt x="36" y="60"/>
                  </a:lnTo>
                  <a:lnTo>
                    <a:pt x="18" y="70"/>
                  </a:lnTo>
                  <a:lnTo>
                    <a:pt x="18" y="58"/>
                  </a:lnTo>
                  <a:lnTo>
                    <a:pt x="22" y="54"/>
                  </a:lnTo>
                  <a:lnTo>
                    <a:pt x="18" y="42"/>
                  </a:lnTo>
                  <a:lnTo>
                    <a:pt x="10" y="40"/>
                  </a:lnTo>
                  <a:lnTo>
                    <a:pt x="10" y="34"/>
                  </a:lnTo>
                  <a:lnTo>
                    <a:pt x="0" y="28"/>
                  </a:lnTo>
                  <a:lnTo>
                    <a:pt x="12" y="22"/>
                  </a:lnTo>
                  <a:lnTo>
                    <a:pt x="10" y="12"/>
                  </a:lnTo>
                  <a:lnTo>
                    <a:pt x="18" y="12"/>
                  </a:lnTo>
                  <a:lnTo>
                    <a:pt x="22" y="16"/>
                  </a:lnTo>
                  <a:lnTo>
                    <a:pt x="28" y="16"/>
                  </a:lnTo>
                  <a:lnTo>
                    <a:pt x="30" y="10"/>
                  </a:lnTo>
                  <a:lnTo>
                    <a:pt x="26" y="8"/>
                  </a:lnTo>
                  <a:lnTo>
                    <a:pt x="2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3" name="Freeform 1101"/>
            <p:cNvSpPr>
              <a:spLocks/>
            </p:cNvSpPr>
            <p:nvPr/>
          </p:nvSpPr>
          <p:spPr bwMode="auto">
            <a:xfrm>
              <a:off x="4271" y="2197"/>
              <a:ext cx="120" cy="126"/>
            </a:xfrm>
            <a:custGeom>
              <a:avLst/>
              <a:gdLst>
                <a:gd name="T0" fmla="*/ 30 w 120"/>
                <a:gd name="T1" fmla="*/ 0 h 126"/>
                <a:gd name="T2" fmla="*/ 26 w 120"/>
                <a:gd name="T3" fmla="*/ 2 h 126"/>
                <a:gd name="T4" fmla="*/ 26 w 120"/>
                <a:gd name="T5" fmla="*/ 12 h 126"/>
                <a:gd name="T6" fmla="*/ 26 w 120"/>
                <a:gd name="T7" fmla="*/ 14 h 126"/>
                <a:gd name="T8" fmla="*/ 30 w 120"/>
                <a:gd name="T9" fmla="*/ 16 h 126"/>
                <a:gd name="T10" fmla="*/ 28 w 120"/>
                <a:gd name="T11" fmla="*/ 16 h 126"/>
                <a:gd name="T12" fmla="*/ 24 w 120"/>
                <a:gd name="T13" fmla="*/ 14 h 126"/>
                <a:gd name="T14" fmla="*/ 14 w 120"/>
                <a:gd name="T15" fmla="*/ 12 h 126"/>
                <a:gd name="T16" fmla="*/ 12 w 120"/>
                <a:gd name="T17" fmla="*/ 14 h 126"/>
                <a:gd name="T18" fmla="*/ 10 w 120"/>
                <a:gd name="T19" fmla="*/ 18 h 126"/>
                <a:gd name="T20" fmla="*/ 2 w 120"/>
                <a:gd name="T21" fmla="*/ 30 h 126"/>
                <a:gd name="T22" fmla="*/ 0 w 120"/>
                <a:gd name="T23" fmla="*/ 32 h 126"/>
                <a:gd name="T24" fmla="*/ 2 w 120"/>
                <a:gd name="T25" fmla="*/ 36 h 126"/>
                <a:gd name="T26" fmla="*/ 10 w 120"/>
                <a:gd name="T27" fmla="*/ 44 h 126"/>
                <a:gd name="T28" fmla="*/ 12 w 120"/>
                <a:gd name="T29" fmla="*/ 48 h 126"/>
                <a:gd name="T30" fmla="*/ 18 w 120"/>
                <a:gd name="T31" fmla="*/ 50 h 126"/>
                <a:gd name="T32" fmla="*/ 20 w 120"/>
                <a:gd name="T33" fmla="*/ 60 h 126"/>
                <a:gd name="T34" fmla="*/ 18 w 120"/>
                <a:gd name="T35" fmla="*/ 62 h 126"/>
                <a:gd name="T36" fmla="*/ 18 w 120"/>
                <a:gd name="T37" fmla="*/ 74 h 126"/>
                <a:gd name="T38" fmla="*/ 20 w 120"/>
                <a:gd name="T39" fmla="*/ 78 h 126"/>
                <a:gd name="T40" fmla="*/ 22 w 120"/>
                <a:gd name="T41" fmla="*/ 78 h 126"/>
                <a:gd name="T42" fmla="*/ 40 w 120"/>
                <a:gd name="T43" fmla="*/ 68 h 126"/>
                <a:gd name="T44" fmla="*/ 50 w 120"/>
                <a:gd name="T45" fmla="*/ 72 h 126"/>
                <a:gd name="T46" fmla="*/ 50 w 120"/>
                <a:gd name="T47" fmla="*/ 72 h 126"/>
                <a:gd name="T48" fmla="*/ 62 w 120"/>
                <a:gd name="T49" fmla="*/ 66 h 126"/>
                <a:gd name="T50" fmla="*/ 76 w 120"/>
                <a:gd name="T51" fmla="*/ 90 h 126"/>
                <a:gd name="T52" fmla="*/ 78 w 120"/>
                <a:gd name="T53" fmla="*/ 92 h 126"/>
                <a:gd name="T54" fmla="*/ 84 w 120"/>
                <a:gd name="T55" fmla="*/ 106 h 126"/>
                <a:gd name="T56" fmla="*/ 82 w 120"/>
                <a:gd name="T57" fmla="*/ 116 h 126"/>
                <a:gd name="T58" fmla="*/ 82 w 120"/>
                <a:gd name="T59" fmla="*/ 122 h 126"/>
                <a:gd name="T60" fmla="*/ 82 w 120"/>
                <a:gd name="T61" fmla="*/ 126 h 126"/>
                <a:gd name="T62" fmla="*/ 96 w 120"/>
                <a:gd name="T63" fmla="*/ 126 h 126"/>
                <a:gd name="T64" fmla="*/ 98 w 120"/>
                <a:gd name="T65" fmla="*/ 126 h 126"/>
                <a:gd name="T66" fmla="*/ 100 w 120"/>
                <a:gd name="T67" fmla="*/ 120 h 126"/>
                <a:gd name="T68" fmla="*/ 102 w 120"/>
                <a:gd name="T69" fmla="*/ 122 h 126"/>
                <a:gd name="T70" fmla="*/ 106 w 120"/>
                <a:gd name="T71" fmla="*/ 124 h 126"/>
                <a:gd name="T72" fmla="*/ 114 w 120"/>
                <a:gd name="T73" fmla="*/ 124 h 126"/>
                <a:gd name="T74" fmla="*/ 118 w 120"/>
                <a:gd name="T75" fmla="*/ 122 h 126"/>
                <a:gd name="T76" fmla="*/ 120 w 120"/>
                <a:gd name="T77" fmla="*/ 110 h 126"/>
                <a:gd name="T78" fmla="*/ 116 w 120"/>
                <a:gd name="T79" fmla="*/ 96 h 126"/>
                <a:gd name="T80" fmla="*/ 116 w 120"/>
                <a:gd name="T81" fmla="*/ 94 h 126"/>
                <a:gd name="T82" fmla="*/ 76 w 120"/>
                <a:gd name="T83" fmla="*/ 54 h 126"/>
                <a:gd name="T84" fmla="*/ 74 w 120"/>
                <a:gd name="T85" fmla="*/ 54 h 126"/>
                <a:gd name="T86" fmla="*/ 70 w 120"/>
                <a:gd name="T87" fmla="*/ 48 h 126"/>
                <a:gd name="T88" fmla="*/ 78 w 120"/>
                <a:gd name="T89" fmla="*/ 48 h 126"/>
                <a:gd name="T90" fmla="*/ 82 w 120"/>
                <a:gd name="T91" fmla="*/ 48 h 126"/>
                <a:gd name="T92" fmla="*/ 80 w 120"/>
                <a:gd name="T93" fmla="*/ 36 h 126"/>
                <a:gd name="T94" fmla="*/ 80 w 120"/>
                <a:gd name="T95" fmla="*/ 34 h 126"/>
                <a:gd name="T96" fmla="*/ 74 w 120"/>
                <a:gd name="T97" fmla="*/ 26 h 126"/>
                <a:gd name="T98" fmla="*/ 70 w 120"/>
                <a:gd name="T99" fmla="*/ 24 h 126"/>
                <a:gd name="T100" fmla="*/ 54 w 120"/>
                <a:gd name="T101" fmla="*/ 24 h 126"/>
                <a:gd name="T102" fmla="*/ 54 w 120"/>
                <a:gd name="T103" fmla="*/ 16 h 126"/>
                <a:gd name="T104" fmla="*/ 44 w 120"/>
                <a:gd name="T105" fmla="*/ 6 h 126"/>
                <a:gd name="T106" fmla="*/ 44 w 120"/>
                <a:gd name="T107" fmla="*/ 4 h 126"/>
                <a:gd name="T108" fmla="*/ 40 w 120"/>
                <a:gd name="T10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26">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4" name="Freeform 1102"/>
            <p:cNvSpPr>
              <a:spLocks/>
            </p:cNvSpPr>
            <p:nvPr/>
          </p:nvSpPr>
          <p:spPr bwMode="auto">
            <a:xfrm>
              <a:off x="4105" y="1711"/>
              <a:ext cx="458" cy="190"/>
            </a:xfrm>
            <a:custGeom>
              <a:avLst/>
              <a:gdLst>
                <a:gd name="T0" fmla="*/ 172 w 458"/>
                <a:gd name="T1" fmla="*/ 174 h 190"/>
                <a:gd name="T2" fmla="*/ 122 w 458"/>
                <a:gd name="T3" fmla="*/ 172 h 190"/>
                <a:gd name="T4" fmla="*/ 92 w 458"/>
                <a:gd name="T5" fmla="*/ 142 h 190"/>
                <a:gd name="T6" fmla="*/ 54 w 458"/>
                <a:gd name="T7" fmla="*/ 132 h 190"/>
                <a:gd name="T8" fmla="*/ 46 w 458"/>
                <a:gd name="T9" fmla="*/ 128 h 190"/>
                <a:gd name="T10" fmla="*/ 42 w 458"/>
                <a:gd name="T11" fmla="*/ 116 h 190"/>
                <a:gd name="T12" fmla="*/ 46 w 458"/>
                <a:gd name="T13" fmla="*/ 102 h 190"/>
                <a:gd name="T14" fmla="*/ 14 w 458"/>
                <a:gd name="T15" fmla="*/ 78 h 190"/>
                <a:gd name="T16" fmla="*/ 4 w 458"/>
                <a:gd name="T17" fmla="*/ 68 h 190"/>
                <a:gd name="T18" fmla="*/ 0 w 458"/>
                <a:gd name="T19" fmla="*/ 58 h 190"/>
                <a:gd name="T20" fmla="*/ 8 w 458"/>
                <a:gd name="T21" fmla="*/ 50 h 190"/>
                <a:gd name="T22" fmla="*/ 20 w 458"/>
                <a:gd name="T23" fmla="*/ 48 h 190"/>
                <a:gd name="T24" fmla="*/ 58 w 458"/>
                <a:gd name="T25" fmla="*/ 24 h 190"/>
                <a:gd name="T26" fmla="*/ 74 w 458"/>
                <a:gd name="T27" fmla="*/ 26 h 190"/>
                <a:gd name="T28" fmla="*/ 94 w 458"/>
                <a:gd name="T29" fmla="*/ 30 h 190"/>
                <a:gd name="T30" fmla="*/ 130 w 458"/>
                <a:gd name="T31" fmla="*/ 40 h 190"/>
                <a:gd name="T32" fmla="*/ 146 w 458"/>
                <a:gd name="T33" fmla="*/ 38 h 190"/>
                <a:gd name="T34" fmla="*/ 138 w 458"/>
                <a:gd name="T35" fmla="*/ 20 h 190"/>
                <a:gd name="T36" fmla="*/ 154 w 458"/>
                <a:gd name="T37" fmla="*/ 2 h 190"/>
                <a:gd name="T38" fmla="*/ 168 w 458"/>
                <a:gd name="T39" fmla="*/ 2 h 190"/>
                <a:gd name="T40" fmla="*/ 202 w 458"/>
                <a:gd name="T41" fmla="*/ 14 h 190"/>
                <a:gd name="T42" fmla="*/ 214 w 458"/>
                <a:gd name="T43" fmla="*/ 32 h 190"/>
                <a:gd name="T44" fmla="*/ 248 w 458"/>
                <a:gd name="T45" fmla="*/ 30 h 190"/>
                <a:gd name="T46" fmla="*/ 248 w 458"/>
                <a:gd name="T47" fmla="*/ 30 h 190"/>
                <a:gd name="T48" fmla="*/ 272 w 458"/>
                <a:gd name="T49" fmla="*/ 34 h 190"/>
                <a:gd name="T50" fmla="*/ 284 w 458"/>
                <a:gd name="T51" fmla="*/ 40 h 190"/>
                <a:gd name="T52" fmla="*/ 296 w 458"/>
                <a:gd name="T53" fmla="*/ 52 h 190"/>
                <a:gd name="T54" fmla="*/ 356 w 458"/>
                <a:gd name="T55" fmla="*/ 48 h 190"/>
                <a:gd name="T56" fmla="*/ 372 w 458"/>
                <a:gd name="T57" fmla="*/ 34 h 190"/>
                <a:gd name="T58" fmla="*/ 382 w 458"/>
                <a:gd name="T59" fmla="*/ 32 h 190"/>
                <a:gd name="T60" fmla="*/ 384 w 458"/>
                <a:gd name="T61" fmla="*/ 34 h 190"/>
                <a:gd name="T62" fmla="*/ 410 w 458"/>
                <a:gd name="T63" fmla="*/ 40 h 190"/>
                <a:gd name="T64" fmla="*/ 412 w 458"/>
                <a:gd name="T65" fmla="*/ 42 h 190"/>
                <a:gd name="T66" fmla="*/ 404 w 458"/>
                <a:gd name="T67" fmla="*/ 58 h 190"/>
                <a:gd name="T68" fmla="*/ 426 w 458"/>
                <a:gd name="T69" fmla="*/ 72 h 190"/>
                <a:gd name="T70" fmla="*/ 426 w 458"/>
                <a:gd name="T71" fmla="*/ 72 h 190"/>
                <a:gd name="T72" fmla="*/ 436 w 458"/>
                <a:gd name="T73" fmla="*/ 74 h 190"/>
                <a:gd name="T74" fmla="*/ 454 w 458"/>
                <a:gd name="T75" fmla="*/ 92 h 190"/>
                <a:gd name="T76" fmla="*/ 458 w 458"/>
                <a:gd name="T77" fmla="*/ 102 h 190"/>
                <a:gd name="T78" fmla="*/ 456 w 458"/>
                <a:gd name="T79" fmla="*/ 104 h 190"/>
                <a:gd name="T80" fmla="*/ 430 w 458"/>
                <a:gd name="T81" fmla="*/ 102 h 190"/>
                <a:gd name="T82" fmla="*/ 398 w 458"/>
                <a:gd name="T83" fmla="*/ 122 h 190"/>
                <a:gd name="T84" fmla="*/ 372 w 458"/>
                <a:gd name="T85" fmla="*/ 134 h 190"/>
                <a:gd name="T86" fmla="*/ 370 w 458"/>
                <a:gd name="T87" fmla="*/ 134 h 190"/>
                <a:gd name="T88" fmla="*/ 338 w 458"/>
                <a:gd name="T89" fmla="*/ 142 h 190"/>
                <a:gd name="T90" fmla="*/ 342 w 458"/>
                <a:gd name="T91" fmla="*/ 154 h 190"/>
                <a:gd name="T92" fmla="*/ 328 w 458"/>
                <a:gd name="T93" fmla="*/ 166 h 190"/>
                <a:gd name="T94" fmla="*/ 310 w 458"/>
                <a:gd name="T95" fmla="*/ 178 h 190"/>
                <a:gd name="T96" fmla="*/ 252 w 458"/>
                <a:gd name="T97" fmla="*/ 190 h 190"/>
                <a:gd name="T98" fmla="*/ 250 w 458"/>
                <a:gd name="T9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190">
                  <a:moveTo>
                    <a:pt x="218" y="186"/>
                  </a:moveTo>
                  <a:lnTo>
                    <a:pt x="196" y="176"/>
                  </a:lnTo>
                  <a:lnTo>
                    <a:pt x="172" y="174"/>
                  </a:lnTo>
                  <a:lnTo>
                    <a:pt x="124" y="172"/>
                  </a:lnTo>
                  <a:lnTo>
                    <a:pt x="124" y="172"/>
                  </a:lnTo>
                  <a:lnTo>
                    <a:pt x="122" y="172"/>
                  </a:lnTo>
                  <a:lnTo>
                    <a:pt x="116" y="162"/>
                  </a:lnTo>
                  <a:lnTo>
                    <a:pt x="112" y="152"/>
                  </a:lnTo>
                  <a:lnTo>
                    <a:pt x="92" y="142"/>
                  </a:lnTo>
                  <a:lnTo>
                    <a:pt x="84" y="132"/>
                  </a:lnTo>
                  <a:lnTo>
                    <a:pt x="54" y="132"/>
                  </a:lnTo>
                  <a:lnTo>
                    <a:pt x="54" y="132"/>
                  </a:lnTo>
                  <a:lnTo>
                    <a:pt x="54" y="130"/>
                  </a:lnTo>
                  <a:lnTo>
                    <a:pt x="46" y="128"/>
                  </a:lnTo>
                  <a:lnTo>
                    <a:pt x="46" y="128"/>
                  </a:lnTo>
                  <a:lnTo>
                    <a:pt x="44" y="126"/>
                  </a:lnTo>
                  <a:lnTo>
                    <a:pt x="42" y="116"/>
                  </a:lnTo>
                  <a:lnTo>
                    <a:pt x="42" y="116"/>
                  </a:lnTo>
                  <a:lnTo>
                    <a:pt x="42" y="114"/>
                  </a:lnTo>
                  <a:lnTo>
                    <a:pt x="46" y="108"/>
                  </a:lnTo>
                  <a:lnTo>
                    <a:pt x="46" y="102"/>
                  </a:lnTo>
                  <a:lnTo>
                    <a:pt x="40" y="92"/>
                  </a:lnTo>
                  <a:lnTo>
                    <a:pt x="28" y="80"/>
                  </a:lnTo>
                  <a:lnTo>
                    <a:pt x="14" y="78"/>
                  </a:lnTo>
                  <a:lnTo>
                    <a:pt x="14" y="78"/>
                  </a:lnTo>
                  <a:lnTo>
                    <a:pt x="14" y="78"/>
                  </a:lnTo>
                  <a:lnTo>
                    <a:pt x="4" y="68"/>
                  </a:lnTo>
                  <a:lnTo>
                    <a:pt x="4" y="68"/>
                  </a:lnTo>
                  <a:lnTo>
                    <a:pt x="4" y="68"/>
                  </a:lnTo>
                  <a:lnTo>
                    <a:pt x="0" y="58"/>
                  </a:lnTo>
                  <a:lnTo>
                    <a:pt x="0" y="58"/>
                  </a:lnTo>
                  <a:lnTo>
                    <a:pt x="0" y="56"/>
                  </a:lnTo>
                  <a:lnTo>
                    <a:pt x="8" y="50"/>
                  </a:lnTo>
                  <a:lnTo>
                    <a:pt x="8" y="50"/>
                  </a:lnTo>
                  <a:lnTo>
                    <a:pt x="10" y="48"/>
                  </a:lnTo>
                  <a:lnTo>
                    <a:pt x="20" y="48"/>
                  </a:lnTo>
                  <a:lnTo>
                    <a:pt x="28" y="40"/>
                  </a:lnTo>
                  <a:lnTo>
                    <a:pt x="58" y="24"/>
                  </a:lnTo>
                  <a:lnTo>
                    <a:pt x="58" y="24"/>
                  </a:lnTo>
                  <a:lnTo>
                    <a:pt x="60" y="24"/>
                  </a:lnTo>
                  <a:lnTo>
                    <a:pt x="60" y="24"/>
                  </a:lnTo>
                  <a:lnTo>
                    <a:pt x="74" y="26"/>
                  </a:lnTo>
                  <a:lnTo>
                    <a:pt x="94" y="30"/>
                  </a:lnTo>
                  <a:lnTo>
                    <a:pt x="94" y="30"/>
                  </a:lnTo>
                  <a:lnTo>
                    <a:pt x="94" y="30"/>
                  </a:lnTo>
                  <a:lnTo>
                    <a:pt x="104" y="40"/>
                  </a:lnTo>
                  <a:lnTo>
                    <a:pt x="130" y="40"/>
                  </a:lnTo>
                  <a:lnTo>
                    <a:pt x="130" y="40"/>
                  </a:lnTo>
                  <a:lnTo>
                    <a:pt x="132" y="40"/>
                  </a:lnTo>
                  <a:lnTo>
                    <a:pt x="138" y="44"/>
                  </a:lnTo>
                  <a:lnTo>
                    <a:pt x="146" y="38"/>
                  </a:lnTo>
                  <a:lnTo>
                    <a:pt x="148" y="32"/>
                  </a:lnTo>
                  <a:lnTo>
                    <a:pt x="138" y="20"/>
                  </a:lnTo>
                  <a:lnTo>
                    <a:pt x="138" y="20"/>
                  </a:lnTo>
                  <a:lnTo>
                    <a:pt x="138" y="18"/>
                  </a:lnTo>
                  <a:lnTo>
                    <a:pt x="154" y="2"/>
                  </a:lnTo>
                  <a:lnTo>
                    <a:pt x="154" y="2"/>
                  </a:lnTo>
                  <a:lnTo>
                    <a:pt x="156" y="0"/>
                  </a:lnTo>
                  <a:lnTo>
                    <a:pt x="156" y="0"/>
                  </a:lnTo>
                  <a:lnTo>
                    <a:pt x="168" y="2"/>
                  </a:lnTo>
                  <a:lnTo>
                    <a:pt x="182" y="6"/>
                  </a:lnTo>
                  <a:lnTo>
                    <a:pt x="202" y="14"/>
                  </a:lnTo>
                  <a:lnTo>
                    <a:pt x="202" y="14"/>
                  </a:lnTo>
                  <a:lnTo>
                    <a:pt x="204" y="14"/>
                  </a:lnTo>
                  <a:lnTo>
                    <a:pt x="206" y="24"/>
                  </a:lnTo>
                  <a:lnTo>
                    <a:pt x="214" y="32"/>
                  </a:lnTo>
                  <a:lnTo>
                    <a:pt x="236" y="36"/>
                  </a:lnTo>
                  <a:lnTo>
                    <a:pt x="248" y="30"/>
                  </a:lnTo>
                  <a:lnTo>
                    <a:pt x="248" y="30"/>
                  </a:lnTo>
                  <a:lnTo>
                    <a:pt x="248" y="30"/>
                  </a:lnTo>
                  <a:lnTo>
                    <a:pt x="248" y="30"/>
                  </a:lnTo>
                  <a:lnTo>
                    <a:pt x="248" y="30"/>
                  </a:lnTo>
                  <a:lnTo>
                    <a:pt x="270" y="32"/>
                  </a:lnTo>
                  <a:lnTo>
                    <a:pt x="270" y="32"/>
                  </a:lnTo>
                  <a:lnTo>
                    <a:pt x="272" y="34"/>
                  </a:lnTo>
                  <a:lnTo>
                    <a:pt x="276" y="38"/>
                  </a:lnTo>
                  <a:lnTo>
                    <a:pt x="284" y="40"/>
                  </a:lnTo>
                  <a:lnTo>
                    <a:pt x="284" y="40"/>
                  </a:lnTo>
                  <a:lnTo>
                    <a:pt x="286" y="40"/>
                  </a:lnTo>
                  <a:lnTo>
                    <a:pt x="292" y="48"/>
                  </a:lnTo>
                  <a:lnTo>
                    <a:pt x="296" y="52"/>
                  </a:lnTo>
                  <a:lnTo>
                    <a:pt x="314" y="54"/>
                  </a:lnTo>
                  <a:lnTo>
                    <a:pt x="330" y="52"/>
                  </a:lnTo>
                  <a:lnTo>
                    <a:pt x="356" y="48"/>
                  </a:lnTo>
                  <a:lnTo>
                    <a:pt x="364" y="40"/>
                  </a:lnTo>
                  <a:lnTo>
                    <a:pt x="372" y="34"/>
                  </a:lnTo>
                  <a:lnTo>
                    <a:pt x="372" y="34"/>
                  </a:lnTo>
                  <a:lnTo>
                    <a:pt x="372" y="34"/>
                  </a:lnTo>
                  <a:lnTo>
                    <a:pt x="382" y="32"/>
                  </a:lnTo>
                  <a:lnTo>
                    <a:pt x="382" y="32"/>
                  </a:lnTo>
                  <a:lnTo>
                    <a:pt x="382" y="32"/>
                  </a:lnTo>
                  <a:lnTo>
                    <a:pt x="382" y="32"/>
                  </a:lnTo>
                  <a:lnTo>
                    <a:pt x="384" y="34"/>
                  </a:lnTo>
                  <a:lnTo>
                    <a:pt x="390" y="38"/>
                  </a:lnTo>
                  <a:lnTo>
                    <a:pt x="396" y="38"/>
                  </a:lnTo>
                  <a:lnTo>
                    <a:pt x="410" y="40"/>
                  </a:lnTo>
                  <a:lnTo>
                    <a:pt x="410" y="40"/>
                  </a:lnTo>
                  <a:lnTo>
                    <a:pt x="412" y="42"/>
                  </a:lnTo>
                  <a:lnTo>
                    <a:pt x="412" y="42"/>
                  </a:lnTo>
                  <a:lnTo>
                    <a:pt x="412" y="44"/>
                  </a:lnTo>
                  <a:lnTo>
                    <a:pt x="406" y="50"/>
                  </a:lnTo>
                  <a:lnTo>
                    <a:pt x="404" y="58"/>
                  </a:lnTo>
                  <a:lnTo>
                    <a:pt x="398" y="76"/>
                  </a:lnTo>
                  <a:lnTo>
                    <a:pt x="420" y="78"/>
                  </a:lnTo>
                  <a:lnTo>
                    <a:pt x="426" y="72"/>
                  </a:lnTo>
                  <a:lnTo>
                    <a:pt x="426" y="72"/>
                  </a:lnTo>
                  <a:lnTo>
                    <a:pt x="426" y="72"/>
                  </a:lnTo>
                  <a:lnTo>
                    <a:pt x="426" y="72"/>
                  </a:lnTo>
                  <a:lnTo>
                    <a:pt x="428" y="72"/>
                  </a:lnTo>
                  <a:lnTo>
                    <a:pt x="436" y="74"/>
                  </a:lnTo>
                  <a:lnTo>
                    <a:pt x="436" y="74"/>
                  </a:lnTo>
                  <a:lnTo>
                    <a:pt x="438" y="74"/>
                  </a:lnTo>
                  <a:lnTo>
                    <a:pt x="454" y="92"/>
                  </a:lnTo>
                  <a:lnTo>
                    <a:pt x="454" y="92"/>
                  </a:lnTo>
                  <a:lnTo>
                    <a:pt x="456" y="94"/>
                  </a:lnTo>
                  <a:lnTo>
                    <a:pt x="458" y="102"/>
                  </a:lnTo>
                  <a:lnTo>
                    <a:pt x="458" y="102"/>
                  </a:lnTo>
                  <a:lnTo>
                    <a:pt x="456" y="104"/>
                  </a:lnTo>
                  <a:lnTo>
                    <a:pt x="456" y="104"/>
                  </a:lnTo>
                  <a:lnTo>
                    <a:pt x="456" y="104"/>
                  </a:lnTo>
                  <a:lnTo>
                    <a:pt x="456" y="104"/>
                  </a:lnTo>
                  <a:lnTo>
                    <a:pt x="442" y="102"/>
                  </a:lnTo>
                  <a:lnTo>
                    <a:pt x="430" y="102"/>
                  </a:lnTo>
                  <a:lnTo>
                    <a:pt x="414" y="110"/>
                  </a:lnTo>
                  <a:lnTo>
                    <a:pt x="398" y="122"/>
                  </a:lnTo>
                  <a:lnTo>
                    <a:pt x="398" y="122"/>
                  </a:lnTo>
                  <a:lnTo>
                    <a:pt x="396" y="122"/>
                  </a:lnTo>
                  <a:lnTo>
                    <a:pt x="384" y="122"/>
                  </a:lnTo>
                  <a:lnTo>
                    <a:pt x="372" y="134"/>
                  </a:lnTo>
                  <a:lnTo>
                    <a:pt x="372" y="134"/>
                  </a:lnTo>
                  <a:lnTo>
                    <a:pt x="370" y="134"/>
                  </a:lnTo>
                  <a:lnTo>
                    <a:pt x="370" y="134"/>
                  </a:lnTo>
                  <a:lnTo>
                    <a:pt x="354" y="132"/>
                  </a:lnTo>
                  <a:lnTo>
                    <a:pt x="342" y="132"/>
                  </a:lnTo>
                  <a:lnTo>
                    <a:pt x="338" y="142"/>
                  </a:lnTo>
                  <a:lnTo>
                    <a:pt x="342" y="152"/>
                  </a:lnTo>
                  <a:lnTo>
                    <a:pt x="342" y="152"/>
                  </a:lnTo>
                  <a:lnTo>
                    <a:pt x="342" y="154"/>
                  </a:lnTo>
                  <a:lnTo>
                    <a:pt x="328" y="162"/>
                  </a:lnTo>
                  <a:lnTo>
                    <a:pt x="328" y="166"/>
                  </a:lnTo>
                  <a:lnTo>
                    <a:pt x="328" y="166"/>
                  </a:lnTo>
                  <a:lnTo>
                    <a:pt x="326" y="168"/>
                  </a:lnTo>
                  <a:lnTo>
                    <a:pt x="310" y="178"/>
                  </a:lnTo>
                  <a:lnTo>
                    <a:pt x="310" y="178"/>
                  </a:lnTo>
                  <a:lnTo>
                    <a:pt x="310" y="178"/>
                  </a:lnTo>
                  <a:lnTo>
                    <a:pt x="270" y="178"/>
                  </a:lnTo>
                  <a:lnTo>
                    <a:pt x="252" y="190"/>
                  </a:lnTo>
                  <a:lnTo>
                    <a:pt x="252" y="190"/>
                  </a:lnTo>
                  <a:lnTo>
                    <a:pt x="250" y="190"/>
                  </a:lnTo>
                  <a:lnTo>
                    <a:pt x="250" y="190"/>
                  </a:lnTo>
                  <a:lnTo>
                    <a:pt x="218" y="186"/>
                  </a:lnTo>
                  <a:lnTo>
                    <a:pt x="218"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5" name="Freeform 1103"/>
            <p:cNvSpPr>
              <a:spLocks noEditPoints="1"/>
            </p:cNvSpPr>
            <p:nvPr/>
          </p:nvSpPr>
          <p:spPr bwMode="auto">
            <a:xfrm>
              <a:off x="4103" y="1709"/>
              <a:ext cx="462" cy="194"/>
            </a:xfrm>
            <a:custGeom>
              <a:avLst/>
              <a:gdLst>
                <a:gd name="T0" fmla="*/ 204 w 462"/>
                <a:gd name="T1" fmla="*/ 18 h 194"/>
                <a:gd name="T2" fmla="*/ 250 w 462"/>
                <a:gd name="T3" fmla="*/ 34 h 194"/>
                <a:gd name="T4" fmla="*/ 292 w 462"/>
                <a:gd name="T5" fmla="*/ 52 h 194"/>
                <a:gd name="T6" fmla="*/ 360 w 462"/>
                <a:gd name="T7" fmla="*/ 52 h 194"/>
                <a:gd name="T8" fmla="*/ 392 w 462"/>
                <a:gd name="T9" fmla="*/ 42 h 194"/>
                <a:gd name="T10" fmla="*/ 404 w 462"/>
                <a:gd name="T11" fmla="*/ 58 h 194"/>
                <a:gd name="T12" fmla="*/ 438 w 462"/>
                <a:gd name="T13" fmla="*/ 78 h 194"/>
                <a:gd name="T14" fmla="*/ 432 w 462"/>
                <a:gd name="T15" fmla="*/ 102 h 194"/>
                <a:gd name="T16" fmla="*/ 372 w 462"/>
                <a:gd name="T17" fmla="*/ 134 h 194"/>
                <a:gd name="T18" fmla="*/ 344 w 462"/>
                <a:gd name="T19" fmla="*/ 154 h 194"/>
                <a:gd name="T20" fmla="*/ 272 w 462"/>
                <a:gd name="T21" fmla="*/ 178 h 194"/>
                <a:gd name="T22" fmla="*/ 174 w 462"/>
                <a:gd name="T23" fmla="*/ 174 h 194"/>
                <a:gd name="T24" fmla="*/ 96 w 462"/>
                <a:gd name="T25" fmla="*/ 142 h 194"/>
                <a:gd name="T26" fmla="*/ 46 w 462"/>
                <a:gd name="T27" fmla="*/ 116 h 194"/>
                <a:gd name="T28" fmla="*/ 30 w 462"/>
                <a:gd name="T29" fmla="*/ 80 h 194"/>
                <a:gd name="T30" fmla="*/ 12 w 462"/>
                <a:gd name="T31" fmla="*/ 52 h 194"/>
                <a:gd name="T32" fmla="*/ 76 w 462"/>
                <a:gd name="T33" fmla="*/ 30 h 194"/>
                <a:gd name="T34" fmla="*/ 140 w 462"/>
                <a:gd name="T35" fmla="*/ 50 h 194"/>
                <a:gd name="T36" fmla="*/ 154 w 462"/>
                <a:gd name="T37" fmla="*/ 8 h 194"/>
                <a:gd name="T38" fmla="*/ 154 w 462"/>
                <a:gd name="T39" fmla="*/ 2 h 194"/>
                <a:gd name="T40" fmla="*/ 138 w 462"/>
                <a:gd name="T41" fmla="*/ 20 h 194"/>
                <a:gd name="T42" fmla="*/ 140 w 462"/>
                <a:gd name="T43" fmla="*/ 44 h 194"/>
                <a:gd name="T44" fmla="*/ 106 w 462"/>
                <a:gd name="T45" fmla="*/ 40 h 194"/>
                <a:gd name="T46" fmla="*/ 76 w 462"/>
                <a:gd name="T47" fmla="*/ 26 h 194"/>
                <a:gd name="T48" fmla="*/ 62 w 462"/>
                <a:gd name="T49" fmla="*/ 24 h 194"/>
                <a:gd name="T50" fmla="*/ 28 w 462"/>
                <a:gd name="T51" fmla="*/ 42 h 194"/>
                <a:gd name="T52" fmla="*/ 8 w 462"/>
                <a:gd name="T53" fmla="*/ 50 h 194"/>
                <a:gd name="T54" fmla="*/ 0 w 462"/>
                <a:gd name="T55" fmla="*/ 62 h 194"/>
                <a:gd name="T56" fmla="*/ 14 w 462"/>
                <a:gd name="T57" fmla="*/ 80 h 194"/>
                <a:gd name="T58" fmla="*/ 40 w 462"/>
                <a:gd name="T59" fmla="*/ 94 h 194"/>
                <a:gd name="T60" fmla="*/ 42 w 462"/>
                <a:gd name="T61" fmla="*/ 114 h 194"/>
                <a:gd name="T62" fmla="*/ 46 w 462"/>
                <a:gd name="T63" fmla="*/ 132 h 194"/>
                <a:gd name="T64" fmla="*/ 84 w 462"/>
                <a:gd name="T65" fmla="*/ 136 h 194"/>
                <a:gd name="T66" fmla="*/ 112 w 462"/>
                <a:gd name="T67" fmla="*/ 156 h 194"/>
                <a:gd name="T68" fmla="*/ 126 w 462"/>
                <a:gd name="T69" fmla="*/ 176 h 194"/>
                <a:gd name="T70" fmla="*/ 218 w 462"/>
                <a:gd name="T71" fmla="*/ 190 h 194"/>
                <a:gd name="T72" fmla="*/ 252 w 462"/>
                <a:gd name="T73" fmla="*/ 194 h 194"/>
                <a:gd name="T74" fmla="*/ 312 w 462"/>
                <a:gd name="T75" fmla="*/ 182 h 194"/>
                <a:gd name="T76" fmla="*/ 330 w 462"/>
                <a:gd name="T77" fmla="*/ 172 h 194"/>
                <a:gd name="T78" fmla="*/ 346 w 462"/>
                <a:gd name="T79" fmla="*/ 158 h 194"/>
                <a:gd name="T80" fmla="*/ 346 w 462"/>
                <a:gd name="T81" fmla="*/ 136 h 194"/>
                <a:gd name="T82" fmla="*/ 372 w 462"/>
                <a:gd name="T83" fmla="*/ 138 h 194"/>
                <a:gd name="T84" fmla="*/ 398 w 462"/>
                <a:gd name="T85" fmla="*/ 126 h 194"/>
                <a:gd name="T86" fmla="*/ 434 w 462"/>
                <a:gd name="T87" fmla="*/ 106 h 194"/>
                <a:gd name="T88" fmla="*/ 458 w 462"/>
                <a:gd name="T89" fmla="*/ 108 h 194"/>
                <a:gd name="T90" fmla="*/ 462 w 462"/>
                <a:gd name="T91" fmla="*/ 104 h 194"/>
                <a:gd name="T92" fmla="*/ 440 w 462"/>
                <a:gd name="T93" fmla="*/ 74 h 194"/>
                <a:gd name="T94" fmla="*/ 430 w 462"/>
                <a:gd name="T95" fmla="*/ 72 h 194"/>
                <a:gd name="T96" fmla="*/ 420 w 462"/>
                <a:gd name="T97" fmla="*/ 78 h 194"/>
                <a:gd name="T98" fmla="*/ 416 w 462"/>
                <a:gd name="T99" fmla="*/ 46 h 194"/>
                <a:gd name="T100" fmla="*/ 414 w 462"/>
                <a:gd name="T101" fmla="*/ 40 h 194"/>
                <a:gd name="T102" fmla="*/ 392 w 462"/>
                <a:gd name="T103" fmla="*/ 38 h 194"/>
                <a:gd name="T104" fmla="*/ 384 w 462"/>
                <a:gd name="T105" fmla="*/ 32 h 194"/>
                <a:gd name="T106" fmla="*/ 372 w 462"/>
                <a:gd name="T107" fmla="*/ 36 h 194"/>
                <a:gd name="T108" fmla="*/ 316 w 462"/>
                <a:gd name="T109" fmla="*/ 54 h 194"/>
                <a:gd name="T110" fmla="*/ 290 w 462"/>
                <a:gd name="T111" fmla="*/ 42 h 194"/>
                <a:gd name="T112" fmla="*/ 274 w 462"/>
                <a:gd name="T113" fmla="*/ 34 h 194"/>
                <a:gd name="T114" fmla="*/ 250 w 462"/>
                <a:gd name="T115" fmla="*/ 30 h 194"/>
                <a:gd name="T116" fmla="*/ 216 w 462"/>
                <a:gd name="T117" fmla="*/ 34 h 194"/>
                <a:gd name="T118" fmla="*/ 206 w 462"/>
                <a:gd name="T119" fmla="*/ 14 h 194"/>
                <a:gd name="T120" fmla="*/ 170 w 462"/>
                <a:gd name="T121" fmla="*/ 2 h 194"/>
                <a:gd name="T122" fmla="*/ 158 w 462"/>
                <a:gd name="T1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2" h="194">
                  <a:moveTo>
                    <a:pt x="158" y="4"/>
                  </a:moveTo>
                  <a:lnTo>
                    <a:pt x="170" y="6"/>
                  </a:lnTo>
                  <a:lnTo>
                    <a:pt x="182" y="10"/>
                  </a:lnTo>
                  <a:lnTo>
                    <a:pt x="204" y="18"/>
                  </a:lnTo>
                  <a:lnTo>
                    <a:pt x="206" y="26"/>
                  </a:lnTo>
                  <a:lnTo>
                    <a:pt x="214" y="36"/>
                  </a:lnTo>
                  <a:lnTo>
                    <a:pt x="238" y="40"/>
                  </a:lnTo>
                  <a:lnTo>
                    <a:pt x="250" y="34"/>
                  </a:lnTo>
                  <a:lnTo>
                    <a:pt x="272" y="36"/>
                  </a:lnTo>
                  <a:lnTo>
                    <a:pt x="278" y="42"/>
                  </a:lnTo>
                  <a:lnTo>
                    <a:pt x="286" y="44"/>
                  </a:lnTo>
                  <a:lnTo>
                    <a:pt x="292" y="52"/>
                  </a:lnTo>
                  <a:lnTo>
                    <a:pt x="296" y="56"/>
                  </a:lnTo>
                  <a:lnTo>
                    <a:pt x="316" y="58"/>
                  </a:lnTo>
                  <a:lnTo>
                    <a:pt x="332" y="56"/>
                  </a:lnTo>
                  <a:lnTo>
                    <a:pt x="360" y="52"/>
                  </a:lnTo>
                  <a:lnTo>
                    <a:pt x="368" y="44"/>
                  </a:lnTo>
                  <a:lnTo>
                    <a:pt x="376" y="38"/>
                  </a:lnTo>
                  <a:lnTo>
                    <a:pt x="384" y="36"/>
                  </a:lnTo>
                  <a:lnTo>
                    <a:pt x="392" y="42"/>
                  </a:lnTo>
                  <a:lnTo>
                    <a:pt x="398" y="42"/>
                  </a:lnTo>
                  <a:lnTo>
                    <a:pt x="412" y="44"/>
                  </a:lnTo>
                  <a:lnTo>
                    <a:pt x="408" y="52"/>
                  </a:lnTo>
                  <a:lnTo>
                    <a:pt x="404" y="58"/>
                  </a:lnTo>
                  <a:lnTo>
                    <a:pt x="396" y="80"/>
                  </a:lnTo>
                  <a:lnTo>
                    <a:pt x="422" y="82"/>
                  </a:lnTo>
                  <a:lnTo>
                    <a:pt x="428" y="76"/>
                  </a:lnTo>
                  <a:lnTo>
                    <a:pt x="438" y="78"/>
                  </a:lnTo>
                  <a:lnTo>
                    <a:pt x="456" y="96"/>
                  </a:lnTo>
                  <a:lnTo>
                    <a:pt x="458" y="104"/>
                  </a:lnTo>
                  <a:lnTo>
                    <a:pt x="444" y="102"/>
                  </a:lnTo>
                  <a:lnTo>
                    <a:pt x="432" y="102"/>
                  </a:lnTo>
                  <a:lnTo>
                    <a:pt x="414" y="110"/>
                  </a:lnTo>
                  <a:lnTo>
                    <a:pt x="398" y="122"/>
                  </a:lnTo>
                  <a:lnTo>
                    <a:pt x="384" y="122"/>
                  </a:lnTo>
                  <a:lnTo>
                    <a:pt x="372" y="134"/>
                  </a:lnTo>
                  <a:lnTo>
                    <a:pt x="356" y="132"/>
                  </a:lnTo>
                  <a:lnTo>
                    <a:pt x="344" y="132"/>
                  </a:lnTo>
                  <a:lnTo>
                    <a:pt x="338" y="144"/>
                  </a:lnTo>
                  <a:lnTo>
                    <a:pt x="344" y="154"/>
                  </a:lnTo>
                  <a:lnTo>
                    <a:pt x="328" y="164"/>
                  </a:lnTo>
                  <a:lnTo>
                    <a:pt x="328" y="168"/>
                  </a:lnTo>
                  <a:lnTo>
                    <a:pt x="312" y="178"/>
                  </a:lnTo>
                  <a:lnTo>
                    <a:pt x="272" y="178"/>
                  </a:lnTo>
                  <a:lnTo>
                    <a:pt x="252" y="190"/>
                  </a:lnTo>
                  <a:lnTo>
                    <a:pt x="220" y="186"/>
                  </a:lnTo>
                  <a:lnTo>
                    <a:pt x="198" y="176"/>
                  </a:lnTo>
                  <a:lnTo>
                    <a:pt x="174" y="174"/>
                  </a:lnTo>
                  <a:lnTo>
                    <a:pt x="126" y="172"/>
                  </a:lnTo>
                  <a:lnTo>
                    <a:pt x="120" y="164"/>
                  </a:lnTo>
                  <a:lnTo>
                    <a:pt x="114" y="152"/>
                  </a:lnTo>
                  <a:lnTo>
                    <a:pt x="96" y="142"/>
                  </a:lnTo>
                  <a:lnTo>
                    <a:pt x="86" y="132"/>
                  </a:lnTo>
                  <a:lnTo>
                    <a:pt x="56" y="132"/>
                  </a:lnTo>
                  <a:lnTo>
                    <a:pt x="48" y="128"/>
                  </a:lnTo>
                  <a:lnTo>
                    <a:pt x="46" y="116"/>
                  </a:lnTo>
                  <a:lnTo>
                    <a:pt x="50" y="110"/>
                  </a:lnTo>
                  <a:lnTo>
                    <a:pt x="50" y="102"/>
                  </a:lnTo>
                  <a:lnTo>
                    <a:pt x="44" y="92"/>
                  </a:lnTo>
                  <a:lnTo>
                    <a:pt x="30" y="80"/>
                  </a:lnTo>
                  <a:lnTo>
                    <a:pt x="16" y="78"/>
                  </a:lnTo>
                  <a:lnTo>
                    <a:pt x="8" y="68"/>
                  </a:lnTo>
                  <a:lnTo>
                    <a:pt x="4" y="60"/>
                  </a:lnTo>
                  <a:lnTo>
                    <a:pt x="12" y="52"/>
                  </a:lnTo>
                  <a:lnTo>
                    <a:pt x="24" y="52"/>
                  </a:lnTo>
                  <a:lnTo>
                    <a:pt x="30" y="44"/>
                  </a:lnTo>
                  <a:lnTo>
                    <a:pt x="62" y="28"/>
                  </a:lnTo>
                  <a:lnTo>
                    <a:pt x="76" y="30"/>
                  </a:lnTo>
                  <a:lnTo>
                    <a:pt x="96" y="34"/>
                  </a:lnTo>
                  <a:lnTo>
                    <a:pt x="104" y="44"/>
                  </a:lnTo>
                  <a:lnTo>
                    <a:pt x="132" y="44"/>
                  </a:lnTo>
                  <a:lnTo>
                    <a:pt x="140" y="50"/>
                  </a:lnTo>
                  <a:lnTo>
                    <a:pt x="150" y="40"/>
                  </a:lnTo>
                  <a:lnTo>
                    <a:pt x="152" y="34"/>
                  </a:lnTo>
                  <a:lnTo>
                    <a:pt x="142" y="20"/>
                  </a:lnTo>
                  <a:lnTo>
                    <a:pt x="154" y="8"/>
                  </a:lnTo>
                  <a:lnTo>
                    <a:pt x="158" y="4"/>
                  </a:lnTo>
                  <a:close/>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6" name="Freeform 1104"/>
            <p:cNvSpPr>
              <a:spLocks/>
            </p:cNvSpPr>
            <p:nvPr/>
          </p:nvSpPr>
          <p:spPr bwMode="auto">
            <a:xfrm>
              <a:off x="4107" y="1713"/>
              <a:ext cx="454" cy="186"/>
            </a:xfrm>
            <a:custGeom>
              <a:avLst/>
              <a:gdLst>
                <a:gd name="T0" fmla="*/ 166 w 454"/>
                <a:gd name="T1" fmla="*/ 2 h 186"/>
                <a:gd name="T2" fmla="*/ 200 w 454"/>
                <a:gd name="T3" fmla="*/ 14 h 186"/>
                <a:gd name="T4" fmla="*/ 210 w 454"/>
                <a:gd name="T5" fmla="*/ 32 h 186"/>
                <a:gd name="T6" fmla="*/ 246 w 454"/>
                <a:gd name="T7" fmla="*/ 30 h 186"/>
                <a:gd name="T8" fmla="*/ 274 w 454"/>
                <a:gd name="T9" fmla="*/ 38 h 186"/>
                <a:gd name="T10" fmla="*/ 288 w 454"/>
                <a:gd name="T11" fmla="*/ 48 h 186"/>
                <a:gd name="T12" fmla="*/ 312 w 454"/>
                <a:gd name="T13" fmla="*/ 54 h 186"/>
                <a:gd name="T14" fmla="*/ 356 w 454"/>
                <a:gd name="T15" fmla="*/ 48 h 186"/>
                <a:gd name="T16" fmla="*/ 372 w 454"/>
                <a:gd name="T17" fmla="*/ 34 h 186"/>
                <a:gd name="T18" fmla="*/ 388 w 454"/>
                <a:gd name="T19" fmla="*/ 38 h 186"/>
                <a:gd name="T20" fmla="*/ 408 w 454"/>
                <a:gd name="T21" fmla="*/ 40 h 186"/>
                <a:gd name="T22" fmla="*/ 400 w 454"/>
                <a:gd name="T23" fmla="*/ 54 h 186"/>
                <a:gd name="T24" fmla="*/ 418 w 454"/>
                <a:gd name="T25" fmla="*/ 78 h 186"/>
                <a:gd name="T26" fmla="*/ 434 w 454"/>
                <a:gd name="T27" fmla="*/ 74 h 186"/>
                <a:gd name="T28" fmla="*/ 454 w 454"/>
                <a:gd name="T29" fmla="*/ 100 h 186"/>
                <a:gd name="T30" fmla="*/ 428 w 454"/>
                <a:gd name="T31" fmla="*/ 98 h 186"/>
                <a:gd name="T32" fmla="*/ 394 w 454"/>
                <a:gd name="T33" fmla="*/ 118 h 186"/>
                <a:gd name="T34" fmla="*/ 368 w 454"/>
                <a:gd name="T35" fmla="*/ 130 h 186"/>
                <a:gd name="T36" fmla="*/ 340 w 454"/>
                <a:gd name="T37" fmla="*/ 128 h 186"/>
                <a:gd name="T38" fmla="*/ 340 w 454"/>
                <a:gd name="T39" fmla="*/ 150 h 186"/>
                <a:gd name="T40" fmla="*/ 324 w 454"/>
                <a:gd name="T41" fmla="*/ 164 h 186"/>
                <a:gd name="T42" fmla="*/ 268 w 454"/>
                <a:gd name="T43" fmla="*/ 174 h 186"/>
                <a:gd name="T44" fmla="*/ 216 w 454"/>
                <a:gd name="T45" fmla="*/ 182 h 186"/>
                <a:gd name="T46" fmla="*/ 170 w 454"/>
                <a:gd name="T47" fmla="*/ 170 h 186"/>
                <a:gd name="T48" fmla="*/ 116 w 454"/>
                <a:gd name="T49" fmla="*/ 160 h 186"/>
                <a:gd name="T50" fmla="*/ 92 w 454"/>
                <a:gd name="T51" fmla="*/ 138 h 186"/>
                <a:gd name="T52" fmla="*/ 52 w 454"/>
                <a:gd name="T53" fmla="*/ 128 h 186"/>
                <a:gd name="T54" fmla="*/ 42 w 454"/>
                <a:gd name="T55" fmla="*/ 112 h 186"/>
                <a:gd name="T56" fmla="*/ 46 w 454"/>
                <a:gd name="T57" fmla="*/ 98 h 186"/>
                <a:gd name="T58" fmla="*/ 26 w 454"/>
                <a:gd name="T59" fmla="*/ 76 h 186"/>
                <a:gd name="T60" fmla="*/ 4 w 454"/>
                <a:gd name="T61" fmla="*/ 64 h 186"/>
                <a:gd name="T62" fmla="*/ 8 w 454"/>
                <a:gd name="T63" fmla="*/ 48 h 186"/>
                <a:gd name="T64" fmla="*/ 26 w 454"/>
                <a:gd name="T65" fmla="*/ 40 h 186"/>
                <a:gd name="T66" fmla="*/ 72 w 454"/>
                <a:gd name="T67" fmla="*/ 26 h 186"/>
                <a:gd name="T68" fmla="*/ 100 w 454"/>
                <a:gd name="T69" fmla="*/ 40 h 186"/>
                <a:gd name="T70" fmla="*/ 136 w 454"/>
                <a:gd name="T71" fmla="*/ 46 h 186"/>
                <a:gd name="T72" fmla="*/ 148 w 454"/>
                <a:gd name="T73" fmla="*/ 30 h 186"/>
                <a:gd name="T74" fmla="*/ 150 w 454"/>
                <a:gd name="T75" fmla="*/ 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4" h="186">
                  <a:moveTo>
                    <a:pt x="154" y="0"/>
                  </a:moveTo>
                  <a:lnTo>
                    <a:pt x="166" y="2"/>
                  </a:lnTo>
                  <a:lnTo>
                    <a:pt x="178" y="6"/>
                  </a:lnTo>
                  <a:lnTo>
                    <a:pt x="200" y="14"/>
                  </a:lnTo>
                  <a:lnTo>
                    <a:pt x="202" y="22"/>
                  </a:lnTo>
                  <a:lnTo>
                    <a:pt x="210" y="32"/>
                  </a:lnTo>
                  <a:lnTo>
                    <a:pt x="234" y="36"/>
                  </a:lnTo>
                  <a:lnTo>
                    <a:pt x="246" y="30"/>
                  </a:lnTo>
                  <a:lnTo>
                    <a:pt x="268" y="32"/>
                  </a:lnTo>
                  <a:lnTo>
                    <a:pt x="274" y="38"/>
                  </a:lnTo>
                  <a:lnTo>
                    <a:pt x="282" y="40"/>
                  </a:lnTo>
                  <a:lnTo>
                    <a:pt x="288" y="48"/>
                  </a:lnTo>
                  <a:lnTo>
                    <a:pt x="292" y="52"/>
                  </a:lnTo>
                  <a:lnTo>
                    <a:pt x="312" y="54"/>
                  </a:lnTo>
                  <a:lnTo>
                    <a:pt x="328" y="52"/>
                  </a:lnTo>
                  <a:lnTo>
                    <a:pt x="356" y="48"/>
                  </a:lnTo>
                  <a:lnTo>
                    <a:pt x="364" y="40"/>
                  </a:lnTo>
                  <a:lnTo>
                    <a:pt x="372" y="34"/>
                  </a:lnTo>
                  <a:lnTo>
                    <a:pt x="380" y="32"/>
                  </a:lnTo>
                  <a:lnTo>
                    <a:pt x="388" y="38"/>
                  </a:lnTo>
                  <a:lnTo>
                    <a:pt x="394" y="38"/>
                  </a:lnTo>
                  <a:lnTo>
                    <a:pt x="408" y="40"/>
                  </a:lnTo>
                  <a:lnTo>
                    <a:pt x="404" y="48"/>
                  </a:lnTo>
                  <a:lnTo>
                    <a:pt x="400" y="54"/>
                  </a:lnTo>
                  <a:lnTo>
                    <a:pt x="392" y="76"/>
                  </a:lnTo>
                  <a:lnTo>
                    <a:pt x="418" y="78"/>
                  </a:lnTo>
                  <a:lnTo>
                    <a:pt x="424" y="72"/>
                  </a:lnTo>
                  <a:lnTo>
                    <a:pt x="434" y="74"/>
                  </a:lnTo>
                  <a:lnTo>
                    <a:pt x="452" y="92"/>
                  </a:lnTo>
                  <a:lnTo>
                    <a:pt x="454" y="100"/>
                  </a:lnTo>
                  <a:lnTo>
                    <a:pt x="440" y="98"/>
                  </a:lnTo>
                  <a:lnTo>
                    <a:pt x="428" y="98"/>
                  </a:lnTo>
                  <a:lnTo>
                    <a:pt x="410" y="106"/>
                  </a:lnTo>
                  <a:lnTo>
                    <a:pt x="394" y="118"/>
                  </a:lnTo>
                  <a:lnTo>
                    <a:pt x="380" y="118"/>
                  </a:lnTo>
                  <a:lnTo>
                    <a:pt x="368" y="130"/>
                  </a:lnTo>
                  <a:lnTo>
                    <a:pt x="352" y="128"/>
                  </a:lnTo>
                  <a:lnTo>
                    <a:pt x="340" y="128"/>
                  </a:lnTo>
                  <a:lnTo>
                    <a:pt x="334" y="140"/>
                  </a:lnTo>
                  <a:lnTo>
                    <a:pt x="340" y="150"/>
                  </a:lnTo>
                  <a:lnTo>
                    <a:pt x="324" y="160"/>
                  </a:lnTo>
                  <a:lnTo>
                    <a:pt x="324" y="164"/>
                  </a:lnTo>
                  <a:lnTo>
                    <a:pt x="308" y="174"/>
                  </a:lnTo>
                  <a:lnTo>
                    <a:pt x="268" y="174"/>
                  </a:lnTo>
                  <a:lnTo>
                    <a:pt x="248" y="186"/>
                  </a:lnTo>
                  <a:lnTo>
                    <a:pt x="216" y="182"/>
                  </a:lnTo>
                  <a:lnTo>
                    <a:pt x="194" y="172"/>
                  </a:lnTo>
                  <a:lnTo>
                    <a:pt x="170" y="170"/>
                  </a:lnTo>
                  <a:lnTo>
                    <a:pt x="122" y="168"/>
                  </a:lnTo>
                  <a:lnTo>
                    <a:pt x="116" y="160"/>
                  </a:lnTo>
                  <a:lnTo>
                    <a:pt x="110" y="148"/>
                  </a:lnTo>
                  <a:lnTo>
                    <a:pt x="92" y="138"/>
                  </a:lnTo>
                  <a:lnTo>
                    <a:pt x="82" y="128"/>
                  </a:lnTo>
                  <a:lnTo>
                    <a:pt x="52" y="128"/>
                  </a:lnTo>
                  <a:lnTo>
                    <a:pt x="44" y="124"/>
                  </a:lnTo>
                  <a:lnTo>
                    <a:pt x="42" y="112"/>
                  </a:lnTo>
                  <a:lnTo>
                    <a:pt x="46" y="106"/>
                  </a:lnTo>
                  <a:lnTo>
                    <a:pt x="46" y="98"/>
                  </a:lnTo>
                  <a:lnTo>
                    <a:pt x="40" y="88"/>
                  </a:lnTo>
                  <a:lnTo>
                    <a:pt x="26" y="76"/>
                  </a:lnTo>
                  <a:lnTo>
                    <a:pt x="12" y="74"/>
                  </a:lnTo>
                  <a:lnTo>
                    <a:pt x="4" y="64"/>
                  </a:lnTo>
                  <a:lnTo>
                    <a:pt x="0" y="56"/>
                  </a:lnTo>
                  <a:lnTo>
                    <a:pt x="8" y="48"/>
                  </a:lnTo>
                  <a:lnTo>
                    <a:pt x="20" y="48"/>
                  </a:lnTo>
                  <a:lnTo>
                    <a:pt x="26" y="40"/>
                  </a:lnTo>
                  <a:lnTo>
                    <a:pt x="58" y="24"/>
                  </a:lnTo>
                  <a:lnTo>
                    <a:pt x="72" y="26"/>
                  </a:lnTo>
                  <a:lnTo>
                    <a:pt x="92" y="30"/>
                  </a:lnTo>
                  <a:lnTo>
                    <a:pt x="100" y="40"/>
                  </a:lnTo>
                  <a:lnTo>
                    <a:pt x="128" y="40"/>
                  </a:lnTo>
                  <a:lnTo>
                    <a:pt x="136" y="46"/>
                  </a:lnTo>
                  <a:lnTo>
                    <a:pt x="146" y="36"/>
                  </a:lnTo>
                  <a:lnTo>
                    <a:pt x="148" y="30"/>
                  </a:lnTo>
                  <a:lnTo>
                    <a:pt x="138" y="16"/>
                  </a:lnTo>
                  <a:lnTo>
                    <a:pt x="150" y="4"/>
                  </a:lnTo>
                  <a:lnTo>
                    <a:pt x="1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7" name="Freeform 1105"/>
            <p:cNvSpPr>
              <a:spLocks/>
            </p:cNvSpPr>
            <p:nvPr/>
          </p:nvSpPr>
          <p:spPr bwMode="auto">
            <a:xfrm>
              <a:off x="4103" y="1709"/>
              <a:ext cx="462" cy="194"/>
            </a:xfrm>
            <a:custGeom>
              <a:avLst/>
              <a:gdLst>
                <a:gd name="T0" fmla="*/ 154 w 462"/>
                <a:gd name="T1" fmla="*/ 2 h 194"/>
                <a:gd name="T2" fmla="*/ 138 w 462"/>
                <a:gd name="T3" fmla="*/ 18 h 194"/>
                <a:gd name="T4" fmla="*/ 148 w 462"/>
                <a:gd name="T5" fmla="*/ 34 h 194"/>
                <a:gd name="T6" fmla="*/ 136 w 462"/>
                <a:gd name="T7" fmla="*/ 40 h 194"/>
                <a:gd name="T8" fmla="*/ 106 w 462"/>
                <a:gd name="T9" fmla="*/ 40 h 194"/>
                <a:gd name="T10" fmla="*/ 96 w 462"/>
                <a:gd name="T11" fmla="*/ 30 h 194"/>
                <a:gd name="T12" fmla="*/ 62 w 462"/>
                <a:gd name="T13" fmla="*/ 24 h 194"/>
                <a:gd name="T14" fmla="*/ 60 w 462"/>
                <a:gd name="T15" fmla="*/ 24 h 194"/>
                <a:gd name="T16" fmla="*/ 28 w 462"/>
                <a:gd name="T17" fmla="*/ 42 h 194"/>
                <a:gd name="T18" fmla="*/ 10 w 462"/>
                <a:gd name="T19" fmla="*/ 48 h 194"/>
                <a:gd name="T20" fmla="*/ 2 w 462"/>
                <a:gd name="T21" fmla="*/ 58 h 194"/>
                <a:gd name="T22" fmla="*/ 4 w 462"/>
                <a:gd name="T23" fmla="*/ 70 h 194"/>
                <a:gd name="T24" fmla="*/ 14 w 462"/>
                <a:gd name="T25" fmla="*/ 80 h 194"/>
                <a:gd name="T26" fmla="*/ 30 w 462"/>
                <a:gd name="T27" fmla="*/ 84 h 194"/>
                <a:gd name="T28" fmla="*/ 46 w 462"/>
                <a:gd name="T29" fmla="*/ 108 h 194"/>
                <a:gd name="T30" fmla="*/ 42 w 462"/>
                <a:gd name="T31" fmla="*/ 118 h 194"/>
                <a:gd name="T32" fmla="*/ 46 w 462"/>
                <a:gd name="T33" fmla="*/ 132 h 194"/>
                <a:gd name="T34" fmla="*/ 56 w 462"/>
                <a:gd name="T35" fmla="*/ 136 h 194"/>
                <a:gd name="T36" fmla="*/ 92 w 462"/>
                <a:gd name="T37" fmla="*/ 144 h 194"/>
                <a:gd name="T38" fmla="*/ 116 w 462"/>
                <a:gd name="T39" fmla="*/ 166 h 194"/>
                <a:gd name="T40" fmla="*/ 126 w 462"/>
                <a:gd name="T41" fmla="*/ 176 h 194"/>
                <a:gd name="T42" fmla="*/ 218 w 462"/>
                <a:gd name="T43" fmla="*/ 190 h 194"/>
                <a:gd name="T44" fmla="*/ 252 w 462"/>
                <a:gd name="T45" fmla="*/ 194 h 194"/>
                <a:gd name="T46" fmla="*/ 252 w 462"/>
                <a:gd name="T47" fmla="*/ 194 h 194"/>
                <a:gd name="T48" fmla="*/ 312 w 462"/>
                <a:gd name="T49" fmla="*/ 182 h 194"/>
                <a:gd name="T50" fmla="*/ 330 w 462"/>
                <a:gd name="T51" fmla="*/ 172 h 194"/>
                <a:gd name="T52" fmla="*/ 332 w 462"/>
                <a:gd name="T53" fmla="*/ 166 h 194"/>
                <a:gd name="T54" fmla="*/ 346 w 462"/>
                <a:gd name="T55" fmla="*/ 156 h 194"/>
                <a:gd name="T56" fmla="*/ 346 w 462"/>
                <a:gd name="T57" fmla="*/ 136 h 194"/>
                <a:gd name="T58" fmla="*/ 372 w 462"/>
                <a:gd name="T59" fmla="*/ 138 h 194"/>
                <a:gd name="T60" fmla="*/ 374 w 462"/>
                <a:gd name="T61" fmla="*/ 138 h 194"/>
                <a:gd name="T62" fmla="*/ 398 w 462"/>
                <a:gd name="T63" fmla="*/ 126 h 194"/>
                <a:gd name="T64" fmla="*/ 434 w 462"/>
                <a:gd name="T65" fmla="*/ 106 h 194"/>
                <a:gd name="T66" fmla="*/ 456 w 462"/>
                <a:gd name="T67" fmla="*/ 108 h 194"/>
                <a:gd name="T68" fmla="*/ 460 w 462"/>
                <a:gd name="T69" fmla="*/ 108 h 194"/>
                <a:gd name="T70" fmla="*/ 460 w 462"/>
                <a:gd name="T71" fmla="*/ 94 h 194"/>
                <a:gd name="T72" fmla="*/ 440 w 462"/>
                <a:gd name="T73" fmla="*/ 74 h 194"/>
                <a:gd name="T74" fmla="*/ 430 w 462"/>
                <a:gd name="T75" fmla="*/ 72 h 194"/>
                <a:gd name="T76" fmla="*/ 428 w 462"/>
                <a:gd name="T77" fmla="*/ 72 h 194"/>
                <a:gd name="T78" fmla="*/ 402 w 462"/>
                <a:gd name="T79" fmla="*/ 76 h 194"/>
                <a:gd name="T80" fmla="*/ 416 w 462"/>
                <a:gd name="T81" fmla="*/ 46 h 194"/>
                <a:gd name="T82" fmla="*/ 416 w 462"/>
                <a:gd name="T83" fmla="*/ 42 h 194"/>
                <a:gd name="T84" fmla="*/ 398 w 462"/>
                <a:gd name="T85" fmla="*/ 38 h 194"/>
                <a:gd name="T86" fmla="*/ 386 w 462"/>
                <a:gd name="T87" fmla="*/ 34 h 194"/>
                <a:gd name="T88" fmla="*/ 384 w 462"/>
                <a:gd name="T89" fmla="*/ 32 h 194"/>
                <a:gd name="T90" fmla="*/ 374 w 462"/>
                <a:gd name="T91" fmla="*/ 34 h 194"/>
                <a:gd name="T92" fmla="*/ 358 w 462"/>
                <a:gd name="T93" fmla="*/ 48 h 194"/>
                <a:gd name="T94" fmla="*/ 298 w 462"/>
                <a:gd name="T95" fmla="*/ 52 h 194"/>
                <a:gd name="T96" fmla="*/ 290 w 462"/>
                <a:gd name="T97" fmla="*/ 42 h 194"/>
                <a:gd name="T98" fmla="*/ 274 w 462"/>
                <a:gd name="T99" fmla="*/ 34 h 194"/>
                <a:gd name="T100" fmla="*/ 252 w 462"/>
                <a:gd name="T101" fmla="*/ 30 h 194"/>
                <a:gd name="T102" fmla="*/ 250 w 462"/>
                <a:gd name="T103" fmla="*/ 30 h 194"/>
                <a:gd name="T104" fmla="*/ 216 w 462"/>
                <a:gd name="T105" fmla="*/ 34 h 194"/>
                <a:gd name="T106" fmla="*/ 208 w 462"/>
                <a:gd name="T107" fmla="*/ 16 h 194"/>
                <a:gd name="T108" fmla="*/ 172 w 462"/>
                <a:gd name="T109" fmla="*/ 2 h 194"/>
                <a:gd name="T110" fmla="*/ 158 w 462"/>
                <a:gd name="T111" fmla="*/ 0 h 194"/>
                <a:gd name="T112" fmla="*/ 158 w 462"/>
                <a:gd name="T11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94">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8" name="Freeform 1106"/>
            <p:cNvSpPr>
              <a:spLocks/>
            </p:cNvSpPr>
            <p:nvPr/>
          </p:nvSpPr>
          <p:spPr bwMode="auto">
            <a:xfrm>
              <a:off x="1649" y="2363"/>
              <a:ext cx="48" cy="42"/>
            </a:xfrm>
            <a:custGeom>
              <a:avLst/>
              <a:gdLst>
                <a:gd name="T0" fmla="*/ 36 w 48"/>
                <a:gd name="T1" fmla="*/ 42 h 42"/>
                <a:gd name="T2" fmla="*/ 36 w 48"/>
                <a:gd name="T3" fmla="*/ 42 h 42"/>
                <a:gd name="T4" fmla="*/ 36 w 48"/>
                <a:gd name="T5" fmla="*/ 42 h 42"/>
                <a:gd name="T6" fmla="*/ 36 w 48"/>
                <a:gd name="T7" fmla="*/ 42 h 42"/>
                <a:gd name="T8" fmla="*/ 34 w 48"/>
                <a:gd name="T9" fmla="*/ 42 h 42"/>
                <a:gd name="T10" fmla="*/ 30 w 48"/>
                <a:gd name="T11" fmla="*/ 32 h 42"/>
                <a:gd name="T12" fmla="*/ 26 w 48"/>
                <a:gd name="T13" fmla="*/ 26 h 42"/>
                <a:gd name="T14" fmla="*/ 22 w 48"/>
                <a:gd name="T15" fmla="*/ 24 h 42"/>
                <a:gd name="T16" fmla="*/ 14 w 48"/>
                <a:gd name="T17" fmla="*/ 18 h 42"/>
                <a:gd name="T18" fmla="*/ 12 w 48"/>
                <a:gd name="T19" fmla="*/ 22 h 42"/>
                <a:gd name="T20" fmla="*/ 12 w 48"/>
                <a:gd name="T21" fmla="*/ 22 h 42"/>
                <a:gd name="T22" fmla="*/ 12 w 48"/>
                <a:gd name="T23" fmla="*/ 22 h 42"/>
                <a:gd name="T24" fmla="*/ 10 w 48"/>
                <a:gd name="T25" fmla="*/ 24 h 42"/>
                <a:gd name="T26" fmla="*/ 10 w 48"/>
                <a:gd name="T27" fmla="*/ 24 h 42"/>
                <a:gd name="T28" fmla="*/ 10 w 48"/>
                <a:gd name="T29" fmla="*/ 24 h 42"/>
                <a:gd name="T30" fmla="*/ 10 w 48"/>
                <a:gd name="T31" fmla="*/ 24 h 42"/>
                <a:gd name="T32" fmla="*/ 8 w 48"/>
                <a:gd name="T33" fmla="*/ 24 h 42"/>
                <a:gd name="T34" fmla="*/ 2 w 48"/>
                <a:gd name="T35" fmla="*/ 22 h 42"/>
                <a:gd name="T36" fmla="*/ 2 w 48"/>
                <a:gd name="T37" fmla="*/ 22 h 42"/>
                <a:gd name="T38" fmla="*/ 2 w 48"/>
                <a:gd name="T39" fmla="*/ 20 h 42"/>
                <a:gd name="T40" fmla="*/ 0 w 48"/>
                <a:gd name="T41" fmla="*/ 16 h 42"/>
                <a:gd name="T42" fmla="*/ 0 w 48"/>
                <a:gd name="T43" fmla="*/ 16 h 42"/>
                <a:gd name="T44" fmla="*/ 0 w 48"/>
                <a:gd name="T45" fmla="*/ 16 h 42"/>
                <a:gd name="T46" fmla="*/ 0 w 48"/>
                <a:gd name="T47" fmla="*/ 10 h 42"/>
                <a:gd name="T48" fmla="*/ 0 w 48"/>
                <a:gd name="T49" fmla="*/ 10 h 42"/>
                <a:gd name="T50" fmla="*/ 0 w 48"/>
                <a:gd name="T51" fmla="*/ 10 h 42"/>
                <a:gd name="T52" fmla="*/ 2 w 48"/>
                <a:gd name="T53" fmla="*/ 6 h 42"/>
                <a:gd name="T54" fmla="*/ 2 w 48"/>
                <a:gd name="T55" fmla="*/ 2 h 42"/>
                <a:gd name="T56" fmla="*/ 2 w 48"/>
                <a:gd name="T57" fmla="*/ 2 h 42"/>
                <a:gd name="T58" fmla="*/ 2 w 48"/>
                <a:gd name="T59" fmla="*/ 0 h 42"/>
                <a:gd name="T60" fmla="*/ 2 w 48"/>
                <a:gd name="T61" fmla="*/ 0 h 42"/>
                <a:gd name="T62" fmla="*/ 4 w 48"/>
                <a:gd name="T63" fmla="*/ 0 h 42"/>
                <a:gd name="T64" fmla="*/ 4 w 48"/>
                <a:gd name="T65" fmla="*/ 0 h 42"/>
                <a:gd name="T66" fmla="*/ 18 w 48"/>
                <a:gd name="T67" fmla="*/ 2 h 42"/>
                <a:gd name="T68" fmla="*/ 30 w 48"/>
                <a:gd name="T69" fmla="*/ 6 h 42"/>
                <a:gd name="T70" fmla="*/ 30 w 48"/>
                <a:gd name="T71" fmla="*/ 6 h 42"/>
                <a:gd name="T72" fmla="*/ 30 w 48"/>
                <a:gd name="T73" fmla="*/ 6 h 42"/>
                <a:gd name="T74" fmla="*/ 46 w 48"/>
                <a:gd name="T75" fmla="*/ 22 h 42"/>
                <a:gd name="T76" fmla="*/ 48 w 48"/>
                <a:gd name="T77" fmla="*/ 26 h 42"/>
                <a:gd name="T78" fmla="*/ 48 w 48"/>
                <a:gd name="T79" fmla="*/ 26 h 42"/>
                <a:gd name="T80" fmla="*/ 48 w 48"/>
                <a:gd name="T81" fmla="*/ 28 h 42"/>
                <a:gd name="T82" fmla="*/ 48 w 48"/>
                <a:gd name="T83" fmla="*/ 28 h 42"/>
                <a:gd name="T84" fmla="*/ 48 w 48"/>
                <a:gd name="T85" fmla="*/ 28 h 42"/>
                <a:gd name="T86" fmla="*/ 44 w 48"/>
                <a:gd name="T87" fmla="*/ 30 h 42"/>
                <a:gd name="T88" fmla="*/ 42 w 48"/>
                <a:gd name="T89" fmla="*/ 40 h 42"/>
                <a:gd name="T90" fmla="*/ 42 w 48"/>
                <a:gd name="T91" fmla="*/ 40 h 42"/>
                <a:gd name="T92" fmla="*/ 40 w 48"/>
                <a:gd name="T93" fmla="*/ 40 h 42"/>
                <a:gd name="T94" fmla="*/ 38 w 48"/>
                <a:gd name="T95" fmla="*/ 42 h 42"/>
                <a:gd name="T96" fmla="*/ 38 w 48"/>
                <a:gd name="T97" fmla="*/ 42 h 42"/>
                <a:gd name="T98" fmla="*/ 36 w 48"/>
                <a:gd name="T99" fmla="*/ 42 h 42"/>
                <a:gd name="T100" fmla="*/ 36 w 48"/>
                <a:gd name="T10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2">
                  <a:moveTo>
                    <a:pt x="36" y="42"/>
                  </a:moveTo>
                  <a:lnTo>
                    <a:pt x="36" y="42"/>
                  </a:lnTo>
                  <a:lnTo>
                    <a:pt x="36" y="42"/>
                  </a:lnTo>
                  <a:lnTo>
                    <a:pt x="36" y="42"/>
                  </a:lnTo>
                  <a:lnTo>
                    <a:pt x="34" y="42"/>
                  </a:lnTo>
                  <a:lnTo>
                    <a:pt x="30" y="32"/>
                  </a:lnTo>
                  <a:lnTo>
                    <a:pt x="26" y="26"/>
                  </a:lnTo>
                  <a:lnTo>
                    <a:pt x="22" y="24"/>
                  </a:lnTo>
                  <a:lnTo>
                    <a:pt x="14" y="18"/>
                  </a:lnTo>
                  <a:lnTo>
                    <a:pt x="12" y="22"/>
                  </a:lnTo>
                  <a:lnTo>
                    <a:pt x="12" y="22"/>
                  </a:lnTo>
                  <a:lnTo>
                    <a:pt x="12" y="22"/>
                  </a:lnTo>
                  <a:lnTo>
                    <a:pt x="10" y="24"/>
                  </a:lnTo>
                  <a:lnTo>
                    <a:pt x="10" y="24"/>
                  </a:lnTo>
                  <a:lnTo>
                    <a:pt x="10" y="24"/>
                  </a:lnTo>
                  <a:lnTo>
                    <a:pt x="10" y="24"/>
                  </a:lnTo>
                  <a:lnTo>
                    <a:pt x="8" y="24"/>
                  </a:lnTo>
                  <a:lnTo>
                    <a:pt x="2" y="22"/>
                  </a:lnTo>
                  <a:lnTo>
                    <a:pt x="2" y="22"/>
                  </a:lnTo>
                  <a:lnTo>
                    <a:pt x="2" y="20"/>
                  </a:lnTo>
                  <a:lnTo>
                    <a:pt x="0" y="16"/>
                  </a:lnTo>
                  <a:lnTo>
                    <a:pt x="0" y="16"/>
                  </a:lnTo>
                  <a:lnTo>
                    <a:pt x="0" y="16"/>
                  </a:lnTo>
                  <a:lnTo>
                    <a:pt x="0" y="10"/>
                  </a:lnTo>
                  <a:lnTo>
                    <a:pt x="0" y="10"/>
                  </a:lnTo>
                  <a:lnTo>
                    <a:pt x="0" y="10"/>
                  </a:lnTo>
                  <a:lnTo>
                    <a:pt x="2" y="6"/>
                  </a:lnTo>
                  <a:lnTo>
                    <a:pt x="2" y="2"/>
                  </a:lnTo>
                  <a:lnTo>
                    <a:pt x="2" y="2"/>
                  </a:lnTo>
                  <a:lnTo>
                    <a:pt x="2" y="0"/>
                  </a:lnTo>
                  <a:lnTo>
                    <a:pt x="2" y="0"/>
                  </a:lnTo>
                  <a:lnTo>
                    <a:pt x="4" y="0"/>
                  </a:lnTo>
                  <a:lnTo>
                    <a:pt x="4" y="0"/>
                  </a:lnTo>
                  <a:lnTo>
                    <a:pt x="18" y="2"/>
                  </a:lnTo>
                  <a:lnTo>
                    <a:pt x="30" y="6"/>
                  </a:lnTo>
                  <a:lnTo>
                    <a:pt x="30" y="6"/>
                  </a:lnTo>
                  <a:lnTo>
                    <a:pt x="30" y="6"/>
                  </a:lnTo>
                  <a:lnTo>
                    <a:pt x="46" y="22"/>
                  </a:lnTo>
                  <a:lnTo>
                    <a:pt x="48" y="26"/>
                  </a:lnTo>
                  <a:lnTo>
                    <a:pt x="48" y="26"/>
                  </a:lnTo>
                  <a:lnTo>
                    <a:pt x="48" y="28"/>
                  </a:lnTo>
                  <a:lnTo>
                    <a:pt x="48" y="28"/>
                  </a:lnTo>
                  <a:lnTo>
                    <a:pt x="48" y="28"/>
                  </a:lnTo>
                  <a:lnTo>
                    <a:pt x="44" y="30"/>
                  </a:lnTo>
                  <a:lnTo>
                    <a:pt x="42" y="40"/>
                  </a:lnTo>
                  <a:lnTo>
                    <a:pt x="42" y="40"/>
                  </a:lnTo>
                  <a:lnTo>
                    <a:pt x="40" y="40"/>
                  </a:lnTo>
                  <a:lnTo>
                    <a:pt x="38" y="42"/>
                  </a:lnTo>
                  <a:lnTo>
                    <a:pt x="38" y="42"/>
                  </a:lnTo>
                  <a:lnTo>
                    <a:pt x="36" y="42"/>
                  </a:lnTo>
                  <a:lnTo>
                    <a:pt x="36"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9" name="Freeform 1107"/>
            <p:cNvSpPr>
              <a:spLocks noEditPoints="1"/>
            </p:cNvSpPr>
            <p:nvPr/>
          </p:nvSpPr>
          <p:spPr bwMode="auto">
            <a:xfrm>
              <a:off x="1647" y="2361"/>
              <a:ext cx="52" cy="46"/>
            </a:xfrm>
            <a:custGeom>
              <a:avLst/>
              <a:gdLst>
                <a:gd name="T0" fmla="*/ 20 w 52"/>
                <a:gd name="T1" fmla="*/ 6 h 46"/>
                <a:gd name="T2" fmla="*/ 34 w 52"/>
                <a:gd name="T3" fmla="*/ 12 h 46"/>
                <a:gd name="T4" fmla="*/ 48 w 52"/>
                <a:gd name="T5" fmla="*/ 24 h 46"/>
                <a:gd name="T6" fmla="*/ 46 w 52"/>
                <a:gd name="T7" fmla="*/ 30 h 46"/>
                <a:gd name="T8" fmla="*/ 42 w 52"/>
                <a:gd name="T9" fmla="*/ 42 h 46"/>
                <a:gd name="T10" fmla="*/ 34 w 52"/>
                <a:gd name="T11" fmla="*/ 32 h 46"/>
                <a:gd name="T12" fmla="*/ 26 w 52"/>
                <a:gd name="T13" fmla="*/ 24 h 46"/>
                <a:gd name="T14" fmla="*/ 14 w 52"/>
                <a:gd name="T15" fmla="*/ 18 h 46"/>
                <a:gd name="T16" fmla="*/ 12 w 52"/>
                <a:gd name="T17" fmla="*/ 24 h 46"/>
                <a:gd name="T18" fmla="*/ 4 w 52"/>
                <a:gd name="T19" fmla="*/ 18 h 46"/>
                <a:gd name="T20" fmla="*/ 6 w 52"/>
                <a:gd name="T21" fmla="*/ 8 h 46"/>
                <a:gd name="T22" fmla="*/ 6 w 52"/>
                <a:gd name="T23" fmla="*/ 0 h 46"/>
                <a:gd name="T24" fmla="*/ 4 w 52"/>
                <a:gd name="T25" fmla="*/ 0 h 46"/>
                <a:gd name="T26" fmla="*/ 2 w 52"/>
                <a:gd name="T27" fmla="*/ 4 h 46"/>
                <a:gd name="T28" fmla="*/ 0 w 52"/>
                <a:gd name="T29" fmla="*/ 10 h 46"/>
                <a:gd name="T30" fmla="*/ 0 w 52"/>
                <a:gd name="T31" fmla="*/ 12 h 46"/>
                <a:gd name="T32" fmla="*/ 0 w 52"/>
                <a:gd name="T33" fmla="*/ 18 h 46"/>
                <a:gd name="T34" fmla="*/ 2 w 52"/>
                <a:gd name="T35" fmla="*/ 24 h 46"/>
                <a:gd name="T36" fmla="*/ 4 w 52"/>
                <a:gd name="T37" fmla="*/ 24 h 46"/>
                <a:gd name="T38" fmla="*/ 10 w 52"/>
                <a:gd name="T39" fmla="*/ 28 h 46"/>
                <a:gd name="T40" fmla="*/ 12 w 52"/>
                <a:gd name="T41" fmla="*/ 28 h 46"/>
                <a:gd name="T42" fmla="*/ 16 w 52"/>
                <a:gd name="T43" fmla="*/ 26 h 46"/>
                <a:gd name="T44" fmla="*/ 16 w 52"/>
                <a:gd name="T45" fmla="*/ 24 h 46"/>
                <a:gd name="T46" fmla="*/ 18 w 52"/>
                <a:gd name="T47" fmla="*/ 24 h 46"/>
                <a:gd name="T48" fmla="*/ 24 w 52"/>
                <a:gd name="T49" fmla="*/ 28 h 46"/>
                <a:gd name="T50" fmla="*/ 26 w 52"/>
                <a:gd name="T51" fmla="*/ 30 h 46"/>
                <a:gd name="T52" fmla="*/ 34 w 52"/>
                <a:gd name="T53" fmla="*/ 44 h 46"/>
                <a:gd name="T54" fmla="*/ 36 w 52"/>
                <a:gd name="T55" fmla="*/ 46 h 46"/>
                <a:gd name="T56" fmla="*/ 38 w 52"/>
                <a:gd name="T57" fmla="*/ 46 h 46"/>
                <a:gd name="T58" fmla="*/ 40 w 52"/>
                <a:gd name="T59" fmla="*/ 46 h 46"/>
                <a:gd name="T60" fmla="*/ 44 w 52"/>
                <a:gd name="T61" fmla="*/ 44 h 46"/>
                <a:gd name="T62" fmla="*/ 48 w 52"/>
                <a:gd name="T63" fmla="*/ 36 h 46"/>
                <a:gd name="T64" fmla="*/ 50 w 52"/>
                <a:gd name="T65" fmla="*/ 32 h 46"/>
                <a:gd name="T66" fmla="*/ 52 w 52"/>
                <a:gd name="T67" fmla="*/ 30 h 46"/>
                <a:gd name="T68" fmla="*/ 52 w 52"/>
                <a:gd name="T69" fmla="*/ 26 h 46"/>
                <a:gd name="T70" fmla="*/ 50 w 52"/>
                <a:gd name="T71" fmla="*/ 24 h 46"/>
                <a:gd name="T72" fmla="*/ 44 w 52"/>
                <a:gd name="T73" fmla="*/ 16 h 46"/>
                <a:gd name="T74" fmla="*/ 34 w 52"/>
                <a:gd name="T75" fmla="*/ 6 h 46"/>
                <a:gd name="T76" fmla="*/ 32 w 52"/>
                <a:gd name="T77" fmla="*/ 6 h 46"/>
                <a:gd name="T78" fmla="*/ 22 w 52"/>
                <a:gd name="T79" fmla="*/ 2 h 46"/>
                <a:gd name="T80" fmla="*/ 6 w 52"/>
                <a:gd name="T81" fmla="*/ 0 h 46"/>
                <a:gd name="T82" fmla="*/ 6 w 52"/>
                <a:gd name="T8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6">
                  <a:moveTo>
                    <a:pt x="6" y="4"/>
                  </a:moveTo>
                  <a:lnTo>
                    <a:pt x="20" y="6"/>
                  </a:lnTo>
                  <a:lnTo>
                    <a:pt x="32" y="8"/>
                  </a:lnTo>
                  <a:lnTo>
                    <a:pt x="34" y="12"/>
                  </a:lnTo>
                  <a:lnTo>
                    <a:pt x="42" y="20"/>
                  </a:lnTo>
                  <a:lnTo>
                    <a:pt x="48" y="24"/>
                  </a:lnTo>
                  <a:lnTo>
                    <a:pt x="48" y="28"/>
                  </a:lnTo>
                  <a:lnTo>
                    <a:pt x="46" y="30"/>
                  </a:lnTo>
                  <a:lnTo>
                    <a:pt x="44" y="36"/>
                  </a:lnTo>
                  <a:lnTo>
                    <a:pt x="42" y="42"/>
                  </a:lnTo>
                  <a:lnTo>
                    <a:pt x="38" y="42"/>
                  </a:lnTo>
                  <a:lnTo>
                    <a:pt x="34" y="32"/>
                  </a:lnTo>
                  <a:lnTo>
                    <a:pt x="30" y="26"/>
                  </a:lnTo>
                  <a:lnTo>
                    <a:pt x="26" y="24"/>
                  </a:lnTo>
                  <a:lnTo>
                    <a:pt x="20" y="22"/>
                  </a:lnTo>
                  <a:lnTo>
                    <a:pt x="14" y="18"/>
                  </a:lnTo>
                  <a:lnTo>
                    <a:pt x="14" y="24"/>
                  </a:lnTo>
                  <a:lnTo>
                    <a:pt x="12" y="24"/>
                  </a:lnTo>
                  <a:lnTo>
                    <a:pt x="6" y="22"/>
                  </a:lnTo>
                  <a:lnTo>
                    <a:pt x="4" y="18"/>
                  </a:lnTo>
                  <a:lnTo>
                    <a:pt x="4" y="12"/>
                  </a:lnTo>
                  <a:lnTo>
                    <a:pt x="6" y="8"/>
                  </a:lnTo>
                  <a:lnTo>
                    <a:pt x="6" y="4"/>
                  </a:lnTo>
                  <a:close/>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0" name="Freeform 1108"/>
            <p:cNvSpPr>
              <a:spLocks/>
            </p:cNvSpPr>
            <p:nvPr/>
          </p:nvSpPr>
          <p:spPr bwMode="auto">
            <a:xfrm>
              <a:off x="1651" y="2365"/>
              <a:ext cx="44" cy="38"/>
            </a:xfrm>
            <a:custGeom>
              <a:avLst/>
              <a:gdLst>
                <a:gd name="T0" fmla="*/ 2 w 44"/>
                <a:gd name="T1" fmla="*/ 0 h 38"/>
                <a:gd name="T2" fmla="*/ 16 w 44"/>
                <a:gd name="T3" fmla="*/ 2 h 38"/>
                <a:gd name="T4" fmla="*/ 28 w 44"/>
                <a:gd name="T5" fmla="*/ 4 h 38"/>
                <a:gd name="T6" fmla="*/ 30 w 44"/>
                <a:gd name="T7" fmla="*/ 8 h 38"/>
                <a:gd name="T8" fmla="*/ 38 w 44"/>
                <a:gd name="T9" fmla="*/ 16 h 38"/>
                <a:gd name="T10" fmla="*/ 44 w 44"/>
                <a:gd name="T11" fmla="*/ 20 h 38"/>
                <a:gd name="T12" fmla="*/ 44 w 44"/>
                <a:gd name="T13" fmla="*/ 24 h 38"/>
                <a:gd name="T14" fmla="*/ 42 w 44"/>
                <a:gd name="T15" fmla="*/ 26 h 38"/>
                <a:gd name="T16" fmla="*/ 40 w 44"/>
                <a:gd name="T17" fmla="*/ 32 h 38"/>
                <a:gd name="T18" fmla="*/ 38 w 44"/>
                <a:gd name="T19" fmla="*/ 38 h 38"/>
                <a:gd name="T20" fmla="*/ 34 w 44"/>
                <a:gd name="T21" fmla="*/ 38 h 38"/>
                <a:gd name="T22" fmla="*/ 30 w 44"/>
                <a:gd name="T23" fmla="*/ 28 h 38"/>
                <a:gd name="T24" fmla="*/ 26 w 44"/>
                <a:gd name="T25" fmla="*/ 22 h 38"/>
                <a:gd name="T26" fmla="*/ 22 w 44"/>
                <a:gd name="T27" fmla="*/ 20 h 38"/>
                <a:gd name="T28" fmla="*/ 16 w 44"/>
                <a:gd name="T29" fmla="*/ 18 h 38"/>
                <a:gd name="T30" fmla="*/ 10 w 44"/>
                <a:gd name="T31" fmla="*/ 14 h 38"/>
                <a:gd name="T32" fmla="*/ 10 w 44"/>
                <a:gd name="T33" fmla="*/ 20 h 38"/>
                <a:gd name="T34" fmla="*/ 8 w 44"/>
                <a:gd name="T35" fmla="*/ 20 h 38"/>
                <a:gd name="T36" fmla="*/ 2 w 44"/>
                <a:gd name="T37" fmla="*/ 18 h 38"/>
                <a:gd name="T38" fmla="*/ 0 w 44"/>
                <a:gd name="T39" fmla="*/ 14 h 38"/>
                <a:gd name="T40" fmla="*/ 0 w 44"/>
                <a:gd name="T41" fmla="*/ 8 h 38"/>
                <a:gd name="T42" fmla="*/ 2 w 44"/>
                <a:gd name="T43" fmla="*/ 4 h 38"/>
                <a:gd name="T44" fmla="*/ 2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 y="0"/>
                  </a:moveTo>
                  <a:lnTo>
                    <a:pt x="16" y="2"/>
                  </a:lnTo>
                  <a:lnTo>
                    <a:pt x="28" y="4"/>
                  </a:lnTo>
                  <a:lnTo>
                    <a:pt x="30" y="8"/>
                  </a:lnTo>
                  <a:lnTo>
                    <a:pt x="38" y="16"/>
                  </a:lnTo>
                  <a:lnTo>
                    <a:pt x="44" y="20"/>
                  </a:lnTo>
                  <a:lnTo>
                    <a:pt x="44" y="24"/>
                  </a:lnTo>
                  <a:lnTo>
                    <a:pt x="42" y="26"/>
                  </a:lnTo>
                  <a:lnTo>
                    <a:pt x="40" y="32"/>
                  </a:lnTo>
                  <a:lnTo>
                    <a:pt x="38" y="38"/>
                  </a:lnTo>
                  <a:lnTo>
                    <a:pt x="34" y="38"/>
                  </a:lnTo>
                  <a:lnTo>
                    <a:pt x="30" y="28"/>
                  </a:lnTo>
                  <a:lnTo>
                    <a:pt x="26" y="22"/>
                  </a:lnTo>
                  <a:lnTo>
                    <a:pt x="22" y="20"/>
                  </a:lnTo>
                  <a:lnTo>
                    <a:pt x="16" y="18"/>
                  </a:lnTo>
                  <a:lnTo>
                    <a:pt x="10" y="14"/>
                  </a:lnTo>
                  <a:lnTo>
                    <a:pt x="10" y="20"/>
                  </a:lnTo>
                  <a:lnTo>
                    <a:pt x="8" y="20"/>
                  </a:lnTo>
                  <a:lnTo>
                    <a:pt x="2" y="18"/>
                  </a:lnTo>
                  <a:lnTo>
                    <a:pt x="0" y="14"/>
                  </a:lnTo>
                  <a:lnTo>
                    <a:pt x="0" y="8"/>
                  </a:lnTo>
                  <a:lnTo>
                    <a:pt x="2" y="4"/>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 name="Freeform 1109"/>
            <p:cNvSpPr>
              <a:spLocks/>
            </p:cNvSpPr>
            <p:nvPr/>
          </p:nvSpPr>
          <p:spPr bwMode="auto">
            <a:xfrm>
              <a:off x="1647" y="2361"/>
              <a:ext cx="52" cy="46"/>
            </a:xfrm>
            <a:custGeom>
              <a:avLst/>
              <a:gdLst>
                <a:gd name="T0" fmla="*/ 6 w 52"/>
                <a:gd name="T1" fmla="*/ 0 h 46"/>
                <a:gd name="T2" fmla="*/ 6 w 52"/>
                <a:gd name="T3" fmla="*/ 0 h 46"/>
                <a:gd name="T4" fmla="*/ 4 w 52"/>
                <a:gd name="T5" fmla="*/ 0 h 46"/>
                <a:gd name="T6" fmla="*/ 4 w 52"/>
                <a:gd name="T7" fmla="*/ 0 h 46"/>
                <a:gd name="T8" fmla="*/ 2 w 52"/>
                <a:gd name="T9" fmla="*/ 4 h 46"/>
                <a:gd name="T10" fmla="*/ 2 w 52"/>
                <a:gd name="T11" fmla="*/ 8 h 46"/>
                <a:gd name="T12" fmla="*/ 0 w 52"/>
                <a:gd name="T13" fmla="*/ 10 h 46"/>
                <a:gd name="T14" fmla="*/ 0 w 52"/>
                <a:gd name="T15" fmla="*/ 10 h 46"/>
                <a:gd name="T16" fmla="*/ 0 w 52"/>
                <a:gd name="T17" fmla="*/ 12 h 46"/>
                <a:gd name="T18" fmla="*/ 0 w 52"/>
                <a:gd name="T19" fmla="*/ 18 h 46"/>
                <a:gd name="T20" fmla="*/ 0 w 52"/>
                <a:gd name="T21" fmla="*/ 18 h 46"/>
                <a:gd name="T22" fmla="*/ 0 w 52"/>
                <a:gd name="T23" fmla="*/ 20 h 46"/>
                <a:gd name="T24" fmla="*/ 2 w 52"/>
                <a:gd name="T25" fmla="*/ 24 h 46"/>
                <a:gd name="T26" fmla="*/ 2 w 52"/>
                <a:gd name="T27" fmla="*/ 24 h 46"/>
                <a:gd name="T28" fmla="*/ 4 w 52"/>
                <a:gd name="T29" fmla="*/ 24 h 46"/>
                <a:gd name="T30" fmla="*/ 10 w 52"/>
                <a:gd name="T31" fmla="*/ 28 h 46"/>
                <a:gd name="T32" fmla="*/ 10 w 52"/>
                <a:gd name="T33" fmla="*/ 28 h 46"/>
                <a:gd name="T34" fmla="*/ 12 w 52"/>
                <a:gd name="T35" fmla="*/ 28 h 46"/>
                <a:gd name="T36" fmla="*/ 12 w 52"/>
                <a:gd name="T37" fmla="*/ 28 h 46"/>
                <a:gd name="T38" fmla="*/ 14 w 52"/>
                <a:gd name="T39" fmla="*/ 28 h 46"/>
                <a:gd name="T40" fmla="*/ 16 w 52"/>
                <a:gd name="T41" fmla="*/ 26 h 46"/>
                <a:gd name="T42" fmla="*/ 16 w 52"/>
                <a:gd name="T43" fmla="*/ 26 h 46"/>
                <a:gd name="T44" fmla="*/ 16 w 52"/>
                <a:gd name="T45" fmla="*/ 24 h 46"/>
                <a:gd name="T46" fmla="*/ 18 w 52"/>
                <a:gd name="T47" fmla="*/ 24 h 46"/>
                <a:gd name="T48" fmla="*/ 18 w 52"/>
                <a:gd name="T49" fmla="*/ 24 h 46"/>
                <a:gd name="T50" fmla="*/ 24 w 52"/>
                <a:gd name="T51" fmla="*/ 28 h 46"/>
                <a:gd name="T52" fmla="*/ 24 w 52"/>
                <a:gd name="T53" fmla="*/ 28 h 46"/>
                <a:gd name="T54" fmla="*/ 24 w 52"/>
                <a:gd name="T55" fmla="*/ 28 h 46"/>
                <a:gd name="T56" fmla="*/ 26 w 52"/>
                <a:gd name="T57" fmla="*/ 30 h 46"/>
                <a:gd name="T58" fmla="*/ 32 w 52"/>
                <a:gd name="T59" fmla="*/ 34 h 46"/>
                <a:gd name="T60" fmla="*/ 34 w 52"/>
                <a:gd name="T61" fmla="*/ 44 h 46"/>
                <a:gd name="T62" fmla="*/ 34 w 52"/>
                <a:gd name="T63" fmla="*/ 44 h 46"/>
                <a:gd name="T64" fmla="*/ 36 w 52"/>
                <a:gd name="T65" fmla="*/ 46 h 46"/>
                <a:gd name="T66" fmla="*/ 36 w 52"/>
                <a:gd name="T67" fmla="*/ 46 h 46"/>
                <a:gd name="T68" fmla="*/ 38 w 52"/>
                <a:gd name="T69" fmla="*/ 46 h 46"/>
                <a:gd name="T70" fmla="*/ 38 w 52"/>
                <a:gd name="T71" fmla="*/ 46 h 46"/>
                <a:gd name="T72" fmla="*/ 40 w 52"/>
                <a:gd name="T73" fmla="*/ 46 h 46"/>
                <a:gd name="T74" fmla="*/ 44 w 52"/>
                <a:gd name="T75" fmla="*/ 44 h 46"/>
                <a:gd name="T76" fmla="*/ 44 w 52"/>
                <a:gd name="T77" fmla="*/ 44 h 46"/>
                <a:gd name="T78" fmla="*/ 46 w 52"/>
                <a:gd name="T79" fmla="*/ 42 h 46"/>
                <a:gd name="T80" fmla="*/ 48 w 52"/>
                <a:gd name="T81" fmla="*/ 36 h 46"/>
                <a:gd name="T82" fmla="*/ 48 w 52"/>
                <a:gd name="T83" fmla="*/ 34 h 46"/>
                <a:gd name="T84" fmla="*/ 50 w 52"/>
                <a:gd name="T85" fmla="*/ 32 h 46"/>
                <a:gd name="T86" fmla="*/ 50 w 52"/>
                <a:gd name="T87" fmla="*/ 32 h 46"/>
                <a:gd name="T88" fmla="*/ 52 w 52"/>
                <a:gd name="T89" fmla="*/ 30 h 46"/>
                <a:gd name="T90" fmla="*/ 52 w 52"/>
                <a:gd name="T91" fmla="*/ 30 h 46"/>
                <a:gd name="T92" fmla="*/ 52 w 52"/>
                <a:gd name="T93" fmla="*/ 26 h 46"/>
                <a:gd name="T94" fmla="*/ 50 w 52"/>
                <a:gd name="T95" fmla="*/ 24 h 46"/>
                <a:gd name="T96" fmla="*/ 50 w 52"/>
                <a:gd name="T97" fmla="*/ 24 h 46"/>
                <a:gd name="T98" fmla="*/ 50 w 52"/>
                <a:gd name="T99" fmla="*/ 22 h 46"/>
                <a:gd name="T100" fmla="*/ 44 w 52"/>
                <a:gd name="T101" fmla="*/ 16 h 46"/>
                <a:gd name="T102" fmla="*/ 38 w 52"/>
                <a:gd name="T103" fmla="*/ 10 h 46"/>
                <a:gd name="T104" fmla="*/ 34 w 52"/>
                <a:gd name="T105" fmla="*/ 6 h 46"/>
                <a:gd name="T106" fmla="*/ 34 w 52"/>
                <a:gd name="T107" fmla="*/ 6 h 46"/>
                <a:gd name="T108" fmla="*/ 32 w 52"/>
                <a:gd name="T109" fmla="*/ 6 h 46"/>
                <a:gd name="T110" fmla="*/ 22 w 52"/>
                <a:gd name="T111" fmla="*/ 2 h 46"/>
                <a:gd name="T112" fmla="*/ 22 w 52"/>
                <a:gd name="T113" fmla="*/ 2 h 46"/>
                <a:gd name="T114" fmla="*/ 20 w 52"/>
                <a:gd name="T115" fmla="*/ 2 h 46"/>
                <a:gd name="T116" fmla="*/ 6 w 52"/>
                <a:gd name="T117" fmla="*/ 0 h 46"/>
                <a:gd name="T118" fmla="*/ 6 w 52"/>
                <a:gd name="T119" fmla="*/ 0 h 46"/>
                <a:gd name="T120" fmla="*/ 6 w 52"/>
                <a:gd name="T121" fmla="*/ 0 h 46"/>
                <a:gd name="T122" fmla="*/ 6 w 52"/>
                <a:gd name="T1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46">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2" name="Freeform 1110"/>
            <p:cNvSpPr>
              <a:spLocks/>
            </p:cNvSpPr>
            <p:nvPr/>
          </p:nvSpPr>
          <p:spPr bwMode="auto">
            <a:xfrm>
              <a:off x="1755" y="2155"/>
              <a:ext cx="10" cy="20"/>
            </a:xfrm>
            <a:custGeom>
              <a:avLst/>
              <a:gdLst>
                <a:gd name="T0" fmla="*/ 8 w 10"/>
                <a:gd name="T1" fmla="*/ 20 h 20"/>
                <a:gd name="T2" fmla="*/ 8 w 10"/>
                <a:gd name="T3" fmla="*/ 20 h 20"/>
                <a:gd name="T4" fmla="*/ 6 w 10"/>
                <a:gd name="T5" fmla="*/ 20 h 20"/>
                <a:gd name="T6" fmla="*/ 4 w 10"/>
                <a:gd name="T7" fmla="*/ 16 h 20"/>
                <a:gd name="T8" fmla="*/ 0 w 10"/>
                <a:gd name="T9" fmla="*/ 12 h 20"/>
                <a:gd name="T10" fmla="*/ 0 w 10"/>
                <a:gd name="T11" fmla="*/ 12 h 20"/>
                <a:gd name="T12" fmla="*/ 0 w 10"/>
                <a:gd name="T13" fmla="*/ 10 h 20"/>
                <a:gd name="T14" fmla="*/ 2 w 10"/>
                <a:gd name="T15" fmla="*/ 2 h 20"/>
                <a:gd name="T16" fmla="*/ 2 w 10"/>
                <a:gd name="T17" fmla="*/ 2 h 20"/>
                <a:gd name="T18" fmla="*/ 2 w 10"/>
                <a:gd name="T19" fmla="*/ 0 h 20"/>
                <a:gd name="T20" fmla="*/ 2 w 10"/>
                <a:gd name="T21" fmla="*/ 0 h 20"/>
                <a:gd name="T22" fmla="*/ 4 w 10"/>
                <a:gd name="T23" fmla="*/ 0 h 20"/>
                <a:gd name="T24" fmla="*/ 4 w 10"/>
                <a:gd name="T25" fmla="*/ 0 h 20"/>
                <a:gd name="T26" fmla="*/ 6 w 10"/>
                <a:gd name="T27" fmla="*/ 0 h 20"/>
                <a:gd name="T28" fmla="*/ 8 w 10"/>
                <a:gd name="T29" fmla="*/ 6 h 20"/>
                <a:gd name="T30" fmla="*/ 10 w 10"/>
                <a:gd name="T31" fmla="*/ 12 h 20"/>
                <a:gd name="T32" fmla="*/ 10 w 10"/>
                <a:gd name="T33" fmla="*/ 12 h 20"/>
                <a:gd name="T34" fmla="*/ 10 w 10"/>
                <a:gd name="T35" fmla="*/ 12 h 20"/>
                <a:gd name="T36" fmla="*/ 10 w 10"/>
                <a:gd name="T37" fmla="*/ 20 h 20"/>
                <a:gd name="T38" fmla="*/ 10 w 10"/>
                <a:gd name="T39" fmla="*/ 20 h 20"/>
                <a:gd name="T40" fmla="*/ 8 w 10"/>
                <a:gd name="T41" fmla="*/ 20 h 20"/>
                <a:gd name="T42" fmla="*/ 8 w 10"/>
                <a:gd name="T43" fmla="*/ 20 h 20"/>
                <a:gd name="T44" fmla="*/ 8 w 10"/>
                <a:gd name="T45" fmla="*/ 20 h 20"/>
                <a:gd name="T46" fmla="*/ 8 w 10"/>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20">
                  <a:moveTo>
                    <a:pt x="8" y="20"/>
                  </a:moveTo>
                  <a:lnTo>
                    <a:pt x="8" y="20"/>
                  </a:lnTo>
                  <a:lnTo>
                    <a:pt x="6" y="20"/>
                  </a:lnTo>
                  <a:lnTo>
                    <a:pt x="4" y="16"/>
                  </a:lnTo>
                  <a:lnTo>
                    <a:pt x="0" y="12"/>
                  </a:lnTo>
                  <a:lnTo>
                    <a:pt x="0" y="12"/>
                  </a:lnTo>
                  <a:lnTo>
                    <a:pt x="0" y="10"/>
                  </a:lnTo>
                  <a:lnTo>
                    <a:pt x="2" y="2"/>
                  </a:lnTo>
                  <a:lnTo>
                    <a:pt x="2" y="2"/>
                  </a:lnTo>
                  <a:lnTo>
                    <a:pt x="2" y="0"/>
                  </a:lnTo>
                  <a:lnTo>
                    <a:pt x="2" y="0"/>
                  </a:lnTo>
                  <a:lnTo>
                    <a:pt x="4" y="0"/>
                  </a:lnTo>
                  <a:lnTo>
                    <a:pt x="4" y="0"/>
                  </a:lnTo>
                  <a:lnTo>
                    <a:pt x="6" y="0"/>
                  </a:lnTo>
                  <a:lnTo>
                    <a:pt x="8" y="6"/>
                  </a:lnTo>
                  <a:lnTo>
                    <a:pt x="10" y="12"/>
                  </a:lnTo>
                  <a:lnTo>
                    <a:pt x="10" y="12"/>
                  </a:lnTo>
                  <a:lnTo>
                    <a:pt x="10" y="12"/>
                  </a:lnTo>
                  <a:lnTo>
                    <a:pt x="10" y="20"/>
                  </a:lnTo>
                  <a:lnTo>
                    <a:pt x="10" y="20"/>
                  </a:lnTo>
                  <a:lnTo>
                    <a:pt x="8" y="20"/>
                  </a:lnTo>
                  <a:lnTo>
                    <a:pt x="8" y="20"/>
                  </a:lnTo>
                  <a:lnTo>
                    <a:pt x="8" y="20"/>
                  </a:lnTo>
                  <a:lnTo>
                    <a:pt x="8"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3" name="Freeform 1111"/>
            <p:cNvSpPr>
              <a:spLocks noEditPoints="1"/>
            </p:cNvSpPr>
            <p:nvPr/>
          </p:nvSpPr>
          <p:spPr bwMode="auto">
            <a:xfrm>
              <a:off x="1753" y="2153"/>
              <a:ext cx="14" cy="24"/>
            </a:xfrm>
            <a:custGeom>
              <a:avLst/>
              <a:gdLst>
                <a:gd name="T0" fmla="*/ 6 w 14"/>
                <a:gd name="T1" fmla="*/ 4 h 24"/>
                <a:gd name="T2" fmla="*/ 8 w 14"/>
                <a:gd name="T3" fmla="*/ 8 h 24"/>
                <a:gd name="T4" fmla="*/ 10 w 14"/>
                <a:gd name="T5" fmla="*/ 14 h 24"/>
                <a:gd name="T6" fmla="*/ 10 w 14"/>
                <a:gd name="T7" fmla="*/ 20 h 24"/>
                <a:gd name="T8" fmla="*/ 8 w 14"/>
                <a:gd name="T9" fmla="*/ 16 h 24"/>
                <a:gd name="T10" fmla="*/ 4 w 14"/>
                <a:gd name="T11" fmla="*/ 12 h 24"/>
                <a:gd name="T12" fmla="*/ 6 w 14"/>
                <a:gd name="T13" fmla="*/ 4 h 24"/>
                <a:gd name="T14" fmla="*/ 6 w 14"/>
                <a:gd name="T15" fmla="*/ 0 h 24"/>
                <a:gd name="T16" fmla="*/ 6 w 14"/>
                <a:gd name="T17" fmla="*/ 0 h 24"/>
                <a:gd name="T18" fmla="*/ 4 w 14"/>
                <a:gd name="T19" fmla="*/ 0 h 24"/>
                <a:gd name="T20" fmla="*/ 4 w 14"/>
                <a:gd name="T21" fmla="*/ 0 h 24"/>
                <a:gd name="T22" fmla="*/ 2 w 14"/>
                <a:gd name="T23" fmla="*/ 2 h 24"/>
                <a:gd name="T24" fmla="*/ 2 w 14"/>
                <a:gd name="T25" fmla="*/ 4 h 24"/>
                <a:gd name="T26" fmla="*/ 0 w 14"/>
                <a:gd name="T27" fmla="*/ 12 h 24"/>
                <a:gd name="T28" fmla="*/ 0 w 14"/>
                <a:gd name="T29" fmla="*/ 12 h 24"/>
                <a:gd name="T30" fmla="*/ 2 w 14"/>
                <a:gd name="T31" fmla="*/ 14 h 24"/>
                <a:gd name="T32" fmla="*/ 4 w 14"/>
                <a:gd name="T33" fmla="*/ 18 h 24"/>
                <a:gd name="T34" fmla="*/ 6 w 14"/>
                <a:gd name="T35" fmla="*/ 22 h 24"/>
                <a:gd name="T36" fmla="*/ 6 w 14"/>
                <a:gd name="T37" fmla="*/ 22 h 24"/>
                <a:gd name="T38" fmla="*/ 6 w 14"/>
                <a:gd name="T39" fmla="*/ 24 h 24"/>
                <a:gd name="T40" fmla="*/ 10 w 14"/>
                <a:gd name="T41" fmla="*/ 24 h 24"/>
                <a:gd name="T42" fmla="*/ 10 w 14"/>
                <a:gd name="T43" fmla="*/ 24 h 24"/>
                <a:gd name="T44" fmla="*/ 10 w 14"/>
                <a:gd name="T45" fmla="*/ 24 h 24"/>
                <a:gd name="T46" fmla="*/ 10 w 14"/>
                <a:gd name="T47" fmla="*/ 24 h 24"/>
                <a:gd name="T48" fmla="*/ 12 w 14"/>
                <a:gd name="T49" fmla="*/ 24 h 24"/>
                <a:gd name="T50" fmla="*/ 14 w 14"/>
                <a:gd name="T51" fmla="*/ 22 h 24"/>
                <a:gd name="T52" fmla="*/ 14 w 14"/>
                <a:gd name="T53" fmla="*/ 16 h 24"/>
                <a:gd name="T54" fmla="*/ 14 w 14"/>
                <a:gd name="T55" fmla="*/ 16 h 24"/>
                <a:gd name="T56" fmla="*/ 14 w 14"/>
                <a:gd name="T57" fmla="*/ 14 h 24"/>
                <a:gd name="T58" fmla="*/ 12 w 14"/>
                <a:gd name="T59" fmla="*/ 8 h 24"/>
                <a:gd name="T60" fmla="*/ 12 w 14"/>
                <a:gd name="T61" fmla="*/ 8 h 24"/>
                <a:gd name="T62" fmla="*/ 12 w 14"/>
                <a:gd name="T63" fmla="*/ 6 h 24"/>
                <a:gd name="T64" fmla="*/ 8 w 14"/>
                <a:gd name="T65" fmla="*/ 2 h 24"/>
                <a:gd name="T66" fmla="*/ 8 w 14"/>
                <a:gd name="T67" fmla="*/ 2 h 24"/>
                <a:gd name="T68" fmla="*/ 6 w 14"/>
                <a:gd name="T69" fmla="*/ 0 h 24"/>
                <a:gd name="T70" fmla="*/ 6 w 14"/>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4">
                  <a:moveTo>
                    <a:pt x="6" y="4"/>
                  </a:moveTo>
                  <a:lnTo>
                    <a:pt x="8" y="8"/>
                  </a:lnTo>
                  <a:lnTo>
                    <a:pt x="10" y="14"/>
                  </a:lnTo>
                  <a:lnTo>
                    <a:pt x="10" y="20"/>
                  </a:lnTo>
                  <a:lnTo>
                    <a:pt x="8" y="16"/>
                  </a:lnTo>
                  <a:lnTo>
                    <a:pt x="4" y="12"/>
                  </a:lnTo>
                  <a:lnTo>
                    <a:pt x="6" y="4"/>
                  </a:lnTo>
                  <a:close/>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4" name="Freeform 1112"/>
            <p:cNvSpPr>
              <a:spLocks/>
            </p:cNvSpPr>
            <p:nvPr/>
          </p:nvSpPr>
          <p:spPr bwMode="auto">
            <a:xfrm>
              <a:off x="1757" y="2157"/>
              <a:ext cx="6" cy="16"/>
            </a:xfrm>
            <a:custGeom>
              <a:avLst/>
              <a:gdLst>
                <a:gd name="T0" fmla="*/ 2 w 6"/>
                <a:gd name="T1" fmla="*/ 0 h 16"/>
                <a:gd name="T2" fmla="*/ 4 w 6"/>
                <a:gd name="T3" fmla="*/ 4 h 16"/>
                <a:gd name="T4" fmla="*/ 6 w 6"/>
                <a:gd name="T5" fmla="*/ 10 h 16"/>
                <a:gd name="T6" fmla="*/ 6 w 6"/>
                <a:gd name="T7" fmla="*/ 16 h 16"/>
                <a:gd name="T8" fmla="*/ 4 w 6"/>
                <a:gd name="T9" fmla="*/ 12 h 16"/>
                <a:gd name="T10" fmla="*/ 0 w 6"/>
                <a:gd name="T11" fmla="*/ 8 h 16"/>
                <a:gd name="T12" fmla="*/ 2 w 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2" y="0"/>
                  </a:moveTo>
                  <a:lnTo>
                    <a:pt x="4" y="4"/>
                  </a:lnTo>
                  <a:lnTo>
                    <a:pt x="6" y="10"/>
                  </a:lnTo>
                  <a:lnTo>
                    <a:pt x="6" y="16"/>
                  </a:lnTo>
                  <a:lnTo>
                    <a:pt x="4" y="12"/>
                  </a:lnTo>
                  <a:lnTo>
                    <a:pt x="0" y="8"/>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5" name="Freeform 1113"/>
            <p:cNvSpPr>
              <a:spLocks/>
            </p:cNvSpPr>
            <p:nvPr/>
          </p:nvSpPr>
          <p:spPr bwMode="auto">
            <a:xfrm>
              <a:off x="1753" y="2153"/>
              <a:ext cx="14" cy="24"/>
            </a:xfrm>
            <a:custGeom>
              <a:avLst/>
              <a:gdLst>
                <a:gd name="T0" fmla="*/ 6 w 14"/>
                <a:gd name="T1" fmla="*/ 0 h 24"/>
                <a:gd name="T2" fmla="*/ 6 w 14"/>
                <a:gd name="T3" fmla="*/ 0 h 24"/>
                <a:gd name="T4" fmla="*/ 4 w 14"/>
                <a:gd name="T5" fmla="*/ 0 h 24"/>
                <a:gd name="T6" fmla="*/ 4 w 14"/>
                <a:gd name="T7" fmla="*/ 0 h 24"/>
                <a:gd name="T8" fmla="*/ 2 w 14"/>
                <a:gd name="T9" fmla="*/ 2 h 24"/>
                <a:gd name="T10" fmla="*/ 2 w 14"/>
                <a:gd name="T11" fmla="*/ 4 h 24"/>
                <a:gd name="T12" fmla="*/ 0 w 14"/>
                <a:gd name="T13" fmla="*/ 12 h 24"/>
                <a:gd name="T14" fmla="*/ 0 w 14"/>
                <a:gd name="T15" fmla="*/ 12 h 24"/>
                <a:gd name="T16" fmla="*/ 2 w 14"/>
                <a:gd name="T17" fmla="*/ 14 h 24"/>
                <a:gd name="T18" fmla="*/ 4 w 14"/>
                <a:gd name="T19" fmla="*/ 18 h 24"/>
                <a:gd name="T20" fmla="*/ 6 w 14"/>
                <a:gd name="T21" fmla="*/ 22 h 24"/>
                <a:gd name="T22" fmla="*/ 6 w 14"/>
                <a:gd name="T23" fmla="*/ 22 h 24"/>
                <a:gd name="T24" fmla="*/ 6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4 w 14"/>
                <a:gd name="T37" fmla="*/ 22 h 24"/>
                <a:gd name="T38" fmla="*/ 14 w 14"/>
                <a:gd name="T39" fmla="*/ 16 h 24"/>
                <a:gd name="T40" fmla="*/ 14 w 14"/>
                <a:gd name="T41" fmla="*/ 16 h 24"/>
                <a:gd name="T42" fmla="*/ 14 w 14"/>
                <a:gd name="T43" fmla="*/ 14 h 24"/>
                <a:gd name="T44" fmla="*/ 12 w 14"/>
                <a:gd name="T45" fmla="*/ 8 h 24"/>
                <a:gd name="T46" fmla="*/ 12 w 14"/>
                <a:gd name="T47" fmla="*/ 8 h 24"/>
                <a:gd name="T48" fmla="*/ 12 w 14"/>
                <a:gd name="T49" fmla="*/ 6 h 24"/>
                <a:gd name="T50" fmla="*/ 8 w 14"/>
                <a:gd name="T51" fmla="*/ 2 h 24"/>
                <a:gd name="T52" fmla="*/ 8 w 14"/>
                <a:gd name="T53" fmla="*/ 2 h 24"/>
                <a:gd name="T54" fmla="*/ 6 w 14"/>
                <a:gd name="T55" fmla="*/ 0 h 24"/>
                <a:gd name="T56" fmla="*/ 6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1189" name="TextBox 1188">
            <a:extLst>
              <a:ext uri="{FF2B5EF4-FFF2-40B4-BE49-F238E27FC236}">
                <a16:creationId xmlns:a16="http://schemas.microsoft.com/office/drawing/2014/main" id="{0C335972-4F7C-0F5E-576E-23931E10C9BB}"/>
              </a:ext>
            </a:extLst>
          </p:cNvPr>
          <p:cNvSpPr txBox="1"/>
          <p:nvPr/>
        </p:nvSpPr>
        <p:spPr>
          <a:xfrm>
            <a:off x="8600396" y="843467"/>
            <a:ext cx="3344468" cy="50783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Las fuertes olas de calor episódicas en latitudes medias son más probables con el cambio a condiciones de La Niña</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5" name="Group 29" descr="Sun.">
            <a:extLst>
              <a:ext uri="{FF2B5EF4-FFF2-40B4-BE49-F238E27FC236}">
                <a16:creationId xmlns:a16="http://schemas.microsoft.com/office/drawing/2014/main" id="{94ED3F95-3F6D-615E-9FF4-86BB85853E03}"/>
              </a:ext>
            </a:extLst>
          </p:cNvPr>
          <p:cNvGrpSpPr>
            <a:grpSpLocks noChangeAspect="1"/>
          </p:cNvGrpSpPr>
          <p:nvPr/>
        </p:nvGrpSpPr>
        <p:grpSpPr bwMode="auto">
          <a:xfrm>
            <a:off x="8120204" y="957119"/>
            <a:ext cx="294394" cy="294389"/>
            <a:chOff x="3408" y="1731"/>
            <a:chExt cx="614" cy="614"/>
          </a:xfrm>
        </p:grpSpPr>
        <p:sp>
          <p:nvSpPr>
            <p:cNvPr id="1116" name="Freeform 30">
              <a:extLst>
                <a:ext uri="{FF2B5EF4-FFF2-40B4-BE49-F238E27FC236}">
                  <a16:creationId xmlns:a16="http://schemas.microsoft.com/office/drawing/2014/main" id="{1D8E23E2-2F37-00ED-202B-4D0C0ADA1077}"/>
                </a:ext>
              </a:extLst>
            </p:cNvPr>
            <p:cNvSpPr>
              <a:spLocks/>
            </p:cNvSpPr>
            <p:nvPr/>
          </p:nvSpPr>
          <p:spPr bwMode="auto">
            <a:xfrm>
              <a:off x="3408" y="2018"/>
              <a:ext cx="77"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7" name="Freeform 31">
              <a:extLst>
                <a:ext uri="{FF2B5EF4-FFF2-40B4-BE49-F238E27FC236}">
                  <a16:creationId xmlns:a16="http://schemas.microsoft.com/office/drawing/2014/main" id="{EEE7CBA5-686A-F294-35AC-F48CE9C47F67}"/>
                </a:ext>
              </a:extLst>
            </p:cNvPr>
            <p:cNvSpPr>
              <a:spLocks/>
            </p:cNvSpPr>
            <p:nvPr/>
          </p:nvSpPr>
          <p:spPr bwMode="auto">
            <a:xfrm>
              <a:off x="3492" y="1812"/>
              <a:ext cx="67" cy="67"/>
            </a:xfrm>
            <a:custGeom>
              <a:avLst/>
              <a:gdLst>
                <a:gd name="T0" fmla="*/ 14 w 28"/>
                <a:gd name="T1" fmla="*/ 26 h 28"/>
                <a:gd name="T2" fmla="*/ 20 w 28"/>
                <a:gd name="T3" fmla="*/ 28 h 28"/>
                <a:gd name="T4" fmla="*/ 25 w 28"/>
                <a:gd name="T5" fmla="*/ 26 h 28"/>
                <a:gd name="T6" fmla="*/ 25 w 28"/>
                <a:gd name="T7" fmla="*/ 15 h 28"/>
                <a:gd name="T8" fmla="*/ 14 w 28"/>
                <a:gd name="T9" fmla="*/ 4 h 28"/>
                <a:gd name="T10" fmla="*/ 3 w 28"/>
                <a:gd name="T11" fmla="*/ 4 h 28"/>
                <a:gd name="T12" fmla="*/ 3 w 28"/>
                <a:gd name="T13" fmla="*/ 15 h 28"/>
                <a:gd name="T14" fmla="*/ 14 w 28"/>
                <a:gd name="T15" fmla="*/ 26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26"/>
                  </a:moveTo>
                  <a:cubicBezTo>
                    <a:pt x="16" y="28"/>
                    <a:pt x="18" y="28"/>
                    <a:pt x="20" y="28"/>
                  </a:cubicBezTo>
                  <a:cubicBezTo>
                    <a:pt x="22" y="28"/>
                    <a:pt x="24" y="28"/>
                    <a:pt x="25" y="26"/>
                  </a:cubicBezTo>
                  <a:cubicBezTo>
                    <a:pt x="28" y="23"/>
                    <a:pt x="28" y="18"/>
                    <a:pt x="25" y="15"/>
                  </a:cubicBezTo>
                  <a:cubicBezTo>
                    <a:pt x="14" y="4"/>
                    <a:pt x="14" y="4"/>
                    <a:pt x="14" y="4"/>
                  </a:cubicBezTo>
                  <a:cubicBezTo>
                    <a:pt x="11" y="0"/>
                    <a:pt x="6" y="0"/>
                    <a:pt x="3" y="4"/>
                  </a:cubicBezTo>
                  <a:cubicBezTo>
                    <a:pt x="0" y="7"/>
                    <a:pt x="0" y="12"/>
                    <a:pt x="3" y="15"/>
                  </a:cubicBezTo>
                  <a:lnTo>
                    <a:pt x="14" y="26"/>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18" name="Freeform 32">
              <a:extLst>
                <a:ext uri="{FF2B5EF4-FFF2-40B4-BE49-F238E27FC236}">
                  <a16:creationId xmlns:a16="http://schemas.microsoft.com/office/drawing/2014/main" id="{F4960458-A250-0233-C0B7-D1687D432B99}"/>
                </a:ext>
              </a:extLst>
            </p:cNvPr>
            <p:cNvSpPr>
              <a:spLocks/>
            </p:cNvSpPr>
            <p:nvPr/>
          </p:nvSpPr>
          <p:spPr bwMode="auto">
            <a:xfrm>
              <a:off x="3696" y="1731"/>
              <a:ext cx="38" cy="76"/>
            </a:xfrm>
            <a:custGeom>
              <a:avLst/>
              <a:gdLst>
                <a:gd name="T0" fmla="*/ 8 w 16"/>
                <a:gd name="T1" fmla="*/ 32 h 32"/>
                <a:gd name="T2" fmla="*/ 16 w 16"/>
                <a:gd name="T3" fmla="*/ 24 h 32"/>
                <a:gd name="T4" fmla="*/ 16 w 16"/>
                <a:gd name="T5" fmla="*/ 8 h 32"/>
                <a:gd name="T6" fmla="*/ 8 w 16"/>
                <a:gd name="T7" fmla="*/ 0 h 32"/>
                <a:gd name="T8" fmla="*/ 0 w 16"/>
                <a:gd name="T9" fmla="*/ 8 h 32"/>
                <a:gd name="T10" fmla="*/ 0 w 16"/>
                <a:gd name="T11" fmla="*/ 24 h 32"/>
                <a:gd name="T12" fmla="*/ 8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32"/>
                  </a:moveTo>
                  <a:cubicBezTo>
                    <a:pt x="13" y="32"/>
                    <a:pt x="16" y="28"/>
                    <a:pt x="16" y="24"/>
                  </a:cubicBezTo>
                  <a:cubicBezTo>
                    <a:pt x="16" y="8"/>
                    <a:pt x="16" y="8"/>
                    <a:pt x="16" y="8"/>
                  </a:cubicBezTo>
                  <a:cubicBezTo>
                    <a:pt x="16" y="4"/>
                    <a:pt x="13" y="0"/>
                    <a:pt x="8" y="0"/>
                  </a:cubicBezTo>
                  <a:cubicBezTo>
                    <a:pt x="4" y="0"/>
                    <a:pt x="0" y="4"/>
                    <a:pt x="0" y="8"/>
                  </a:cubicBezTo>
                  <a:cubicBezTo>
                    <a:pt x="0" y="24"/>
                    <a:pt x="0" y="24"/>
                    <a:pt x="0" y="24"/>
                  </a:cubicBezTo>
                  <a:cubicBezTo>
                    <a:pt x="0" y="28"/>
                    <a:pt x="4" y="32"/>
                    <a:pt x="8"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20" name="Freeform 33">
              <a:extLst>
                <a:ext uri="{FF2B5EF4-FFF2-40B4-BE49-F238E27FC236}">
                  <a16:creationId xmlns:a16="http://schemas.microsoft.com/office/drawing/2014/main" id="{5189B6A2-99D1-CAFF-35FB-8B58F5C220CF}"/>
                </a:ext>
              </a:extLst>
            </p:cNvPr>
            <p:cNvSpPr>
              <a:spLocks/>
            </p:cNvSpPr>
            <p:nvPr/>
          </p:nvSpPr>
          <p:spPr bwMode="auto">
            <a:xfrm>
              <a:off x="3871" y="1812"/>
              <a:ext cx="70" cy="67"/>
            </a:xfrm>
            <a:custGeom>
              <a:avLst/>
              <a:gdLst>
                <a:gd name="T0" fmla="*/ 14 w 29"/>
                <a:gd name="T1" fmla="*/ 4 h 28"/>
                <a:gd name="T2" fmla="*/ 3 w 29"/>
                <a:gd name="T3" fmla="*/ 15 h 28"/>
                <a:gd name="T4" fmla="*/ 3 w 29"/>
                <a:gd name="T5" fmla="*/ 26 h 28"/>
                <a:gd name="T6" fmla="*/ 9 w 29"/>
                <a:gd name="T7" fmla="*/ 28 h 28"/>
                <a:gd name="T8" fmla="*/ 14 w 29"/>
                <a:gd name="T9" fmla="*/ 26 h 28"/>
                <a:gd name="T10" fmla="*/ 26 w 29"/>
                <a:gd name="T11" fmla="*/ 15 h 28"/>
                <a:gd name="T12" fmla="*/ 26 w 29"/>
                <a:gd name="T13" fmla="*/ 4 h 28"/>
                <a:gd name="T14" fmla="*/ 14 w 29"/>
                <a:gd name="T15" fmla="*/ 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4"/>
                  </a:moveTo>
                  <a:cubicBezTo>
                    <a:pt x="3" y="15"/>
                    <a:pt x="3" y="15"/>
                    <a:pt x="3" y="15"/>
                  </a:cubicBezTo>
                  <a:cubicBezTo>
                    <a:pt x="0" y="18"/>
                    <a:pt x="0" y="23"/>
                    <a:pt x="3" y="26"/>
                  </a:cubicBezTo>
                  <a:cubicBezTo>
                    <a:pt x="5" y="28"/>
                    <a:pt x="7" y="28"/>
                    <a:pt x="9" y="28"/>
                  </a:cubicBezTo>
                  <a:cubicBezTo>
                    <a:pt x="11" y="28"/>
                    <a:pt x="13" y="28"/>
                    <a:pt x="14" y="26"/>
                  </a:cubicBezTo>
                  <a:cubicBezTo>
                    <a:pt x="26" y="15"/>
                    <a:pt x="26" y="15"/>
                    <a:pt x="26" y="15"/>
                  </a:cubicBezTo>
                  <a:cubicBezTo>
                    <a:pt x="29" y="12"/>
                    <a:pt x="29" y="7"/>
                    <a:pt x="26" y="4"/>
                  </a:cubicBezTo>
                  <a:cubicBezTo>
                    <a:pt x="23" y="0"/>
                    <a:pt x="18" y="0"/>
                    <a:pt x="14" y="4"/>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26" name="Freeform 34">
              <a:extLst>
                <a:ext uri="{FF2B5EF4-FFF2-40B4-BE49-F238E27FC236}">
                  <a16:creationId xmlns:a16="http://schemas.microsoft.com/office/drawing/2014/main" id="{ECF42F6A-BB65-C608-4C23-44EEF10E921F}"/>
                </a:ext>
              </a:extLst>
            </p:cNvPr>
            <p:cNvSpPr>
              <a:spLocks/>
            </p:cNvSpPr>
            <p:nvPr/>
          </p:nvSpPr>
          <p:spPr bwMode="auto">
            <a:xfrm>
              <a:off x="3946" y="2018"/>
              <a:ext cx="76"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27" name="Freeform 35">
              <a:extLst>
                <a:ext uri="{FF2B5EF4-FFF2-40B4-BE49-F238E27FC236}">
                  <a16:creationId xmlns:a16="http://schemas.microsoft.com/office/drawing/2014/main" id="{D2808055-E5BB-A7A2-4097-40D6A836BDCE}"/>
                </a:ext>
              </a:extLst>
            </p:cNvPr>
            <p:cNvSpPr>
              <a:spLocks/>
            </p:cNvSpPr>
            <p:nvPr/>
          </p:nvSpPr>
          <p:spPr bwMode="auto">
            <a:xfrm>
              <a:off x="3871" y="2194"/>
              <a:ext cx="70" cy="67"/>
            </a:xfrm>
            <a:custGeom>
              <a:avLst/>
              <a:gdLst>
                <a:gd name="T0" fmla="*/ 14 w 29"/>
                <a:gd name="T1" fmla="*/ 3 h 28"/>
                <a:gd name="T2" fmla="*/ 3 w 29"/>
                <a:gd name="T3" fmla="*/ 3 h 28"/>
                <a:gd name="T4" fmla="*/ 3 w 29"/>
                <a:gd name="T5" fmla="*/ 14 h 28"/>
                <a:gd name="T6" fmla="*/ 14 w 29"/>
                <a:gd name="T7" fmla="*/ 25 h 28"/>
                <a:gd name="T8" fmla="*/ 20 w 29"/>
                <a:gd name="T9" fmla="*/ 28 h 28"/>
                <a:gd name="T10" fmla="*/ 26 w 29"/>
                <a:gd name="T11" fmla="*/ 25 h 28"/>
                <a:gd name="T12" fmla="*/ 26 w 29"/>
                <a:gd name="T13" fmla="*/ 14 h 28"/>
                <a:gd name="T14" fmla="*/ 14 w 29"/>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3"/>
                  </a:moveTo>
                  <a:cubicBezTo>
                    <a:pt x="11" y="0"/>
                    <a:pt x="6" y="0"/>
                    <a:pt x="3" y="3"/>
                  </a:cubicBezTo>
                  <a:cubicBezTo>
                    <a:pt x="0" y="6"/>
                    <a:pt x="0" y="11"/>
                    <a:pt x="3" y="14"/>
                  </a:cubicBezTo>
                  <a:cubicBezTo>
                    <a:pt x="14" y="25"/>
                    <a:pt x="14" y="25"/>
                    <a:pt x="14" y="25"/>
                  </a:cubicBezTo>
                  <a:cubicBezTo>
                    <a:pt x="16" y="27"/>
                    <a:pt x="18" y="28"/>
                    <a:pt x="20" y="28"/>
                  </a:cubicBezTo>
                  <a:cubicBezTo>
                    <a:pt x="22" y="28"/>
                    <a:pt x="24" y="27"/>
                    <a:pt x="26" y="25"/>
                  </a:cubicBezTo>
                  <a:cubicBezTo>
                    <a:pt x="29" y="22"/>
                    <a:pt x="29" y="17"/>
                    <a:pt x="26" y="14"/>
                  </a:cubicBezTo>
                  <a:lnTo>
                    <a:pt x="14" y="3"/>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29" name="Freeform 36">
              <a:extLst>
                <a:ext uri="{FF2B5EF4-FFF2-40B4-BE49-F238E27FC236}">
                  <a16:creationId xmlns:a16="http://schemas.microsoft.com/office/drawing/2014/main" id="{0F2CA9F6-5323-0A30-88DE-23AA8D8885F9}"/>
                </a:ext>
              </a:extLst>
            </p:cNvPr>
            <p:cNvSpPr>
              <a:spLocks/>
            </p:cNvSpPr>
            <p:nvPr/>
          </p:nvSpPr>
          <p:spPr bwMode="auto">
            <a:xfrm>
              <a:off x="3696" y="2268"/>
              <a:ext cx="38" cy="77"/>
            </a:xfrm>
            <a:custGeom>
              <a:avLst/>
              <a:gdLst>
                <a:gd name="T0" fmla="*/ 8 w 16"/>
                <a:gd name="T1" fmla="*/ 0 h 32"/>
                <a:gd name="T2" fmla="*/ 0 w 16"/>
                <a:gd name="T3" fmla="*/ 8 h 32"/>
                <a:gd name="T4" fmla="*/ 0 w 16"/>
                <a:gd name="T5" fmla="*/ 24 h 32"/>
                <a:gd name="T6" fmla="*/ 8 w 16"/>
                <a:gd name="T7" fmla="*/ 32 h 32"/>
                <a:gd name="T8" fmla="*/ 16 w 16"/>
                <a:gd name="T9" fmla="*/ 24 h 32"/>
                <a:gd name="T10" fmla="*/ 16 w 16"/>
                <a:gd name="T11" fmla="*/ 8 h 32"/>
                <a:gd name="T12" fmla="*/ 8 w 1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0"/>
                  </a:moveTo>
                  <a:cubicBezTo>
                    <a:pt x="4" y="0"/>
                    <a:pt x="0" y="4"/>
                    <a:pt x="0" y="8"/>
                  </a:cubicBezTo>
                  <a:cubicBezTo>
                    <a:pt x="0" y="24"/>
                    <a:pt x="0" y="24"/>
                    <a:pt x="0" y="24"/>
                  </a:cubicBezTo>
                  <a:cubicBezTo>
                    <a:pt x="0" y="28"/>
                    <a:pt x="4" y="32"/>
                    <a:pt x="8" y="32"/>
                  </a:cubicBezTo>
                  <a:cubicBezTo>
                    <a:pt x="13" y="32"/>
                    <a:pt x="16" y="28"/>
                    <a:pt x="16" y="24"/>
                  </a:cubicBezTo>
                  <a:cubicBezTo>
                    <a:pt x="16" y="8"/>
                    <a:pt x="16" y="8"/>
                    <a:pt x="16" y="8"/>
                  </a:cubicBezTo>
                  <a:cubicBezTo>
                    <a:pt x="16" y="4"/>
                    <a:pt x="13" y="0"/>
                    <a:pt x="8"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34" name="Freeform 37">
              <a:extLst>
                <a:ext uri="{FF2B5EF4-FFF2-40B4-BE49-F238E27FC236}">
                  <a16:creationId xmlns:a16="http://schemas.microsoft.com/office/drawing/2014/main" id="{35EB9D98-292B-72FB-C251-D2A4754BF280}"/>
                </a:ext>
              </a:extLst>
            </p:cNvPr>
            <p:cNvSpPr>
              <a:spLocks/>
            </p:cNvSpPr>
            <p:nvPr/>
          </p:nvSpPr>
          <p:spPr bwMode="auto">
            <a:xfrm>
              <a:off x="3492" y="2194"/>
              <a:ext cx="67" cy="67"/>
            </a:xfrm>
            <a:custGeom>
              <a:avLst/>
              <a:gdLst>
                <a:gd name="T0" fmla="*/ 14 w 28"/>
                <a:gd name="T1" fmla="*/ 3 h 28"/>
                <a:gd name="T2" fmla="*/ 3 w 28"/>
                <a:gd name="T3" fmla="*/ 14 h 28"/>
                <a:gd name="T4" fmla="*/ 3 w 28"/>
                <a:gd name="T5" fmla="*/ 25 h 28"/>
                <a:gd name="T6" fmla="*/ 8 w 28"/>
                <a:gd name="T7" fmla="*/ 28 h 28"/>
                <a:gd name="T8" fmla="*/ 14 w 28"/>
                <a:gd name="T9" fmla="*/ 25 h 28"/>
                <a:gd name="T10" fmla="*/ 25 w 28"/>
                <a:gd name="T11" fmla="*/ 14 h 28"/>
                <a:gd name="T12" fmla="*/ 25 w 28"/>
                <a:gd name="T13" fmla="*/ 3 h 28"/>
                <a:gd name="T14" fmla="*/ 14 w 28"/>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3"/>
                  </a:moveTo>
                  <a:cubicBezTo>
                    <a:pt x="3" y="14"/>
                    <a:pt x="3" y="14"/>
                    <a:pt x="3" y="14"/>
                  </a:cubicBezTo>
                  <a:cubicBezTo>
                    <a:pt x="0" y="17"/>
                    <a:pt x="0" y="22"/>
                    <a:pt x="3" y="25"/>
                  </a:cubicBezTo>
                  <a:cubicBezTo>
                    <a:pt x="4" y="27"/>
                    <a:pt x="6" y="28"/>
                    <a:pt x="8" y="28"/>
                  </a:cubicBezTo>
                  <a:cubicBezTo>
                    <a:pt x="10" y="28"/>
                    <a:pt x="13" y="27"/>
                    <a:pt x="14" y="25"/>
                  </a:cubicBezTo>
                  <a:cubicBezTo>
                    <a:pt x="25" y="14"/>
                    <a:pt x="25" y="14"/>
                    <a:pt x="25" y="14"/>
                  </a:cubicBezTo>
                  <a:cubicBezTo>
                    <a:pt x="28" y="11"/>
                    <a:pt x="28" y="6"/>
                    <a:pt x="25" y="3"/>
                  </a:cubicBezTo>
                  <a:cubicBezTo>
                    <a:pt x="22" y="0"/>
                    <a:pt x="17" y="0"/>
                    <a:pt x="14"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135" name="Freeform 38">
              <a:extLst>
                <a:ext uri="{FF2B5EF4-FFF2-40B4-BE49-F238E27FC236}">
                  <a16:creationId xmlns:a16="http://schemas.microsoft.com/office/drawing/2014/main" id="{8E2BD702-9D13-37E7-8075-0840DB142662}"/>
                </a:ext>
              </a:extLst>
            </p:cNvPr>
            <p:cNvSpPr>
              <a:spLocks noEditPoints="1"/>
            </p:cNvSpPr>
            <p:nvPr/>
          </p:nvSpPr>
          <p:spPr bwMode="auto">
            <a:xfrm>
              <a:off x="3542" y="1865"/>
              <a:ext cx="346" cy="345"/>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28 h 144"/>
                <a:gd name="T12" fmla="*/ 16 w 144"/>
                <a:gd name="T13" fmla="*/ 72 h 144"/>
                <a:gd name="T14" fmla="*/ 72 w 144"/>
                <a:gd name="T15" fmla="*/ 16 h 144"/>
                <a:gd name="T16" fmla="*/ 128 w 144"/>
                <a:gd name="T17" fmla="*/ 72 h 144"/>
                <a:gd name="T18" fmla="*/ 72 w 144"/>
                <a:gd name="T1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3" y="0"/>
                    <a:pt x="0" y="32"/>
                    <a:pt x="0" y="72"/>
                  </a:cubicBezTo>
                  <a:cubicBezTo>
                    <a:pt x="0" y="112"/>
                    <a:pt x="33" y="144"/>
                    <a:pt x="72" y="144"/>
                  </a:cubicBezTo>
                  <a:cubicBezTo>
                    <a:pt x="112" y="144"/>
                    <a:pt x="144" y="112"/>
                    <a:pt x="144" y="72"/>
                  </a:cubicBezTo>
                  <a:cubicBezTo>
                    <a:pt x="144" y="32"/>
                    <a:pt x="112" y="0"/>
                    <a:pt x="72" y="0"/>
                  </a:cubicBezTo>
                  <a:close/>
                  <a:moveTo>
                    <a:pt x="72" y="128"/>
                  </a:moveTo>
                  <a:cubicBezTo>
                    <a:pt x="41" y="128"/>
                    <a:pt x="16" y="103"/>
                    <a:pt x="16" y="72"/>
                  </a:cubicBezTo>
                  <a:cubicBezTo>
                    <a:pt x="16" y="41"/>
                    <a:pt x="41" y="16"/>
                    <a:pt x="72" y="16"/>
                  </a:cubicBezTo>
                  <a:cubicBezTo>
                    <a:pt x="103" y="16"/>
                    <a:pt x="128" y="41"/>
                    <a:pt x="128" y="72"/>
                  </a:cubicBezTo>
                  <a:cubicBezTo>
                    <a:pt x="128" y="103"/>
                    <a:pt x="103" y="128"/>
                    <a:pt x="72" y="12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cxnSp>
        <p:nvCxnSpPr>
          <p:cNvPr id="1141" name="Straight Connector 1140">
            <a:extLst>
              <a:ext uri="{FF2B5EF4-FFF2-40B4-BE49-F238E27FC236}">
                <a16:creationId xmlns:a16="http://schemas.microsoft.com/office/drawing/2014/main" id="{0C1BB184-524B-94C9-82F4-D2177EE13E75}"/>
              </a:ext>
            </a:extLst>
          </p:cNvPr>
          <p:cNvCxnSpPr/>
          <p:nvPr/>
        </p:nvCxnSpPr>
        <p:spPr>
          <a:xfrm flipH="1">
            <a:off x="8045597" y="1392350"/>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42" name="Straight Connector 1141">
            <a:extLst>
              <a:ext uri="{FF2B5EF4-FFF2-40B4-BE49-F238E27FC236}">
                <a16:creationId xmlns:a16="http://schemas.microsoft.com/office/drawing/2014/main" id="{DE883B9F-4325-B21D-9A91-F6FD15CB86D8}"/>
              </a:ext>
            </a:extLst>
          </p:cNvPr>
          <p:cNvCxnSpPr/>
          <p:nvPr/>
        </p:nvCxnSpPr>
        <p:spPr>
          <a:xfrm flipH="1">
            <a:off x="8045597" y="1968384"/>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44" name="Straight Connector 1143">
            <a:extLst>
              <a:ext uri="{FF2B5EF4-FFF2-40B4-BE49-F238E27FC236}">
                <a16:creationId xmlns:a16="http://schemas.microsoft.com/office/drawing/2014/main" id="{CB1BD2D1-FE25-39D5-D0F4-05BD94F09B85}"/>
              </a:ext>
            </a:extLst>
          </p:cNvPr>
          <p:cNvCxnSpPr/>
          <p:nvPr/>
        </p:nvCxnSpPr>
        <p:spPr>
          <a:xfrm flipH="1">
            <a:off x="8045597" y="2544418"/>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50" name="Straight Connector 1149">
            <a:extLst>
              <a:ext uri="{FF2B5EF4-FFF2-40B4-BE49-F238E27FC236}">
                <a16:creationId xmlns:a16="http://schemas.microsoft.com/office/drawing/2014/main" id="{0D419889-7F93-889E-9C50-52A44A972250}"/>
              </a:ext>
            </a:extLst>
          </p:cNvPr>
          <p:cNvCxnSpPr/>
          <p:nvPr/>
        </p:nvCxnSpPr>
        <p:spPr>
          <a:xfrm flipH="1">
            <a:off x="8045597" y="3305118"/>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51" name="Straight Connector 1150">
            <a:extLst>
              <a:ext uri="{FF2B5EF4-FFF2-40B4-BE49-F238E27FC236}">
                <a16:creationId xmlns:a16="http://schemas.microsoft.com/office/drawing/2014/main" id="{B27935B4-471B-5D7A-1B8C-B3711D6ED7E8}"/>
              </a:ext>
            </a:extLst>
          </p:cNvPr>
          <p:cNvCxnSpPr/>
          <p:nvPr/>
        </p:nvCxnSpPr>
        <p:spPr>
          <a:xfrm flipH="1">
            <a:off x="8045597" y="4065818"/>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53" name="Straight Connector 1152">
            <a:extLst>
              <a:ext uri="{FF2B5EF4-FFF2-40B4-BE49-F238E27FC236}">
                <a16:creationId xmlns:a16="http://schemas.microsoft.com/office/drawing/2014/main" id="{C2E782AB-6765-752E-C0C4-8CD81B78D4FA}"/>
              </a:ext>
            </a:extLst>
          </p:cNvPr>
          <p:cNvCxnSpPr/>
          <p:nvPr/>
        </p:nvCxnSpPr>
        <p:spPr>
          <a:xfrm flipH="1">
            <a:off x="8045597" y="4641852"/>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cxnSp>
        <p:nvCxnSpPr>
          <p:cNvPr id="1183" name="Straight Connector 1182">
            <a:extLst>
              <a:ext uri="{FF2B5EF4-FFF2-40B4-BE49-F238E27FC236}">
                <a16:creationId xmlns:a16="http://schemas.microsoft.com/office/drawing/2014/main" id="{FEB405B2-98B1-85A8-89DB-B11330458B5C}"/>
              </a:ext>
            </a:extLst>
          </p:cNvPr>
          <p:cNvCxnSpPr/>
          <p:nvPr/>
        </p:nvCxnSpPr>
        <p:spPr>
          <a:xfrm flipH="1">
            <a:off x="8045597" y="5587218"/>
            <a:ext cx="3657600"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sp>
        <p:nvSpPr>
          <p:cNvPr id="1200" name="TextBox 1199">
            <a:extLst>
              <a:ext uri="{FF2B5EF4-FFF2-40B4-BE49-F238E27FC236}">
                <a16:creationId xmlns:a16="http://schemas.microsoft.com/office/drawing/2014/main" id="{A35C8F87-4078-8B0B-D1D9-103F9963417E}"/>
              </a:ext>
            </a:extLst>
          </p:cNvPr>
          <p:cNvSpPr txBox="1"/>
          <p:nvPr/>
        </p:nvSpPr>
        <p:spPr>
          <a:xfrm>
            <a:off x="8600396" y="1457601"/>
            <a:ext cx="2965771" cy="50783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Se prevé un riesgo elevado de incendios forestales en las Montañas Rocosas del centro y norte de EE. UU. hasta Canadá</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280" name="Group 29" descr="Wildfire bushfire.">
            <a:extLst>
              <a:ext uri="{FF2B5EF4-FFF2-40B4-BE49-F238E27FC236}">
                <a16:creationId xmlns:a16="http://schemas.microsoft.com/office/drawing/2014/main" id="{637FC6A2-4F58-3CC2-9DA0-F1A854C33221}"/>
              </a:ext>
            </a:extLst>
          </p:cNvPr>
          <p:cNvGrpSpPr>
            <a:grpSpLocks noChangeAspect="1"/>
          </p:cNvGrpSpPr>
          <p:nvPr/>
        </p:nvGrpSpPr>
        <p:grpSpPr bwMode="auto">
          <a:xfrm>
            <a:off x="8175906" y="1533170"/>
            <a:ext cx="183029" cy="294395"/>
            <a:chOff x="5240" y="1368"/>
            <a:chExt cx="378" cy="608"/>
          </a:xfrm>
          <a:solidFill>
            <a:schemeClr val="accent2"/>
          </a:solidFill>
        </p:grpSpPr>
        <p:sp>
          <p:nvSpPr>
            <p:cNvPr id="1282" name="Freeform 5">
              <a:extLst>
                <a:ext uri="{FF2B5EF4-FFF2-40B4-BE49-F238E27FC236}">
                  <a16:creationId xmlns:a16="http://schemas.microsoft.com/office/drawing/2014/main" id="{F93D0803-F55B-6985-85B7-BD2EA9E06043}"/>
                </a:ext>
              </a:extLst>
            </p:cNvPr>
            <p:cNvSpPr>
              <a:spLocks/>
            </p:cNvSpPr>
            <p:nvPr/>
          </p:nvSpPr>
          <p:spPr bwMode="auto">
            <a:xfrm>
              <a:off x="5273" y="1368"/>
              <a:ext cx="316" cy="335"/>
            </a:xfrm>
            <a:custGeom>
              <a:avLst/>
              <a:gdLst>
                <a:gd name="T0" fmla="*/ 17 w 131"/>
                <a:gd name="T1" fmla="*/ 140 h 140"/>
                <a:gd name="T2" fmla="*/ 21 w 131"/>
                <a:gd name="T3" fmla="*/ 139 h 140"/>
                <a:gd name="T4" fmla="*/ 24 w 131"/>
                <a:gd name="T5" fmla="*/ 128 h 140"/>
                <a:gd name="T6" fmla="*/ 16 w 131"/>
                <a:gd name="T7" fmla="*/ 101 h 140"/>
                <a:gd name="T8" fmla="*/ 46 w 131"/>
                <a:gd name="T9" fmla="*/ 49 h 140"/>
                <a:gd name="T10" fmla="*/ 64 w 131"/>
                <a:gd name="T11" fmla="*/ 24 h 140"/>
                <a:gd name="T12" fmla="*/ 66 w 131"/>
                <a:gd name="T13" fmla="*/ 60 h 140"/>
                <a:gd name="T14" fmla="*/ 64 w 131"/>
                <a:gd name="T15" fmla="*/ 68 h 140"/>
                <a:gd name="T16" fmla="*/ 77 w 131"/>
                <a:gd name="T17" fmla="*/ 82 h 140"/>
                <a:gd name="T18" fmla="*/ 101 w 131"/>
                <a:gd name="T19" fmla="*/ 65 h 140"/>
                <a:gd name="T20" fmla="*/ 112 w 131"/>
                <a:gd name="T21" fmla="*/ 104 h 140"/>
                <a:gd name="T22" fmla="*/ 106 w 131"/>
                <a:gd name="T23" fmla="*/ 124 h 140"/>
                <a:gd name="T24" fmla="*/ 109 w 131"/>
                <a:gd name="T25" fmla="*/ 135 h 140"/>
                <a:gd name="T26" fmla="*/ 120 w 131"/>
                <a:gd name="T27" fmla="*/ 133 h 140"/>
                <a:gd name="T28" fmla="*/ 128 w 131"/>
                <a:gd name="T29" fmla="*/ 104 h 140"/>
                <a:gd name="T30" fmla="*/ 105 w 131"/>
                <a:gd name="T31" fmla="*/ 44 h 140"/>
                <a:gd name="T32" fmla="*/ 97 w 131"/>
                <a:gd name="T33" fmla="*/ 41 h 140"/>
                <a:gd name="T34" fmla="*/ 91 w 131"/>
                <a:gd name="T35" fmla="*/ 47 h 140"/>
                <a:gd name="T36" fmla="*/ 81 w 131"/>
                <a:gd name="T37" fmla="*/ 65 h 140"/>
                <a:gd name="T38" fmla="*/ 81 w 131"/>
                <a:gd name="T39" fmla="*/ 62 h 140"/>
                <a:gd name="T40" fmla="*/ 63 w 131"/>
                <a:gd name="T41" fmla="*/ 2 h 140"/>
                <a:gd name="T42" fmla="*/ 55 w 131"/>
                <a:gd name="T43" fmla="*/ 1 h 140"/>
                <a:gd name="T44" fmla="*/ 51 w 131"/>
                <a:gd name="T45" fmla="*/ 8 h 140"/>
                <a:gd name="T46" fmla="*/ 36 w 131"/>
                <a:gd name="T47" fmla="*/ 37 h 140"/>
                <a:gd name="T48" fmla="*/ 0 w 131"/>
                <a:gd name="T49" fmla="*/ 101 h 140"/>
                <a:gd name="T50" fmla="*/ 10 w 131"/>
                <a:gd name="T51" fmla="*/ 136 h 140"/>
                <a:gd name="T52" fmla="*/ 17 w 131"/>
                <a:gd name="T5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40">
                  <a:moveTo>
                    <a:pt x="17" y="140"/>
                  </a:moveTo>
                  <a:cubicBezTo>
                    <a:pt x="19" y="140"/>
                    <a:pt x="20" y="140"/>
                    <a:pt x="21" y="139"/>
                  </a:cubicBezTo>
                  <a:cubicBezTo>
                    <a:pt x="25" y="137"/>
                    <a:pt x="26" y="132"/>
                    <a:pt x="24" y="128"/>
                  </a:cubicBezTo>
                  <a:cubicBezTo>
                    <a:pt x="19" y="120"/>
                    <a:pt x="16" y="110"/>
                    <a:pt x="16" y="101"/>
                  </a:cubicBezTo>
                  <a:cubicBezTo>
                    <a:pt x="16" y="79"/>
                    <a:pt x="38" y="57"/>
                    <a:pt x="46" y="49"/>
                  </a:cubicBezTo>
                  <a:cubicBezTo>
                    <a:pt x="54" y="42"/>
                    <a:pt x="60" y="34"/>
                    <a:pt x="64" y="24"/>
                  </a:cubicBezTo>
                  <a:cubicBezTo>
                    <a:pt x="69" y="34"/>
                    <a:pt x="68" y="47"/>
                    <a:pt x="66" y="60"/>
                  </a:cubicBezTo>
                  <a:cubicBezTo>
                    <a:pt x="65" y="63"/>
                    <a:pt x="64" y="66"/>
                    <a:pt x="64" y="68"/>
                  </a:cubicBezTo>
                  <a:cubicBezTo>
                    <a:pt x="64" y="75"/>
                    <a:pt x="70" y="81"/>
                    <a:pt x="77" y="82"/>
                  </a:cubicBezTo>
                  <a:cubicBezTo>
                    <a:pt x="83" y="83"/>
                    <a:pt x="93" y="81"/>
                    <a:pt x="101" y="65"/>
                  </a:cubicBezTo>
                  <a:cubicBezTo>
                    <a:pt x="108" y="76"/>
                    <a:pt x="114" y="88"/>
                    <a:pt x="112" y="104"/>
                  </a:cubicBezTo>
                  <a:cubicBezTo>
                    <a:pt x="112" y="113"/>
                    <a:pt x="112" y="115"/>
                    <a:pt x="106" y="124"/>
                  </a:cubicBezTo>
                  <a:cubicBezTo>
                    <a:pt x="104" y="128"/>
                    <a:pt x="105" y="133"/>
                    <a:pt x="109" y="135"/>
                  </a:cubicBezTo>
                  <a:cubicBezTo>
                    <a:pt x="113" y="138"/>
                    <a:pt x="118" y="136"/>
                    <a:pt x="120" y="133"/>
                  </a:cubicBezTo>
                  <a:cubicBezTo>
                    <a:pt x="127" y="121"/>
                    <a:pt x="128" y="115"/>
                    <a:pt x="128" y="104"/>
                  </a:cubicBezTo>
                  <a:cubicBezTo>
                    <a:pt x="131" y="75"/>
                    <a:pt x="113" y="53"/>
                    <a:pt x="105" y="44"/>
                  </a:cubicBezTo>
                  <a:cubicBezTo>
                    <a:pt x="103" y="42"/>
                    <a:pt x="100" y="41"/>
                    <a:pt x="97" y="41"/>
                  </a:cubicBezTo>
                  <a:cubicBezTo>
                    <a:pt x="94" y="42"/>
                    <a:pt x="92" y="44"/>
                    <a:pt x="91" y="47"/>
                  </a:cubicBezTo>
                  <a:cubicBezTo>
                    <a:pt x="87" y="60"/>
                    <a:pt x="83" y="64"/>
                    <a:pt x="81" y="65"/>
                  </a:cubicBezTo>
                  <a:cubicBezTo>
                    <a:pt x="81" y="65"/>
                    <a:pt x="81" y="63"/>
                    <a:pt x="81" y="62"/>
                  </a:cubicBezTo>
                  <a:cubicBezTo>
                    <a:pt x="84" y="48"/>
                    <a:pt x="89" y="18"/>
                    <a:pt x="63" y="2"/>
                  </a:cubicBezTo>
                  <a:cubicBezTo>
                    <a:pt x="61" y="0"/>
                    <a:pt x="58" y="0"/>
                    <a:pt x="55" y="1"/>
                  </a:cubicBezTo>
                  <a:cubicBezTo>
                    <a:pt x="53" y="3"/>
                    <a:pt x="51" y="5"/>
                    <a:pt x="51" y="8"/>
                  </a:cubicBezTo>
                  <a:cubicBezTo>
                    <a:pt x="50" y="19"/>
                    <a:pt x="45" y="29"/>
                    <a:pt x="36" y="37"/>
                  </a:cubicBezTo>
                  <a:cubicBezTo>
                    <a:pt x="23" y="49"/>
                    <a:pt x="0" y="74"/>
                    <a:pt x="0" y="101"/>
                  </a:cubicBezTo>
                  <a:cubicBezTo>
                    <a:pt x="0" y="113"/>
                    <a:pt x="4" y="126"/>
                    <a:pt x="10" y="136"/>
                  </a:cubicBezTo>
                  <a:cubicBezTo>
                    <a:pt x="12" y="139"/>
                    <a:pt x="14" y="140"/>
                    <a:pt x="17"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Freeform 6">
              <a:extLst>
                <a:ext uri="{FF2B5EF4-FFF2-40B4-BE49-F238E27FC236}">
                  <a16:creationId xmlns:a16="http://schemas.microsoft.com/office/drawing/2014/main" id="{A520666E-C7A2-5EA5-6712-C7BEAC64DA9F}"/>
                </a:ext>
              </a:extLst>
            </p:cNvPr>
            <p:cNvSpPr>
              <a:spLocks noEditPoints="1"/>
            </p:cNvSpPr>
            <p:nvPr/>
          </p:nvSpPr>
          <p:spPr bwMode="auto">
            <a:xfrm>
              <a:off x="5240" y="1617"/>
              <a:ext cx="378" cy="359"/>
            </a:xfrm>
            <a:custGeom>
              <a:avLst/>
              <a:gdLst>
                <a:gd name="T0" fmla="*/ 154 w 157"/>
                <a:gd name="T1" fmla="*/ 137 h 150"/>
                <a:gd name="T2" fmla="*/ 141 w 157"/>
                <a:gd name="T3" fmla="*/ 120 h 150"/>
                <a:gd name="T4" fmla="*/ 147 w 157"/>
                <a:gd name="T5" fmla="*/ 116 h 150"/>
                <a:gd name="T6" fmla="*/ 146 w 157"/>
                <a:gd name="T7" fmla="*/ 108 h 150"/>
                <a:gd name="T8" fmla="*/ 128 w 157"/>
                <a:gd name="T9" fmla="*/ 84 h 150"/>
                <a:gd name="T10" fmla="*/ 131 w 157"/>
                <a:gd name="T11" fmla="*/ 84 h 150"/>
                <a:gd name="T12" fmla="*/ 138 w 157"/>
                <a:gd name="T13" fmla="*/ 79 h 150"/>
                <a:gd name="T14" fmla="*/ 138 w 157"/>
                <a:gd name="T15" fmla="*/ 71 h 150"/>
                <a:gd name="T16" fmla="*/ 85 w 157"/>
                <a:gd name="T17" fmla="*/ 3 h 150"/>
                <a:gd name="T18" fmla="*/ 78 w 157"/>
                <a:gd name="T19" fmla="*/ 0 h 150"/>
                <a:gd name="T20" fmla="*/ 72 w 157"/>
                <a:gd name="T21" fmla="*/ 3 h 150"/>
                <a:gd name="T22" fmla="*/ 19 w 157"/>
                <a:gd name="T23" fmla="*/ 71 h 150"/>
                <a:gd name="T24" fmla="*/ 18 w 157"/>
                <a:gd name="T25" fmla="*/ 79 h 150"/>
                <a:gd name="T26" fmla="*/ 26 w 157"/>
                <a:gd name="T27" fmla="*/ 84 h 150"/>
                <a:gd name="T28" fmla="*/ 29 w 157"/>
                <a:gd name="T29" fmla="*/ 84 h 150"/>
                <a:gd name="T30" fmla="*/ 10 w 157"/>
                <a:gd name="T31" fmla="*/ 108 h 150"/>
                <a:gd name="T32" fmla="*/ 10 w 157"/>
                <a:gd name="T33" fmla="*/ 116 h 150"/>
                <a:gd name="T34" fmla="*/ 16 w 157"/>
                <a:gd name="T35" fmla="*/ 120 h 150"/>
                <a:gd name="T36" fmla="*/ 3 w 157"/>
                <a:gd name="T37" fmla="*/ 137 h 150"/>
                <a:gd name="T38" fmla="*/ 2 w 157"/>
                <a:gd name="T39" fmla="*/ 146 h 150"/>
                <a:gd name="T40" fmla="*/ 9 w 157"/>
                <a:gd name="T41" fmla="*/ 150 h 150"/>
                <a:gd name="T42" fmla="*/ 148 w 157"/>
                <a:gd name="T43" fmla="*/ 150 h 150"/>
                <a:gd name="T44" fmla="*/ 155 w 157"/>
                <a:gd name="T45" fmla="*/ 146 h 150"/>
                <a:gd name="T46" fmla="*/ 154 w 157"/>
                <a:gd name="T47" fmla="*/ 137 h 150"/>
                <a:gd name="T48" fmla="*/ 25 w 157"/>
                <a:gd name="T49" fmla="*/ 134 h 150"/>
                <a:gd name="T50" fmla="*/ 38 w 157"/>
                <a:gd name="T51" fmla="*/ 117 h 150"/>
                <a:gd name="T52" fmla="*/ 39 w 157"/>
                <a:gd name="T53" fmla="*/ 109 h 150"/>
                <a:gd name="T54" fmla="*/ 33 w 157"/>
                <a:gd name="T55" fmla="*/ 104 h 150"/>
                <a:gd name="T56" fmla="*/ 51 w 157"/>
                <a:gd name="T57" fmla="*/ 80 h 150"/>
                <a:gd name="T58" fmla="*/ 52 w 157"/>
                <a:gd name="T59" fmla="*/ 72 h 150"/>
                <a:gd name="T60" fmla="*/ 45 w 157"/>
                <a:gd name="T61" fmla="*/ 68 h 150"/>
                <a:gd name="T62" fmla="*/ 42 w 157"/>
                <a:gd name="T63" fmla="*/ 68 h 150"/>
                <a:gd name="T64" fmla="*/ 78 w 157"/>
                <a:gd name="T65" fmla="*/ 21 h 150"/>
                <a:gd name="T66" fmla="*/ 115 w 157"/>
                <a:gd name="T67" fmla="*/ 68 h 150"/>
                <a:gd name="T68" fmla="*/ 112 w 157"/>
                <a:gd name="T69" fmla="*/ 68 h 150"/>
                <a:gd name="T70" fmla="*/ 105 w 157"/>
                <a:gd name="T71" fmla="*/ 72 h 150"/>
                <a:gd name="T72" fmla="*/ 106 w 157"/>
                <a:gd name="T73" fmla="*/ 80 h 150"/>
                <a:gd name="T74" fmla="*/ 124 w 157"/>
                <a:gd name="T75" fmla="*/ 104 h 150"/>
                <a:gd name="T76" fmla="*/ 118 w 157"/>
                <a:gd name="T77" fmla="*/ 109 h 150"/>
                <a:gd name="T78" fmla="*/ 119 w 157"/>
                <a:gd name="T79" fmla="*/ 117 h 150"/>
                <a:gd name="T80" fmla="*/ 132 w 157"/>
                <a:gd name="T81" fmla="*/ 134 h 150"/>
                <a:gd name="T82" fmla="*/ 25 w 157"/>
                <a:gd name="T83"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 h="150">
                  <a:moveTo>
                    <a:pt x="154" y="137"/>
                  </a:moveTo>
                  <a:cubicBezTo>
                    <a:pt x="141" y="120"/>
                    <a:pt x="141" y="120"/>
                    <a:pt x="141" y="120"/>
                  </a:cubicBezTo>
                  <a:cubicBezTo>
                    <a:pt x="144" y="120"/>
                    <a:pt x="146" y="118"/>
                    <a:pt x="147" y="116"/>
                  </a:cubicBezTo>
                  <a:cubicBezTo>
                    <a:pt x="149" y="113"/>
                    <a:pt x="148" y="110"/>
                    <a:pt x="146" y="108"/>
                  </a:cubicBezTo>
                  <a:cubicBezTo>
                    <a:pt x="128" y="84"/>
                    <a:pt x="128" y="84"/>
                    <a:pt x="128" y="84"/>
                  </a:cubicBezTo>
                  <a:cubicBezTo>
                    <a:pt x="131" y="84"/>
                    <a:pt x="131" y="84"/>
                    <a:pt x="131" y="84"/>
                  </a:cubicBezTo>
                  <a:cubicBezTo>
                    <a:pt x="134" y="84"/>
                    <a:pt x="137" y="82"/>
                    <a:pt x="138" y="79"/>
                  </a:cubicBezTo>
                  <a:cubicBezTo>
                    <a:pt x="140" y="76"/>
                    <a:pt x="139" y="73"/>
                    <a:pt x="138" y="71"/>
                  </a:cubicBezTo>
                  <a:cubicBezTo>
                    <a:pt x="85" y="3"/>
                    <a:pt x="85" y="3"/>
                    <a:pt x="85" y="3"/>
                  </a:cubicBezTo>
                  <a:cubicBezTo>
                    <a:pt x="83" y="1"/>
                    <a:pt x="81" y="0"/>
                    <a:pt x="78" y="0"/>
                  </a:cubicBezTo>
                  <a:cubicBezTo>
                    <a:pt x="76" y="0"/>
                    <a:pt x="74" y="1"/>
                    <a:pt x="72" y="3"/>
                  </a:cubicBezTo>
                  <a:cubicBezTo>
                    <a:pt x="19" y="71"/>
                    <a:pt x="19" y="71"/>
                    <a:pt x="19" y="71"/>
                  </a:cubicBezTo>
                  <a:cubicBezTo>
                    <a:pt x="17" y="73"/>
                    <a:pt x="17" y="76"/>
                    <a:pt x="18" y="79"/>
                  </a:cubicBezTo>
                  <a:cubicBezTo>
                    <a:pt x="20" y="82"/>
                    <a:pt x="23" y="84"/>
                    <a:pt x="26" y="84"/>
                  </a:cubicBezTo>
                  <a:cubicBezTo>
                    <a:pt x="29" y="84"/>
                    <a:pt x="29" y="84"/>
                    <a:pt x="29" y="84"/>
                  </a:cubicBezTo>
                  <a:cubicBezTo>
                    <a:pt x="10" y="108"/>
                    <a:pt x="10" y="108"/>
                    <a:pt x="10" y="108"/>
                  </a:cubicBezTo>
                  <a:cubicBezTo>
                    <a:pt x="9" y="110"/>
                    <a:pt x="8" y="113"/>
                    <a:pt x="10" y="116"/>
                  </a:cubicBezTo>
                  <a:cubicBezTo>
                    <a:pt x="11" y="118"/>
                    <a:pt x="13" y="120"/>
                    <a:pt x="16" y="120"/>
                  </a:cubicBezTo>
                  <a:cubicBezTo>
                    <a:pt x="3" y="137"/>
                    <a:pt x="3" y="137"/>
                    <a:pt x="3" y="137"/>
                  </a:cubicBezTo>
                  <a:cubicBezTo>
                    <a:pt x="1" y="140"/>
                    <a:pt x="0" y="143"/>
                    <a:pt x="2" y="146"/>
                  </a:cubicBezTo>
                  <a:cubicBezTo>
                    <a:pt x="3" y="148"/>
                    <a:pt x="6" y="150"/>
                    <a:pt x="9" y="150"/>
                  </a:cubicBezTo>
                  <a:cubicBezTo>
                    <a:pt x="148" y="150"/>
                    <a:pt x="148" y="150"/>
                    <a:pt x="148" y="150"/>
                  </a:cubicBezTo>
                  <a:cubicBezTo>
                    <a:pt x="151" y="150"/>
                    <a:pt x="154" y="148"/>
                    <a:pt x="155" y="146"/>
                  </a:cubicBezTo>
                  <a:cubicBezTo>
                    <a:pt x="157" y="143"/>
                    <a:pt x="156" y="140"/>
                    <a:pt x="154" y="137"/>
                  </a:cubicBezTo>
                  <a:close/>
                  <a:moveTo>
                    <a:pt x="25" y="134"/>
                  </a:moveTo>
                  <a:cubicBezTo>
                    <a:pt x="38" y="117"/>
                    <a:pt x="38" y="117"/>
                    <a:pt x="38" y="117"/>
                  </a:cubicBezTo>
                  <a:cubicBezTo>
                    <a:pt x="40" y="115"/>
                    <a:pt x="41" y="112"/>
                    <a:pt x="39" y="109"/>
                  </a:cubicBezTo>
                  <a:cubicBezTo>
                    <a:pt x="38" y="106"/>
                    <a:pt x="36" y="105"/>
                    <a:pt x="33" y="104"/>
                  </a:cubicBezTo>
                  <a:cubicBezTo>
                    <a:pt x="51" y="80"/>
                    <a:pt x="51" y="80"/>
                    <a:pt x="51" y="80"/>
                  </a:cubicBezTo>
                  <a:cubicBezTo>
                    <a:pt x="53" y="78"/>
                    <a:pt x="53" y="75"/>
                    <a:pt x="52" y="72"/>
                  </a:cubicBezTo>
                  <a:cubicBezTo>
                    <a:pt x="51" y="69"/>
                    <a:pt x="48" y="68"/>
                    <a:pt x="45" y="68"/>
                  </a:cubicBezTo>
                  <a:cubicBezTo>
                    <a:pt x="42" y="68"/>
                    <a:pt x="42" y="68"/>
                    <a:pt x="42" y="68"/>
                  </a:cubicBezTo>
                  <a:cubicBezTo>
                    <a:pt x="78" y="21"/>
                    <a:pt x="78" y="21"/>
                    <a:pt x="78" y="21"/>
                  </a:cubicBezTo>
                  <a:cubicBezTo>
                    <a:pt x="115" y="68"/>
                    <a:pt x="115" y="68"/>
                    <a:pt x="115" y="68"/>
                  </a:cubicBezTo>
                  <a:cubicBezTo>
                    <a:pt x="112" y="68"/>
                    <a:pt x="112" y="68"/>
                    <a:pt x="112" y="68"/>
                  </a:cubicBezTo>
                  <a:cubicBezTo>
                    <a:pt x="109" y="68"/>
                    <a:pt x="106" y="69"/>
                    <a:pt x="105" y="72"/>
                  </a:cubicBezTo>
                  <a:cubicBezTo>
                    <a:pt x="104" y="75"/>
                    <a:pt x="104" y="78"/>
                    <a:pt x="106" y="80"/>
                  </a:cubicBezTo>
                  <a:cubicBezTo>
                    <a:pt x="124" y="104"/>
                    <a:pt x="124" y="104"/>
                    <a:pt x="124" y="104"/>
                  </a:cubicBezTo>
                  <a:cubicBezTo>
                    <a:pt x="121" y="105"/>
                    <a:pt x="119" y="106"/>
                    <a:pt x="118" y="109"/>
                  </a:cubicBezTo>
                  <a:cubicBezTo>
                    <a:pt x="116" y="112"/>
                    <a:pt x="117" y="115"/>
                    <a:pt x="119" y="117"/>
                  </a:cubicBezTo>
                  <a:cubicBezTo>
                    <a:pt x="132" y="134"/>
                    <a:pt x="132" y="134"/>
                    <a:pt x="132" y="134"/>
                  </a:cubicBezTo>
                  <a:lnTo>
                    <a:pt x="25"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5" name="TextBox 1124">
            <a:extLst>
              <a:ext uri="{FF2B5EF4-FFF2-40B4-BE49-F238E27FC236}">
                <a16:creationId xmlns:a16="http://schemas.microsoft.com/office/drawing/2014/main" id="{2590F671-CD92-ADB1-3825-BF1E4F691ECD}"/>
              </a:ext>
            </a:extLst>
          </p:cNvPr>
          <p:cNvSpPr txBox="1"/>
          <p:nvPr/>
        </p:nvSpPr>
        <p:spPr>
          <a:xfrm>
            <a:off x="8600396" y="2090785"/>
            <a:ext cx="3109489" cy="33855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Transición de El Niño a La Niña en el Pacífico tropical</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286" name="Group 29" descr="Tide.">
            <a:extLst>
              <a:ext uri="{FF2B5EF4-FFF2-40B4-BE49-F238E27FC236}">
                <a16:creationId xmlns:a16="http://schemas.microsoft.com/office/drawing/2014/main" id="{920F528D-286B-96FB-2A1A-4EFE10E47667}"/>
              </a:ext>
            </a:extLst>
          </p:cNvPr>
          <p:cNvGrpSpPr>
            <a:grpSpLocks noChangeAspect="1"/>
          </p:cNvGrpSpPr>
          <p:nvPr/>
        </p:nvGrpSpPr>
        <p:grpSpPr bwMode="auto">
          <a:xfrm>
            <a:off x="8120201" y="2113763"/>
            <a:ext cx="294394" cy="285269"/>
            <a:chOff x="5242" y="1679"/>
            <a:chExt cx="613" cy="594"/>
          </a:xfrm>
          <a:solidFill>
            <a:schemeClr val="accent3"/>
          </a:solidFill>
        </p:grpSpPr>
        <p:sp>
          <p:nvSpPr>
            <p:cNvPr id="1288" name="Freeform 10">
              <a:extLst>
                <a:ext uri="{FF2B5EF4-FFF2-40B4-BE49-F238E27FC236}">
                  <a16:creationId xmlns:a16="http://schemas.microsoft.com/office/drawing/2014/main" id="{685512E9-27A4-6014-C906-596A101739E6}"/>
                </a:ext>
              </a:extLst>
            </p:cNvPr>
            <p:cNvSpPr>
              <a:spLocks/>
            </p:cNvSpPr>
            <p:nvPr/>
          </p:nvSpPr>
          <p:spPr bwMode="auto">
            <a:xfrm>
              <a:off x="5558" y="1679"/>
              <a:ext cx="223" cy="326"/>
            </a:xfrm>
            <a:custGeom>
              <a:avLst/>
              <a:gdLst>
                <a:gd name="T0" fmla="*/ 9 w 93"/>
                <a:gd name="T1" fmla="*/ 54 h 136"/>
                <a:gd name="T2" fmla="*/ 15 w 93"/>
                <a:gd name="T3" fmla="*/ 51 h 136"/>
                <a:gd name="T4" fmla="*/ 39 w 93"/>
                <a:gd name="T5" fmla="*/ 27 h 136"/>
                <a:gd name="T6" fmla="*/ 39 w 93"/>
                <a:gd name="T7" fmla="*/ 128 h 136"/>
                <a:gd name="T8" fmla="*/ 47 w 93"/>
                <a:gd name="T9" fmla="*/ 136 h 136"/>
                <a:gd name="T10" fmla="*/ 55 w 93"/>
                <a:gd name="T11" fmla="*/ 128 h 136"/>
                <a:gd name="T12" fmla="*/ 55 w 93"/>
                <a:gd name="T13" fmla="*/ 27 h 136"/>
                <a:gd name="T14" fmla="*/ 79 w 93"/>
                <a:gd name="T15" fmla="*/ 51 h 136"/>
                <a:gd name="T16" fmla="*/ 90 w 93"/>
                <a:gd name="T17" fmla="*/ 51 h 136"/>
                <a:gd name="T18" fmla="*/ 90 w 93"/>
                <a:gd name="T19" fmla="*/ 40 h 136"/>
                <a:gd name="T20" fmla="*/ 52 w 93"/>
                <a:gd name="T21" fmla="*/ 2 h 136"/>
                <a:gd name="T22" fmla="*/ 50 w 93"/>
                <a:gd name="T23" fmla="*/ 1 h 136"/>
                <a:gd name="T24" fmla="*/ 47 w 93"/>
                <a:gd name="T25" fmla="*/ 0 h 136"/>
                <a:gd name="T26" fmla="*/ 47 w 93"/>
                <a:gd name="T27" fmla="*/ 0 h 136"/>
                <a:gd name="T28" fmla="*/ 44 w 93"/>
                <a:gd name="T29" fmla="*/ 1 h 136"/>
                <a:gd name="T30" fmla="*/ 41 w 93"/>
                <a:gd name="T31" fmla="*/ 2 h 136"/>
                <a:gd name="T32" fmla="*/ 41 w 93"/>
                <a:gd name="T33" fmla="*/ 2 h 136"/>
                <a:gd name="T34" fmla="*/ 4 w 93"/>
                <a:gd name="T35" fmla="*/ 40 h 136"/>
                <a:gd name="T36" fmla="*/ 4 w 93"/>
                <a:gd name="T37" fmla="*/ 51 h 136"/>
                <a:gd name="T38" fmla="*/ 9 w 93"/>
                <a:gd name="T39"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136">
                  <a:moveTo>
                    <a:pt x="9" y="54"/>
                  </a:moveTo>
                  <a:cubicBezTo>
                    <a:pt x="11" y="54"/>
                    <a:pt x="13" y="53"/>
                    <a:pt x="15" y="51"/>
                  </a:cubicBezTo>
                  <a:cubicBezTo>
                    <a:pt x="39" y="27"/>
                    <a:pt x="39" y="27"/>
                    <a:pt x="39" y="27"/>
                  </a:cubicBezTo>
                  <a:cubicBezTo>
                    <a:pt x="39" y="128"/>
                    <a:pt x="39" y="128"/>
                    <a:pt x="39" y="128"/>
                  </a:cubicBezTo>
                  <a:cubicBezTo>
                    <a:pt x="39" y="132"/>
                    <a:pt x="42" y="136"/>
                    <a:pt x="47" y="136"/>
                  </a:cubicBezTo>
                  <a:cubicBezTo>
                    <a:pt x="51" y="136"/>
                    <a:pt x="55" y="132"/>
                    <a:pt x="55" y="128"/>
                  </a:cubicBezTo>
                  <a:cubicBezTo>
                    <a:pt x="55" y="27"/>
                    <a:pt x="55" y="27"/>
                    <a:pt x="55" y="27"/>
                  </a:cubicBezTo>
                  <a:cubicBezTo>
                    <a:pt x="79" y="51"/>
                    <a:pt x="79" y="51"/>
                    <a:pt x="79" y="51"/>
                  </a:cubicBezTo>
                  <a:cubicBezTo>
                    <a:pt x="82" y="54"/>
                    <a:pt x="87" y="54"/>
                    <a:pt x="90" y="51"/>
                  </a:cubicBezTo>
                  <a:cubicBezTo>
                    <a:pt x="93" y="48"/>
                    <a:pt x="93" y="43"/>
                    <a:pt x="90" y="40"/>
                  </a:cubicBezTo>
                  <a:cubicBezTo>
                    <a:pt x="52" y="2"/>
                    <a:pt x="52" y="2"/>
                    <a:pt x="52" y="2"/>
                  </a:cubicBezTo>
                  <a:cubicBezTo>
                    <a:pt x="52" y="2"/>
                    <a:pt x="51" y="1"/>
                    <a:pt x="50" y="1"/>
                  </a:cubicBezTo>
                  <a:cubicBezTo>
                    <a:pt x="49" y="0"/>
                    <a:pt x="48" y="0"/>
                    <a:pt x="47" y="0"/>
                  </a:cubicBezTo>
                  <a:cubicBezTo>
                    <a:pt x="47" y="0"/>
                    <a:pt x="47" y="0"/>
                    <a:pt x="47" y="0"/>
                  </a:cubicBezTo>
                  <a:cubicBezTo>
                    <a:pt x="46" y="0"/>
                    <a:pt x="45" y="0"/>
                    <a:pt x="44" y="1"/>
                  </a:cubicBezTo>
                  <a:cubicBezTo>
                    <a:pt x="43" y="1"/>
                    <a:pt x="42" y="2"/>
                    <a:pt x="41" y="2"/>
                  </a:cubicBezTo>
                  <a:cubicBezTo>
                    <a:pt x="41" y="2"/>
                    <a:pt x="41" y="2"/>
                    <a:pt x="41" y="2"/>
                  </a:cubicBezTo>
                  <a:cubicBezTo>
                    <a:pt x="4" y="40"/>
                    <a:pt x="4" y="40"/>
                    <a:pt x="4" y="40"/>
                  </a:cubicBezTo>
                  <a:cubicBezTo>
                    <a:pt x="0" y="43"/>
                    <a:pt x="1" y="48"/>
                    <a:pt x="4" y="51"/>
                  </a:cubicBezTo>
                  <a:cubicBezTo>
                    <a:pt x="5" y="53"/>
                    <a:pt x="7" y="54"/>
                    <a:pt x="9"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1">
              <a:extLst>
                <a:ext uri="{FF2B5EF4-FFF2-40B4-BE49-F238E27FC236}">
                  <a16:creationId xmlns:a16="http://schemas.microsoft.com/office/drawing/2014/main" id="{6980F9E5-DC04-4489-2E3D-70C534A6562C}"/>
                </a:ext>
              </a:extLst>
            </p:cNvPr>
            <p:cNvSpPr>
              <a:spLocks/>
            </p:cNvSpPr>
            <p:nvPr/>
          </p:nvSpPr>
          <p:spPr bwMode="auto">
            <a:xfrm>
              <a:off x="5343" y="1679"/>
              <a:ext cx="223" cy="326"/>
            </a:xfrm>
            <a:custGeom>
              <a:avLst/>
              <a:gdLst>
                <a:gd name="T0" fmla="*/ 41 w 93"/>
                <a:gd name="T1" fmla="*/ 134 h 136"/>
                <a:gd name="T2" fmla="*/ 41 w 93"/>
                <a:gd name="T3" fmla="*/ 134 h 136"/>
                <a:gd name="T4" fmla="*/ 44 w 93"/>
                <a:gd name="T5" fmla="*/ 135 h 136"/>
                <a:gd name="T6" fmla="*/ 47 w 93"/>
                <a:gd name="T7" fmla="*/ 136 h 136"/>
                <a:gd name="T8" fmla="*/ 47 w 93"/>
                <a:gd name="T9" fmla="*/ 136 h 136"/>
                <a:gd name="T10" fmla="*/ 50 w 93"/>
                <a:gd name="T11" fmla="*/ 135 h 136"/>
                <a:gd name="T12" fmla="*/ 52 w 93"/>
                <a:gd name="T13" fmla="*/ 134 h 136"/>
                <a:gd name="T14" fmla="*/ 90 w 93"/>
                <a:gd name="T15" fmla="*/ 96 h 136"/>
                <a:gd name="T16" fmla="*/ 90 w 93"/>
                <a:gd name="T17" fmla="*/ 85 h 136"/>
                <a:gd name="T18" fmla="*/ 79 w 93"/>
                <a:gd name="T19" fmla="*/ 85 h 136"/>
                <a:gd name="T20" fmla="*/ 55 w 93"/>
                <a:gd name="T21" fmla="*/ 109 h 136"/>
                <a:gd name="T22" fmla="*/ 55 w 93"/>
                <a:gd name="T23" fmla="*/ 8 h 136"/>
                <a:gd name="T24" fmla="*/ 47 w 93"/>
                <a:gd name="T25" fmla="*/ 0 h 136"/>
                <a:gd name="T26" fmla="*/ 39 w 93"/>
                <a:gd name="T27" fmla="*/ 8 h 136"/>
                <a:gd name="T28" fmla="*/ 39 w 93"/>
                <a:gd name="T29" fmla="*/ 109 h 136"/>
                <a:gd name="T30" fmla="*/ 15 w 93"/>
                <a:gd name="T31" fmla="*/ 85 h 136"/>
                <a:gd name="T32" fmla="*/ 4 w 93"/>
                <a:gd name="T33" fmla="*/ 85 h 136"/>
                <a:gd name="T34" fmla="*/ 4 w 93"/>
                <a:gd name="T35" fmla="*/ 96 h 136"/>
                <a:gd name="T36" fmla="*/ 41 w 93"/>
                <a:gd name="T37" fmla="*/ 1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 h="136">
                  <a:moveTo>
                    <a:pt x="41" y="134"/>
                  </a:moveTo>
                  <a:cubicBezTo>
                    <a:pt x="41" y="134"/>
                    <a:pt x="41" y="134"/>
                    <a:pt x="41" y="134"/>
                  </a:cubicBezTo>
                  <a:cubicBezTo>
                    <a:pt x="42" y="134"/>
                    <a:pt x="43" y="135"/>
                    <a:pt x="44" y="135"/>
                  </a:cubicBezTo>
                  <a:cubicBezTo>
                    <a:pt x="45" y="136"/>
                    <a:pt x="46" y="136"/>
                    <a:pt x="47" y="136"/>
                  </a:cubicBezTo>
                  <a:cubicBezTo>
                    <a:pt x="47" y="136"/>
                    <a:pt x="47" y="136"/>
                    <a:pt x="47" y="136"/>
                  </a:cubicBezTo>
                  <a:cubicBezTo>
                    <a:pt x="48" y="136"/>
                    <a:pt x="49" y="136"/>
                    <a:pt x="50" y="135"/>
                  </a:cubicBezTo>
                  <a:cubicBezTo>
                    <a:pt x="51" y="135"/>
                    <a:pt x="52" y="134"/>
                    <a:pt x="52" y="134"/>
                  </a:cubicBezTo>
                  <a:cubicBezTo>
                    <a:pt x="90" y="96"/>
                    <a:pt x="90" y="96"/>
                    <a:pt x="90" y="96"/>
                  </a:cubicBezTo>
                  <a:cubicBezTo>
                    <a:pt x="93" y="93"/>
                    <a:pt x="93" y="88"/>
                    <a:pt x="90" y="85"/>
                  </a:cubicBezTo>
                  <a:cubicBezTo>
                    <a:pt x="87" y="82"/>
                    <a:pt x="82" y="82"/>
                    <a:pt x="79" y="85"/>
                  </a:cubicBezTo>
                  <a:cubicBezTo>
                    <a:pt x="55" y="109"/>
                    <a:pt x="55" y="109"/>
                    <a:pt x="55" y="109"/>
                  </a:cubicBezTo>
                  <a:cubicBezTo>
                    <a:pt x="55" y="8"/>
                    <a:pt x="55" y="8"/>
                    <a:pt x="55" y="8"/>
                  </a:cubicBezTo>
                  <a:cubicBezTo>
                    <a:pt x="55" y="4"/>
                    <a:pt x="51" y="0"/>
                    <a:pt x="47" y="0"/>
                  </a:cubicBezTo>
                  <a:cubicBezTo>
                    <a:pt x="42" y="0"/>
                    <a:pt x="39" y="4"/>
                    <a:pt x="39" y="8"/>
                  </a:cubicBezTo>
                  <a:cubicBezTo>
                    <a:pt x="39" y="109"/>
                    <a:pt x="39" y="109"/>
                    <a:pt x="39" y="109"/>
                  </a:cubicBezTo>
                  <a:cubicBezTo>
                    <a:pt x="15" y="85"/>
                    <a:pt x="15" y="85"/>
                    <a:pt x="15" y="85"/>
                  </a:cubicBezTo>
                  <a:cubicBezTo>
                    <a:pt x="12" y="82"/>
                    <a:pt x="7" y="82"/>
                    <a:pt x="4" y="85"/>
                  </a:cubicBezTo>
                  <a:cubicBezTo>
                    <a:pt x="1" y="88"/>
                    <a:pt x="0" y="93"/>
                    <a:pt x="4" y="96"/>
                  </a:cubicBezTo>
                  <a:lnTo>
                    <a:pt x="41"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2">
              <a:extLst>
                <a:ext uri="{FF2B5EF4-FFF2-40B4-BE49-F238E27FC236}">
                  <a16:creationId xmlns:a16="http://schemas.microsoft.com/office/drawing/2014/main" id="{26BF5D46-8577-5A6A-896E-487285C047F6}"/>
                </a:ext>
              </a:extLst>
            </p:cNvPr>
            <p:cNvSpPr>
              <a:spLocks/>
            </p:cNvSpPr>
            <p:nvPr/>
          </p:nvSpPr>
          <p:spPr bwMode="auto">
            <a:xfrm>
              <a:off x="5242" y="2149"/>
              <a:ext cx="613" cy="124"/>
            </a:xfrm>
            <a:custGeom>
              <a:avLst/>
              <a:gdLst>
                <a:gd name="T0" fmla="*/ 248 w 256"/>
                <a:gd name="T1" fmla="*/ 28 h 52"/>
                <a:gd name="T2" fmla="*/ 248 w 256"/>
                <a:gd name="T3" fmla="*/ 28 h 52"/>
                <a:gd name="T4" fmla="*/ 194 w 256"/>
                <a:gd name="T5" fmla="*/ 3 h 52"/>
                <a:gd name="T6" fmla="*/ 189 w 256"/>
                <a:gd name="T7" fmla="*/ 0 h 52"/>
                <a:gd name="T8" fmla="*/ 183 w 256"/>
                <a:gd name="T9" fmla="*/ 2 h 52"/>
                <a:gd name="T10" fmla="*/ 174 w 256"/>
                <a:gd name="T11" fmla="*/ 12 h 52"/>
                <a:gd name="T12" fmla="*/ 74 w 256"/>
                <a:gd name="T13" fmla="*/ 3 h 52"/>
                <a:gd name="T14" fmla="*/ 68 w 256"/>
                <a:gd name="T15" fmla="*/ 0 h 52"/>
                <a:gd name="T16" fmla="*/ 62 w 256"/>
                <a:gd name="T17" fmla="*/ 3 h 52"/>
                <a:gd name="T18" fmla="*/ 8 w 256"/>
                <a:gd name="T19" fmla="*/ 28 h 52"/>
                <a:gd name="T20" fmla="*/ 0 w 256"/>
                <a:gd name="T21" fmla="*/ 36 h 52"/>
                <a:gd name="T22" fmla="*/ 8 w 256"/>
                <a:gd name="T23" fmla="*/ 44 h 52"/>
                <a:gd name="T24" fmla="*/ 8 w 256"/>
                <a:gd name="T25" fmla="*/ 44 h 52"/>
                <a:gd name="T26" fmla="*/ 68 w 256"/>
                <a:gd name="T27" fmla="*/ 20 h 52"/>
                <a:gd name="T28" fmla="*/ 184 w 256"/>
                <a:gd name="T29" fmla="*/ 23 h 52"/>
                <a:gd name="T30" fmla="*/ 188 w 256"/>
                <a:gd name="T31" fmla="*/ 20 h 52"/>
                <a:gd name="T32" fmla="*/ 248 w 256"/>
                <a:gd name="T33" fmla="*/ 44 h 52"/>
                <a:gd name="T34" fmla="*/ 256 w 256"/>
                <a:gd name="T35" fmla="*/ 36 h 52"/>
                <a:gd name="T36" fmla="*/ 248 w 256"/>
                <a:gd name="T37"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52">
                  <a:moveTo>
                    <a:pt x="248" y="28"/>
                  </a:moveTo>
                  <a:cubicBezTo>
                    <a:pt x="248" y="28"/>
                    <a:pt x="248" y="28"/>
                    <a:pt x="248" y="28"/>
                  </a:cubicBezTo>
                  <a:cubicBezTo>
                    <a:pt x="227" y="28"/>
                    <a:pt x="208" y="19"/>
                    <a:pt x="194" y="3"/>
                  </a:cubicBezTo>
                  <a:cubicBezTo>
                    <a:pt x="193" y="1"/>
                    <a:pt x="191" y="0"/>
                    <a:pt x="189" y="0"/>
                  </a:cubicBezTo>
                  <a:cubicBezTo>
                    <a:pt x="186" y="0"/>
                    <a:pt x="184" y="1"/>
                    <a:pt x="183" y="2"/>
                  </a:cubicBezTo>
                  <a:cubicBezTo>
                    <a:pt x="174" y="12"/>
                    <a:pt x="174" y="12"/>
                    <a:pt x="174" y="12"/>
                  </a:cubicBezTo>
                  <a:cubicBezTo>
                    <a:pt x="144" y="36"/>
                    <a:pt x="99" y="33"/>
                    <a:pt x="74" y="3"/>
                  </a:cubicBezTo>
                  <a:cubicBezTo>
                    <a:pt x="73" y="1"/>
                    <a:pt x="71" y="0"/>
                    <a:pt x="68" y="0"/>
                  </a:cubicBezTo>
                  <a:cubicBezTo>
                    <a:pt x="66" y="0"/>
                    <a:pt x="64" y="1"/>
                    <a:pt x="62" y="3"/>
                  </a:cubicBezTo>
                  <a:cubicBezTo>
                    <a:pt x="49" y="19"/>
                    <a:pt x="29" y="28"/>
                    <a:pt x="8" y="28"/>
                  </a:cubicBezTo>
                  <a:cubicBezTo>
                    <a:pt x="4" y="28"/>
                    <a:pt x="0" y="32"/>
                    <a:pt x="0" y="36"/>
                  </a:cubicBezTo>
                  <a:cubicBezTo>
                    <a:pt x="0" y="40"/>
                    <a:pt x="4" y="44"/>
                    <a:pt x="8" y="44"/>
                  </a:cubicBezTo>
                  <a:cubicBezTo>
                    <a:pt x="8" y="44"/>
                    <a:pt x="8" y="44"/>
                    <a:pt x="8" y="44"/>
                  </a:cubicBezTo>
                  <a:cubicBezTo>
                    <a:pt x="31" y="44"/>
                    <a:pt x="52" y="35"/>
                    <a:pt x="68" y="20"/>
                  </a:cubicBezTo>
                  <a:cubicBezTo>
                    <a:pt x="100" y="50"/>
                    <a:pt x="150" y="52"/>
                    <a:pt x="184" y="23"/>
                  </a:cubicBezTo>
                  <a:cubicBezTo>
                    <a:pt x="188" y="20"/>
                    <a:pt x="188" y="20"/>
                    <a:pt x="188" y="20"/>
                  </a:cubicBezTo>
                  <a:cubicBezTo>
                    <a:pt x="204" y="35"/>
                    <a:pt x="225" y="44"/>
                    <a:pt x="248" y="44"/>
                  </a:cubicBezTo>
                  <a:cubicBezTo>
                    <a:pt x="253" y="44"/>
                    <a:pt x="256" y="40"/>
                    <a:pt x="256" y="36"/>
                  </a:cubicBezTo>
                  <a:cubicBezTo>
                    <a:pt x="256" y="32"/>
                    <a:pt x="253" y="28"/>
                    <a:pt x="24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3">
              <a:extLst>
                <a:ext uri="{FF2B5EF4-FFF2-40B4-BE49-F238E27FC236}">
                  <a16:creationId xmlns:a16="http://schemas.microsoft.com/office/drawing/2014/main" id="{E07593D2-9623-21A0-94BE-8B20D3970720}"/>
                </a:ext>
              </a:extLst>
            </p:cNvPr>
            <p:cNvSpPr>
              <a:spLocks/>
            </p:cNvSpPr>
            <p:nvPr/>
          </p:nvSpPr>
          <p:spPr bwMode="auto">
            <a:xfrm>
              <a:off x="5242" y="2053"/>
              <a:ext cx="613" cy="125"/>
            </a:xfrm>
            <a:custGeom>
              <a:avLst/>
              <a:gdLst>
                <a:gd name="T0" fmla="*/ 8 w 256"/>
                <a:gd name="T1" fmla="*/ 44 h 52"/>
                <a:gd name="T2" fmla="*/ 8 w 256"/>
                <a:gd name="T3" fmla="*/ 44 h 52"/>
                <a:gd name="T4" fmla="*/ 68 w 256"/>
                <a:gd name="T5" fmla="*/ 20 h 52"/>
                <a:gd name="T6" fmla="*/ 184 w 256"/>
                <a:gd name="T7" fmla="*/ 23 h 52"/>
                <a:gd name="T8" fmla="*/ 188 w 256"/>
                <a:gd name="T9" fmla="*/ 20 h 52"/>
                <a:gd name="T10" fmla="*/ 248 w 256"/>
                <a:gd name="T11" fmla="*/ 44 h 52"/>
                <a:gd name="T12" fmla="*/ 256 w 256"/>
                <a:gd name="T13" fmla="*/ 36 h 52"/>
                <a:gd name="T14" fmla="*/ 248 w 256"/>
                <a:gd name="T15" fmla="*/ 28 h 52"/>
                <a:gd name="T16" fmla="*/ 248 w 256"/>
                <a:gd name="T17" fmla="*/ 28 h 52"/>
                <a:gd name="T18" fmla="*/ 194 w 256"/>
                <a:gd name="T19" fmla="*/ 3 h 52"/>
                <a:gd name="T20" fmla="*/ 189 w 256"/>
                <a:gd name="T21" fmla="*/ 0 h 52"/>
                <a:gd name="T22" fmla="*/ 183 w 256"/>
                <a:gd name="T23" fmla="*/ 2 h 52"/>
                <a:gd name="T24" fmla="*/ 174 w 256"/>
                <a:gd name="T25" fmla="*/ 12 h 52"/>
                <a:gd name="T26" fmla="*/ 74 w 256"/>
                <a:gd name="T27" fmla="*/ 3 h 52"/>
                <a:gd name="T28" fmla="*/ 68 w 256"/>
                <a:gd name="T29" fmla="*/ 0 h 52"/>
                <a:gd name="T30" fmla="*/ 62 w 256"/>
                <a:gd name="T31" fmla="*/ 3 h 52"/>
                <a:gd name="T32" fmla="*/ 8 w 256"/>
                <a:gd name="T33" fmla="*/ 28 h 52"/>
                <a:gd name="T34" fmla="*/ 0 w 256"/>
                <a:gd name="T35" fmla="*/ 36 h 52"/>
                <a:gd name="T36" fmla="*/ 8 w 256"/>
                <a:gd name="T3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52">
                  <a:moveTo>
                    <a:pt x="8" y="44"/>
                  </a:moveTo>
                  <a:cubicBezTo>
                    <a:pt x="8" y="44"/>
                    <a:pt x="8" y="44"/>
                    <a:pt x="8" y="44"/>
                  </a:cubicBezTo>
                  <a:cubicBezTo>
                    <a:pt x="31" y="44"/>
                    <a:pt x="52" y="35"/>
                    <a:pt x="68" y="20"/>
                  </a:cubicBezTo>
                  <a:cubicBezTo>
                    <a:pt x="100" y="50"/>
                    <a:pt x="150" y="52"/>
                    <a:pt x="184" y="23"/>
                  </a:cubicBezTo>
                  <a:cubicBezTo>
                    <a:pt x="188" y="20"/>
                    <a:pt x="188" y="20"/>
                    <a:pt x="188" y="20"/>
                  </a:cubicBezTo>
                  <a:cubicBezTo>
                    <a:pt x="204" y="35"/>
                    <a:pt x="225" y="44"/>
                    <a:pt x="248" y="44"/>
                  </a:cubicBezTo>
                  <a:cubicBezTo>
                    <a:pt x="253" y="44"/>
                    <a:pt x="256" y="40"/>
                    <a:pt x="256" y="36"/>
                  </a:cubicBezTo>
                  <a:cubicBezTo>
                    <a:pt x="256" y="32"/>
                    <a:pt x="253" y="28"/>
                    <a:pt x="248" y="28"/>
                  </a:cubicBezTo>
                  <a:cubicBezTo>
                    <a:pt x="248" y="28"/>
                    <a:pt x="248" y="28"/>
                    <a:pt x="248" y="28"/>
                  </a:cubicBezTo>
                  <a:cubicBezTo>
                    <a:pt x="227" y="28"/>
                    <a:pt x="208" y="19"/>
                    <a:pt x="194" y="3"/>
                  </a:cubicBezTo>
                  <a:cubicBezTo>
                    <a:pt x="193" y="1"/>
                    <a:pt x="191" y="0"/>
                    <a:pt x="189" y="0"/>
                  </a:cubicBezTo>
                  <a:cubicBezTo>
                    <a:pt x="186" y="0"/>
                    <a:pt x="184" y="1"/>
                    <a:pt x="183" y="2"/>
                  </a:cubicBezTo>
                  <a:cubicBezTo>
                    <a:pt x="174" y="12"/>
                    <a:pt x="174" y="12"/>
                    <a:pt x="174" y="12"/>
                  </a:cubicBezTo>
                  <a:cubicBezTo>
                    <a:pt x="144" y="36"/>
                    <a:pt x="99" y="33"/>
                    <a:pt x="74" y="3"/>
                  </a:cubicBezTo>
                  <a:cubicBezTo>
                    <a:pt x="73" y="1"/>
                    <a:pt x="71" y="0"/>
                    <a:pt x="68" y="0"/>
                  </a:cubicBezTo>
                  <a:cubicBezTo>
                    <a:pt x="66" y="0"/>
                    <a:pt x="64" y="1"/>
                    <a:pt x="62" y="3"/>
                  </a:cubicBezTo>
                  <a:cubicBezTo>
                    <a:pt x="49" y="19"/>
                    <a:pt x="29" y="28"/>
                    <a:pt x="8" y="28"/>
                  </a:cubicBezTo>
                  <a:cubicBezTo>
                    <a:pt x="4" y="28"/>
                    <a:pt x="0" y="32"/>
                    <a:pt x="0" y="36"/>
                  </a:cubicBezTo>
                  <a:cubicBezTo>
                    <a:pt x="0" y="40"/>
                    <a:pt x="4" y="44"/>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3" name="TextBox 1132">
            <a:extLst>
              <a:ext uri="{FF2B5EF4-FFF2-40B4-BE49-F238E27FC236}">
                <a16:creationId xmlns:a16="http://schemas.microsoft.com/office/drawing/2014/main" id="{AB306BE8-92DC-0477-ACA0-527628AE06F5}"/>
              </a:ext>
            </a:extLst>
          </p:cNvPr>
          <p:cNvSpPr txBox="1"/>
          <p:nvPr/>
        </p:nvSpPr>
        <p:spPr>
          <a:xfrm>
            <a:off x="8594454" y="2666819"/>
            <a:ext cx="3115432" cy="50783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La reducción de la cizalladura del viento promueve condiciones atmosféricas favorables para la formación de tormentas en el Atlántico</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294" name="Group 29" descr="Wind.">
            <a:extLst>
              <a:ext uri="{FF2B5EF4-FFF2-40B4-BE49-F238E27FC236}">
                <a16:creationId xmlns:a16="http://schemas.microsoft.com/office/drawing/2014/main" id="{703B2DCB-FC0B-13A5-7F36-BE15E4418912}"/>
              </a:ext>
            </a:extLst>
          </p:cNvPr>
          <p:cNvGrpSpPr>
            <a:grpSpLocks noChangeAspect="1"/>
          </p:cNvGrpSpPr>
          <p:nvPr/>
        </p:nvGrpSpPr>
        <p:grpSpPr bwMode="auto">
          <a:xfrm>
            <a:off x="8120210" y="2793820"/>
            <a:ext cx="294395" cy="261897"/>
            <a:chOff x="5242" y="1984"/>
            <a:chExt cx="616" cy="548"/>
          </a:xfrm>
          <a:solidFill>
            <a:schemeClr val="accent6"/>
          </a:solidFill>
        </p:grpSpPr>
        <p:sp>
          <p:nvSpPr>
            <p:cNvPr id="1296" name="Freeform 17">
              <a:extLst>
                <a:ext uri="{FF2B5EF4-FFF2-40B4-BE49-F238E27FC236}">
                  <a16:creationId xmlns:a16="http://schemas.microsoft.com/office/drawing/2014/main" id="{75139D10-B9E9-C5EA-55B6-CFDD4964FC4B}"/>
                </a:ext>
              </a:extLst>
            </p:cNvPr>
            <p:cNvSpPr>
              <a:spLocks/>
            </p:cNvSpPr>
            <p:nvPr/>
          </p:nvSpPr>
          <p:spPr bwMode="auto">
            <a:xfrm>
              <a:off x="5242" y="1984"/>
              <a:ext cx="453" cy="198"/>
            </a:xfrm>
            <a:custGeom>
              <a:avLst/>
              <a:gdLst>
                <a:gd name="T0" fmla="*/ 8 w 189"/>
                <a:gd name="T1" fmla="*/ 82 h 82"/>
                <a:gd name="T2" fmla="*/ 148 w 189"/>
                <a:gd name="T3" fmla="*/ 82 h 82"/>
                <a:gd name="T4" fmla="*/ 189 w 189"/>
                <a:gd name="T5" fmla="*/ 41 h 82"/>
                <a:gd name="T6" fmla="*/ 148 w 189"/>
                <a:gd name="T7" fmla="*/ 0 h 82"/>
                <a:gd name="T8" fmla="*/ 110 w 189"/>
                <a:gd name="T9" fmla="*/ 27 h 82"/>
                <a:gd name="T10" fmla="*/ 114 w 189"/>
                <a:gd name="T11" fmla="*/ 37 h 82"/>
                <a:gd name="T12" fmla="*/ 125 w 189"/>
                <a:gd name="T13" fmla="*/ 33 h 82"/>
                <a:gd name="T14" fmla="*/ 148 w 189"/>
                <a:gd name="T15" fmla="*/ 16 h 82"/>
                <a:gd name="T16" fmla="*/ 173 w 189"/>
                <a:gd name="T17" fmla="*/ 41 h 82"/>
                <a:gd name="T18" fmla="*/ 148 w 189"/>
                <a:gd name="T19" fmla="*/ 66 h 82"/>
                <a:gd name="T20" fmla="*/ 8 w 189"/>
                <a:gd name="T21" fmla="*/ 66 h 82"/>
                <a:gd name="T22" fmla="*/ 0 w 189"/>
                <a:gd name="T23" fmla="*/ 74 h 82"/>
                <a:gd name="T24" fmla="*/ 8 w 189"/>
                <a:gd name="T25"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82">
                  <a:moveTo>
                    <a:pt x="8" y="82"/>
                  </a:moveTo>
                  <a:cubicBezTo>
                    <a:pt x="148" y="82"/>
                    <a:pt x="148" y="82"/>
                    <a:pt x="148" y="82"/>
                  </a:cubicBezTo>
                  <a:cubicBezTo>
                    <a:pt x="171" y="82"/>
                    <a:pt x="189" y="64"/>
                    <a:pt x="189" y="41"/>
                  </a:cubicBezTo>
                  <a:cubicBezTo>
                    <a:pt x="189" y="18"/>
                    <a:pt x="171" y="0"/>
                    <a:pt x="148" y="0"/>
                  </a:cubicBezTo>
                  <a:cubicBezTo>
                    <a:pt x="131" y="0"/>
                    <a:pt x="116" y="11"/>
                    <a:pt x="110" y="27"/>
                  </a:cubicBezTo>
                  <a:cubicBezTo>
                    <a:pt x="108" y="31"/>
                    <a:pt x="110" y="36"/>
                    <a:pt x="114" y="37"/>
                  </a:cubicBezTo>
                  <a:cubicBezTo>
                    <a:pt x="118" y="39"/>
                    <a:pt x="123" y="37"/>
                    <a:pt x="125" y="33"/>
                  </a:cubicBezTo>
                  <a:cubicBezTo>
                    <a:pt x="128" y="23"/>
                    <a:pt x="138" y="16"/>
                    <a:pt x="148" y="16"/>
                  </a:cubicBezTo>
                  <a:cubicBezTo>
                    <a:pt x="162" y="16"/>
                    <a:pt x="173" y="27"/>
                    <a:pt x="173" y="41"/>
                  </a:cubicBezTo>
                  <a:cubicBezTo>
                    <a:pt x="173" y="55"/>
                    <a:pt x="162" y="66"/>
                    <a:pt x="148" y="66"/>
                  </a:cubicBezTo>
                  <a:cubicBezTo>
                    <a:pt x="8" y="66"/>
                    <a:pt x="8" y="66"/>
                    <a:pt x="8" y="66"/>
                  </a:cubicBezTo>
                  <a:cubicBezTo>
                    <a:pt x="4" y="66"/>
                    <a:pt x="0" y="70"/>
                    <a:pt x="0" y="74"/>
                  </a:cubicBezTo>
                  <a:cubicBezTo>
                    <a:pt x="0" y="78"/>
                    <a:pt x="4" y="82"/>
                    <a:pt x="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18">
              <a:extLst>
                <a:ext uri="{FF2B5EF4-FFF2-40B4-BE49-F238E27FC236}">
                  <a16:creationId xmlns:a16="http://schemas.microsoft.com/office/drawing/2014/main" id="{475AB9B0-51B5-915B-0AC3-E3053D77D68D}"/>
                </a:ext>
              </a:extLst>
            </p:cNvPr>
            <p:cNvSpPr>
              <a:spLocks/>
            </p:cNvSpPr>
            <p:nvPr/>
          </p:nvSpPr>
          <p:spPr bwMode="auto">
            <a:xfrm>
              <a:off x="5242" y="2335"/>
              <a:ext cx="297" cy="197"/>
            </a:xfrm>
            <a:custGeom>
              <a:avLst/>
              <a:gdLst>
                <a:gd name="T0" fmla="*/ 83 w 124"/>
                <a:gd name="T1" fmla="*/ 0 h 82"/>
                <a:gd name="T2" fmla="*/ 8 w 124"/>
                <a:gd name="T3" fmla="*/ 0 h 82"/>
                <a:gd name="T4" fmla="*/ 0 w 124"/>
                <a:gd name="T5" fmla="*/ 8 h 82"/>
                <a:gd name="T6" fmla="*/ 8 w 124"/>
                <a:gd name="T7" fmla="*/ 16 h 82"/>
                <a:gd name="T8" fmla="*/ 83 w 124"/>
                <a:gd name="T9" fmla="*/ 16 h 82"/>
                <a:gd name="T10" fmla="*/ 108 w 124"/>
                <a:gd name="T11" fmla="*/ 41 h 82"/>
                <a:gd name="T12" fmla="*/ 83 w 124"/>
                <a:gd name="T13" fmla="*/ 66 h 82"/>
                <a:gd name="T14" fmla="*/ 60 w 124"/>
                <a:gd name="T15" fmla="*/ 49 h 82"/>
                <a:gd name="T16" fmla="*/ 49 w 124"/>
                <a:gd name="T17" fmla="*/ 45 h 82"/>
                <a:gd name="T18" fmla="*/ 45 w 124"/>
                <a:gd name="T19" fmla="*/ 55 h 82"/>
                <a:gd name="T20" fmla="*/ 83 w 124"/>
                <a:gd name="T21" fmla="*/ 82 h 82"/>
                <a:gd name="T22" fmla="*/ 124 w 124"/>
                <a:gd name="T23" fmla="*/ 41 h 82"/>
                <a:gd name="T24" fmla="*/ 83 w 124"/>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82">
                  <a:moveTo>
                    <a:pt x="83" y="0"/>
                  </a:moveTo>
                  <a:cubicBezTo>
                    <a:pt x="8" y="0"/>
                    <a:pt x="8" y="0"/>
                    <a:pt x="8" y="0"/>
                  </a:cubicBezTo>
                  <a:cubicBezTo>
                    <a:pt x="4" y="0"/>
                    <a:pt x="0" y="4"/>
                    <a:pt x="0" y="8"/>
                  </a:cubicBezTo>
                  <a:cubicBezTo>
                    <a:pt x="0" y="12"/>
                    <a:pt x="4" y="16"/>
                    <a:pt x="8" y="16"/>
                  </a:cubicBezTo>
                  <a:cubicBezTo>
                    <a:pt x="83" y="16"/>
                    <a:pt x="83" y="16"/>
                    <a:pt x="83" y="16"/>
                  </a:cubicBezTo>
                  <a:cubicBezTo>
                    <a:pt x="97" y="16"/>
                    <a:pt x="108" y="27"/>
                    <a:pt x="108" y="41"/>
                  </a:cubicBezTo>
                  <a:cubicBezTo>
                    <a:pt x="108" y="55"/>
                    <a:pt x="97" y="66"/>
                    <a:pt x="83" y="66"/>
                  </a:cubicBezTo>
                  <a:cubicBezTo>
                    <a:pt x="73" y="66"/>
                    <a:pt x="63" y="59"/>
                    <a:pt x="60" y="49"/>
                  </a:cubicBezTo>
                  <a:cubicBezTo>
                    <a:pt x="58" y="45"/>
                    <a:pt x="54" y="43"/>
                    <a:pt x="49" y="45"/>
                  </a:cubicBezTo>
                  <a:cubicBezTo>
                    <a:pt x="45" y="46"/>
                    <a:pt x="43" y="51"/>
                    <a:pt x="45" y="55"/>
                  </a:cubicBezTo>
                  <a:cubicBezTo>
                    <a:pt x="51" y="71"/>
                    <a:pt x="66" y="82"/>
                    <a:pt x="83" y="82"/>
                  </a:cubicBezTo>
                  <a:cubicBezTo>
                    <a:pt x="106" y="82"/>
                    <a:pt x="124" y="64"/>
                    <a:pt x="124" y="41"/>
                  </a:cubicBezTo>
                  <a:cubicBezTo>
                    <a:pt x="124" y="18"/>
                    <a:pt x="106"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19">
              <a:extLst>
                <a:ext uri="{FF2B5EF4-FFF2-40B4-BE49-F238E27FC236}">
                  <a16:creationId xmlns:a16="http://schemas.microsoft.com/office/drawing/2014/main" id="{94EFE74C-B135-3754-4CDC-A4113F8D96C6}"/>
                </a:ext>
              </a:extLst>
            </p:cNvPr>
            <p:cNvSpPr>
              <a:spLocks/>
            </p:cNvSpPr>
            <p:nvPr/>
          </p:nvSpPr>
          <p:spPr bwMode="auto">
            <a:xfrm>
              <a:off x="5242" y="2239"/>
              <a:ext cx="616" cy="197"/>
            </a:xfrm>
            <a:custGeom>
              <a:avLst/>
              <a:gdLst>
                <a:gd name="T0" fmla="*/ 215 w 257"/>
                <a:gd name="T1" fmla="*/ 0 h 82"/>
                <a:gd name="T2" fmla="*/ 8 w 257"/>
                <a:gd name="T3" fmla="*/ 0 h 82"/>
                <a:gd name="T4" fmla="*/ 0 w 257"/>
                <a:gd name="T5" fmla="*/ 8 h 82"/>
                <a:gd name="T6" fmla="*/ 8 w 257"/>
                <a:gd name="T7" fmla="*/ 16 h 82"/>
                <a:gd name="T8" fmla="*/ 215 w 257"/>
                <a:gd name="T9" fmla="*/ 16 h 82"/>
                <a:gd name="T10" fmla="*/ 241 w 257"/>
                <a:gd name="T11" fmla="*/ 41 h 82"/>
                <a:gd name="T12" fmla="*/ 216 w 257"/>
                <a:gd name="T13" fmla="*/ 66 h 82"/>
                <a:gd name="T14" fmla="*/ 193 w 257"/>
                <a:gd name="T15" fmla="*/ 49 h 82"/>
                <a:gd name="T16" fmla="*/ 182 w 257"/>
                <a:gd name="T17" fmla="*/ 45 h 82"/>
                <a:gd name="T18" fmla="*/ 178 w 257"/>
                <a:gd name="T19" fmla="*/ 55 h 82"/>
                <a:gd name="T20" fmla="*/ 216 w 257"/>
                <a:gd name="T21" fmla="*/ 82 h 82"/>
                <a:gd name="T22" fmla="*/ 257 w 257"/>
                <a:gd name="T23" fmla="*/ 41 h 82"/>
                <a:gd name="T24" fmla="*/ 215 w 257"/>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82">
                  <a:moveTo>
                    <a:pt x="215" y="0"/>
                  </a:moveTo>
                  <a:cubicBezTo>
                    <a:pt x="8" y="0"/>
                    <a:pt x="8" y="0"/>
                    <a:pt x="8" y="0"/>
                  </a:cubicBezTo>
                  <a:cubicBezTo>
                    <a:pt x="4" y="0"/>
                    <a:pt x="0" y="4"/>
                    <a:pt x="0" y="8"/>
                  </a:cubicBezTo>
                  <a:cubicBezTo>
                    <a:pt x="0" y="12"/>
                    <a:pt x="4" y="16"/>
                    <a:pt x="8" y="16"/>
                  </a:cubicBezTo>
                  <a:cubicBezTo>
                    <a:pt x="215" y="16"/>
                    <a:pt x="215" y="16"/>
                    <a:pt x="215" y="16"/>
                  </a:cubicBezTo>
                  <a:cubicBezTo>
                    <a:pt x="230" y="16"/>
                    <a:pt x="241" y="27"/>
                    <a:pt x="241" y="41"/>
                  </a:cubicBezTo>
                  <a:cubicBezTo>
                    <a:pt x="241" y="55"/>
                    <a:pt x="230" y="66"/>
                    <a:pt x="216" y="66"/>
                  </a:cubicBezTo>
                  <a:cubicBezTo>
                    <a:pt x="206" y="66"/>
                    <a:pt x="196" y="59"/>
                    <a:pt x="193" y="49"/>
                  </a:cubicBezTo>
                  <a:cubicBezTo>
                    <a:pt x="191" y="45"/>
                    <a:pt x="186" y="43"/>
                    <a:pt x="182" y="45"/>
                  </a:cubicBezTo>
                  <a:cubicBezTo>
                    <a:pt x="178" y="46"/>
                    <a:pt x="176" y="51"/>
                    <a:pt x="178" y="55"/>
                  </a:cubicBezTo>
                  <a:cubicBezTo>
                    <a:pt x="184" y="71"/>
                    <a:pt x="199" y="82"/>
                    <a:pt x="216" y="82"/>
                  </a:cubicBezTo>
                  <a:cubicBezTo>
                    <a:pt x="239" y="82"/>
                    <a:pt x="257" y="64"/>
                    <a:pt x="257" y="41"/>
                  </a:cubicBezTo>
                  <a:cubicBezTo>
                    <a:pt x="257" y="18"/>
                    <a:pt x="238"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0" name="TextBox 1139">
            <a:extLst>
              <a:ext uri="{FF2B5EF4-FFF2-40B4-BE49-F238E27FC236}">
                <a16:creationId xmlns:a16="http://schemas.microsoft.com/office/drawing/2014/main" id="{130ECE15-5761-17F7-03CB-4CBC03C25DAF}"/>
              </a:ext>
            </a:extLst>
          </p:cNvPr>
          <p:cNvSpPr txBox="1"/>
          <p:nvPr/>
        </p:nvSpPr>
        <p:spPr>
          <a:xfrm>
            <a:off x="8605428" y="3351319"/>
            <a:ext cx="3444254" cy="67710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Los pronósticos de la temporada de huracanes en el Atlántico prevén una elevada actividad en la cuenca, en parte debido a las temperaturas récord de la superficie del mar cálidas</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301" name="Group 29" descr="Tropical cyclone typhoon.">
            <a:extLst>
              <a:ext uri="{FF2B5EF4-FFF2-40B4-BE49-F238E27FC236}">
                <a16:creationId xmlns:a16="http://schemas.microsoft.com/office/drawing/2014/main" id="{526A2728-6868-6405-8D5B-0F0DDA481A89}"/>
              </a:ext>
            </a:extLst>
          </p:cNvPr>
          <p:cNvGrpSpPr>
            <a:grpSpLocks noChangeAspect="1"/>
          </p:cNvGrpSpPr>
          <p:nvPr/>
        </p:nvGrpSpPr>
        <p:grpSpPr bwMode="auto">
          <a:xfrm>
            <a:off x="8120210" y="3539716"/>
            <a:ext cx="294395" cy="291504"/>
            <a:chOff x="5242" y="2385"/>
            <a:chExt cx="611" cy="605"/>
          </a:xfrm>
          <a:solidFill>
            <a:srgbClr val="0077A0"/>
          </a:solidFill>
        </p:grpSpPr>
        <p:sp>
          <p:nvSpPr>
            <p:cNvPr id="1303" name="Freeform 23">
              <a:extLst>
                <a:ext uri="{FF2B5EF4-FFF2-40B4-BE49-F238E27FC236}">
                  <a16:creationId xmlns:a16="http://schemas.microsoft.com/office/drawing/2014/main" id="{E939AD39-3244-E369-5A8A-AA3B828CBA0E}"/>
                </a:ext>
              </a:extLst>
            </p:cNvPr>
            <p:cNvSpPr>
              <a:spLocks/>
            </p:cNvSpPr>
            <p:nvPr/>
          </p:nvSpPr>
          <p:spPr bwMode="auto">
            <a:xfrm>
              <a:off x="5453" y="2385"/>
              <a:ext cx="278" cy="281"/>
            </a:xfrm>
            <a:custGeom>
              <a:avLst/>
              <a:gdLst>
                <a:gd name="T0" fmla="*/ 8 w 116"/>
                <a:gd name="T1" fmla="*/ 16 h 117"/>
                <a:gd name="T2" fmla="*/ 100 w 116"/>
                <a:gd name="T3" fmla="*/ 108 h 117"/>
                <a:gd name="T4" fmla="*/ 100 w 116"/>
                <a:gd name="T5" fmla="*/ 109 h 117"/>
                <a:gd name="T6" fmla="*/ 108 w 116"/>
                <a:gd name="T7" fmla="*/ 117 h 117"/>
                <a:gd name="T8" fmla="*/ 116 w 116"/>
                <a:gd name="T9" fmla="*/ 109 h 117"/>
                <a:gd name="T10" fmla="*/ 116 w 116"/>
                <a:gd name="T11" fmla="*/ 108 h 117"/>
                <a:gd name="T12" fmla="*/ 8 w 116"/>
                <a:gd name="T13" fmla="*/ 0 h 117"/>
                <a:gd name="T14" fmla="*/ 0 w 116"/>
                <a:gd name="T15" fmla="*/ 8 h 117"/>
                <a:gd name="T16" fmla="*/ 8 w 116"/>
                <a:gd name="T1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7">
                  <a:moveTo>
                    <a:pt x="8" y="16"/>
                  </a:moveTo>
                  <a:cubicBezTo>
                    <a:pt x="59" y="16"/>
                    <a:pt x="100" y="58"/>
                    <a:pt x="100" y="108"/>
                  </a:cubicBezTo>
                  <a:cubicBezTo>
                    <a:pt x="100" y="109"/>
                    <a:pt x="100" y="109"/>
                    <a:pt x="100" y="109"/>
                  </a:cubicBezTo>
                  <a:cubicBezTo>
                    <a:pt x="100" y="114"/>
                    <a:pt x="104" y="117"/>
                    <a:pt x="108" y="117"/>
                  </a:cubicBezTo>
                  <a:cubicBezTo>
                    <a:pt x="113" y="117"/>
                    <a:pt x="116" y="114"/>
                    <a:pt x="116" y="109"/>
                  </a:cubicBezTo>
                  <a:cubicBezTo>
                    <a:pt x="116" y="108"/>
                    <a:pt x="116" y="108"/>
                    <a:pt x="116" y="108"/>
                  </a:cubicBezTo>
                  <a:cubicBezTo>
                    <a:pt x="116" y="49"/>
                    <a:pt x="68" y="0"/>
                    <a:pt x="8" y="0"/>
                  </a:cubicBezTo>
                  <a:cubicBezTo>
                    <a:pt x="4" y="0"/>
                    <a:pt x="0" y="4"/>
                    <a:pt x="0" y="8"/>
                  </a:cubicBezTo>
                  <a:cubicBezTo>
                    <a:pt x="0" y="13"/>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24">
              <a:extLst>
                <a:ext uri="{FF2B5EF4-FFF2-40B4-BE49-F238E27FC236}">
                  <a16:creationId xmlns:a16="http://schemas.microsoft.com/office/drawing/2014/main" id="{36B54ACD-514D-5154-9CE2-4E19C8ABF0DE}"/>
                </a:ext>
              </a:extLst>
            </p:cNvPr>
            <p:cNvSpPr>
              <a:spLocks/>
            </p:cNvSpPr>
            <p:nvPr/>
          </p:nvSpPr>
          <p:spPr bwMode="auto">
            <a:xfrm>
              <a:off x="5642" y="2464"/>
              <a:ext cx="170" cy="372"/>
            </a:xfrm>
            <a:custGeom>
              <a:avLst/>
              <a:gdLst>
                <a:gd name="T0" fmla="*/ 48 w 71"/>
                <a:gd name="T1" fmla="*/ 82 h 155"/>
                <a:gd name="T2" fmla="*/ 5 w 71"/>
                <a:gd name="T3" fmla="*/ 139 h 155"/>
                <a:gd name="T4" fmla="*/ 3 w 71"/>
                <a:gd name="T5" fmla="*/ 140 h 155"/>
                <a:gd name="T6" fmla="*/ 0 w 71"/>
                <a:gd name="T7" fmla="*/ 147 h 155"/>
                <a:gd name="T8" fmla="*/ 8 w 71"/>
                <a:gd name="T9" fmla="*/ 155 h 155"/>
                <a:gd name="T10" fmla="*/ 15 w 71"/>
                <a:gd name="T11" fmla="*/ 152 h 155"/>
                <a:gd name="T12" fmla="*/ 64 w 71"/>
                <a:gd name="T13" fmla="*/ 86 h 155"/>
                <a:gd name="T14" fmla="*/ 52 w 71"/>
                <a:gd name="T15" fmla="*/ 5 h 155"/>
                <a:gd name="T16" fmla="*/ 41 w 71"/>
                <a:gd name="T17" fmla="*/ 2 h 155"/>
                <a:gd name="T18" fmla="*/ 38 w 71"/>
                <a:gd name="T19" fmla="*/ 13 h 155"/>
                <a:gd name="T20" fmla="*/ 48 w 71"/>
                <a:gd name="T21" fmla="*/ 8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55">
                  <a:moveTo>
                    <a:pt x="48" y="82"/>
                  </a:moveTo>
                  <a:cubicBezTo>
                    <a:pt x="42" y="106"/>
                    <a:pt x="27" y="126"/>
                    <a:pt x="5" y="139"/>
                  </a:cubicBezTo>
                  <a:cubicBezTo>
                    <a:pt x="4" y="139"/>
                    <a:pt x="4" y="140"/>
                    <a:pt x="3" y="140"/>
                  </a:cubicBezTo>
                  <a:cubicBezTo>
                    <a:pt x="1" y="142"/>
                    <a:pt x="0" y="144"/>
                    <a:pt x="0" y="147"/>
                  </a:cubicBezTo>
                  <a:cubicBezTo>
                    <a:pt x="0" y="151"/>
                    <a:pt x="4" y="155"/>
                    <a:pt x="8" y="155"/>
                  </a:cubicBezTo>
                  <a:cubicBezTo>
                    <a:pt x="11" y="155"/>
                    <a:pt x="13" y="153"/>
                    <a:pt x="15" y="152"/>
                  </a:cubicBezTo>
                  <a:cubicBezTo>
                    <a:pt x="39" y="137"/>
                    <a:pt x="56" y="114"/>
                    <a:pt x="64" y="86"/>
                  </a:cubicBezTo>
                  <a:cubicBezTo>
                    <a:pt x="71" y="58"/>
                    <a:pt x="67" y="29"/>
                    <a:pt x="52" y="5"/>
                  </a:cubicBezTo>
                  <a:cubicBezTo>
                    <a:pt x="50" y="1"/>
                    <a:pt x="45" y="0"/>
                    <a:pt x="41" y="2"/>
                  </a:cubicBezTo>
                  <a:cubicBezTo>
                    <a:pt x="37" y="4"/>
                    <a:pt x="36" y="9"/>
                    <a:pt x="38" y="13"/>
                  </a:cubicBezTo>
                  <a:cubicBezTo>
                    <a:pt x="51" y="34"/>
                    <a:pt x="54" y="58"/>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25">
              <a:extLst>
                <a:ext uri="{FF2B5EF4-FFF2-40B4-BE49-F238E27FC236}">
                  <a16:creationId xmlns:a16="http://schemas.microsoft.com/office/drawing/2014/main" id="{E11BB703-6D53-E7BB-E6E5-66351276B903}"/>
                </a:ext>
              </a:extLst>
            </p:cNvPr>
            <p:cNvSpPr>
              <a:spLocks/>
            </p:cNvSpPr>
            <p:nvPr/>
          </p:nvSpPr>
          <p:spPr bwMode="auto">
            <a:xfrm>
              <a:off x="5479" y="2745"/>
              <a:ext cx="374" cy="156"/>
            </a:xfrm>
            <a:custGeom>
              <a:avLst/>
              <a:gdLst>
                <a:gd name="T0" fmla="*/ 151 w 156"/>
                <a:gd name="T1" fmla="*/ 2 h 65"/>
                <a:gd name="T2" fmla="*/ 140 w 156"/>
                <a:gd name="T3" fmla="*/ 5 h 65"/>
                <a:gd name="T4" fmla="*/ 15 w 156"/>
                <a:gd name="T5" fmla="*/ 37 h 65"/>
                <a:gd name="T6" fmla="*/ 8 w 156"/>
                <a:gd name="T7" fmla="*/ 34 h 65"/>
                <a:gd name="T8" fmla="*/ 0 w 156"/>
                <a:gd name="T9" fmla="*/ 42 h 65"/>
                <a:gd name="T10" fmla="*/ 3 w 156"/>
                <a:gd name="T11" fmla="*/ 48 h 65"/>
                <a:gd name="T12" fmla="*/ 5 w 156"/>
                <a:gd name="T13" fmla="*/ 50 h 65"/>
                <a:gd name="T14" fmla="*/ 60 w 156"/>
                <a:gd name="T15" fmla="*/ 65 h 65"/>
                <a:gd name="T16" fmla="*/ 154 w 156"/>
                <a:gd name="T17" fmla="*/ 13 h 65"/>
                <a:gd name="T18" fmla="*/ 151 w 156"/>
                <a:gd name="T19"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5">
                  <a:moveTo>
                    <a:pt x="151" y="2"/>
                  </a:moveTo>
                  <a:cubicBezTo>
                    <a:pt x="147" y="0"/>
                    <a:pt x="142" y="1"/>
                    <a:pt x="140" y="5"/>
                  </a:cubicBezTo>
                  <a:cubicBezTo>
                    <a:pt x="114" y="47"/>
                    <a:pt x="58" y="62"/>
                    <a:pt x="15" y="37"/>
                  </a:cubicBezTo>
                  <a:cubicBezTo>
                    <a:pt x="13" y="35"/>
                    <a:pt x="11" y="34"/>
                    <a:pt x="8" y="34"/>
                  </a:cubicBezTo>
                  <a:cubicBezTo>
                    <a:pt x="4" y="34"/>
                    <a:pt x="0" y="38"/>
                    <a:pt x="0" y="42"/>
                  </a:cubicBezTo>
                  <a:cubicBezTo>
                    <a:pt x="0" y="45"/>
                    <a:pt x="2" y="47"/>
                    <a:pt x="3" y="48"/>
                  </a:cubicBezTo>
                  <a:cubicBezTo>
                    <a:pt x="4" y="49"/>
                    <a:pt x="4" y="50"/>
                    <a:pt x="5" y="50"/>
                  </a:cubicBezTo>
                  <a:cubicBezTo>
                    <a:pt x="22" y="60"/>
                    <a:pt x="41" y="65"/>
                    <a:pt x="60" y="65"/>
                  </a:cubicBezTo>
                  <a:cubicBezTo>
                    <a:pt x="97" y="65"/>
                    <a:pt x="133" y="46"/>
                    <a:pt x="154" y="13"/>
                  </a:cubicBezTo>
                  <a:cubicBezTo>
                    <a:pt x="156" y="9"/>
                    <a:pt x="155" y="4"/>
                    <a:pt x="15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26">
              <a:extLst>
                <a:ext uri="{FF2B5EF4-FFF2-40B4-BE49-F238E27FC236}">
                  <a16:creationId xmlns:a16="http://schemas.microsoft.com/office/drawing/2014/main" id="{77A7BBF2-0BA6-287B-0A89-5193466567AD}"/>
                </a:ext>
              </a:extLst>
            </p:cNvPr>
            <p:cNvSpPr>
              <a:spLocks/>
            </p:cNvSpPr>
            <p:nvPr/>
          </p:nvSpPr>
          <p:spPr bwMode="auto">
            <a:xfrm>
              <a:off x="5364" y="2712"/>
              <a:ext cx="281" cy="278"/>
            </a:xfrm>
            <a:custGeom>
              <a:avLst/>
              <a:gdLst>
                <a:gd name="T0" fmla="*/ 109 w 117"/>
                <a:gd name="T1" fmla="*/ 100 h 116"/>
                <a:gd name="T2" fmla="*/ 16 w 117"/>
                <a:gd name="T3" fmla="*/ 8 h 116"/>
                <a:gd name="T4" fmla="*/ 16 w 117"/>
                <a:gd name="T5" fmla="*/ 8 h 116"/>
                <a:gd name="T6" fmla="*/ 8 w 117"/>
                <a:gd name="T7" fmla="*/ 0 h 116"/>
                <a:gd name="T8" fmla="*/ 0 w 117"/>
                <a:gd name="T9" fmla="*/ 8 h 116"/>
                <a:gd name="T10" fmla="*/ 109 w 117"/>
                <a:gd name="T11" fmla="*/ 116 h 116"/>
                <a:gd name="T12" fmla="*/ 117 w 117"/>
                <a:gd name="T13" fmla="*/ 108 h 116"/>
                <a:gd name="T14" fmla="*/ 109 w 117"/>
                <a:gd name="T15" fmla="*/ 10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16">
                  <a:moveTo>
                    <a:pt x="109" y="100"/>
                  </a:moveTo>
                  <a:cubicBezTo>
                    <a:pt x="58" y="100"/>
                    <a:pt x="16" y="59"/>
                    <a:pt x="16" y="8"/>
                  </a:cubicBezTo>
                  <a:cubicBezTo>
                    <a:pt x="16" y="8"/>
                    <a:pt x="16" y="8"/>
                    <a:pt x="16" y="8"/>
                  </a:cubicBezTo>
                  <a:cubicBezTo>
                    <a:pt x="16" y="3"/>
                    <a:pt x="13" y="0"/>
                    <a:pt x="8" y="0"/>
                  </a:cubicBezTo>
                  <a:cubicBezTo>
                    <a:pt x="4" y="0"/>
                    <a:pt x="0" y="4"/>
                    <a:pt x="0" y="8"/>
                  </a:cubicBezTo>
                  <a:cubicBezTo>
                    <a:pt x="0" y="68"/>
                    <a:pt x="49" y="116"/>
                    <a:pt x="109" y="116"/>
                  </a:cubicBezTo>
                  <a:cubicBezTo>
                    <a:pt x="114" y="116"/>
                    <a:pt x="117" y="113"/>
                    <a:pt x="117" y="108"/>
                  </a:cubicBezTo>
                  <a:cubicBezTo>
                    <a:pt x="117" y="104"/>
                    <a:pt x="114" y="100"/>
                    <a:pt x="10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27">
              <a:extLst>
                <a:ext uri="{FF2B5EF4-FFF2-40B4-BE49-F238E27FC236}">
                  <a16:creationId xmlns:a16="http://schemas.microsoft.com/office/drawing/2014/main" id="{5D144007-5B8D-6FB9-34FA-721E2A61D8AA}"/>
                </a:ext>
              </a:extLst>
            </p:cNvPr>
            <p:cNvSpPr>
              <a:spLocks/>
            </p:cNvSpPr>
            <p:nvPr/>
          </p:nvSpPr>
          <p:spPr bwMode="auto">
            <a:xfrm>
              <a:off x="5249" y="2546"/>
              <a:ext cx="194" cy="367"/>
            </a:xfrm>
            <a:custGeom>
              <a:avLst/>
              <a:gdLst>
                <a:gd name="T0" fmla="*/ 76 w 81"/>
                <a:gd name="T1" fmla="*/ 15 h 153"/>
                <a:gd name="T2" fmla="*/ 78 w 81"/>
                <a:gd name="T3" fmla="*/ 14 h 153"/>
                <a:gd name="T4" fmla="*/ 81 w 81"/>
                <a:gd name="T5" fmla="*/ 8 h 153"/>
                <a:gd name="T6" fmla="*/ 73 w 81"/>
                <a:gd name="T7" fmla="*/ 0 h 153"/>
                <a:gd name="T8" fmla="*/ 67 w 81"/>
                <a:gd name="T9" fmla="*/ 3 h 153"/>
                <a:gd name="T10" fmla="*/ 30 w 81"/>
                <a:gd name="T11" fmla="*/ 149 h 153"/>
                <a:gd name="T12" fmla="*/ 36 w 81"/>
                <a:gd name="T13" fmla="*/ 153 h 153"/>
                <a:gd name="T14" fmla="*/ 40 w 81"/>
                <a:gd name="T15" fmla="*/ 152 h 153"/>
                <a:gd name="T16" fmla="*/ 43 w 81"/>
                <a:gd name="T17" fmla="*/ 141 h 153"/>
                <a:gd name="T18" fmla="*/ 76 w 81"/>
                <a:gd name="T19" fmla="*/ 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53">
                  <a:moveTo>
                    <a:pt x="76" y="15"/>
                  </a:moveTo>
                  <a:cubicBezTo>
                    <a:pt x="77" y="15"/>
                    <a:pt x="78" y="14"/>
                    <a:pt x="78" y="14"/>
                  </a:cubicBezTo>
                  <a:cubicBezTo>
                    <a:pt x="80" y="12"/>
                    <a:pt x="81" y="10"/>
                    <a:pt x="81" y="8"/>
                  </a:cubicBezTo>
                  <a:cubicBezTo>
                    <a:pt x="81" y="3"/>
                    <a:pt x="78" y="0"/>
                    <a:pt x="73" y="0"/>
                  </a:cubicBezTo>
                  <a:cubicBezTo>
                    <a:pt x="71" y="0"/>
                    <a:pt x="68" y="1"/>
                    <a:pt x="67" y="3"/>
                  </a:cubicBezTo>
                  <a:cubicBezTo>
                    <a:pt x="17" y="33"/>
                    <a:pt x="0" y="98"/>
                    <a:pt x="30" y="149"/>
                  </a:cubicBezTo>
                  <a:cubicBezTo>
                    <a:pt x="31" y="152"/>
                    <a:pt x="34" y="153"/>
                    <a:pt x="36" y="153"/>
                  </a:cubicBezTo>
                  <a:cubicBezTo>
                    <a:pt x="38" y="153"/>
                    <a:pt x="39" y="153"/>
                    <a:pt x="40" y="152"/>
                  </a:cubicBezTo>
                  <a:cubicBezTo>
                    <a:pt x="44" y="150"/>
                    <a:pt x="46" y="145"/>
                    <a:pt x="43" y="141"/>
                  </a:cubicBezTo>
                  <a:cubicBezTo>
                    <a:pt x="18" y="97"/>
                    <a:pt x="33" y="41"/>
                    <a:pt x="7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28">
              <a:extLst>
                <a:ext uri="{FF2B5EF4-FFF2-40B4-BE49-F238E27FC236}">
                  <a16:creationId xmlns:a16="http://schemas.microsoft.com/office/drawing/2014/main" id="{C50BF315-B39E-94D7-BC02-792B11591876}"/>
                </a:ext>
              </a:extLst>
            </p:cNvPr>
            <p:cNvSpPr>
              <a:spLocks/>
            </p:cNvSpPr>
            <p:nvPr/>
          </p:nvSpPr>
          <p:spPr bwMode="auto">
            <a:xfrm>
              <a:off x="5242" y="2433"/>
              <a:ext cx="371" cy="197"/>
            </a:xfrm>
            <a:custGeom>
              <a:avLst/>
              <a:gdLst>
                <a:gd name="T0" fmla="*/ 72 w 155"/>
                <a:gd name="T1" fmla="*/ 35 h 82"/>
                <a:gd name="T2" fmla="*/ 140 w 155"/>
                <a:gd name="T3" fmla="*/ 42 h 82"/>
                <a:gd name="T4" fmla="*/ 147 w 155"/>
                <a:gd name="T5" fmla="*/ 45 h 82"/>
                <a:gd name="T6" fmla="*/ 155 w 155"/>
                <a:gd name="T7" fmla="*/ 37 h 82"/>
                <a:gd name="T8" fmla="*/ 152 w 155"/>
                <a:gd name="T9" fmla="*/ 31 h 82"/>
                <a:gd name="T10" fmla="*/ 150 w 155"/>
                <a:gd name="T11" fmla="*/ 29 h 82"/>
                <a:gd name="T12" fmla="*/ 2 w 155"/>
                <a:gd name="T13" fmla="*/ 70 h 82"/>
                <a:gd name="T14" fmla="*/ 5 w 155"/>
                <a:gd name="T15" fmla="*/ 81 h 82"/>
                <a:gd name="T16" fmla="*/ 9 w 155"/>
                <a:gd name="T17" fmla="*/ 82 h 82"/>
                <a:gd name="T18" fmla="*/ 16 w 155"/>
                <a:gd name="T19" fmla="*/ 78 h 82"/>
                <a:gd name="T20" fmla="*/ 72 w 155"/>
                <a:gd name="T21" fmla="*/ 3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82">
                  <a:moveTo>
                    <a:pt x="72" y="35"/>
                  </a:moveTo>
                  <a:cubicBezTo>
                    <a:pt x="95" y="28"/>
                    <a:pt x="119" y="31"/>
                    <a:pt x="140" y="42"/>
                  </a:cubicBezTo>
                  <a:cubicBezTo>
                    <a:pt x="142" y="44"/>
                    <a:pt x="144" y="45"/>
                    <a:pt x="147" y="45"/>
                  </a:cubicBezTo>
                  <a:cubicBezTo>
                    <a:pt x="151" y="45"/>
                    <a:pt x="155" y="42"/>
                    <a:pt x="155" y="37"/>
                  </a:cubicBezTo>
                  <a:cubicBezTo>
                    <a:pt x="155" y="35"/>
                    <a:pt x="154" y="33"/>
                    <a:pt x="152" y="31"/>
                  </a:cubicBezTo>
                  <a:cubicBezTo>
                    <a:pt x="151" y="30"/>
                    <a:pt x="151" y="30"/>
                    <a:pt x="150" y="29"/>
                  </a:cubicBezTo>
                  <a:cubicBezTo>
                    <a:pt x="98" y="0"/>
                    <a:pt x="31" y="18"/>
                    <a:pt x="2" y="70"/>
                  </a:cubicBezTo>
                  <a:cubicBezTo>
                    <a:pt x="0" y="74"/>
                    <a:pt x="1" y="79"/>
                    <a:pt x="5" y="81"/>
                  </a:cubicBezTo>
                  <a:cubicBezTo>
                    <a:pt x="6" y="82"/>
                    <a:pt x="8" y="82"/>
                    <a:pt x="9" y="82"/>
                  </a:cubicBezTo>
                  <a:cubicBezTo>
                    <a:pt x="12" y="82"/>
                    <a:pt x="15" y="80"/>
                    <a:pt x="16" y="78"/>
                  </a:cubicBezTo>
                  <a:cubicBezTo>
                    <a:pt x="28" y="57"/>
                    <a:pt x="48" y="41"/>
                    <a:pt x="7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29">
              <a:extLst>
                <a:ext uri="{FF2B5EF4-FFF2-40B4-BE49-F238E27FC236}">
                  <a16:creationId xmlns:a16="http://schemas.microsoft.com/office/drawing/2014/main" id="{903F3A9E-3044-697F-78D1-138E60459B53}"/>
                </a:ext>
              </a:extLst>
            </p:cNvPr>
            <p:cNvSpPr>
              <a:spLocks noEditPoints="1"/>
            </p:cNvSpPr>
            <p:nvPr/>
          </p:nvSpPr>
          <p:spPr bwMode="auto">
            <a:xfrm>
              <a:off x="5443" y="2582"/>
              <a:ext cx="209" cy="206"/>
            </a:xfrm>
            <a:custGeom>
              <a:avLst/>
              <a:gdLst>
                <a:gd name="T0" fmla="*/ 43 w 87"/>
                <a:gd name="T1" fmla="*/ 0 h 86"/>
                <a:gd name="T2" fmla="*/ 0 w 87"/>
                <a:gd name="T3" fmla="*/ 43 h 86"/>
                <a:gd name="T4" fmla="*/ 43 w 87"/>
                <a:gd name="T5" fmla="*/ 86 h 86"/>
                <a:gd name="T6" fmla="*/ 87 w 87"/>
                <a:gd name="T7" fmla="*/ 43 h 86"/>
                <a:gd name="T8" fmla="*/ 43 w 87"/>
                <a:gd name="T9" fmla="*/ 0 h 86"/>
                <a:gd name="T10" fmla="*/ 43 w 87"/>
                <a:gd name="T11" fmla="*/ 70 h 86"/>
                <a:gd name="T12" fmla="*/ 16 w 87"/>
                <a:gd name="T13" fmla="*/ 43 h 86"/>
                <a:gd name="T14" fmla="*/ 43 w 87"/>
                <a:gd name="T15" fmla="*/ 16 h 86"/>
                <a:gd name="T16" fmla="*/ 71 w 87"/>
                <a:gd name="T17" fmla="*/ 43 h 86"/>
                <a:gd name="T18" fmla="*/ 43 w 87"/>
                <a:gd name="T19" fmla="*/ 7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6">
                  <a:moveTo>
                    <a:pt x="43" y="0"/>
                  </a:moveTo>
                  <a:cubicBezTo>
                    <a:pt x="20" y="0"/>
                    <a:pt x="0" y="19"/>
                    <a:pt x="0" y="43"/>
                  </a:cubicBezTo>
                  <a:cubicBezTo>
                    <a:pt x="0" y="67"/>
                    <a:pt x="20" y="86"/>
                    <a:pt x="43" y="86"/>
                  </a:cubicBezTo>
                  <a:cubicBezTo>
                    <a:pt x="67" y="86"/>
                    <a:pt x="87" y="67"/>
                    <a:pt x="87" y="43"/>
                  </a:cubicBezTo>
                  <a:cubicBezTo>
                    <a:pt x="87" y="19"/>
                    <a:pt x="67" y="0"/>
                    <a:pt x="43" y="0"/>
                  </a:cubicBezTo>
                  <a:close/>
                  <a:moveTo>
                    <a:pt x="43" y="70"/>
                  </a:moveTo>
                  <a:cubicBezTo>
                    <a:pt x="28" y="70"/>
                    <a:pt x="16" y="58"/>
                    <a:pt x="16" y="43"/>
                  </a:cubicBezTo>
                  <a:cubicBezTo>
                    <a:pt x="16" y="28"/>
                    <a:pt x="28" y="16"/>
                    <a:pt x="43" y="16"/>
                  </a:cubicBezTo>
                  <a:cubicBezTo>
                    <a:pt x="58" y="16"/>
                    <a:pt x="71" y="28"/>
                    <a:pt x="71" y="43"/>
                  </a:cubicBezTo>
                  <a:cubicBezTo>
                    <a:pt x="71" y="58"/>
                    <a:pt x="58" y="70"/>
                    <a:pt x="4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9" name="TextBox 1148">
            <a:extLst>
              <a:ext uri="{FF2B5EF4-FFF2-40B4-BE49-F238E27FC236}">
                <a16:creationId xmlns:a16="http://schemas.microsoft.com/office/drawing/2014/main" id="{B85080AB-493C-E34D-D78B-D290771616F7}"/>
              </a:ext>
            </a:extLst>
          </p:cNvPr>
          <p:cNvSpPr txBox="1"/>
          <p:nvPr/>
        </p:nvSpPr>
        <p:spPr>
          <a:xfrm>
            <a:off x="8594454" y="4188219"/>
            <a:ext cx="3115432" cy="33855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La actividad del monzón indio debería ser igual o superior al promedio</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312" name="Group 29" descr="Cloud hail.">
            <a:extLst>
              <a:ext uri="{FF2B5EF4-FFF2-40B4-BE49-F238E27FC236}">
                <a16:creationId xmlns:a16="http://schemas.microsoft.com/office/drawing/2014/main" id="{2AF78101-4C37-E746-B04C-415E2C8C5094}"/>
              </a:ext>
            </a:extLst>
          </p:cNvPr>
          <p:cNvGrpSpPr>
            <a:grpSpLocks noChangeAspect="1"/>
          </p:cNvGrpSpPr>
          <p:nvPr/>
        </p:nvGrpSpPr>
        <p:grpSpPr bwMode="auto">
          <a:xfrm>
            <a:off x="8120253" y="4215517"/>
            <a:ext cx="294400" cy="276625"/>
            <a:chOff x="5242" y="2738"/>
            <a:chExt cx="613" cy="576"/>
          </a:xfrm>
          <a:solidFill>
            <a:srgbClr val="00968F"/>
          </a:solidFill>
        </p:grpSpPr>
        <p:sp>
          <p:nvSpPr>
            <p:cNvPr id="1314" name="Freeform 33">
              <a:extLst>
                <a:ext uri="{FF2B5EF4-FFF2-40B4-BE49-F238E27FC236}">
                  <a16:creationId xmlns:a16="http://schemas.microsoft.com/office/drawing/2014/main" id="{25B5E859-32F5-8061-D7C8-4EDF27295445}"/>
                </a:ext>
              </a:extLst>
            </p:cNvPr>
            <p:cNvSpPr>
              <a:spLocks/>
            </p:cNvSpPr>
            <p:nvPr/>
          </p:nvSpPr>
          <p:spPr bwMode="auto">
            <a:xfrm>
              <a:off x="5530" y="3083"/>
              <a:ext cx="38" cy="135"/>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34">
              <a:extLst>
                <a:ext uri="{FF2B5EF4-FFF2-40B4-BE49-F238E27FC236}">
                  <a16:creationId xmlns:a16="http://schemas.microsoft.com/office/drawing/2014/main" id="{901B11E8-B17F-D570-B38F-12D47AEF6DC9}"/>
                </a:ext>
              </a:extLst>
            </p:cNvPr>
            <p:cNvSpPr>
              <a:spLocks/>
            </p:cNvSpPr>
            <p:nvPr/>
          </p:nvSpPr>
          <p:spPr bwMode="auto">
            <a:xfrm>
              <a:off x="5434" y="3026"/>
              <a:ext cx="38" cy="134"/>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35">
              <a:extLst>
                <a:ext uri="{FF2B5EF4-FFF2-40B4-BE49-F238E27FC236}">
                  <a16:creationId xmlns:a16="http://schemas.microsoft.com/office/drawing/2014/main" id="{E2CF02E8-137C-9236-8ADB-C8B3F613A56D}"/>
                </a:ext>
              </a:extLst>
            </p:cNvPr>
            <p:cNvSpPr>
              <a:spLocks/>
            </p:cNvSpPr>
            <p:nvPr/>
          </p:nvSpPr>
          <p:spPr bwMode="auto">
            <a:xfrm>
              <a:off x="5625" y="3026"/>
              <a:ext cx="39" cy="134"/>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36">
              <a:extLst>
                <a:ext uri="{FF2B5EF4-FFF2-40B4-BE49-F238E27FC236}">
                  <a16:creationId xmlns:a16="http://schemas.microsoft.com/office/drawing/2014/main" id="{3BC24A07-23C4-3833-166A-0E3B97D582ED}"/>
                </a:ext>
              </a:extLst>
            </p:cNvPr>
            <p:cNvSpPr>
              <a:spLocks/>
            </p:cNvSpPr>
            <p:nvPr/>
          </p:nvSpPr>
          <p:spPr bwMode="auto">
            <a:xfrm>
              <a:off x="5242" y="2738"/>
              <a:ext cx="613" cy="422"/>
            </a:xfrm>
            <a:custGeom>
              <a:avLst/>
              <a:gdLst>
                <a:gd name="T0" fmla="*/ 215 w 256"/>
                <a:gd name="T1" fmla="*/ 73 h 176"/>
                <a:gd name="T2" fmla="*/ 128 w 256"/>
                <a:gd name="T3" fmla="*/ 0 h 176"/>
                <a:gd name="T4" fmla="*/ 45 w 256"/>
                <a:gd name="T5" fmla="*/ 58 h 176"/>
                <a:gd name="T6" fmla="*/ 0 w 256"/>
                <a:gd name="T7" fmla="*/ 116 h 176"/>
                <a:gd name="T8" fmla="*/ 56 w 256"/>
                <a:gd name="T9" fmla="*/ 176 h 176"/>
                <a:gd name="T10" fmla="*/ 64 w 256"/>
                <a:gd name="T11" fmla="*/ 169 h 176"/>
                <a:gd name="T12" fmla="*/ 57 w 256"/>
                <a:gd name="T13" fmla="*/ 160 h 176"/>
                <a:gd name="T14" fmla="*/ 16 w 256"/>
                <a:gd name="T15" fmla="*/ 116 h 176"/>
                <a:gd name="T16" fmla="*/ 53 w 256"/>
                <a:gd name="T17" fmla="*/ 73 h 176"/>
                <a:gd name="T18" fmla="*/ 59 w 256"/>
                <a:gd name="T19" fmla="*/ 67 h 176"/>
                <a:gd name="T20" fmla="*/ 128 w 256"/>
                <a:gd name="T21" fmla="*/ 16 h 176"/>
                <a:gd name="T22" fmla="*/ 200 w 256"/>
                <a:gd name="T23" fmla="*/ 81 h 176"/>
                <a:gd name="T24" fmla="*/ 207 w 256"/>
                <a:gd name="T25" fmla="*/ 88 h 176"/>
                <a:gd name="T26" fmla="*/ 240 w 256"/>
                <a:gd name="T27" fmla="*/ 124 h 176"/>
                <a:gd name="T28" fmla="*/ 207 w 256"/>
                <a:gd name="T29" fmla="*/ 160 h 176"/>
                <a:gd name="T30" fmla="*/ 200 w 256"/>
                <a:gd name="T31" fmla="*/ 169 h 176"/>
                <a:gd name="T32" fmla="*/ 208 w 256"/>
                <a:gd name="T33" fmla="*/ 176 h 176"/>
                <a:gd name="T34" fmla="*/ 209 w 256"/>
                <a:gd name="T35" fmla="*/ 176 h 176"/>
                <a:gd name="T36" fmla="*/ 256 w 256"/>
                <a:gd name="T37" fmla="*/ 124 h 176"/>
                <a:gd name="T38" fmla="*/ 215 w 256"/>
                <a:gd name="T39" fmla="*/ 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176">
                  <a:moveTo>
                    <a:pt x="215" y="73"/>
                  </a:moveTo>
                  <a:cubicBezTo>
                    <a:pt x="208" y="31"/>
                    <a:pt x="172" y="0"/>
                    <a:pt x="128" y="0"/>
                  </a:cubicBezTo>
                  <a:cubicBezTo>
                    <a:pt x="91" y="0"/>
                    <a:pt x="58" y="23"/>
                    <a:pt x="45" y="58"/>
                  </a:cubicBezTo>
                  <a:cubicBezTo>
                    <a:pt x="19" y="65"/>
                    <a:pt x="0" y="89"/>
                    <a:pt x="0" y="116"/>
                  </a:cubicBezTo>
                  <a:cubicBezTo>
                    <a:pt x="0" y="147"/>
                    <a:pt x="24" y="173"/>
                    <a:pt x="56" y="176"/>
                  </a:cubicBezTo>
                  <a:cubicBezTo>
                    <a:pt x="60" y="176"/>
                    <a:pt x="64" y="173"/>
                    <a:pt x="64" y="169"/>
                  </a:cubicBezTo>
                  <a:cubicBezTo>
                    <a:pt x="65" y="164"/>
                    <a:pt x="61" y="160"/>
                    <a:pt x="57" y="160"/>
                  </a:cubicBezTo>
                  <a:cubicBezTo>
                    <a:pt x="34" y="158"/>
                    <a:pt x="16" y="139"/>
                    <a:pt x="16" y="116"/>
                  </a:cubicBezTo>
                  <a:cubicBezTo>
                    <a:pt x="16" y="95"/>
                    <a:pt x="32" y="76"/>
                    <a:pt x="53" y="73"/>
                  </a:cubicBezTo>
                  <a:cubicBezTo>
                    <a:pt x="56" y="72"/>
                    <a:pt x="58" y="70"/>
                    <a:pt x="59" y="67"/>
                  </a:cubicBezTo>
                  <a:cubicBezTo>
                    <a:pt x="69" y="37"/>
                    <a:pt x="97" y="16"/>
                    <a:pt x="128" y="16"/>
                  </a:cubicBezTo>
                  <a:cubicBezTo>
                    <a:pt x="166" y="16"/>
                    <a:pt x="197" y="44"/>
                    <a:pt x="200" y="81"/>
                  </a:cubicBezTo>
                  <a:cubicBezTo>
                    <a:pt x="201" y="85"/>
                    <a:pt x="204" y="88"/>
                    <a:pt x="207" y="88"/>
                  </a:cubicBezTo>
                  <a:cubicBezTo>
                    <a:pt x="226" y="90"/>
                    <a:pt x="240" y="105"/>
                    <a:pt x="240" y="124"/>
                  </a:cubicBezTo>
                  <a:cubicBezTo>
                    <a:pt x="240" y="143"/>
                    <a:pt x="226" y="158"/>
                    <a:pt x="207" y="160"/>
                  </a:cubicBezTo>
                  <a:cubicBezTo>
                    <a:pt x="203" y="161"/>
                    <a:pt x="200" y="164"/>
                    <a:pt x="200" y="169"/>
                  </a:cubicBezTo>
                  <a:cubicBezTo>
                    <a:pt x="201" y="173"/>
                    <a:pt x="204" y="176"/>
                    <a:pt x="208" y="176"/>
                  </a:cubicBezTo>
                  <a:cubicBezTo>
                    <a:pt x="209" y="176"/>
                    <a:pt x="209" y="176"/>
                    <a:pt x="209" y="176"/>
                  </a:cubicBezTo>
                  <a:cubicBezTo>
                    <a:pt x="236" y="173"/>
                    <a:pt x="256" y="151"/>
                    <a:pt x="256" y="124"/>
                  </a:cubicBezTo>
                  <a:cubicBezTo>
                    <a:pt x="256" y="99"/>
                    <a:pt x="239" y="79"/>
                    <a:pt x="21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37">
              <a:extLst>
                <a:ext uri="{FF2B5EF4-FFF2-40B4-BE49-F238E27FC236}">
                  <a16:creationId xmlns:a16="http://schemas.microsoft.com/office/drawing/2014/main" id="{A93D6C9E-4D91-3371-B821-C42F86C30D4B}"/>
                </a:ext>
              </a:extLst>
            </p:cNvPr>
            <p:cNvSpPr>
              <a:spLocks/>
            </p:cNvSpPr>
            <p:nvPr/>
          </p:nvSpPr>
          <p:spPr bwMode="auto">
            <a:xfrm>
              <a:off x="5434" y="3198"/>
              <a:ext cx="38"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38">
              <a:extLst>
                <a:ext uri="{FF2B5EF4-FFF2-40B4-BE49-F238E27FC236}">
                  <a16:creationId xmlns:a16="http://schemas.microsoft.com/office/drawing/2014/main" id="{D380EBD3-CEA8-70AB-90AE-12B026C290AB}"/>
                </a:ext>
              </a:extLst>
            </p:cNvPr>
            <p:cNvSpPr>
              <a:spLocks/>
            </p:cNvSpPr>
            <p:nvPr/>
          </p:nvSpPr>
          <p:spPr bwMode="auto">
            <a:xfrm>
              <a:off x="5530" y="3256"/>
              <a:ext cx="38"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39">
              <a:extLst>
                <a:ext uri="{FF2B5EF4-FFF2-40B4-BE49-F238E27FC236}">
                  <a16:creationId xmlns:a16="http://schemas.microsoft.com/office/drawing/2014/main" id="{384EB73B-8969-A4A4-C36A-6D9E6F2F9AE9}"/>
                </a:ext>
              </a:extLst>
            </p:cNvPr>
            <p:cNvSpPr>
              <a:spLocks/>
            </p:cNvSpPr>
            <p:nvPr/>
          </p:nvSpPr>
          <p:spPr bwMode="auto">
            <a:xfrm>
              <a:off x="5625" y="3198"/>
              <a:ext cx="39"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23" name="TextBox 1222">
            <a:extLst>
              <a:ext uri="{FF2B5EF4-FFF2-40B4-BE49-F238E27FC236}">
                <a16:creationId xmlns:a16="http://schemas.microsoft.com/office/drawing/2014/main" id="{D4821104-9FED-E18C-9E0F-B10245053621}"/>
              </a:ext>
            </a:extLst>
          </p:cNvPr>
          <p:cNvSpPr txBox="1"/>
          <p:nvPr/>
        </p:nvSpPr>
        <p:spPr>
          <a:xfrm>
            <a:off x="8594453" y="4764253"/>
            <a:ext cx="3115432" cy="67710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Se espera que las temperaturas invernales en Australia estén por encima del promedio con perspectivas elevadas de precipitaciones en las partes central y oriental del continente.</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323" name="Group 29" descr="Freeze snow pressure.">
            <a:extLst>
              <a:ext uri="{FF2B5EF4-FFF2-40B4-BE49-F238E27FC236}">
                <a16:creationId xmlns:a16="http://schemas.microsoft.com/office/drawing/2014/main" id="{968D0C91-34CD-1D11-1A64-18CB912273A8}"/>
              </a:ext>
            </a:extLst>
          </p:cNvPr>
          <p:cNvGrpSpPr>
            <a:grpSpLocks noChangeAspect="1"/>
          </p:cNvGrpSpPr>
          <p:nvPr/>
        </p:nvGrpSpPr>
        <p:grpSpPr bwMode="auto">
          <a:xfrm>
            <a:off x="8124033" y="4967338"/>
            <a:ext cx="286749" cy="294395"/>
            <a:chOff x="5237" y="3097"/>
            <a:chExt cx="600" cy="616"/>
          </a:xfrm>
          <a:solidFill>
            <a:srgbClr val="8246AF"/>
          </a:solidFill>
        </p:grpSpPr>
        <p:sp>
          <p:nvSpPr>
            <p:cNvPr id="1325" name="Freeform 43">
              <a:extLst>
                <a:ext uri="{FF2B5EF4-FFF2-40B4-BE49-F238E27FC236}">
                  <a16:creationId xmlns:a16="http://schemas.microsoft.com/office/drawing/2014/main" id="{D351E2EC-9FDE-C5C5-ABAC-6763F64B2784}"/>
                </a:ext>
              </a:extLst>
            </p:cNvPr>
            <p:cNvSpPr>
              <a:spLocks noEditPoints="1"/>
            </p:cNvSpPr>
            <p:nvPr/>
          </p:nvSpPr>
          <p:spPr bwMode="auto">
            <a:xfrm>
              <a:off x="5556" y="3159"/>
              <a:ext cx="281" cy="554"/>
            </a:xfrm>
            <a:custGeom>
              <a:avLst/>
              <a:gdLst>
                <a:gd name="T0" fmla="*/ 96 w 117"/>
                <a:gd name="T1" fmla="*/ 128 h 231"/>
                <a:gd name="T2" fmla="*/ 96 w 117"/>
                <a:gd name="T3" fmla="*/ 37 h 231"/>
                <a:gd name="T4" fmla="*/ 59 w 117"/>
                <a:gd name="T5" fmla="*/ 0 h 231"/>
                <a:gd name="T6" fmla="*/ 22 w 117"/>
                <a:gd name="T7" fmla="*/ 37 h 231"/>
                <a:gd name="T8" fmla="*/ 22 w 117"/>
                <a:gd name="T9" fmla="*/ 128 h 231"/>
                <a:gd name="T10" fmla="*/ 0 w 117"/>
                <a:gd name="T11" fmla="*/ 173 h 231"/>
                <a:gd name="T12" fmla="*/ 59 w 117"/>
                <a:gd name="T13" fmla="*/ 231 h 231"/>
                <a:gd name="T14" fmla="*/ 117 w 117"/>
                <a:gd name="T15" fmla="*/ 173 h 231"/>
                <a:gd name="T16" fmla="*/ 96 w 117"/>
                <a:gd name="T17" fmla="*/ 128 h 231"/>
                <a:gd name="T18" fmla="*/ 59 w 117"/>
                <a:gd name="T19" fmla="*/ 214 h 231"/>
                <a:gd name="T20" fmla="*/ 16 w 117"/>
                <a:gd name="T21" fmla="*/ 172 h 231"/>
                <a:gd name="T22" fmla="*/ 34 w 117"/>
                <a:gd name="T23" fmla="*/ 137 h 231"/>
                <a:gd name="T24" fmla="*/ 37 w 117"/>
                <a:gd name="T25" fmla="*/ 131 h 231"/>
                <a:gd name="T26" fmla="*/ 37 w 117"/>
                <a:gd name="T27" fmla="*/ 37 h 231"/>
                <a:gd name="T28" fmla="*/ 58 w 117"/>
                <a:gd name="T29" fmla="*/ 16 h 231"/>
                <a:gd name="T30" fmla="*/ 80 w 117"/>
                <a:gd name="T31" fmla="*/ 37 h 231"/>
                <a:gd name="T32" fmla="*/ 80 w 117"/>
                <a:gd name="T33" fmla="*/ 132 h 231"/>
                <a:gd name="T34" fmla="*/ 83 w 117"/>
                <a:gd name="T35" fmla="*/ 138 h 231"/>
                <a:gd name="T36" fmla="*/ 100 w 117"/>
                <a:gd name="T37" fmla="*/ 173 h 231"/>
                <a:gd name="T38" fmla="*/ 59 w 117"/>
                <a:gd name="T39" fmla="*/ 21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231">
                  <a:moveTo>
                    <a:pt x="96" y="128"/>
                  </a:moveTo>
                  <a:cubicBezTo>
                    <a:pt x="96" y="37"/>
                    <a:pt x="96" y="37"/>
                    <a:pt x="96" y="37"/>
                  </a:cubicBezTo>
                  <a:cubicBezTo>
                    <a:pt x="96" y="17"/>
                    <a:pt x="79" y="0"/>
                    <a:pt x="59" y="0"/>
                  </a:cubicBezTo>
                  <a:cubicBezTo>
                    <a:pt x="39" y="0"/>
                    <a:pt x="22" y="17"/>
                    <a:pt x="22" y="37"/>
                  </a:cubicBezTo>
                  <a:cubicBezTo>
                    <a:pt x="22" y="128"/>
                    <a:pt x="22" y="128"/>
                    <a:pt x="22" y="128"/>
                  </a:cubicBezTo>
                  <a:cubicBezTo>
                    <a:pt x="8" y="139"/>
                    <a:pt x="0" y="155"/>
                    <a:pt x="0" y="173"/>
                  </a:cubicBezTo>
                  <a:cubicBezTo>
                    <a:pt x="0" y="205"/>
                    <a:pt x="26" y="231"/>
                    <a:pt x="59" y="231"/>
                  </a:cubicBezTo>
                  <a:cubicBezTo>
                    <a:pt x="92" y="231"/>
                    <a:pt x="117" y="205"/>
                    <a:pt x="117" y="173"/>
                  </a:cubicBezTo>
                  <a:cubicBezTo>
                    <a:pt x="117" y="154"/>
                    <a:pt x="109" y="138"/>
                    <a:pt x="96" y="128"/>
                  </a:cubicBezTo>
                  <a:close/>
                  <a:moveTo>
                    <a:pt x="59" y="214"/>
                  </a:moveTo>
                  <a:cubicBezTo>
                    <a:pt x="36" y="214"/>
                    <a:pt x="16" y="196"/>
                    <a:pt x="16" y="172"/>
                  </a:cubicBezTo>
                  <a:cubicBezTo>
                    <a:pt x="16" y="158"/>
                    <a:pt x="23" y="145"/>
                    <a:pt x="34" y="137"/>
                  </a:cubicBezTo>
                  <a:cubicBezTo>
                    <a:pt x="36" y="136"/>
                    <a:pt x="37" y="133"/>
                    <a:pt x="37" y="131"/>
                  </a:cubicBezTo>
                  <a:cubicBezTo>
                    <a:pt x="37" y="37"/>
                    <a:pt x="37" y="37"/>
                    <a:pt x="37" y="37"/>
                  </a:cubicBezTo>
                  <a:cubicBezTo>
                    <a:pt x="37" y="25"/>
                    <a:pt x="47" y="16"/>
                    <a:pt x="58" y="16"/>
                  </a:cubicBezTo>
                  <a:cubicBezTo>
                    <a:pt x="69" y="16"/>
                    <a:pt x="80" y="25"/>
                    <a:pt x="80" y="37"/>
                  </a:cubicBezTo>
                  <a:cubicBezTo>
                    <a:pt x="80" y="132"/>
                    <a:pt x="80" y="132"/>
                    <a:pt x="80" y="132"/>
                  </a:cubicBezTo>
                  <a:cubicBezTo>
                    <a:pt x="80" y="134"/>
                    <a:pt x="81" y="137"/>
                    <a:pt x="83" y="138"/>
                  </a:cubicBezTo>
                  <a:cubicBezTo>
                    <a:pt x="94" y="146"/>
                    <a:pt x="100" y="158"/>
                    <a:pt x="100" y="173"/>
                  </a:cubicBezTo>
                  <a:cubicBezTo>
                    <a:pt x="101" y="196"/>
                    <a:pt x="83" y="214"/>
                    <a:pt x="59"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44">
              <a:extLst>
                <a:ext uri="{FF2B5EF4-FFF2-40B4-BE49-F238E27FC236}">
                  <a16:creationId xmlns:a16="http://schemas.microsoft.com/office/drawing/2014/main" id="{762CD129-4071-093E-8539-02005FD0C115}"/>
                </a:ext>
              </a:extLst>
            </p:cNvPr>
            <p:cNvSpPr>
              <a:spLocks noEditPoints="1"/>
            </p:cNvSpPr>
            <p:nvPr/>
          </p:nvSpPr>
          <p:spPr bwMode="auto">
            <a:xfrm>
              <a:off x="5626" y="3346"/>
              <a:ext cx="141" cy="295"/>
            </a:xfrm>
            <a:custGeom>
              <a:avLst/>
              <a:gdLst>
                <a:gd name="T0" fmla="*/ 38 w 59"/>
                <a:gd name="T1" fmla="*/ 66 h 123"/>
                <a:gd name="T2" fmla="*/ 38 w 59"/>
                <a:gd name="T3" fmla="*/ 8 h 123"/>
                <a:gd name="T4" fmla="*/ 30 w 59"/>
                <a:gd name="T5" fmla="*/ 0 h 123"/>
                <a:gd name="T6" fmla="*/ 22 w 59"/>
                <a:gd name="T7" fmla="*/ 8 h 123"/>
                <a:gd name="T8" fmla="*/ 22 w 59"/>
                <a:gd name="T9" fmla="*/ 66 h 123"/>
                <a:gd name="T10" fmla="*/ 0 w 59"/>
                <a:gd name="T11" fmla="*/ 94 h 123"/>
                <a:gd name="T12" fmla="*/ 30 w 59"/>
                <a:gd name="T13" fmla="*/ 123 h 123"/>
                <a:gd name="T14" fmla="*/ 59 w 59"/>
                <a:gd name="T15" fmla="*/ 94 h 123"/>
                <a:gd name="T16" fmla="*/ 38 w 59"/>
                <a:gd name="T17" fmla="*/ 66 h 123"/>
                <a:gd name="T18" fmla="*/ 30 w 59"/>
                <a:gd name="T19" fmla="*/ 107 h 123"/>
                <a:gd name="T20" fmla="*/ 16 w 59"/>
                <a:gd name="T21" fmla="*/ 94 h 123"/>
                <a:gd name="T22" fmla="*/ 30 w 59"/>
                <a:gd name="T23" fmla="*/ 80 h 123"/>
                <a:gd name="T24" fmla="*/ 43 w 59"/>
                <a:gd name="T25" fmla="*/ 94 h 123"/>
                <a:gd name="T26" fmla="*/ 30 w 59"/>
                <a:gd name="T2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23">
                  <a:moveTo>
                    <a:pt x="38" y="66"/>
                  </a:moveTo>
                  <a:cubicBezTo>
                    <a:pt x="38" y="8"/>
                    <a:pt x="38" y="8"/>
                    <a:pt x="38" y="8"/>
                  </a:cubicBezTo>
                  <a:cubicBezTo>
                    <a:pt x="38" y="3"/>
                    <a:pt x="35" y="0"/>
                    <a:pt x="30" y="0"/>
                  </a:cubicBezTo>
                  <a:cubicBezTo>
                    <a:pt x="25" y="0"/>
                    <a:pt x="22" y="3"/>
                    <a:pt x="22" y="8"/>
                  </a:cubicBezTo>
                  <a:cubicBezTo>
                    <a:pt x="22" y="66"/>
                    <a:pt x="22" y="66"/>
                    <a:pt x="22" y="66"/>
                  </a:cubicBezTo>
                  <a:cubicBezTo>
                    <a:pt x="10" y="69"/>
                    <a:pt x="0" y="80"/>
                    <a:pt x="0" y="94"/>
                  </a:cubicBezTo>
                  <a:cubicBezTo>
                    <a:pt x="0" y="110"/>
                    <a:pt x="14" y="123"/>
                    <a:pt x="30" y="123"/>
                  </a:cubicBezTo>
                  <a:cubicBezTo>
                    <a:pt x="46" y="123"/>
                    <a:pt x="59" y="110"/>
                    <a:pt x="59" y="94"/>
                  </a:cubicBezTo>
                  <a:cubicBezTo>
                    <a:pt x="59" y="81"/>
                    <a:pt x="51" y="70"/>
                    <a:pt x="38" y="66"/>
                  </a:cubicBezTo>
                  <a:close/>
                  <a:moveTo>
                    <a:pt x="30" y="107"/>
                  </a:moveTo>
                  <a:cubicBezTo>
                    <a:pt x="23" y="107"/>
                    <a:pt x="16" y="101"/>
                    <a:pt x="16" y="94"/>
                  </a:cubicBezTo>
                  <a:cubicBezTo>
                    <a:pt x="16" y="87"/>
                    <a:pt x="23" y="80"/>
                    <a:pt x="30" y="80"/>
                  </a:cubicBezTo>
                  <a:cubicBezTo>
                    <a:pt x="37" y="80"/>
                    <a:pt x="43" y="87"/>
                    <a:pt x="43" y="94"/>
                  </a:cubicBezTo>
                  <a:cubicBezTo>
                    <a:pt x="43" y="101"/>
                    <a:pt x="38" y="107"/>
                    <a:pt x="3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45">
              <a:extLst>
                <a:ext uri="{FF2B5EF4-FFF2-40B4-BE49-F238E27FC236}">
                  <a16:creationId xmlns:a16="http://schemas.microsoft.com/office/drawing/2014/main" id="{13906F57-FFD4-1E16-DC49-67A63176E436}"/>
                </a:ext>
              </a:extLst>
            </p:cNvPr>
            <p:cNvSpPr>
              <a:spLocks/>
            </p:cNvSpPr>
            <p:nvPr/>
          </p:nvSpPr>
          <p:spPr bwMode="auto">
            <a:xfrm>
              <a:off x="5237" y="3097"/>
              <a:ext cx="319" cy="338"/>
            </a:xfrm>
            <a:custGeom>
              <a:avLst/>
              <a:gdLst>
                <a:gd name="T0" fmla="*/ 125 w 133"/>
                <a:gd name="T1" fmla="*/ 64 h 141"/>
                <a:gd name="T2" fmla="*/ 127 w 133"/>
                <a:gd name="T3" fmla="*/ 49 h 141"/>
                <a:gd name="T4" fmla="*/ 125 w 133"/>
                <a:gd name="T5" fmla="*/ 47 h 141"/>
                <a:gd name="T6" fmla="*/ 117 w 133"/>
                <a:gd name="T7" fmla="*/ 32 h 141"/>
                <a:gd name="T8" fmla="*/ 116 w 133"/>
                <a:gd name="T9" fmla="*/ 29 h 141"/>
                <a:gd name="T10" fmla="*/ 101 w 133"/>
                <a:gd name="T11" fmla="*/ 25 h 141"/>
                <a:gd name="T12" fmla="*/ 75 w 133"/>
                <a:gd name="T13" fmla="*/ 56 h 141"/>
                <a:gd name="T14" fmla="*/ 89 w 133"/>
                <a:gd name="T15" fmla="*/ 20 h 141"/>
                <a:gd name="T16" fmla="*/ 78 w 133"/>
                <a:gd name="T17" fmla="*/ 8 h 141"/>
                <a:gd name="T18" fmla="*/ 75 w 133"/>
                <a:gd name="T19" fmla="*/ 8 h 141"/>
                <a:gd name="T20" fmla="*/ 59 w 133"/>
                <a:gd name="T21" fmla="*/ 8 h 141"/>
                <a:gd name="T22" fmla="*/ 55 w 133"/>
                <a:gd name="T23" fmla="*/ 8 h 141"/>
                <a:gd name="T24" fmla="*/ 44 w 133"/>
                <a:gd name="T25" fmla="*/ 19 h 141"/>
                <a:gd name="T26" fmla="*/ 58 w 133"/>
                <a:gd name="T27" fmla="*/ 56 h 141"/>
                <a:gd name="T28" fmla="*/ 33 w 133"/>
                <a:gd name="T29" fmla="*/ 25 h 141"/>
                <a:gd name="T30" fmla="*/ 18 w 133"/>
                <a:gd name="T31" fmla="*/ 29 h 141"/>
                <a:gd name="T32" fmla="*/ 17 w 133"/>
                <a:gd name="T33" fmla="*/ 32 h 141"/>
                <a:gd name="T34" fmla="*/ 9 w 133"/>
                <a:gd name="T35" fmla="*/ 47 h 141"/>
                <a:gd name="T36" fmla="*/ 7 w 133"/>
                <a:gd name="T37" fmla="*/ 49 h 141"/>
                <a:gd name="T38" fmla="*/ 9 w 133"/>
                <a:gd name="T39" fmla="*/ 64 h 141"/>
                <a:gd name="T40" fmla="*/ 32 w 133"/>
                <a:gd name="T41" fmla="*/ 59 h 141"/>
                <a:gd name="T42" fmla="*/ 31 w 133"/>
                <a:gd name="T43" fmla="*/ 82 h 141"/>
                <a:gd name="T44" fmla="*/ 1 w 133"/>
                <a:gd name="T45" fmla="*/ 82 h 141"/>
                <a:gd name="T46" fmla="*/ 12 w 133"/>
                <a:gd name="T47" fmla="*/ 93 h 141"/>
                <a:gd name="T48" fmla="*/ 6 w 133"/>
                <a:gd name="T49" fmla="*/ 106 h 141"/>
                <a:gd name="T50" fmla="*/ 17 w 133"/>
                <a:gd name="T51" fmla="*/ 109 h 141"/>
                <a:gd name="T52" fmla="*/ 18 w 133"/>
                <a:gd name="T53" fmla="*/ 112 h 141"/>
                <a:gd name="T54" fmla="*/ 26 w 133"/>
                <a:gd name="T55" fmla="*/ 122 h 141"/>
                <a:gd name="T56" fmla="*/ 40 w 133"/>
                <a:gd name="T57" fmla="*/ 96 h 141"/>
                <a:gd name="T58" fmla="*/ 59 w 133"/>
                <a:gd name="T59" fmla="*/ 107 h 141"/>
                <a:gd name="T60" fmla="*/ 45 w 133"/>
                <a:gd name="T61" fmla="*/ 133 h 141"/>
                <a:gd name="T62" fmla="*/ 59 w 133"/>
                <a:gd name="T63" fmla="*/ 130 h 141"/>
                <a:gd name="T64" fmla="*/ 67 w 133"/>
                <a:gd name="T65" fmla="*/ 141 h 141"/>
                <a:gd name="T66" fmla="*/ 75 w 133"/>
                <a:gd name="T67" fmla="*/ 130 h 141"/>
                <a:gd name="T68" fmla="*/ 84 w 133"/>
                <a:gd name="T69" fmla="*/ 135 h 141"/>
                <a:gd name="T70" fmla="*/ 89 w 133"/>
                <a:gd name="T71" fmla="*/ 122 h 141"/>
                <a:gd name="T72" fmla="*/ 75 w 133"/>
                <a:gd name="T73" fmla="*/ 85 h 141"/>
                <a:gd name="T74" fmla="*/ 100 w 133"/>
                <a:gd name="T75" fmla="*/ 116 h 141"/>
                <a:gd name="T76" fmla="*/ 110 w 133"/>
                <a:gd name="T77" fmla="*/ 122 h 141"/>
                <a:gd name="T78" fmla="*/ 114 w 133"/>
                <a:gd name="T79" fmla="*/ 107 h 141"/>
                <a:gd name="T80" fmla="*/ 121 w 133"/>
                <a:gd name="T81" fmla="*/ 110 h 141"/>
                <a:gd name="T82" fmla="*/ 125 w 133"/>
                <a:gd name="T83" fmla="*/ 95 h 141"/>
                <a:gd name="T84" fmla="*/ 127 w 133"/>
                <a:gd name="T85" fmla="*/ 91 h 141"/>
                <a:gd name="T86" fmla="*/ 123 w 133"/>
                <a:gd name="T87" fmla="*/ 76 h 141"/>
                <a:gd name="T88" fmla="*/ 84 w 133"/>
                <a:gd name="T89" fmla="*/ 71 h 141"/>
                <a:gd name="T90" fmla="*/ 122 w 133"/>
                <a:gd name="T91" fmla="*/ 6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 h="141">
                  <a:moveTo>
                    <a:pt x="122" y="64"/>
                  </a:moveTo>
                  <a:cubicBezTo>
                    <a:pt x="123" y="64"/>
                    <a:pt x="124" y="64"/>
                    <a:pt x="125" y="64"/>
                  </a:cubicBezTo>
                  <a:cubicBezTo>
                    <a:pt x="128" y="64"/>
                    <a:pt x="131" y="62"/>
                    <a:pt x="133" y="59"/>
                  </a:cubicBezTo>
                  <a:cubicBezTo>
                    <a:pt x="133" y="55"/>
                    <a:pt x="131" y="50"/>
                    <a:pt x="127" y="49"/>
                  </a:cubicBezTo>
                  <a:cubicBezTo>
                    <a:pt x="122" y="47"/>
                    <a:pt x="122" y="47"/>
                    <a:pt x="122" y="47"/>
                  </a:cubicBezTo>
                  <a:cubicBezTo>
                    <a:pt x="125" y="47"/>
                    <a:pt x="125" y="47"/>
                    <a:pt x="125" y="47"/>
                  </a:cubicBezTo>
                  <a:cubicBezTo>
                    <a:pt x="129" y="44"/>
                    <a:pt x="129" y="39"/>
                    <a:pt x="128" y="35"/>
                  </a:cubicBezTo>
                  <a:cubicBezTo>
                    <a:pt x="125" y="31"/>
                    <a:pt x="121" y="30"/>
                    <a:pt x="117" y="32"/>
                  </a:cubicBezTo>
                  <a:cubicBezTo>
                    <a:pt x="114" y="34"/>
                    <a:pt x="114" y="34"/>
                    <a:pt x="114" y="34"/>
                  </a:cubicBezTo>
                  <a:cubicBezTo>
                    <a:pt x="116" y="29"/>
                    <a:pt x="116" y="29"/>
                    <a:pt x="116" y="29"/>
                  </a:cubicBezTo>
                  <a:cubicBezTo>
                    <a:pt x="117" y="25"/>
                    <a:pt x="114" y="20"/>
                    <a:pt x="110" y="19"/>
                  </a:cubicBezTo>
                  <a:cubicBezTo>
                    <a:pt x="106" y="19"/>
                    <a:pt x="101" y="21"/>
                    <a:pt x="101" y="25"/>
                  </a:cubicBezTo>
                  <a:cubicBezTo>
                    <a:pt x="95" y="45"/>
                    <a:pt x="95" y="45"/>
                    <a:pt x="95" y="45"/>
                  </a:cubicBezTo>
                  <a:cubicBezTo>
                    <a:pt x="75" y="56"/>
                    <a:pt x="75" y="56"/>
                    <a:pt x="75" y="56"/>
                  </a:cubicBezTo>
                  <a:cubicBezTo>
                    <a:pt x="75" y="35"/>
                    <a:pt x="75" y="35"/>
                    <a:pt x="75" y="35"/>
                  </a:cubicBezTo>
                  <a:cubicBezTo>
                    <a:pt x="89" y="20"/>
                    <a:pt x="89" y="20"/>
                    <a:pt x="89" y="20"/>
                  </a:cubicBezTo>
                  <a:cubicBezTo>
                    <a:pt x="93" y="16"/>
                    <a:pt x="93" y="11"/>
                    <a:pt x="89" y="8"/>
                  </a:cubicBezTo>
                  <a:cubicBezTo>
                    <a:pt x="86" y="5"/>
                    <a:pt x="81" y="5"/>
                    <a:pt x="78" y="8"/>
                  </a:cubicBezTo>
                  <a:cubicBezTo>
                    <a:pt x="75" y="11"/>
                    <a:pt x="75" y="11"/>
                    <a:pt x="75" y="11"/>
                  </a:cubicBezTo>
                  <a:cubicBezTo>
                    <a:pt x="75" y="8"/>
                    <a:pt x="75" y="8"/>
                    <a:pt x="75" y="8"/>
                  </a:cubicBezTo>
                  <a:cubicBezTo>
                    <a:pt x="75" y="3"/>
                    <a:pt x="72" y="0"/>
                    <a:pt x="67" y="0"/>
                  </a:cubicBezTo>
                  <a:cubicBezTo>
                    <a:pt x="62" y="0"/>
                    <a:pt x="59" y="3"/>
                    <a:pt x="59" y="8"/>
                  </a:cubicBezTo>
                  <a:cubicBezTo>
                    <a:pt x="59" y="11"/>
                    <a:pt x="59" y="11"/>
                    <a:pt x="59" y="11"/>
                  </a:cubicBezTo>
                  <a:cubicBezTo>
                    <a:pt x="55" y="8"/>
                    <a:pt x="55" y="8"/>
                    <a:pt x="55" y="8"/>
                  </a:cubicBezTo>
                  <a:cubicBezTo>
                    <a:pt x="52" y="5"/>
                    <a:pt x="47" y="5"/>
                    <a:pt x="44" y="8"/>
                  </a:cubicBezTo>
                  <a:cubicBezTo>
                    <a:pt x="41" y="11"/>
                    <a:pt x="41" y="16"/>
                    <a:pt x="44" y="19"/>
                  </a:cubicBezTo>
                  <a:cubicBezTo>
                    <a:pt x="58" y="34"/>
                    <a:pt x="58" y="34"/>
                    <a:pt x="58" y="34"/>
                  </a:cubicBezTo>
                  <a:cubicBezTo>
                    <a:pt x="58" y="56"/>
                    <a:pt x="58" y="56"/>
                    <a:pt x="58" y="56"/>
                  </a:cubicBezTo>
                  <a:cubicBezTo>
                    <a:pt x="39" y="45"/>
                    <a:pt x="39" y="45"/>
                    <a:pt x="39" y="45"/>
                  </a:cubicBezTo>
                  <a:cubicBezTo>
                    <a:pt x="33" y="25"/>
                    <a:pt x="33" y="25"/>
                    <a:pt x="33" y="25"/>
                  </a:cubicBezTo>
                  <a:cubicBezTo>
                    <a:pt x="33" y="21"/>
                    <a:pt x="28" y="19"/>
                    <a:pt x="24" y="19"/>
                  </a:cubicBezTo>
                  <a:cubicBezTo>
                    <a:pt x="20" y="21"/>
                    <a:pt x="17" y="25"/>
                    <a:pt x="18" y="29"/>
                  </a:cubicBezTo>
                  <a:cubicBezTo>
                    <a:pt x="20" y="34"/>
                    <a:pt x="20" y="34"/>
                    <a:pt x="20" y="34"/>
                  </a:cubicBezTo>
                  <a:cubicBezTo>
                    <a:pt x="17" y="32"/>
                    <a:pt x="17" y="32"/>
                    <a:pt x="17" y="32"/>
                  </a:cubicBezTo>
                  <a:cubicBezTo>
                    <a:pt x="13" y="30"/>
                    <a:pt x="8" y="31"/>
                    <a:pt x="5" y="35"/>
                  </a:cubicBezTo>
                  <a:cubicBezTo>
                    <a:pt x="4" y="39"/>
                    <a:pt x="5" y="44"/>
                    <a:pt x="9" y="47"/>
                  </a:cubicBezTo>
                  <a:cubicBezTo>
                    <a:pt x="11" y="48"/>
                    <a:pt x="11" y="48"/>
                    <a:pt x="11" y="48"/>
                  </a:cubicBezTo>
                  <a:cubicBezTo>
                    <a:pt x="7" y="49"/>
                    <a:pt x="7" y="49"/>
                    <a:pt x="7" y="49"/>
                  </a:cubicBezTo>
                  <a:cubicBezTo>
                    <a:pt x="3" y="50"/>
                    <a:pt x="0" y="55"/>
                    <a:pt x="1" y="59"/>
                  </a:cubicBezTo>
                  <a:cubicBezTo>
                    <a:pt x="2" y="62"/>
                    <a:pt x="5" y="64"/>
                    <a:pt x="9" y="64"/>
                  </a:cubicBezTo>
                  <a:cubicBezTo>
                    <a:pt x="10" y="64"/>
                    <a:pt x="11" y="64"/>
                    <a:pt x="12" y="64"/>
                  </a:cubicBezTo>
                  <a:cubicBezTo>
                    <a:pt x="32" y="59"/>
                    <a:pt x="32" y="59"/>
                    <a:pt x="32" y="59"/>
                  </a:cubicBezTo>
                  <a:cubicBezTo>
                    <a:pt x="51" y="70"/>
                    <a:pt x="51" y="70"/>
                    <a:pt x="51" y="70"/>
                  </a:cubicBezTo>
                  <a:cubicBezTo>
                    <a:pt x="31" y="82"/>
                    <a:pt x="31" y="82"/>
                    <a:pt x="31" y="82"/>
                  </a:cubicBezTo>
                  <a:cubicBezTo>
                    <a:pt x="11" y="76"/>
                    <a:pt x="11" y="76"/>
                    <a:pt x="11" y="76"/>
                  </a:cubicBezTo>
                  <a:cubicBezTo>
                    <a:pt x="7" y="75"/>
                    <a:pt x="2" y="78"/>
                    <a:pt x="1" y="82"/>
                  </a:cubicBezTo>
                  <a:cubicBezTo>
                    <a:pt x="1" y="86"/>
                    <a:pt x="3" y="91"/>
                    <a:pt x="7" y="91"/>
                  </a:cubicBezTo>
                  <a:cubicBezTo>
                    <a:pt x="12" y="93"/>
                    <a:pt x="12" y="93"/>
                    <a:pt x="12" y="93"/>
                  </a:cubicBezTo>
                  <a:cubicBezTo>
                    <a:pt x="9" y="95"/>
                    <a:pt x="9" y="95"/>
                    <a:pt x="9" y="95"/>
                  </a:cubicBezTo>
                  <a:cubicBezTo>
                    <a:pt x="5" y="97"/>
                    <a:pt x="5" y="102"/>
                    <a:pt x="6" y="106"/>
                  </a:cubicBezTo>
                  <a:cubicBezTo>
                    <a:pt x="8" y="108"/>
                    <a:pt x="10" y="110"/>
                    <a:pt x="13" y="110"/>
                  </a:cubicBezTo>
                  <a:cubicBezTo>
                    <a:pt x="15" y="110"/>
                    <a:pt x="16" y="110"/>
                    <a:pt x="17" y="109"/>
                  </a:cubicBezTo>
                  <a:cubicBezTo>
                    <a:pt x="20" y="107"/>
                    <a:pt x="20" y="107"/>
                    <a:pt x="20" y="107"/>
                  </a:cubicBezTo>
                  <a:cubicBezTo>
                    <a:pt x="18" y="112"/>
                    <a:pt x="18" y="112"/>
                    <a:pt x="18" y="112"/>
                  </a:cubicBezTo>
                  <a:cubicBezTo>
                    <a:pt x="17" y="116"/>
                    <a:pt x="20" y="121"/>
                    <a:pt x="24" y="122"/>
                  </a:cubicBezTo>
                  <a:cubicBezTo>
                    <a:pt x="25" y="122"/>
                    <a:pt x="25" y="122"/>
                    <a:pt x="26" y="122"/>
                  </a:cubicBezTo>
                  <a:cubicBezTo>
                    <a:pt x="29" y="122"/>
                    <a:pt x="33" y="119"/>
                    <a:pt x="34" y="116"/>
                  </a:cubicBezTo>
                  <a:cubicBezTo>
                    <a:pt x="40" y="96"/>
                    <a:pt x="40" y="96"/>
                    <a:pt x="40" y="96"/>
                  </a:cubicBezTo>
                  <a:cubicBezTo>
                    <a:pt x="59" y="85"/>
                    <a:pt x="59" y="85"/>
                    <a:pt x="59" y="85"/>
                  </a:cubicBezTo>
                  <a:cubicBezTo>
                    <a:pt x="59" y="107"/>
                    <a:pt x="59" y="107"/>
                    <a:pt x="59" y="107"/>
                  </a:cubicBezTo>
                  <a:cubicBezTo>
                    <a:pt x="45" y="122"/>
                    <a:pt x="45" y="122"/>
                    <a:pt x="45" y="122"/>
                  </a:cubicBezTo>
                  <a:cubicBezTo>
                    <a:pt x="41" y="125"/>
                    <a:pt x="41" y="130"/>
                    <a:pt x="45" y="133"/>
                  </a:cubicBezTo>
                  <a:cubicBezTo>
                    <a:pt x="48" y="136"/>
                    <a:pt x="53" y="136"/>
                    <a:pt x="56" y="133"/>
                  </a:cubicBezTo>
                  <a:cubicBezTo>
                    <a:pt x="59" y="130"/>
                    <a:pt x="59" y="130"/>
                    <a:pt x="59" y="130"/>
                  </a:cubicBezTo>
                  <a:cubicBezTo>
                    <a:pt x="59" y="133"/>
                    <a:pt x="59" y="133"/>
                    <a:pt x="59" y="133"/>
                  </a:cubicBezTo>
                  <a:cubicBezTo>
                    <a:pt x="59" y="138"/>
                    <a:pt x="62" y="141"/>
                    <a:pt x="67" y="141"/>
                  </a:cubicBezTo>
                  <a:cubicBezTo>
                    <a:pt x="72" y="141"/>
                    <a:pt x="75" y="138"/>
                    <a:pt x="75" y="133"/>
                  </a:cubicBezTo>
                  <a:cubicBezTo>
                    <a:pt x="75" y="130"/>
                    <a:pt x="75" y="130"/>
                    <a:pt x="75" y="130"/>
                  </a:cubicBezTo>
                  <a:cubicBezTo>
                    <a:pt x="78" y="133"/>
                    <a:pt x="78" y="133"/>
                    <a:pt x="78" y="133"/>
                  </a:cubicBezTo>
                  <a:cubicBezTo>
                    <a:pt x="80" y="135"/>
                    <a:pt x="82" y="135"/>
                    <a:pt x="84" y="135"/>
                  </a:cubicBezTo>
                  <a:cubicBezTo>
                    <a:pt x="85" y="135"/>
                    <a:pt x="88" y="135"/>
                    <a:pt x="89" y="133"/>
                  </a:cubicBezTo>
                  <a:cubicBezTo>
                    <a:pt x="93" y="130"/>
                    <a:pt x="93" y="125"/>
                    <a:pt x="89" y="122"/>
                  </a:cubicBezTo>
                  <a:cubicBezTo>
                    <a:pt x="75" y="107"/>
                    <a:pt x="75" y="107"/>
                    <a:pt x="75" y="107"/>
                  </a:cubicBezTo>
                  <a:cubicBezTo>
                    <a:pt x="75" y="85"/>
                    <a:pt x="75" y="85"/>
                    <a:pt x="75" y="85"/>
                  </a:cubicBezTo>
                  <a:cubicBezTo>
                    <a:pt x="94" y="96"/>
                    <a:pt x="94" y="96"/>
                    <a:pt x="94" y="96"/>
                  </a:cubicBezTo>
                  <a:cubicBezTo>
                    <a:pt x="100" y="116"/>
                    <a:pt x="100" y="116"/>
                    <a:pt x="100" y="116"/>
                  </a:cubicBezTo>
                  <a:cubicBezTo>
                    <a:pt x="101" y="119"/>
                    <a:pt x="104" y="122"/>
                    <a:pt x="108" y="122"/>
                  </a:cubicBezTo>
                  <a:cubicBezTo>
                    <a:pt x="109" y="122"/>
                    <a:pt x="109" y="122"/>
                    <a:pt x="110" y="122"/>
                  </a:cubicBezTo>
                  <a:cubicBezTo>
                    <a:pt x="114" y="121"/>
                    <a:pt x="117" y="116"/>
                    <a:pt x="116" y="112"/>
                  </a:cubicBezTo>
                  <a:cubicBezTo>
                    <a:pt x="114" y="107"/>
                    <a:pt x="114" y="107"/>
                    <a:pt x="114" y="107"/>
                  </a:cubicBezTo>
                  <a:cubicBezTo>
                    <a:pt x="117" y="109"/>
                    <a:pt x="117" y="109"/>
                    <a:pt x="117" y="109"/>
                  </a:cubicBezTo>
                  <a:cubicBezTo>
                    <a:pt x="118" y="110"/>
                    <a:pt x="119" y="110"/>
                    <a:pt x="121" y="110"/>
                  </a:cubicBezTo>
                  <a:cubicBezTo>
                    <a:pt x="123" y="110"/>
                    <a:pt x="126" y="108"/>
                    <a:pt x="128" y="106"/>
                  </a:cubicBezTo>
                  <a:cubicBezTo>
                    <a:pt x="130" y="102"/>
                    <a:pt x="129" y="97"/>
                    <a:pt x="125" y="95"/>
                  </a:cubicBezTo>
                  <a:cubicBezTo>
                    <a:pt x="122" y="93"/>
                    <a:pt x="122" y="93"/>
                    <a:pt x="122" y="93"/>
                  </a:cubicBezTo>
                  <a:cubicBezTo>
                    <a:pt x="127" y="91"/>
                    <a:pt x="127" y="91"/>
                    <a:pt x="127" y="91"/>
                  </a:cubicBezTo>
                  <a:cubicBezTo>
                    <a:pt x="131" y="91"/>
                    <a:pt x="133" y="86"/>
                    <a:pt x="133" y="82"/>
                  </a:cubicBezTo>
                  <a:cubicBezTo>
                    <a:pt x="132" y="78"/>
                    <a:pt x="127" y="75"/>
                    <a:pt x="123" y="76"/>
                  </a:cubicBezTo>
                  <a:cubicBezTo>
                    <a:pt x="103" y="82"/>
                    <a:pt x="103" y="82"/>
                    <a:pt x="103" y="82"/>
                  </a:cubicBezTo>
                  <a:cubicBezTo>
                    <a:pt x="84" y="71"/>
                    <a:pt x="84" y="71"/>
                    <a:pt x="84" y="71"/>
                  </a:cubicBezTo>
                  <a:cubicBezTo>
                    <a:pt x="103" y="59"/>
                    <a:pt x="103" y="59"/>
                    <a:pt x="103" y="59"/>
                  </a:cubicBezTo>
                  <a:lnTo>
                    <a:pt x="12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3" name="TextBox 1212">
            <a:extLst>
              <a:ext uri="{FF2B5EF4-FFF2-40B4-BE49-F238E27FC236}">
                <a16:creationId xmlns:a16="http://schemas.microsoft.com/office/drawing/2014/main" id="{2B4C654F-6826-EA33-BE95-9AEBF9025FBB}"/>
              </a:ext>
            </a:extLst>
          </p:cNvPr>
          <p:cNvSpPr txBox="1"/>
          <p:nvPr/>
        </p:nvSpPr>
        <p:spPr>
          <a:xfrm>
            <a:off x="8594452" y="5709616"/>
            <a:ext cx="3115434" cy="84638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202020"/>
                </a:solidFill>
                <a:effectLst/>
                <a:uLnTx/>
                <a:uFillTx/>
                <a:latin typeface="Arial" panose="020B0604020202020204"/>
                <a:ea typeface="+mn-ea"/>
                <a:cs typeface="+mn-cs"/>
              </a:rPr>
              <a:t>Se espera que la actividad de los tifones en el Pacífico occidental sea casi normal, con una probabilidad superior a la media de tocar tierra en gran parte del este de Asia, excepto en el este de China continental y Taiwán.</a:t>
            </a:r>
            <a:endPar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1341" name="Group 29" descr="Hurricane.">
            <a:extLst>
              <a:ext uri="{FF2B5EF4-FFF2-40B4-BE49-F238E27FC236}">
                <a16:creationId xmlns:a16="http://schemas.microsoft.com/office/drawing/2014/main" id="{40CFAE2A-7E36-B511-CFC5-2E092BF643BB}"/>
              </a:ext>
            </a:extLst>
          </p:cNvPr>
          <p:cNvGrpSpPr>
            <a:grpSpLocks noChangeAspect="1"/>
          </p:cNvGrpSpPr>
          <p:nvPr/>
        </p:nvGrpSpPr>
        <p:grpSpPr bwMode="auto">
          <a:xfrm>
            <a:off x="8120193" y="5926135"/>
            <a:ext cx="294393" cy="267499"/>
            <a:chOff x="5242" y="3549"/>
            <a:chExt cx="613" cy="557"/>
          </a:xfrm>
          <a:solidFill>
            <a:srgbClr val="FF8C00"/>
          </a:solidFill>
        </p:grpSpPr>
        <p:sp>
          <p:nvSpPr>
            <p:cNvPr id="1343" name="Freeform 59">
              <a:extLst>
                <a:ext uri="{FF2B5EF4-FFF2-40B4-BE49-F238E27FC236}">
                  <a16:creationId xmlns:a16="http://schemas.microsoft.com/office/drawing/2014/main" id="{75C81794-B893-5C0C-FC40-A5BA5EA42E99}"/>
                </a:ext>
              </a:extLst>
            </p:cNvPr>
            <p:cNvSpPr>
              <a:spLocks/>
            </p:cNvSpPr>
            <p:nvPr/>
          </p:nvSpPr>
          <p:spPr bwMode="auto">
            <a:xfrm>
              <a:off x="5422" y="4034"/>
              <a:ext cx="247" cy="72"/>
            </a:xfrm>
            <a:custGeom>
              <a:avLst/>
              <a:gdLst>
                <a:gd name="T0" fmla="*/ 90 w 103"/>
                <a:gd name="T1" fmla="*/ 5 h 30"/>
                <a:gd name="T2" fmla="*/ 53 w 103"/>
                <a:gd name="T3" fmla="*/ 14 h 30"/>
                <a:gd name="T4" fmla="*/ 14 w 103"/>
                <a:gd name="T5" fmla="*/ 3 h 30"/>
                <a:gd name="T6" fmla="*/ 3 w 103"/>
                <a:gd name="T7" fmla="*/ 5 h 30"/>
                <a:gd name="T8" fmla="*/ 5 w 103"/>
                <a:gd name="T9" fmla="*/ 16 h 30"/>
                <a:gd name="T10" fmla="*/ 53 w 103"/>
                <a:gd name="T11" fmla="*/ 30 h 30"/>
                <a:gd name="T12" fmla="*/ 98 w 103"/>
                <a:gd name="T13" fmla="*/ 19 h 30"/>
                <a:gd name="T14" fmla="*/ 101 w 103"/>
                <a:gd name="T15" fmla="*/ 8 h 30"/>
                <a:gd name="T16" fmla="*/ 90 w 103"/>
                <a:gd name="T1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30">
                  <a:moveTo>
                    <a:pt x="90" y="5"/>
                  </a:moveTo>
                  <a:cubicBezTo>
                    <a:pt x="80" y="11"/>
                    <a:pt x="66" y="14"/>
                    <a:pt x="53" y="14"/>
                  </a:cubicBezTo>
                  <a:cubicBezTo>
                    <a:pt x="38" y="14"/>
                    <a:pt x="24" y="10"/>
                    <a:pt x="14" y="3"/>
                  </a:cubicBezTo>
                  <a:cubicBezTo>
                    <a:pt x="10" y="0"/>
                    <a:pt x="5" y="1"/>
                    <a:pt x="3" y="5"/>
                  </a:cubicBezTo>
                  <a:cubicBezTo>
                    <a:pt x="0" y="8"/>
                    <a:pt x="1" y="13"/>
                    <a:pt x="5" y="16"/>
                  </a:cubicBezTo>
                  <a:cubicBezTo>
                    <a:pt x="17" y="25"/>
                    <a:pt x="35" y="30"/>
                    <a:pt x="53" y="30"/>
                  </a:cubicBezTo>
                  <a:cubicBezTo>
                    <a:pt x="69" y="30"/>
                    <a:pt x="85" y="26"/>
                    <a:pt x="98" y="19"/>
                  </a:cubicBezTo>
                  <a:cubicBezTo>
                    <a:pt x="102" y="16"/>
                    <a:pt x="103" y="12"/>
                    <a:pt x="101" y="8"/>
                  </a:cubicBezTo>
                  <a:cubicBezTo>
                    <a:pt x="99" y="4"/>
                    <a:pt x="94" y="2"/>
                    <a:pt x="9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60">
              <a:extLst>
                <a:ext uri="{FF2B5EF4-FFF2-40B4-BE49-F238E27FC236}">
                  <a16:creationId xmlns:a16="http://schemas.microsoft.com/office/drawing/2014/main" id="{F69A2DBF-224C-6AF5-8C63-6E4C20EAED67}"/>
                </a:ext>
              </a:extLst>
            </p:cNvPr>
            <p:cNvSpPr>
              <a:spLocks/>
            </p:cNvSpPr>
            <p:nvPr/>
          </p:nvSpPr>
          <p:spPr bwMode="auto">
            <a:xfrm>
              <a:off x="5372" y="3909"/>
              <a:ext cx="356" cy="94"/>
            </a:xfrm>
            <a:custGeom>
              <a:avLst/>
              <a:gdLst>
                <a:gd name="T0" fmla="*/ 135 w 149"/>
                <a:gd name="T1" fmla="*/ 3 h 39"/>
                <a:gd name="T2" fmla="*/ 74 w 149"/>
                <a:gd name="T3" fmla="*/ 23 h 39"/>
                <a:gd name="T4" fmla="*/ 14 w 149"/>
                <a:gd name="T5" fmla="*/ 4 h 39"/>
                <a:gd name="T6" fmla="*/ 3 w 149"/>
                <a:gd name="T7" fmla="*/ 5 h 39"/>
                <a:gd name="T8" fmla="*/ 3 w 149"/>
                <a:gd name="T9" fmla="*/ 16 h 39"/>
                <a:gd name="T10" fmla="*/ 74 w 149"/>
                <a:gd name="T11" fmla="*/ 39 h 39"/>
                <a:gd name="T12" fmla="*/ 146 w 149"/>
                <a:gd name="T13" fmla="*/ 15 h 39"/>
                <a:gd name="T14" fmla="*/ 146 w 149"/>
                <a:gd name="T15" fmla="*/ 4 h 39"/>
                <a:gd name="T16" fmla="*/ 135 w 149"/>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39">
                  <a:moveTo>
                    <a:pt x="135" y="3"/>
                  </a:moveTo>
                  <a:cubicBezTo>
                    <a:pt x="122" y="15"/>
                    <a:pt x="99" y="23"/>
                    <a:pt x="74" y="23"/>
                  </a:cubicBezTo>
                  <a:cubicBezTo>
                    <a:pt x="49" y="23"/>
                    <a:pt x="27" y="16"/>
                    <a:pt x="14" y="4"/>
                  </a:cubicBezTo>
                  <a:cubicBezTo>
                    <a:pt x="11" y="1"/>
                    <a:pt x="6" y="1"/>
                    <a:pt x="3" y="5"/>
                  </a:cubicBezTo>
                  <a:cubicBezTo>
                    <a:pt x="0" y="8"/>
                    <a:pt x="0" y="13"/>
                    <a:pt x="3" y="16"/>
                  </a:cubicBezTo>
                  <a:cubicBezTo>
                    <a:pt x="19" y="30"/>
                    <a:pt x="45" y="39"/>
                    <a:pt x="74" y="39"/>
                  </a:cubicBezTo>
                  <a:cubicBezTo>
                    <a:pt x="103" y="39"/>
                    <a:pt x="130" y="30"/>
                    <a:pt x="146" y="15"/>
                  </a:cubicBezTo>
                  <a:cubicBezTo>
                    <a:pt x="149" y="12"/>
                    <a:pt x="149" y="7"/>
                    <a:pt x="146" y="4"/>
                  </a:cubicBezTo>
                  <a:cubicBezTo>
                    <a:pt x="143" y="1"/>
                    <a:pt x="138" y="0"/>
                    <a:pt x="1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61">
              <a:extLst>
                <a:ext uri="{FF2B5EF4-FFF2-40B4-BE49-F238E27FC236}">
                  <a16:creationId xmlns:a16="http://schemas.microsoft.com/office/drawing/2014/main" id="{CD0A9700-830F-7EE7-5C58-BD777E5ADB0C}"/>
                </a:ext>
              </a:extLst>
            </p:cNvPr>
            <p:cNvSpPr>
              <a:spLocks/>
            </p:cNvSpPr>
            <p:nvPr/>
          </p:nvSpPr>
          <p:spPr bwMode="auto">
            <a:xfrm>
              <a:off x="5328" y="3806"/>
              <a:ext cx="441" cy="93"/>
            </a:xfrm>
            <a:custGeom>
              <a:avLst/>
              <a:gdLst>
                <a:gd name="T0" fmla="*/ 171 w 184"/>
                <a:gd name="T1" fmla="*/ 3 h 39"/>
                <a:gd name="T2" fmla="*/ 92 w 184"/>
                <a:gd name="T3" fmla="*/ 23 h 39"/>
                <a:gd name="T4" fmla="*/ 14 w 184"/>
                <a:gd name="T5" fmla="*/ 3 h 39"/>
                <a:gd name="T6" fmla="*/ 3 w 184"/>
                <a:gd name="T7" fmla="*/ 4 h 39"/>
                <a:gd name="T8" fmla="*/ 4 w 184"/>
                <a:gd name="T9" fmla="*/ 15 h 39"/>
                <a:gd name="T10" fmla="*/ 92 w 184"/>
                <a:gd name="T11" fmla="*/ 39 h 39"/>
                <a:gd name="T12" fmla="*/ 180 w 184"/>
                <a:gd name="T13" fmla="*/ 15 h 39"/>
                <a:gd name="T14" fmla="*/ 182 w 184"/>
                <a:gd name="T15" fmla="*/ 4 h 39"/>
                <a:gd name="T16" fmla="*/ 171 w 184"/>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9">
                  <a:moveTo>
                    <a:pt x="171" y="3"/>
                  </a:moveTo>
                  <a:cubicBezTo>
                    <a:pt x="154" y="15"/>
                    <a:pt x="124" y="23"/>
                    <a:pt x="92" y="23"/>
                  </a:cubicBezTo>
                  <a:cubicBezTo>
                    <a:pt x="60" y="23"/>
                    <a:pt x="30" y="15"/>
                    <a:pt x="14" y="3"/>
                  </a:cubicBezTo>
                  <a:cubicBezTo>
                    <a:pt x="10" y="0"/>
                    <a:pt x="5" y="1"/>
                    <a:pt x="3" y="4"/>
                  </a:cubicBezTo>
                  <a:cubicBezTo>
                    <a:pt x="0" y="8"/>
                    <a:pt x="1" y="13"/>
                    <a:pt x="4" y="15"/>
                  </a:cubicBezTo>
                  <a:cubicBezTo>
                    <a:pt x="23" y="30"/>
                    <a:pt x="57" y="39"/>
                    <a:pt x="92" y="39"/>
                  </a:cubicBezTo>
                  <a:cubicBezTo>
                    <a:pt x="128" y="39"/>
                    <a:pt x="161" y="30"/>
                    <a:pt x="180" y="15"/>
                  </a:cubicBezTo>
                  <a:cubicBezTo>
                    <a:pt x="184" y="13"/>
                    <a:pt x="184" y="8"/>
                    <a:pt x="182" y="4"/>
                  </a:cubicBezTo>
                  <a:cubicBezTo>
                    <a:pt x="179" y="1"/>
                    <a:pt x="174" y="0"/>
                    <a:pt x="17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62">
              <a:extLst>
                <a:ext uri="{FF2B5EF4-FFF2-40B4-BE49-F238E27FC236}">
                  <a16:creationId xmlns:a16="http://schemas.microsoft.com/office/drawing/2014/main" id="{0FC84062-A4AC-42A2-EBE0-0B135DD4FE10}"/>
                </a:ext>
              </a:extLst>
            </p:cNvPr>
            <p:cNvSpPr>
              <a:spLocks noEditPoints="1"/>
            </p:cNvSpPr>
            <p:nvPr/>
          </p:nvSpPr>
          <p:spPr bwMode="auto">
            <a:xfrm>
              <a:off x="5242" y="3549"/>
              <a:ext cx="613" cy="245"/>
            </a:xfrm>
            <a:custGeom>
              <a:avLst/>
              <a:gdLst>
                <a:gd name="T0" fmla="*/ 128 w 256"/>
                <a:gd name="T1" fmla="*/ 0 h 102"/>
                <a:gd name="T2" fmla="*/ 0 w 256"/>
                <a:gd name="T3" fmla="*/ 51 h 102"/>
                <a:gd name="T4" fmla="*/ 128 w 256"/>
                <a:gd name="T5" fmla="*/ 102 h 102"/>
                <a:gd name="T6" fmla="*/ 256 w 256"/>
                <a:gd name="T7" fmla="*/ 51 h 102"/>
                <a:gd name="T8" fmla="*/ 128 w 256"/>
                <a:gd name="T9" fmla="*/ 0 h 102"/>
                <a:gd name="T10" fmla="*/ 128 w 256"/>
                <a:gd name="T11" fmla="*/ 86 h 102"/>
                <a:gd name="T12" fmla="*/ 16 w 256"/>
                <a:gd name="T13" fmla="*/ 51 h 102"/>
                <a:gd name="T14" fmla="*/ 128 w 256"/>
                <a:gd name="T15" fmla="*/ 16 h 102"/>
                <a:gd name="T16" fmla="*/ 240 w 256"/>
                <a:gd name="T17" fmla="*/ 51 h 102"/>
                <a:gd name="T18" fmla="*/ 128 w 256"/>
                <a:gd name="T19"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02">
                  <a:moveTo>
                    <a:pt x="128" y="0"/>
                  </a:moveTo>
                  <a:cubicBezTo>
                    <a:pt x="66" y="0"/>
                    <a:pt x="0" y="18"/>
                    <a:pt x="0" y="51"/>
                  </a:cubicBezTo>
                  <a:cubicBezTo>
                    <a:pt x="0" y="84"/>
                    <a:pt x="66" y="102"/>
                    <a:pt x="128" y="102"/>
                  </a:cubicBezTo>
                  <a:cubicBezTo>
                    <a:pt x="190" y="102"/>
                    <a:pt x="256" y="84"/>
                    <a:pt x="256" y="51"/>
                  </a:cubicBezTo>
                  <a:cubicBezTo>
                    <a:pt x="256" y="18"/>
                    <a:pt x="190" y="0"/>
                    <a:pt x="128" y="0"/>
                  </a:cubicBezTo>
                  <a:close/>
                  <a:moveTo>
                    <a:pt x="128" y="86"/>
                  </a:moveTo>
                  <a:cubicBezTo>
                    <a:pt x="59" y="86"/>
                    <a:pt x="16" y="66"/>
                    <a:pt x="16" y="51"/>
                  </a:cubicBezTo>
                  <a:cubicBezTo>
                    <a:pt x="16" y="37"/>
                    <a:pt x="59" y="16"/>
                    <a:pt x="128" y="16"/>
                  </a:cubicBezTo>
                  <a:cubicBezTo>
                    <a:pt x="198" y="16"/>
                    <a:pt x="240" y="37"/>
                    <a:pt x="240" y="51"/>
                  </a:cubicBezTo>
                  <a:cubicBezTo>
                    <a:pt x="240" y="66"/>
                    <a:pt x="198" y="86"/>
                    <a:pt x="12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47" name="Group 29" descr="Hurricane.">
            <a:extLst>
              <a:ext uri="{FF2B5EF4-FFF2-40B4-BE49-F238E27FC236}">
                <a16:creationId xmlns:a16="http://schemas.microsoft.com/office/drawing/2014/main" id="{5798A619-CA4D-A255-254F-15275B02BC35}"/>
              </a:ext>
            </a:extLst>
          </p:cNvPr>
          <p:cNvGrpSpPr>
            <a:grpSpLocks noChangeAspect="1"/>
          </p:cNvGrpSpPr>
          <p:nvPr/>
        </p:nvGrpSpPr>
        <p:grpSpPr bwMode="auto">
          <a:xfrm>
            <a:off x="6845060" y="3750035"/>
            <a:ext cx="294393" cy="267499"/>
            <a:chOff x="5242" y="3549"/>
            <a:chExt cx="613" cy="557"/>
          </a:xfrm>
          <a:solidFill>
            <a:srgbClr val="FF8C00"/>
          </a:solidFill>
        </p:grpSpPr>
        <p:sp>
          <p:nvSpPr>
            <p:cNvPr id="1348" name="Freeform 59">
              <a:extLst>
                <a:ext uri="{FF2B5EF4-FFF2-40B4-BE49-F238E27FC236}">
                  <a16:creationId xmlns:a16="http://schemas.microsoft.com/office/drawing/2014/main" id="{9463AAB9-FAD6-AE1D-5DAF-6BA530887680}"/>
                </a:ext>
              </a:extLst>
            </p:cNvPr>
            <p:cNvSpPr>
              <a:spLocks/>
            </p:cNvSpPr>
            <p:nvPr/>
          </p:nvSpPr>
          <p:spPr bwMode="auto">
            <a:xfrm>
              <a:off x="5422" y="4034"/>
              <a:ext cx="247" cy="72"/>
            </a:xfrm>
            <a:custGeom>
              <a:avLst/>
              <a:gdLst>
                <a:gd name="T0" fmla="*/ 90 w 103"/>
                <a:gd name="T1" fmla="*/ 5 h 30"/>
                <a:gd name="T2" fmla="*/ 53 w 103"/>
                <a:gd name="T3" fmla="*/ 14 h 30"/>
                <a:gd name="T4" fmla="*/ 14 w 103"/>
                <a:gd name="T5" fmla="*/ 3 h 30"/>
                <a:gd name="T6" fmla="*/ 3 w 103"/>
                <a:gd name="T7" fmla="*/ 5 h 30"/>
                <a:gd name="T8" fmla="*/ 5 w 103"/>
                <a:gd name="T9" fmla="*/ 16 h 30"/>
                <a:gd name="T10" fmla="*/ 53 w 103"/>
                <a:gd name="T11" fmla="*/ 30 h 30"/>
                <a:gd name="T12" fmla="*/ 98 w 103"/>
                <a:gd name="T13" fmla="*/ 19 h 30"/>
                <a:gd name="T14" fmla="*/ 101 w 103"/>
                <a:gd name="T15" fmla="*/ 8 h 30"/>
                <a:gd name="T16" fmla="*/ 90 w 103"/>
                <a:gd name="T1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30">
                  <a:moveTo>
                    <a:pt x="90" y="5"/>
                  </a:moveTo>
                  <a:cubicBezTo>
                    <a:pt x="80" y="11"/>
                    <a:pt x="66" y="14"/>
                    <a:pt x="53" y="14"/>
                  </a:cubicBezTo>
                  <a:cubicBezTo>
                    <a:pt x="38" y="14"/>
                    <a:pt x="24" y="10"/>
                    <a:pt x="14" y="3"/>
                  </a:cubicBezTo>
                  <a:cubicBezTo>
                    <a:pt x="10" y="0"/>
                    <a:pt x="5" y="1"/>
                    <a:pt x="3" y="5"/>
                  </a:cubicBezTo>
                  <a:cubicBezTo>
                    <a:pt x="0" y="8"/>
                    <a:pt x="1" y="13"/>
                    <a:pt x="5" y="16"/>
                  </a:cubicBezTo>
                  <a:cubicBezTo>
                    <a:pt x="17" y="25"/>
                    <a:pt x="35" y="30"/>
                    <a:pt x="53" y="30"/>
                  </a:cubicBezTo>
                  <a:cubicBezTo>
                    <a:pt x="69" y="30"/>
                    <a:pt x="85" y="26"/>
                    <a:pt x="98" y="19"/>
                  </a:cubicBezTo>
                  <a:cubicBezTo>
                    <a:pt x="102" y="16"/>
                    <a:pt x="103" y="12"/>
                    <a:pt x="101" y="8"/>
                  </a:cubicBezTo>
                  <a:cubicBezTo>
                    <a:pt x="99" y="4"/>
                    <a:pt x="94" y="2"/>
                    <a:pt x="9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60">
              <a:extLst>
                <a:ext uri="{FF2B5EF4-FFF2-40B4-BE49-F238E27FC236}">
                  <a16:creationId xmlns:a16="http://schemas.microsoft.com/office/drawing/2014/main" id="{EDBB0C94-7B1A-0DF0-95FB-E50FE1254AA8}"/>
                </a:ext>
              </a:extLst>
            </p:cNvPr>
            <p:cNvSpPr>
              <a:spLocks/>
            </p:cNvSpPr>
            <p:nvPr/>
          </p:nvSpPr>
          <p:spPr bwMode="auto">
            <a:xfrm>
              <a:off x="5372" y="3909"/>
              <a:ext cx="356" cy="94"/>
            </a:xfrm>
            <a:custGeom>
              <a:avLst/>
              <a:gdLst>
                <a:gd name="T0" fmla="*/ 135 w 149"/>
                <a:gd name="T1" fmla="*/ 3 h 39"/>
                <a:gd name="T2" fmla="*/ 74 w 149"/>
                <a:gd name="T3" fmla="*/ 23 h 39"/>
                <a:gd name="T4" fmla="*/ 14 w 149"/>
                <a:gd name="T5" fmla="*/ 4 h 39"/>
                <a:gd name="T6" fmla="*/ 3 w 149"/>
                <a:gd name="T7" fmla="*/ 5 h 39"/>
                <a:gd name="T8" fmla="*/ 3 w 149"/>
                <a:gd name="T9" fmla="*/ 16 h 39"/>
                <a:gd name="T10" fmla="*/ 74 w 149"/>
                <a:gd name="T11" fmla="*/ 39 h 39"/>
                <a:gd name="T12" fmla="*/ 146 w 149"/>
                <a:gd name="T13" fmla="*/ 15 h 39"/>
                <a:gd name="T14" fmla="*/ 146 w 149"/>
                <a:gd name="T15" fmla="*/ 4 h 39"/>
                <a:gd name="T16" fmla="*/ 135 w 149"/>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39">
                  <a:moveTo>
                    <a:pt x="135" y="3"/>
                  </a:moveTo>
                  <a:cubicBezTo>
                    <a:pt x="122" y="15"/>
                    <a:pt x="99" y="23"/>
                    <a:pt x="74" y="23"/>
                  </a:cubicBezTo>
                  <a:cubicBezTo>
                    <a:pt x="49" y="23"/>
                    <a:pt x="27" y="16"/>
                    <a:pt x="14" y="4"/>
                  </a:cubicBezTo>
                  <a:cubicBezTo>
                    <a:pt x="11" y="1"/>
                    <a:pt x="6" y="1"/>
                    <a:pt x="3" y="5"/>
                  </a:cubicBezTo>
                  <a:cubicBezTo>
                    <a:pt x="0" y="8"/>
                    <a:pt x="0" y="13"/>
                    <a:pt x="3" y="16"/>
                  </a:cubicBezTo>
                  <a:cubicBezTo>
                    <a:pt x="19" y="30"/>
                    <a:pt x="45" y="39"/>
                    <a:pt x="74" y="39"/>
                  </a:cubicBezTo>
                  <a:cubicBezTo>
                    <a:pt x="103" y="39"/>
                    <a:pt x="130" y="30"/>
                    <a:pt x="146" y="15"/>
                  </a:cubicBezTo>
                  <a:cubicBezTo>
                    <a:pt x="149" y="12"/>
                    <a:pt x="149" y="7"/>
                    <a:pt x="146" y="4"/>
                  </a:cubicBezTo>
                  <a:cubicBezTo>
                    <a:pt x="143" y="1"/>
                    <a:pt x="138" y="0"/>
                    <a:pt x="1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61">
              <a:extLst>
                <a:ext uri="{FF2B5EF4-FFF2-40B4-BE49-F238E27FC236}">
                  <a16:creationId xmlns:a16="http://schemas.microsoft.com/office/drawing/2014/main" id="{9453F595-ED51-9269-A943-355F8CB144F7}"/>
                </a:ext>
              </a:extLst>
            </p:cNvPr>
            <p:cNvSpPr>
              <a:spLocks/>
            </p:cNvSpPr>
            <p:nvPr/>
          </p:nvSpPr>
          <p:spPr bwMode="auto">
            <a:xfrm>
              <a:off x="5328" y="3806"/>
              <a:ext cx="441" cy="93"/>
            </a:xfrm>
            <a:custGeom>
              <a:avLst/>
              <a:gdLst>
                <a:gd name="T0" fmla="*/ 171 w 184"/>
                <a:gd name="T1" fmla="*/ 3 h 39"/>
                <a:gd name="T2" fmla="*/ 92 w 184"/>
                <a:gd name="T3" fmla="*/ 23 h 39"/>
                <a:gd name="T4" fmla="*/ 14 w 184"/>
                <a:gd name="T5" fmla="*/ 3 h 39"/>
                <a:gd name="T6" fmla="*/ 3 w 184"/>
                <a:gd name="T7" fmla="*/ 4 h 39"/>
                <a:gd name="T8" fmla="*/ 4 w 184"/>
                <a:gd name="T9" fmla="*/ 15 h 39"/>
                <a:gd name="T10" fmla="*/ 92 w 184"/>
                <a:gd name="T11" fmla="*/ 39 h 39"/>
                <a:gd name="T12" fmla="*/ 180 w 184"/>
                <a:gd name="T13" fmla="*/ 15 h 39"/>
                <a:gd name="T14" fmla="*/ 182 w 184"/>
                <a:gd name="T15" fmla="*/ 4 h 39"/>
                <a:gd name="T16" fmla="*/ 171 w 184"/>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9">
                  <a:moveTo>
                    <a:pt x="171" y="3"/>
                  </a:moveTo>
                  <a:cubicBezTo>
                    <a:pt x="154" y="15"/>
                    <a:pt x="124" y="23"/>
                    <a:pt x="92" y="23"/>
                  </a:cubicBezTo>
                  <a:cubicBezTo>
                    <a:pt x="60" y="23"/>
                    <a:pt x="30" y="15"/>
                    <a:pt x="14" y="3"/>
                  </a:cubicBezTo>
                  <a:cubicBezTo>
                    <a:pt x="10" y="0"/>
                    <a:pt x="5" y="1"/>
                    <a:pt x="3" y="4"/>
                  </a:cubicBezTo>
                  <a:cubicBezTo>
                    <a:pt x="0" y="8"/>
                    <a:pt x="1" y="13"/>
                    <a:pt x="4" y="15"/>
                  </a:cubicBezTo>
                  <a:cubicBezTo>
                    <a:pt x="23" y="30"/>
                    <a:pt x="57" y="39"/>
                    <a:pt x="92" y="39"/>
                  </a:cubicBezTo>
                  <a:cubicBezTo>
                    <a:pt x="128" y="39"/>
                    <a:pt x="161" y="30"/>
                    <a:pt x="180" y="15"/>
                  </a:cubicBezTo>
                  <a:cubicBezTo>
                    <a:pt x="184" y="13"/>
                    <a:pt x="184" y="8"/>
                    <a:pt x="182" y="4"/>
                  </a:cubicBezTo>
                  <a:cubicBezTo>
                    <a:pt x="179" y="1"/>
                    <a:pt x="174" y="0"/>
                    <a:pt x="17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62">
              <a:extLst>
                <a:ext uri="{FF2B5EF4-FFF2-40B4-BE49-F238E27FC236}">
                  <a16:creationId xmlns:a16="http://schemas.microsoft.com/office/drawing/2014/main" id="{5112F351-DF20-0C7C-5EE8-95D0554BEC24}"/>
                </a:ext>
              </a:extLst>
            </p:cNvPr>
            <p:cNvSpPr>
              <a:spLocks noEditPoints="1"/>
            </p:cNvSpPr>
            <p:nvPr/>
          </p:nvSpPr>
          <p:spPr bwMode="auto">
            <a:xfrm>
              <a:off x="5242" y="3549"/>
              <a:ext cx="613" cy="245"/>
            </a:xfrm>
            <a:custGeom>
              <a:avLst/>
              <a:gdLst>
                <a:gd name="T0" fmla="*/ 128 w 256"/>
                <a:gd name="T1" fmla="*/ 0 h 102"/>
                <a:gd name="T2" fmla="*/ 0 w 256"/>
                <a:gd name="T3" fmla="*/ 51 h 102"/>
                <a:gd name="T4" fmla="*/ 128 w 256"/>
                <a:gd name="T5" fmla="*/ 102 h 102"/>
                <a:gd name="T6" fmla="*/ 256 w 256"/>
                <a:gd name="T7" fmla="*/ 51 h 102"/>
                <a:gd name="T8" fmla="*/ 128 w 256"/>
                <a:gd name="T9" fmla="*/ 0 h 102"/>
                <a:gd name="T10" fmla="*/ 128 w 256"/>
                <a:gd name="T11" fmla="*/ 86 h 102"/>
                <a:gd name="T12" fmla="*/ 16 w 256"/>
                <a:gd name="T13" fmla="*/ 51 h 102"/>
                <a:gd name="T14" fmla="*/ 128 w 256"/>
                <a:gd name="T15" fmla="*/ 16 h 102"/>
                <a:gd name="T16" fmla="*/ 240 w 256"/>
                <a:gd name="T17" fmla="*/ 51 h 102"/>
                <a:gd name="T18" fmla="*/ 128 w 256"/>
                <a:gd name="T19"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02">
                  <a:moveTo>
                    <a:pt x="128" y="0"/>
                  </a:moveTo>
                  <a:cubicBezTo>
                    <a:pt x="66" y="0"/>
                    <a:pt x="0" y="18"/>
                    <a:pt x="0" y="51"/>
                  </a:cubicBezTo>
                  <a:cubicBezTo>
                    <a:pt x="0" y="84"/>
                    <a:pt x="66" y="102"/>
                    <a:pt x="128" y="102"/>
                  </a:cubicBezTo>
                  <a:cubicBezTo>
                    <a:pt x="190" y="102"/>
                    <a:pt x="256" y="84"/>
                    <a:pt x="256" y="51"/>
                  </a:cubicBezTo>
                  <a:cubicBezTo>
                    <a:pt x="256" y="18"/>
                    <a:pt x="190" y="0"/>
                    <a:pt x="128" y="0"/>
                  </a:cubicBezTo>
                  <a:close/>
                  <a:moveTo>
                    <a:pt x="128" y="86"/>
                  </a:moveTo>
                  <a:cubicBezTo>
                    <a:pt x="59" y="86"/>
                    <a:pt x="16" y="66"/>
                    <a:pt x="16" y="51"/>
                  </a:cubicBezTo>
                  <a:cubicBezTo>
                    <a:pt x="16" y="37"/>
                    <a:pt x="59" y="16"/>
                    <a:pt x="128" y="16"/>
                  </a:cubicBezTo>
                  <a:cubicBezTo>
                    <a:pt x="198" y="16"/>
                    <a:pt x="240" y="37"/>
                    <a:pt x="240" y="51"/>
                  </a:cubicBezTo>
                  <a:cubicBezTo>
                    <a:pt x="240" y="66"/>
                    <a:pt x="198" y="86"/>
                    <a:pt x="12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Rectangle: Rounded Corners 1351">
            <a:extLst>
              <a:ext uri="{FF2B5EF4-FFF2-40B4-BE49-F238E27FC236}">
                <a16:creationId xmlns:a16="http://schemas.microsoft.com/office/drawing/2014/main" id="{5D1E9FD1-B531-AB86-7501-C5CF3B7E1F6A}"/>
              </a:ext>
            </a:extLst>
          </p:cNvPr>
          <p:cNvSpPr/>
          <p:nvPr/>
        </p:nvSpPr>
        <p:spPr>
          <a:xfrm>
            <a:off x="6766830" y="3658354"/>
            <a:ext cx="450889" cy="450889"/>
          </a:xfrm>
          <a:prstGeom prst="roundRect">
            <a:avLst/>
          </a:prstGeom>
          <a:noFill/>
          <a:ln w="19050">
            <a:solidFill>
              <a:srgbClr val="FF8C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53" name="Group 29" descr="Freeze snow pressure.">
            <a:extLst>
              <a:ext uri="{FF2B5EF4-FFF2-40B4-BE49-F238E27FC236}">
                <a16:creationId xmlns:a16="http://schemas.microsoft.com/office/drawing/2014/main" id="{DC15D6AE-E5B9-E53B-A691-C81F6DEB4E3C}"/>
              </a:ext>
            </a:extLst>
          </p:cNvPr>
          <p:cNvGrpSpPr>
            <a:grpSpLocks noChangeAspect="1"/>
          </p:cNvGrpSpPr>
          <p:nvPr/>
        </p:nvGrpSpPr>
        <p:grpSpPr bwMode="auto">
          <a:xfrm>
            <a:off x="6042495" y="5203202"/>
            <a:ext cx="286749" cy="294395"/>
            <a:chOff x="5237" y="3097"/>
            <a:chExt cx="600" cy="616"/>
          </a:xfrm>
          <a:solidFill>
            <a:srgbClr val="8246AF"/>
          </a:solidFill>
        </p:grpSpPr>
        <p:sp>
          <p:nvSpPr>
            <p:cNvPr id="1354" name="Freeform 43">
              <a:extLst>
                <a:ext uri="{FF2B5EF4-FFF2-40B4-BE49-F238E27FC236}">
                  <a16:creationId xmlns:a16="http://schemas.microsoft.com/office/drawing/2014/main" id="{D755CFB5-38EF-0766-4044-B0AE1AD57B43}"/>
                </a:ext>
              </a:extLst>
            </p:cNvPr>
            <p:cNvSpPr>
              <a:spLocks noEditPoints="1"/>
            </p:cNvSpPr>
            <p:nvPr/>
          </p:nvSpPr>
          <p:spPr bwMode="auto">
            <a:xfrm>
              <a:off x="5556" y="3159"/>
              <a:ext cx="281" cy="554"/>
            </a:xfrm>
            <a:custGeom>
              <a:avLst/>
              <a:gdLst>
                <a:gd name="T0" fmla="*/ 96 w 117"/>
                <a:gd name="T1" fmla="*/ 128 h 231"/>
                <a:gd name="T2" fmla="*/ 96 w 117"/>
                <a:gd name="T3" fmla="*/ 37 h 231"/>
                <a:gd name="T4" fmla="*/ 59 w 117"/>
                <a:gd name="T5" fmla="*/ 0 h 231"/>
                <a:gd name="T6" fmla="*/ 22 w 117"/>
                <a:gd name="T7" fmla="*/ 37 h 231"/>
                <a:gd name="T8" fmla="*/ 22 w 117"/>
                <a:gd name="T9" fmla="*/ 128 h 231"/>
                <a:gd name="T10" fmla="*/ 0 w 117"/>
                <a:gd name="T11" fmla="*/ 173 h 231"/>
                <a:gd name="T12" fmla="*/ 59 w 117"/>
                <a:gd name="T13" fmla="*/ 231 h 231"/>
                <a:gd name="T14" fmla="*/ 117 w 117"/>
                <a:gd name="T15" fmla="*/ 173 h 231"/>
                <a:gd name="T16" fmla="*/ 96 w 117"/>
                <a:gd name="T17" fmla="*/ 128 h 231"/>
                <a:gd name="T18" fmla="*/ 59 w 117"/>
                <a:gd name="T19" fmla="*/ 214 h 231"/>
                <a:gd name="T20" fmla="*/ 16 w 117"/>
                <a:gd name="T21" fmla="*/ 172 h 231"/>
                <a:gd name="T22" fmla="*/ 34 w 117"/>
                <a:gd name="T23" fmla="*/ 137 h 231"/>
                <a:gd name="T24" fmla="*/ 37 w 117"/>
                <a:gd name="T25" fmla="*/ 131 h 231"/>
                <a:gd name="T26" fmla="*/ 37 w 117"/>
                <a:gd name="T27" fmla="*/ 37 h 231"/>
                <a:gd name="T28" fmla="*/ 58 w 117"/>
                <a:gd name="T29" fmla="*/ 16 h 231"/>
                <a:gd name="T30" fmla="*/ 80 w 117"/>
                <a:gd name="T31" fmla="*/ 37 h 231"/>
                <a:gd name="T32" fmla="*/ 80 w 117"/>
                <a:gd name="T33" fmla="*/ 132 h 231"/>
                <a:gd name="T34" fmla="*/ 83 w 117"/>
                <a:gd name="T35" fmla="*/ 138 h 231"/>
                <a:gd name="T36" fmla="*/ 100 w 117"/>
                <a:gd name="T37" fmla="*/ 173 h 231"/>
                <a:gd name="T38" fmla="*/ 59 w 117"/>
                <a:gd name="T39" fmla="*/ 21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231">
                  <a:moveTo>
                    <a:pt x="96" y="128"/>
                  </a:moveTo>
                  <a:cubicBezTo>
                    <a:pt x="96" y="37"/>
                    <a:pt x="96" y="37"/>
                    <a:pt x="96" y="37"/>
                  </a:cubicBezTo>
                  <a:cubicBezTo>
                    <a:pt x="96" y="17"/>
                    <a:pt x="79" y="0"/>
                    <a:pt x="59" y="0"/>
                  </a:cubicBezTo>
                  <a:cubicBezTo>
                    <a:pt x="39" y="0"/>
                    <a:pt x="22" y="17"/>
                    <a:pt x="22" y="37"/>
                  </a:cubicBezTo>
                  <a:cubicBezTo>
                    <a:pt x="22" y="128"/>
                    <a:pt x="22" y="128"/>
                    <a:pt x="22" y="128"/>
                  </a:cubicBezTo>
                  <a:cubicBezTo>
                    <a:pt x="8" y="139"/>
                    <a:pt x="0" y="155"/>
                    <a:pt x="0" y="173"/>
                  </a:cubicBezTo>
                  <a:cubicBezTo>
                    <a:pt x="0" y="205"/>
                    <a:pt x="26" y="231"/>
                    <a:pt x="59" y="231"/>
                  </a:cubicBezTo>
                  <a:cubicBezTo>
                    <a:pt x="92" y="231"/>
                    <a:pt x="117" y="205"/>
                    <a:pt x="117" y="173"/>
                  </a:cubicBezTo>
                  <a:cubicBezTo>
                    <a:pt x="117" y="154"/>
                    <a:pt x="109" y="138"/>
                    <a:pt x="96" y="128"/>
                  </a:cubicBezTo>
                  <a:close/>
                  <a:moveTo>
                    <a:pt x="59" y="214"/>
                  </a:moveTo>
                  <a:cubicBezTo>
                    <a:pt x="36" y="214"/>
                    <a:pt x="16" y="196"/>
                    <a:pt x="16" y="172"/>
                  </a:cubicBezTo>
                  <a:cubicBezTo>
                    <a:pt x="16" y="158"/>
                    <a:pt x="23" y="145"/>
                    <a:pt x="34" y="137"/>
                  </a:cubicBezTo>
                  <a:cubicBezTo>
                    <a:pt x="36" y="136"/>
                    <a:pt x="37" y="133"/>
                    <a:pt x="37" y="131"/>
                  </a:cubicBezTo>
                  <a:cubicBezTo>
                    <a:pt x="37" y="37"/>
                    <a:pt x="37" y="37"/>
                    <a:pt x="37" y="37"/>
                  </a:cubicBezTo>
                  <a:cubicBezTo>
                    <a:pt x="37" y="25"/>
                    <a:pt x="47" y="16"/>
                    <a:pt x="58" y="16"/>
                  </a:cubicBezTo>
                  <a:cubicBezTo>
                    <a:pt x="69" y="16"/>
                    <a:pt x="80" y="25"/>
                    <a:pt x="80" y="37"/>
                  </a:cubicBezTo>
                  <a:cubicBezTo>
                    <a:pt x="80" y="132"/>
                    <a:pt x="80" y="132"/>
                    <a:pt x="80" y="132"/>
                  </a:cubicBezTo>
                  <a:cubicBezTo>
                    <a:pt x="80" y="134"/>
                    <a:pt x="81" y="137"/>
                    <a:pt x="83" y="138"/>
                  </a:cubicBezTo>
                  <a:cubicBezTo>
                    <a:pt x="94" y="146"/>
                    <a:pt x="100" y="158"/>
                    <a:pt x="100" y="173"/>
                  </a:cubicBezTo>
                  <a:cubicBezTo>
                    <a:pt x="101" y="196"/>
                    <a:pt x="83" y="214"/>
                    <a:pt x="59"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44">
              <a:extLst>
                <a:ext uri="{FF2B5EF4-FFF2-40B4-BE49-F238E27FC236}">
                  <a16:creationId xmlns:a16="http://schemas.microsoft.com/office/drawing/2014/main" id="{E6BE688C-3634-BABD-CB68-89FE2E347830}"/>
                </a:ext>
              </a:extLst>
            </p:cNvPr>
            <p:cNvSpPr>
              <a:spLocks noEditPoints="1"/>
            </p:cNvSpPr>
            <p:nvPr/>
          </p:nvSpPr>
          <p:spPr bwMode="auto">
            <a:xfrm>
              <a:off x="5626" y="3346"/>
              <a:ext cx="141" cy="295"/>
            </a:xfrm>
            <a:custGeom>
              <a:avLst/>
              <a:gdLst>
                <a:gd name="T0" fmla="*/ 38 w 59"/>
                <a:gd name="T1" fmla="*/ 66 h 123"/>
                <a:gd name="T2" fmla="*/ 38 w 59"/>
                <a:gd name="T3" fmla="*/ 8 h 123"/>
                <a:gd name="T4" fmla="*/ 30 w 59"/>
                <a:gd name="T5" fmla="*/ 0 h 123"/>
                <a:gd name="T6" fmla="*/ 22 w 59"/>
                <a:gd name="T7" fmla="*/ 8 h 123"/>
                <a:gd name="T8" fmla="*/ 22 w 59"/>
                <a:gd name="T9" fmla="*/ 66 h 123"/>
                <a:gd name="T10" fmla="*/ 0 w 59"/>
                <a:gd name="T11" fmla="*/ 94 h 123"/>
                <a:gd name="T12" fmla="*/ 30 w 59"/>
                <a:gd name="T13" fmla="*/ 123 h 123"/>
                <a:gd name="T14" fmla="*/ 59 w 59"/>
                <a:gd name="T15" fmla="*/ 94 h 123"/>
                <a:gd name="T16" fmla="*/ 38 w 59"/>
                <a:gd name="T17" fmla="*/ 66 h 123"/>
                <a:gd name="T18" fmla="*/ 30 w 59"/>
                <a:gd name="T19" fmla="*/ 107 h 123"/>
                <a:gd name="T20" fmla="*/ 16 w 59"/>
                <a:gd name="T21" fmla="*/ 94 h 123"/>
                <a:gd name="T22" fmla="*/ 30 w 59"/>
                <a:gd name="T23" fmla="*/ 80 h 123"/>
                <a:gd name="T24" fmla="*/ 43 w 59"/>
                <a:gd name="T25" fmla="*/ 94 h 123"/>
                <a:gd name="T26" fmla="*/ 30 w 59"/>
                <a:gd name="T2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23">
                  <a:moveTo>
                    <a:pt x="38" y="66"/>
                  </a:moveTo>
                  <a:cubicBezTo>
                    <a:pt x="38" y="8"/>
                    <a:pt x="38" y="8"/>
                    <a:pt x="38" y="8"/>
                  </a:cubicBezTo>
                  <a:cubicBezTo>
                    <a:pt x="38" y="3"/>
                    <a:pt x="35" y="0"/>
                    <a:pt x="30" y="0"/>
                  </a:cubicBezTo>
                  <a:cubicBezTo>
                    <a:pt x="25" y="0"/>
                    <a:pt x="22" y="3"/>
                    <a:pt x="22" y="8"/>
                  </a:cubicBezTo>
                  <a:cubicBezTo>
                    <a:pt x="22" y="66"/>
                    <a:pt x="22" y="66"/>
                    <a:pt x="22" y="66"/>
                  </a:cubicBezTo>
                  <a:cubicBezTo>
                    <a:pt x="10" y="69"/>
                    <a:pt x="0" y="80"/>
                    <a:pt x="0" y="94"/>
                  </a:cubicBezTo>
                  <a:cubicBezTo>
                    <a:pt x="0" y="110"/>
                    <a:pt x="14" y="123"/>
                    <a:pt x="30" y="123"/>
                  </a:cubicBezTo>
                  <a:cubicBezTo>
                    <a:pt x="46" y="123"/>
                    <a:pt x="59" y="110"/>
                    <a:pt x="59" y="94"/>
                  </a:cubicBezTo>
                  <a:cubicBezTo>
                    <a:pt x="59" y="81"/>
                    <a:pt x="51" y="70"/>
                    <a:pt x="38" y="66"/>
                  </a:cubicBezTo>
                  <a:close/>
                  <a:moveTo>
                    <a:pt x="30" y="107"/>
                  </a:moveTo>
                  <a:cubicBezTo>
                    <a:pt x="23" y="107"/>
                    <a:pt x="16" y="101"/>
                    <a:pt x="16" y="94"/>
                  </a:cubicBezTo>
                  <a:cubicBezTo>
                    <a:pt x="16" y="87"/>
                    <a:pt x="23" y="80"/>
                    <a:pt x="30" y="80"/>
                  </a:cubicBezTo>
                  <a:cubicBezTo>
                    <a:pt x="37" y="80"/>
                    <a:pt x="43" y="87"/>
                    <a:pt x="43" y="94"/>
                  </a:cubicBezTo>
                  <a:cubicBezTo>
                    <a:pt x="43" y="101"/>
                    <a:pt x="38" y="107"/>
                    <a:pt x="3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45">
              <a:extLst>
                <a:ext uri="{FF2B5EF4-FFF2-40B4-BE49-F238E27FC236}">
                  <a16:creationId xmlns:a16="http://schemas.microsoft.com/office/drawing/2014/main" id="{72F23A18-546F-A249-E8DB-9CB831ABF711}"/>
                </a:ext>
              </a:extLst>
            </p:cNvPr>
            <p:cNvSpPr>
              <a:spLocks/>
            </p:cNvSpPr>
            <p:nvPr/>
          </p:nvSpPr>
          <p:spPr bwMode="auto">
            <a:xfrm>
              <a:off x="5237" y="3097"/>
              <a:ext cx="319" cy="338"/>
            </a:xfrm>
            <a:custGeom>
              <a:avLst/>
              <a:gdLst>
                <a:gd name="T0" fmla="*/ 125 w 133"/>
                <a:gd name="T1" fmla="*/ 64 h 141"/>
                <a:gd name="T2" fmla="*/ 127 w 133"/>
                <a:gd name="T3" fmla="*/ 49 h 141"/>
                <a:gd name="T4" fmla="*/ 125 w 133"/>
                <a:gd name="T5" fmla="*/ 47 h 141"/>
                <a:gd name="T6" fmla="*/ 117 w 133"/>
                <a:gd name="T7" fmla="*/ 32 h 141"/>
                <a:gd name="T8" fmla="*/ 116 w 133"/>
                <a:gd name="T9" fmla="*/ 29 h 141"/>
                <a:gd name="T10" fmla="*/ 101 w 133"/>
                <a:gd name="T11" fmla="*/ 25 h 141"/>
                <a:gd name="T12" fmla="*/ 75 w 133"/>
                <a:gd name="T13" fmla="*/ 56 h 141"/>
                <a:gd name="T14" fmla="*/ 89 w 133"/>
                <a:gd name="T15" fmla="*/ 20 h 141"/>
                <a:gd name="T16" fmla="*/ 78 w 133"/>
                <a:gd name="T17" fmla="*/ 8 h 141"/>
                <a:gd name="T18" fmla="*/ 75 w 133"/>
                <a:gd name="T19" fmla="*/ 8 h 141"/>
                <a:gd name="T20" fmla="*/ 59 w 133"/>
                <a:gd name="T21" fmla="*/ 8 h 141"/>
                <a:gd name="T22" fmla="*/ 55 w 133"/>
                <a:gd name="T23" fmla="*/ 8 h 141"/>
                <a:gd name="T24" fmla="*/ 44 w 133"/>
                <a:gd name="T25" fmla="*/ 19 h 141"/>
                <a:gd name="T26" fmla="*/ 58 w 133"/>
                <a:gd name="T27" fmla="*/ 56 h 141"/>
                <a:gd name="T28" fmla="*/ 33 w 133"/>
                <a:gd name="T29" fmla="*/ 25 h 141"/>
                <a:gd name="T30" fmla="*/ 18 w 133"/>
                <a:gd name="T31" fmla="*/ 29 h 141"/>
                <a:gd name="T32" fmla="*/ 17 w 133"/>
                <a:gd name="T33" fmla="*/ 32 h 141"/>
                <a:gd name="T34" fmla="*/ 9 w 133"/>
                <a:gd name="T35" fmla="*/ 47 h 141"/>
                <a:gd name="T36" fmla="*/ 7 w 133"/>
                <a:gd name="T37" fmla="*/ 49 h 141"/>
                <a:gd name="T38" fmla="*/ 9 w 133"/>
                <a:gd name="T39" fmla="*/ 64 h 141"/>
                <a:gd name="T40" fmla="*/ 32 w 133"/>
                <a:gd name="T41" fmla="*/ 59 h 141"/>
                <a:gd name="T42" fmla="*/ 31 w 133"/>
                <a:gd name="T43" fmla="*/ 82 h 141"/>
                <a:gd name="T44" fmla="*/ 1 w 133"/>
                <a:gd name="T45" fmla="*/ 82 h 141"/>
                <a:gd name="T46" fmla="*/ 12 w 133"/>
                <a:gd name="T47" fmla="*/ 93 h 141"/>
                <a:gd name="T48" fmla="*/ 6 w 133"/>
                <a:gd name="T49" fmla="*/ 106 h 141"/>
                <a:gd name="T50" fmla="*/ 17 w 133"/>
                <a:gd name="T51" fmla="*/ 109 h 141"/>
                <a:gd name="T52" fmla="*/ 18 w 133"/>
                <a:gd name="T53" fmla="*/ 112 h 141"/>
                <a:gd name="T54" fmla="*/ 26 w 133"/>
                <a:gd name="T55" fmla="*/ 122 h 141"/>
                <a:gd name="T56" fmla="*/ 40 w 133"/>
                <a:gd name="T57" fmla="*/ 96 h 141"/>
                <a:gd name="T58" fmla="*/ 59 w 133"/>
                <a:gd name="T59" fmla="*/ 107 h 141"/>
                <a:gd name="T60" fmla="*/ 45 w 133"/>
                <a:gd name="T61" fmla="*/ 133 h 141"/>
                <a:gd name="T62" fmla="*/ 59 w 133"/>
                <a:gd name="T63" fmla="*/ 130 h 141"/>
                <a:gd name="T64" fmla="*/ 67 w 133"/>
                <a:gd name="T65" fmla="*/ 141 h 141"/>
                <a:gd name="T66" fmla="*/ 75 w 133"/>
                <a:gd name="T67" fmla="*/ 130 h 141"/>
                <a:gd name="T68" fmla="*/ 84 w 133"/>
                <a:gd name="T69" fmla="*/ 135 h 141"/>
                <a:gd name="T70" fmla="*/ 89 w 133"/>
                <a:gd name="T71" fmla="*/ 122 h 141"/>
                <a:gd name="T72" fmla="*/ 75 w 133"/>
                <a:gd name="T73" fmla="*/ 85 h 141"/>
                <a:gd name="T74" fmla="*/ 100 w 133"/>
                <a:gd name="T75" fmla="*/ 116 h 141"/>
                <a:gd name="T76" fmla="*/ 110 w 133"/>
                <a:gd name="T77" fmla="*/ 122 h 141"/>
                <a:gd name="T78" fmla="*/ 114 w 133"/>
                <a:gd name="T79" fmla="*/ 107 h 141"/>
                <a:gd name="T80" fmla="*/ 121 w 133"/>
                <a:gd name="T81" fmla="*/ 110 h 141"/>
                <a:gd name="T82" fmla="*/ 125 w 133"/>
                <a:gd name="T83" fmla="*/ 95 h 141"/>
                <a:gd name="T84" fmla="*/ 127 w 133"/>
                <a:gd name="T85" fmla="*/ 91 h 141"/>
                <a:gd name="T86" fmla="*/ 123 w 133"/>
                <a:gd name="T87" fmla="*/ 76 h 141"/>
                <a:gd name="T88" fmla="*/ 84 w 133"/>
                <a:gd name="T89" fmla="*/ 71 h 141"/>
                <a:gd name="T90" fmla="*/ 122 w 133"/>
                <a:gd name="T91" fmla="*/ 6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 h="141">
                  <a:moveTo>
                    <a:pt x="122" y="64"/>
                  </a:moveTo>
                  <a:cubicBezTo>
                    <a:pt x="123" y="64"/>
                    <a:pt x="124" y="64"/>
                    <a:pt x="125" y="64"/>
                  </a:cubicBezTo>
                  <a:cubicBezTo>
                    <a:pt x="128" y="64"/>
                    <a:pt x="131" y="62"/>
                    <a:pt x="133" y="59"/>
                  </a:cubicBezTo>
                  <a:cubicBezTo>
                    <a:pt x="133" y="55"/>
                    <a:pt x="131" y="50"/>
                    <a:pt x="127" y="49"/>
                  </a:cubicBezTo>
                  <a:cubicBezTo>
                    <a:pt x="122" y="47"/>
                    <a:pt x="122" y="47"/>
                    <a:pt x="122" y="47"/>
                  </a:cubicBezTo>
                  <a:cubicBezTo>
                    <a:pt x="125" y="47"/>
                    <a:pt x="125" y="47"/>
                    <a:pt x="125" y="47"/>
                  </a:cubicBezTo>
                  <a:cubicBezTo>
                    <a:pt x="129" y="44"/>
                    <a:pt x="129" y="39"/>
                    <a:pt x="128" y="35"/>
                  </a:cubicBezTo>
                  <a:cubicBezTo>
                    <a:pt x="125" y="31"/>
                    <a:pt x="121" y="30"/>
                    <a:pt x="117" y="32"/>
                  </a:cubicBezTo>
                  <a:cubicBezTo>
                    <a:pt x="114" y="34"/>
                    <a:pt x="114" y="34"/>
                    <a:pt x="114" y="34"/>
                  </a:cubicBezTo>
                  <a:cubicBezTo>
                    <a:pt x="116" y="29"/>
                    <a:pt x="116" y="29"/>
                    <a:pt x="116" y="29"/>
                  </a:cubicBezTo>
                  <a:cubicBezTo>
                    <a:pt x="117" y="25"/>
                    <a:pt x="114" y="20"/>
                    <a:pt x="110" y="19"/>
                  </a:cubicBezTo>
                  <a:cubicBezTo>
                    <a:pt x="106" y="19"/>
                    <a:pt x="101" y="21"/>
                    <a:pt x="101" y="25"/>
                  </a:cubicBezTo>
                  <a:cubicBezTo>
                    <a:pt x="95" y="45"/>
                    <a:pt x="95" y="45"/>
                    <a:pt x="95" y="45"/>
                  </a:cubicBezTo>
                  <a:cubicBezTo>
                    <a:pt x="75" y="56"/>
                    <a:pt x="75" y="56"/>
                    <a:pt x="75" y="56"/>
                  </a:cubicBezTo>
                  <a:cubicBezTo>
                    <a:pt x="75" y="35"/>
                    <a:pt x="75" y="35"/>
                    <a:pt x="75" y="35"/>
                  </a:cubicBezTo>
                  <a:cubicBezTo>
                    <a:pt x="89" y="20"/>
                    <a:pt x="89" y="20"/>
                    <a:pt x="89" y="20"/>
                  </a:cubicBezTo>
                  <a:cubicBezTo>
                    <a:pt x="93" y="16"/>
                    <a:pt x="93" y="11"/>
                    <a:pt x="89" y="8"/>
                  </a:cubicBezTo>
                  <a:cubicBezTo>
                    <a:pt x="86" y="5"/>
                    <a:pt x="81" y="5"/>
                    <a:pt x="78" y="8"/>
                  </a:cubicBezTo>
                  <a:cubicBezTo>
                    <a:pt x="75" y="11"/>
                    <a:pt x="75" y="11"/>
                    <a:pt x="75" y="11"/>
                  </a:cubicBezTo>
                  <a:cubicBezTo>
                    <a:pt x="75" y="8"/>
                    <a:pt x="75" y="8"/>
                    <a:pt x="75" y="8"/>
                  </a:cubicBezTo>
                  <a:cubicBezTo>
                    <a:pt x="75" y="3"/>
                    <a:pt x="72" y="0"/>
                    <a:pt x="67" y="0"/>
                  </a:cubicBezTo>
                  <a:cubicBezTo>
                    <a:pt x="62" y="0"/>
                    <a:pt x="59" y="3"/>
                    <a:pt x="59" y="8"/>
                  </a:cubicBezTo>
                  <a:cubicBezTo>
                    <a:pt x="59" y="11"/>
                    <a:pt x="59" y="11"/>
                    <a:pt x="59" y="11"/>
                  </a:cubicBezTo>
                  <a:cubicBezTo>
                    <a:pt x="55" y="8"/>
                    <a:pt x="55" y="8"/>
                    <a:pt x="55" y="8"/>
                  </a:cubicBezTo>
                  <a:cubicBezTo>
                    <a:pt x="52" y="5"/>
                    <a:pt x="47" y="5"/>
                    <a:pt x="44" y="8"/>
                  </a:cubicBezTo>
                  <a:cubicBezTo>
                    <a:pt x="41" y="11"/>
                    <a:pt x="41" y="16"/>
                    <a:pt x="44" y="19"/>
                  </a:cubicBezTo>
                  <a:cubicBezTo>
                    <a:pt x="58" y="34"/>
                    <a:pt x="58" y="34"/>
                    <a:pt x="58" y="34"/>
                  </a:cubicBezTo>
                  <a:cubicBezTo>
                    <a:pt x="58" y="56"/>
                    <a:pt x="58" y="56"/>
                    <a:pt x="58" y="56"/>
                  </a:cubicBezTo>
                  <a:cubicBezTo>
                    <a:pt x="39" y="45"/>
                    <a:pt x="39" y="45"/>
                    <a:pt x="39" y="45"/>
                  </a:cubicBezTo>
                  <a:cubicBezTo>
                    <a:pt x="33" y="25"/>
                    <a:pt x="33" y="25"/>
                    <a:pt x="33" y="25"/>
                  </a:cubicBezTo>
                  <a:cubicBezTo>
                    <a:pt x="33" y="21"/>
                    <a:pt x="28" y="19"/>
                    <a:pt x="24" y="19"/>
                  </a:cubicBezTo>
                  <a:cubicBezTo>
                    <a:pt x="20" y="21"/>
                    <a:pt x="17" y="25"/>
                    <a:pt x="18" y="29"/>
                  </a:cubicBezTo>
                  <a:cubicBezTo>
                    <a:pt x="20" y="34"/>
                    <a:pt x="20" y="34"/>
                    <a:pt x="20" y="34"/>
                  </a:cubicBezTo>
                  <a:cubicBezTo>
                    <a:pt x="17" y="32"/>
                    <a:pt x="17" y="32"/>
                    <a:pt x="17" y="32"/>
                  </a:cubicBezTo>
                  <a:cubicBezTo>
                    <a:pt x="13" y="30"/>
                    <a:pt x="8" y="31"/>
                    <a:pt x="5" y="35"/>
                  </a:cubicBezTo>
                  <a:cubicBezTo>
                    <a:pt x="4" y="39"/>
                    <a:pt x="5" y="44"/>
                    <a:pt x="9" y="47"/>
                  </a:cubicBezTo>
                  <a:cubicBezTo>
                    <a:pt x="11" y="48"/>
                    <a:pt x="11" y="48"/>
                    <a:pt x="11" y="48"/>
                  </a:cubicBezTo>
                  <a:cubicBezTo>
                    <a:pt x="7" y="49"/>
                    <a:pt x="7" y="49"/>
                    <a:pt x="7" y="49"/>
                  </a:cubicBezTo>
                  <a:cubicBezTo>
                    <a:pt x="3" y="50"/>
                    <a:pt x="0" y="55"/>
                    <a:pt x="1" y="59"/>
                  </a:cubicBezTo>
                  <a:cubicBezTo>
                    <a:pt x="2" y="62"/>
                    <a:pt x="5" y="64"/>
                    <a:pt x="9" y="64"/>
                  </a:cubicBezTo>
                  <a:cubicBezTo>
                    <a:pt x="10" y="64"/>
                    <a:pt x="11" y="64"/>
                    <a:pt x="12" y="64"/>
                  </a:cubicBezTo>
                  <a:cubicBezTo>
                    <a:pt x="32" y="59"/>
                    <a:pt x="32" y="59"/>
                    <a:pt x="32" y="59"/>
                  </a:cubicBezTo>
                  <a:cubicBezTo>
                    <a:pt x="51" y="70"/>
                    <a:pt x="51" y="70"/>
                    <a:pt x="51" y="70"/>
                  </a:cubicBezTo>
                  <a:cubicBezTo>
                    <a:pt x="31" y="82"/>
                    <a:pt x="31" y="82"/>
                    <a:pt x="31" y="82"/>
                  </a:cubicBezTo>
                  <a:cubicBezTo>
                    <a:pt x="11" y="76"/>
                    <a:pt x="11" y="76"/>
                    <a:pt x="11" y="76"/>
                  </a:cubicBezTo>
                  <a:cubicBezTo>
                    <a:pt x="7" y="75"/>
                    <a:pt x="2" y="78"/>
                    <a:pt x="1" y="82"/>
                  </a:cubicBezTo>
                  <a:cubicBezTo>
                    <a:pt x="1" y="86"/>
                    <a:pt x="3" y="91"/>
                    <a:pt x="7" y="91"/>
                  </a:cubicBezTo>
                  <a:cubicBezTo>
                    <a:pt x="12" y="93"/>
                    <a:pt x="12" y="93"/>
                    <a:pt x="12" y="93"/>
                  </a:cubicBezTo>
                  <a:cubicBezTo>
                    <a:pt x="9" y="95"/>
                    <a:pt x="9" y="95"/>
                    <a:pt x="9" y="95"/>
                  </a:cubicBezTo>
                  <a:cubicBezTo>
                    <a:pt x="5" y="97"/>
                    <a:pt x="5" y="102"/>
                    <a:pt x="6" y="106"/>
                  </a:cubicBezTo>
                  <a:cubicBezTo>
                    <a:pt x="8" y="108"/>
                    <a:pt x="10" y="110"/>
                    <a:pt x="13" y="110"/>
                  </a:cubicBezTo>
                  <a:cubicBezTo>
                    <a:pt x="15" y="110"/>
                    <a:pt x="16" y="110"/>
                    <a:pt x="17" y="109"/>
                  </a:cubicBezTo>
                  <a:cubicBezTo>
                    <a:pt x="20" y="107"/>
                    <a:pt x="20" y="107"/>
                    <a:pt x="20" y="107"/>
                  </a:cubicBezTo>
                  <a:cubicBezTo>
                    <a:pt x="18" y="112"/>
                    <a:pt x="18" y="112"/>
                    <a:pt x="18" y="112"/>
                  </a:cubicBezTo>
                  <a:cubicBezTo>
                    <a:pt x="17" y="116"/>
                    <a:pt x="20" y="121"/>
                    <a:pt x="24" y="122"/>
                  </a:cubicBezTo>
                  <a:cubicBezTo>
                    <a:pt x="25" y="122"/>
                    <a:pt x="25" y="122"/>
                    <a:pt x="26" y="122"/>
                  </a:cubicBezTo>
                  <a:cubicBezTo>
                    <a:pt x="29" y="122"/>
                    <a:pt x="33" y="119"/>
                    <a:pt x="34" y="116"/>
                  </a:cubicBezTo>
                  <a:cubicBezTo>
                    <a:pt x="40" y="96"/>
                    <a:pt x="40" y="96"/>
                    <a:pt x="40" y="96"/>
                  </a:cubicBezTo>
                  <a:cubicBezTo>
                    <a:pt x="59" y="85"/>
                    <a:pt x="59" y="85"/>
                    <a:pt x="59" y="85"/>
                  </a:cubicBezTo>
                  <a:cubicBezTo>
                    <a:pt x="59" y="107"/>
                    <a:pt x="59" y="107"/>
                    <a:pt x="59" y="107"/>
                  </a:cubicBezTo>
                  <a:cubicBezTo>
                    <a:pt x="45" y="122"/>
                    <a:pt x="45" y="122"/>
                    <a:pt x="45" y="122"/>
                  </a:cubicBezTo>
                  <a:cubicBezTo>
                    <a:pt x="41" y="125"/>
                    <a:pt x="41" y="130"/>
                    <a:pt x="45" y="133"/>
                  </a:cubicBezTo>
                  <a:cubicBezTo>
                    <a:pt x="48" y="136"/>
                    <a:pt x="53" y="136"/>
                    <a:pt x="56" y="133"/>
                  </a:cubicBezTo>
                  <a:cubicBezTo>
                    <a:pt x="59" y="130"/>
                    <a:pt x="59" y="130"/>
                    <a:pt x="59" y="130"/>
                  </a:cubicBezTo>
                  <a:cubicBezTo>
                    <a:pt x="59" y="133"/>
                    <a:pt x="59" y="133"/>
                    <a:pt x="59" y="133"/>
                  </a:cubicBezTo>
                  <a:cubicBezTo>
                    <a:pt x="59" y="138"/>
                    <a:pt x="62" y="141"/>
                    <a:pt x="67" y="141"/>
                  </a:cubicBezTo>
                  <a:cubicBezTo>
                    <a:pt x="72" y="141"/>
                    <a:pt x="75" y="138"/>
                    <a:pt x="75" y="133"/>
                  </a:cubicBezTo>
                  <a:cubicBezTo>
                    <a:pt x="75" y="130"/>
                    <a:pt x="75" y="130"/>
                    <a:pt x="75" y="130"/>
                  </a:cubicBezTo>
                  <a:cubicBezTo>
                    <a:pt x="78" y="133"/>
                    <a:pt x="78" y="133"/>
                    <a:pt x="78" y="133"/>
                  </a:cubicBezTo>
                  <a:cubicBezTo>
                    <a:pt x="80" y="135"/>
                    <a:pt x="82" y="135"/>
                    <a:pt x="84" y="135"/>
                  </a:cubicBezTo>
                  <a:cubicBezTo>
                    <a:pt x="85" y="135"/>
                    <a:pt x="88" y="135"/>
                    <a:pt x="89" y="133"/>
                  </a:cubicBezTo>
                  <a:cubicBezTo>
                    <a:pt x="93" y="130"/>
                    <a:pt x="93" y="125"/>
                    <a:pt x="89" y="122"/>
                  </a:cubicBezTo>
                  <a:cubicBezTo>
                    <a:pt x="75" y="107"/>
                    <a:pt x="75" y="107"/>
                    <a:pt x="75" y="107"/>
                  </a:cubicBezTo>
                  <a:cubicBezTo>
                    <a:pt x="75" y="85"/>
                    <a:pt x="75" y="85"/>
                    <a:pt x="75" y="85"/>
                  </a:cubicBezTo>
                  <a:cubicBezTo>
                    <a:pt x="94" y="96"/>
                    <a:pt x="94" y="96"/>
                    <a:pt x="94" y="96"/>
                  </a:cubicBezTo>
                  <a:cubicBezTo>
                    <a:pt x="100" y="116"/>
                    <a:pt x="100" y="116"/>
                    <a:pt x="100" y="116"/>
                  </a:cubicBezTo>
                  <a:cubicBezTo>
                    <a:pt x="101" y="119"/>
                    <a:pt x="104" y="122"/>
                    <a:pt x="108" y="122"/>
                  </a:cubicBezTo>
                  <a:cubicBezTo>
                    <a:pt x="109" y="122"/>
                    <a:pt x="109" y="122"/>
                    <a:pt x="110" y="122"/>
                  </a:cubicBezTo>
                  <a:cubicBezTo>
                    <a:pt x="114" y="121"/>
                    <a:pt x="117" y="116"/>
                    <a:pt x="116" y="112"/>
                  </a:cubicBezTo>
                  <a:cubicBezTo>
                    <a:pt x="114" y="107"/>
                    <a:pt x="114" y="107"/>
                    <a:pt x="114" y="107"/>
                  </a:cubicBezTo>
                  <a:cubicBezTo>
                    <a:pt x="117" y="109"/>
                    <a:pt x="117" y="109"/>
                    <a:pt x="117" y="109"/>
                  </a:cubicBezTo>
                  <a:cubicBezTo>
                    <a:pt x="118" y="110"/>
                    <a:pt x="119" y="110"/>
                    <a:pt x="121" y="110"/>
                  </a:cubicBezTo>
                  <a:cubicBezTo>
                    <a:pt x="123" y="110"/>
                    <a:pt x="126" y="108"/>
                    <a:pt x="128" y="106"/>
                  </a:cubicBezTo>
                  <a:cubicBezTo>
                    <a:pt x="130" y="102"/>
                    <a:pt x="129" y="97"/>
                    <a:pt x="125" y="95"/>
                  </a:cubicBezTo>
                  <a:cubicBezTo>
                    <a:pt x="122" y="93"/>
                    <a:pt x="122" y="93"/>
                    <a:pt x="122" y="93"/>
                  </a:cubicBezTo>
                  <a:cubicBezTo>
                    <a:pt x="127" y="91"/>
                    <a:pt x="127" y="91"/>
                    <a:pt x="127" y="91"/>
                  </a:cubicBezTo>
                  <a:cubicBezTo>
                    <a:pt x="131" y="91"/>
                    <a:pt x="133" y="86"/>
                    <a:pt x="133" y="82"/>
                  </a:cubicBezTo>
                  <a:cubicBezTo>
                    <a:pt x="132" y="78"/>
                    <a:pt x="127" y="75"/>
                    <a:pt x="123" y="76"/>
                  </a:cubicBezTo>
                  <a:cubicBezTo>
                    <a:pt x="103" y="82"/>
                    <a:pt x="103" y="82"/>
                    <a:pt x="103" y="82"/>
                  </a:cubicBezTo>
                  <a:cubicBezTo>
                    <a:pt x="84" y="71"/>
                    <a:pt x="84" y="71"/>
                    <a:pt x="84" y="71"/>
                  </a:cubicBezTo>
                  <a:cubicBezTo>
                    <a:pt x="103" y="59"/>
                    <a:pt x="103" y="59"/>
                    <a:pt x="103" y="59"/>
                  </a:cubicBezTo>
                  <a:lnTo>
                    <a:pt x="12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7" name="Rectangle: Rounded Corners 1356">
            <a:extLst>
              <a:ext uri="{FF2B5EF4-FFF2-40B4-BE49-F238E27FC236}">
                <a16:creationId xmlns:a16="http://schemas.microsoft.com/office/drawing/2014/main" id="{F01D45C9-D4EE-AE9A-BC02-D5340942CD20}"/>
              </a:ext>
            </a:extLst>
          </p:cNvPr>
          <p:cNvSpPr/>
          <p:nvPr/>
        </p:nvSpPr>
        <p:spPr>
          <a:xfrm>
            <a:off x="5973470" y="5108428"/>
            <a:ext cx="450889" cy="450889"/>
          </a:xfrm>
          <a:prstGeom prst="roundRect">
            <a:avLst/>
          </a:prstGeom>
          <a:noFill/>
          <a:ln w="19050">
            <a:solidFill>
              <a:srgbClr val="8246A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58" name="Group 29" descr="Cloud hail.">
            <a:extLst>
              <a:ext uri="{FF2B5EF4-FFF2-40B4-BE49-F238E27FC236}">
                <a16:creationId xmlns:a16="http://schemas.microsoft.com/office/drawing/2014/main" id="{07A3990C-BAC6-6591-2F44-33EB04476791}"/>
              </a:ext>
            </a:extLst>
          </p:cNvPr>
          <p:cNvGrpSpPr>
            <a:grpSpLocks noChangeAspect="1"/>
          </p:cNvGrpSpPr>
          <p:nvPr/>
        </p:nvGrpSpPr>
        <p:grpSpPr bwMode="auto">
          <a:xfrm>
            <a:off x="5271524" y="3991476"/>
            <a:ext cx="294400" cy="276625"/>
            <a:chOff x="5242" y="2738"/>
            <a:chExt cx="613" cy="576"/>
          </a:xfrm>
          <a:solidFill>
            <a:srgbClr val="00968F"/>
          </a:solidFill>
        </p:grpSpPr>
        <p:sp>
          <p:nvSpPr>
            <p:cNvPr id="1359" name="Freeform 33">
              <a:extLst>
                <a:ext uri="{FF2B5EF4-FFF2-40B4-BE49-F238E27FC236}">
                  <a16:creationId xmlns:a16="http://schemas.microsoft.com/office/drawing/2014/main" id="{7C0CACC3-ED54-BF86-5BC8-054DB4F97494}"/>
                </a:ext>
              </a:extLst>
            </p:cNvPr>
            <p:cNvSpPr>
              <a:spLocks/>
            </p:cNvSpPr>
            <p:nvPr/>
          </p:nvSpPr>
          <p:spPr bwMode="auto">
            <a:xfrm>
              <a:off x="5530" y="3083"/>
              <a:ext cx="38" cy="135"/>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34">
              <a:extLst>
                <a:ext uri="{FF2B5EF4-FFF2-40B4-BE49-F238E27FC236}">
                  <a16:creationId xmlns:a16="http://schemas.microsoft.com/office/drawing/2014/main" id="{F9A072DF-5213-AF13-44E7-2BD0576E58F9}"/>
                </a:ext>
              </a:extLst>
            </p:cNvPr>
            <p:cNvSpPr>
              <a:spLocks/>
            </p:cNvSpPr>
            <p:nvPr/>
          </p:nvSpPr>
          <p:spPr bwMode="auto">
            <a:xfrm>
              <a:off x="5434" y="3026"/>
              <a:ext cx="38" cy="134"/>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35">
              <a:extLst>
                <a:ext uri="{FF2B5EF4-FFF2-40B4-BE49-F238E27FC236}">
                  <a16:creationId xmlns:a16="http://schemas.microsoft.com/office/drawing/2014/main" id="{3022ACBC-D679-4F60-E952-B231311F0001}"/>
                </a:ext>
              </a:extLst>
            </p:cNvPr>
            <p:cNvSpPr>
              <a:spLocks/>
            </p:cNvSpPr>
            <p:nvPr/>
          </p:nvSpPr>
          <p:spPr bwMode="auto">
            <a:xfrm>
              <a:off x="5625" y="3026"/>
              <a:ext cx="39" cy="134"/>
            </a:xfrm>
            <a:custGeom>
              <a:avLst/>
              <a:gdLst>
                <a:gd name="T0" fmla="*/ 8 w 16"/>
                <a:gd name="T1" fmla="*/ 0 h 56"/>
                <a:gd name="T2" fmla="*/ 0 w 16"/>
                <a:gd name="T3" fmla="*/ 8 h 56"/>
                <a:gd name="T4" fmla="*/ 0 w 16"/>
                <a:gd name="T5" fmla="*/ 48 h 56"/>
                <a:gd name="T6" fmla="*/ 8 w 16"/>
                <a:gd name="T7" fmla="*/ 56 h 56"/>
                <a:gd name="T8" fmla="*/ 16 w 16"/>
                <a:gd name="T9" fmla="*/ 48 h 56"/>
                <a:gd name="T10" fmla="*/ 16 w 16"/>
                <a:gd name="T11" fmla="*/ 8 h 56"/>
                <a:gd name="T12" fmla="*/ 8 w 1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6" h="56">
                  <a:moveTo>
                    <a:pt x="8" y="0"/>
                  </a:moveTo>
                  <a:cubicBezTo>
                    <a:pt x="4" y="0"/>
                    <a:pt x="0" y="4"/>
                    <a:pt x="0" y="8"/>
                  </a:cubicBezTo>
                  <a:cubicBezTo>
                    <a:pt x="0" y="48"/>
                    <a:pt x="0" y="48"/>
                    <a:pt x="0" y="48"/>
                  </a:cubicBezTo>
                  <a:cubicBezTo>
                    <a:pt x="0" y="52"/>
                    <a:pt x="4" y="56"/>
                    <a:pt x="8" y="56"/>
                  </a:cubicBezTo>
                  <a:cubicBezTo>
                    <a:pt x="13" y="56"/>
                    <a:pt x="16" y="52"/>
                    <a:pt x="16" y="4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36">
              <a:extLst>
                <a:ext uri="{FF2B5EF4-FFF2-40B4-BE49-F238E27FC236}">
                  <a16:creationId xmlns:a16="http://schemas.microsoft.com/office/drawing/2014/main" id="{F9CD697E-649A-B402-FF93-97646C028D03}"/>
                </a:ext>
              </a:extLst>
            </p:cNvPr>
            <p:cNvSpPr>
              <a:spLocks/>
            </p:cNvSpPr>
            <p:nvPr/>
          </p:nvSpPr>
          <p:spPr bwMode="auto">
            <a:xfrm>
              <a:off x="5242" y="2738"/>
              <a:ext cx="613" cy="422"/>
            </a:xfrm>
            <a:custGeom>
              <a:avLst/>
              <a:gdLst>
                <a:gd name="T0" fmla="*/ 215 w 256"/>
                <a:gd name="T1" fmla="*/ 73 h 176"/>
                <a:gd name="T2" fmla="*/ 128 w 256"/>
                <a:gd name="T3" fmla="*/ 0 h 176"/>
                <a:gd name="T4" fmla="*/ 45 w 256"/>
                <a:gd name="T5" fmla="*/ 58 h 176"/>
                <a:gd name="T6" fmla="*/ 0 w 256"/>
                <a:gd name="T7" fmla="*/ 116 h 176"/>
                <a:gd name="T8" fmla="*/ 56 w 256"/>
                <a:gd name="T9" fmla="*/ 176 h 176"/>
                <a:gd name="T10" fmla="*/ 64 w 256"/>
                <a:gd name="T11" fmla="*/ 169 h 176"/>
                <a:gd name="T12" fmla="*/ 57 w 256"/>
                <a:gd name="T13" fmla="*/ 160 h 176"/>
                <a:gd name="T14" fmla="*/ 16 w 256"/>
                <a:gd name="T15" fmla="*/ 116 h 176"/>
                <a:gd name="T16" fmla="*/ 53 w 256"/>
                <a:gd name="T17" fmla="*/ 73 h 176"/>
                <a:gd name="T18" fmla="*/ 59 w 256"/>
                <a:gd name="T19" fmla="*/ 67 h 176"/>
                <a:gd name="T20" fmla="*/ 128 w 256"/>
                <a:gd name="T21" fmla="*/ 16 h 176"/>
                <a:gd name="T22" fmla="*/ 200 w 256"/>
                <a:gd name="T23" fmla="*/ 81 h 176"/>
                <a:gd name="T24" fmla="*/ 207 w 256"/>
                <a:gd name="T25" fmla="*/ 88 h 176"/>
                <a:gd name="T26" fmla="*/ 240 w 256"/>
                <a:gd name="T27" fmla="*/ 124 h 176"/>
                <a:gd name="T28" fmla="*/ 207 w 256"/>
                <a:gd name="T29" fmla="*/ 160 h 176"/>
                <a:gd name="T30" fmla="*/ 200 w 256"/>
                <a:gd name="T31" fmla="*/ 169 h 176"/>
                <a:gd name="T32" fmla="*/ 208 w 256"/>
                <a:gd name="T33" fmla="*/ 176 h 176"/>
                <a:gd name="T34" fmla="*/ 209 w 256"/>
                <a:gd name="T35" fmla="*/ 176 h 176"/>
                <a:gd name="T36" fmla="*/ 256 w 256"/>
                <a:gd name="T37" fmla="*/ 124 h 176"/>
                <a:gd name="T38" fmla="*/ 215 w 256"/>
                <a:gd name="T39" fmla="*/ 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176">
                  <a:moveTo>
                    <a:pt x="215" y="73"/>
                  </a:moveTo>
                  <a:cubicBezTo>
                    <a:pt x="208" y="31"/>
                    <a:pt x="172" y="0"/>
                    <a:pt x="128" y="0"/>
                  </a:cubicBezTo>
                  <a:cubicBezTo>
                    <a:pt x="91" y="0"/>
                    <a:pt x="58" y="23"/>
                    <a:pt x="45" y="58"/>
                  </a:cubicBezTo>
                  <a:cubicBezTo>
                    <a:pt x="19" y="65"/>
                    <a:pt x="0" y="89"/>
                    <a:pt x="0" y="116"/>
                  </a:cubicBezTo>
                  <a:cubicBezTo>
                    <a:pt x="0" y="147"/>
                    <a:pt x="24" y="173"/>
                    <a:pt x="56" y="176"/>
                  </a:cubicBezTo>
                  <a:cubicBezTo>
                    <a:pt x="60" y="176"/>
                    <a:pt x="64" y="173"/>
                    <a:pt x="64" y="169"/>
                  </a:cubicBezTo>
                  <a:cubicBezTo>
                    <a:pt x="65" y="164"/>
                    <a:pt x="61" y="160"/>
                    <a:pt x="57" y="160"/>
                  </a:cubicBezTo>
                  <a:cubicBezTo>
                    <a:pt x="34" y="158"/>
                    <a:pt x="16" y="139"/>
                    <a:pt x="16" y="116"/>
                  </a:cubicBezTo>
                  <a:cubicBezTo>
                    <a:pt x="16" y="95"/>
                    <a:pt x="32" y="76"/>
                    <a:pt x="53" y="73"/>
                  </a:cubicBezTo>
                  <a:cubicBezTo>
                    <a:pt x="56" y="72"/>
                    <a:pt x="58" y="70"/>
                    <a:pt x="59" y="67"/>
                  </a:cubicBezTo>
                  <a:cubicBezTo>
                    <a:pt x="69" y="37"/>
                    <a:pt x="97" y="16"/>
                    <a:pt x="128" y="16"/>
                  </a:cubicBezTo>
                  <a:cubicBezTo>
                    <a:pt x="166" y="16"/>
                    <a:pt x="197" y="44"/>
                    <a:pt x="200" y="81"/>
                  </a:cubicBezTo>
                  <a:cubicBezTo>
                    <a:pt x="201" y="85"/>
                    <a:pt x="204" y="88"/>
                    <a:pt x="207" y="88"/>
                  </a:cubicBezTo>
                  <a:cubicBezTo>
                    <a:pt x="226" y="90"/>
                    <a:pt x="240" y="105"/>
                    <a:pt x="240" y="124"/>
                  </a:cubicBezTo>
                  <a:cubicBezTo>
                    <a:pt x="240" y="143"/>
                    <a:pt x="226" y="158"/>
                    <a:pt x="207" y="160"/>
                  </a:cubicBezTo>
                  <a:cubicBezTo>
                    <a:pt x="203" y="161"/>
                    <a:pt x="200" y="164"/>
                    <a:pt x="200" y="169"/>
                  </a:cubicBezTo>
                  <a:cubicBezTo>
                    <a:pt x="201" y="173"/>
                    <a:pt x="204" y="176"/>
                    <a:pt x="208" y="176"/>
                  </a:cubicBezTo>
                  <a:cubicBezTo>
                    <a:pt x="209" y="176"/>
                    <a:pt x="209" y="176"/>
                    <a:pt x="209" y="176"/>
                  </a:cubicBezTo>
                  <a:cubicBezTo>
                    <a:pt x="236" y="173"/>
                    <a:pt x="256" y="151"/>
                    <a:pt x="256" y="124"/>
                  </a:cubicBezTo>
                  <a:cubicBezTo>
                    <a:pt x="256" y="99"/>
                    <a:pt x="239" y="79"/>
                    <a:pt x="21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37">
              <a:extLst>
                <a:ext uri="{FF2B5EF4-FFF2-40B4-BE49-F238E27FC236}">
                  <a16:creationId xmlns:a16="http://schemas.microsoft.com/office/drawing/2014/main" id="{DC8DA43E-4500-348A-4108-78251CCE36E3}"/>
                </a:ext>
              </a:extLst>
            </p:cNvPr>
            <p:cNvSpPr>
              <a:spLocks/>
            </p:cNvSpPr>
            <p:nvPr/>
          </p:nvSpPr>
          <p:spPr bwMode="auto">
            <a:xfrm>
              <a:off x="5434" y="3198"/>
              <a:ext cx="38"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38">
              <a:extLst>
                <a:ext uri="{FF2B5EF4-FFF2-40B4-BE49-F238E27FC236}">
                  <a16:creationId xmlns:a16="http://schemas.microsoft.com/office/drawing/2014/main" id="{7434CC4C-20D7-8963-B1A4-DB3EC92ACA0B}"/>
                </a:ext>
              </a:extLst>
            </p:cNvPr>
            <p:cNvSpPr>
              <a:spLocks/>
            </p:cNvSpPr>
            <p:nvPr/>
          </p:nvSpPr>
          <p:spPr bwMode="auto">
            <a:xfrm>
              <a:off x="5530" y="3256"/>
              <a:ext cx="38"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39">
              <a:extLst>
                <a:ext uri="{FF2B5EF4-FFF2-40B4-BE49-F238E27FC236}">
                  <a16:creationId xmlns:a16="http://schemas.microsoft.com/office/drawing/2014/main" id="{00ED453A-B3C9-CC2D-A0D1-395AAC5113B7}"/>
                </a:ext>
              </a:extLst>
            </p:cNvPr>
            <p:cNvSpPr>
              <a:spLocks/>
            </p:cNvSpPr>
            <p:nvPr/>
          </p:nvSpPr>
          <p:spPr bwMode="auto">
            <a:xfrm>
              <a:off x="5625" y="3198"/>
              <a:ext cx="39" cy="58"/>
            </a:xfrm>
            <a:custGeom>
              <a:avLst/>
              <a:gdLst>
                <a:gd name="T0" fmla="*/ 8 w 16"/>
                <a:gd name="T1" fmla="*/ 0 h 24"/>
                <a:gd name="T2" fmla="*/ 0 w 16"/>
                <a:gd name="T3" fmla="*/ 8 h 24"/>
                <a:gd name="T4" fmla="*/ 0 w 16"/>
                <a:gd name="T5" fmla="*/ 16 h 24"/>
                <a:gd name="T6" fmla="*/ 8 w 16"/>
                <a:gd name="T7" fmla="*/ 24 h 24"/>
                <a:gd name="T8" fmla="*/ 16 w 16"/>
                <a:gd name="T9" fmla="*/ 16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6"/>
                    <a:pt x="0" y="16"/>
                    <a:pt x="0" y="16"/>
                  </a:cubicBezTo>
                  <a:cubicBezTo>
                    <a:pt x="0" y="20"/>
                    <a:pt x="4" y="24"/>
                    <a:pt x="8" y="24"/>
                  </a:cubicBezTo>
                  <a:cubicBezTo>
                    <a:pt x="13" y="24"/>
                    <a:pt x="16" y="20"/>
                    <a:pt x="16" y="1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6" name="Rectangle: Rounded Corners 1365">
            <a:extLst>
              <a:ext uri="{FF2B5EF4-FFF2-40B4-BE49-F238E27FC236}">
                <a16:creationId xmlns:a16="http://schemas.microsoft.com/office/drawing/2014/main" id="{E5DA8E0A-AE8C-6B8E-4340-FE90F6896803}"/>
              </a:ext>
            </a:extLst>
          </p:cNvPr>
          <p:cNvSpPr/>
          <p:nvPr/>
        </p:nvSpPr>
        <p:spPr>
          <a:xfrm>
            <a:off x="5195972" y="3906144"/>
            <a:ext cx="450889" cy="450889"/>
          </a:xfrm>
          <a:prstGeom prst="roundRect">
            <a:avLst/>
          </a:prstGeom>
          <a:noFill/>
          <a:ln w="19050">
            <a:solidFill>
              <a:srgbClr val="0096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67" name="Group 29" descr="Tropical cyclone typhoon.">
            <a:extLst>
              <a:ext uri="{FF2B5EF4-FFF2-40B4-BE49-F238E27FC236}">
                <a16:creationId xmlns:a16="http://schemas.microsoft.com/office/drawing/2014/main" id="{90EE7610-A7DB-10DB-E111-F6AD99C44CAF}"/>
              </a:ext>
            </a:extLst>
          </p:cNvPr>
          <p:cNvGrpSpPr>
            <a:grpSpLocks noChangeAspect="1"/>
          </p:cNvGrpSpPr>
          <p:nvPr/>
        </p:nvGrpSpPr>
        <p:grpSpPr bwMode="auto">
          <a:xfrm>
            <a:off x="3086778" y="3151454"/>
            <a:ext cx="294395" cy="291504"/>
            <a:chOff x="5242" y="2385"/>
            <a:chExt cx="611" cy="605"/>
          </a:xfrm>
          <a:solidFill>
            <a:srgbClr val="0077A0"/>
          </a:solidFill>
        </p:grpSpPr>
        <p:sp>
          <p:nvSpPr>
            <p:cNvPr id="1368" name="Freeform 23">
              <a:extLst>
                <a:ext uri="{FF2B5EF4-FFF2-40B4-BE49-F238E27FC236}">
                  <a16:creationId xmlns:a16="http://schemas.microsoft.com/office/drawing/2014/main" id="{4B6F2A48-67D1-3B20-A45B-6CCE9CD91DF9}"/>
                </a:ext>
              </a:extLst>
            </p:cNvPr>
            <p:cNvSpPr>
              <a:spLocks/>
            </p:cNvSpPr>
            <p:nvPr/>
          </p:nvSpPr>
          <p:spPr bwMode="auto">
            <a:xfrm>
              <a:off x="5453" y="2385"/>
              <a:ext cx="278" cy="281"/>
            </a:xfrm>
            <a:custGeom>
              <a:avLst/>
              <a:gdLst>
                <a:gd name="T0" fmla="*/ 8 w 116"/>
                <a:gd name="T1" fmla="*/ 16 h 117"/>
                <a:gd name="T2" fmla="*/ 100 w 116"/>
                <a:gd name="T3" fmla="*/ 108 h 117"/>
                <a:gd name="T4" fmla="*/ 100 w 116"/>
                <a:gd name="T5" fmla="*/ 109 h 117"/>
                <a:gd name="T6" fmla="*/ 108 w 116"/>
                <a:gd name="T7" fmla="*/ 117 h 117"/>
                <a:gd name="T8" fmla="*/ 116 w 116"/>
                <a:gd name="T9" fmla="*/ 109 h 117"/>
                <a:gd name="T10" fmla="*/ 116 w 116"/>
                <a:gd name="T11" fmla="*/ 108 h 117"/>
                <a:gd name="T12" fmla="*/ 8 w 116"/>
                <a:gd name="T13" fmla="*/ 0 h 117"/>
                <a:gd name="T14" fmla="*/ 0 w 116"/>
                <a:gd name="T15" fmla="*/ 8 h 117"/>
                <a:gd name="T16" fmla="*/ 8 w 116"/>
                <a:gd name="T1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7">
                  <a:moveTo>
                    <a:pt x="8" y="16"/>
                  </a:moveTo>
                  <a:cubicBezTo>
                    <a:pt x="59" y="16"/>
                    <a:pt x="100" y="58"/>
                    <a:pt x="100" y="108"/>
                  </a:cubicBezTo>
                  <a:cubicBezTo>
                    <a:pt x="100" y="109"/>
                    <a:pt x="100" y="109"/>
                    <a:pt x="100" y="109"/>
                  </a:cubicBezTo>
                  <a:cubicBezTo>
                    <a:pt x="100" y="114"/>
                    <a:pt x="104" y="117"/>
                    <a:pt x="108" y="117"/>
                  </a:cubicBezTo>
                  <a:cubicBezTo>
                    <a:pt x="113" y="117"/>
                    <a:pt x="116" y="114"/>
                    <a:pt x="116" y="109"/>
                  </a:cubicBezTo>
                  <a:cubicBezTo>
                    <a:pt x="116" y="108"/>
                    <a:pt x="116" y="108"/>
                    <a:pt x="116" y="108"/>
                  </a:cubicBezTo>
                  <a:cubicBezTo>
                    <a:pt x="116" y="49"/>
                    <a:pt x="68" y="0"/>
                    <a:pt x="8" y="0"/>
                  </a:cubicBezTo>
                  <a:cubicBezTo>
                    <a:pt x="4" y="0"/>
                    <a:pt x="0" y="4"/>
                    <a:pt x="0" y="8"/>
                  </a:cubicBezTo>
                  <a:cubicBezTo>
                    <a:pt x="0" y="13"/>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4">
              <a:extLst>
                <a:ext uri="{FF2B5EF4-FFF2-40B4-BE49-F238E27FC236}">
                  <a16:creationId xmlns:a16="http://schemas.microsoft.com/office/drawing/2014/main" id="{137D378E-2968-FE17-490C-DC86693C3408}"/>
                </a:ext>
              </a:extLst>
            </p:cNvPr>
            <p:cNvSpPr>
              <a:spLocks/>
            </p:cNvSpPr>
            <p:nvPr/>
          </p:nvSpPr>
          <p:spPr bwMode="auto">
            <a:xfrm>
              <a:off x="5642" y="2464"/>
              <a:ext cx="170" cy="372"/>
            </a:xfrm>
            <a:custGeom>
              <a:avLst/>
              <a:gdLst>
                <a:gd name="T0" fmla="*/ 48 w 71"/>
                <a:gd name="T1" fmla="*/ 82 h 155"/>
                <a:gd name="T2" fmla="*/ 5 w 71"/>
                <a:gd name="T3" fmla="*/ 139 h 155"/>
                <a:gd name="T4" fmla="*/ 3 w 71"/>
                <a:gd name="T5" fmla="*/ 140 h 155"/>
                <a:gd name="T6" fmla="*/ 0 w 71"/>
                <a:gd name="T7" fmla="*/ 147 h 155"/>
                <a:gd name="T8" fmla="*/ 8 w 71"/>
                <a:gd name="T9" fmla="*/ 155 h 155"/>
                <a:gd name="T10" fmla="*/ 15 w 71"/>
                <a:gd name="T11" fmla="*/ 152 h 155"/>
                <a:gd name="T12" fmla="*/ 64 w 71"/>
                <a:gd name="T13" fmla="*/ 86 h 155"/>
                <a:gd name="T14" fmla="*/ 52 w 71"/>
                <a:gd name="T15" fmla="*/ 5 h 155"/>
                <a:gd name="T16" fmla="*/ 41 w 71"/>
                <a:gd name="T17" fmla="*/ 2 h 155"/>
                <a:gd name="T18" fmla="*/ 38 w 71"/>
                <a:gd name="T19" fmla="*/ 13 h 155"/>
                <a:gd name="T20" fmla="*/ 48 w 71"/>
                <a:gd name="T21" fmla="*/ 8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55">
                  <a:moveTo>
                    <a:pt x="48" y="82"/>
                  </a:moveTo>
                  <a:cubicBezTo>
                    <a:pt x="42" y="106"/>
                    <a:pt x="27" y="126"/>
                    <a:pt x="5" y="139"/>
                  </a:cubicBezTo>
                  <a:cubicBezTo>
                    <a:pt x="4" y="139"/>
                    <a:pt x="4" y="140"/>
                    <a:pt x="3" y="140"/>
                  </a:cubicBezTo>
                  <a:cubicBezTo>
                    <a:pt x="1" y="142"/>
                    <a:pt x="0" y="144"/>
                    <a:pt x="0" y="147"/>
                  </a:cubicBezTo>
                  <a:cubicBezTo>
                    <a:pt x="0" y="151"/>
                    <a:pt x="4" y="155"/>
                    <a:pt x="8" y="155"/>
                  </a:cubicBezTo>
                  <a:cubicBezTo>
                    <a:pt x="11" y="155"/>
                    <a:pt x="13" y="153"/>
                    <a:pt x="15" y="152"/>
                  </a:cubicBezTo>
                  <a:cubicBezTo>
                    <a:pt x="39" y="137"/>
                    <a:pt x="56" y="114"/>
                    <a:pt x="64" y="86"/>
                  </a:cubicBezTo>
                  <a:cubicBezTo>
                    <a:pt x="71" y="58"/>
                    <a:pt x="67" y="29"/>
                    <a:pt x="52" y="5"/>
                  </a:cubicBezTo>
                  <a:cubicBezTo>
                    <a:pt x="50" y="1"/>
                    <a:pt x="45" y="0"/>
                    <a:pt x="41" y="2"/>
                  </a:cubicBezTo>
                  <a:cubicBezTo>
                    <a:pt x="37" y="4"/>
                    <a:pt x="36" y="9"/>
                    <a:pt x="38" y="13"/>
                  </a:cubicBezTo>
                  <a:cubicBezTo>
                    <a:pt x="51" y="34"/>
                    <a:pt x="54" y="58"/>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5">
              <a:extLst>
                <a:ext uri="{FF2B5EF4-FFF2-40B4-BE49-F238E27FC236}">
                  <a16:creationId xmlns:a16="http://schemas.microsoft.com/office/drawing/2014/main" id="{DA035A9B-1464-5A22-B67E-7EE98F970F36}"/>
                </a:ext>
              </a:extLst>
            </p:cNvPr>
            <p:cNvSpPr>
              <a:spLocks/>
            </p:cNvSpPr>
            <p:nvPr/>
          </p:nvSpPr>
          <p:spPr bwMode="auto">
            <a:xfrm>
              <a:off x="5479" y="2745"/>
              <a:ext cx="374" cy="156"/>
            </a:xfrm>
            <a:custGeom>
              <a:avLst/>
              <a:gdLst>
                <a:gd name="T0" fmla="*/ 151 w 156"/>
                <a:gd name="T1" fmla="*/ 2 h 65"/>
                <a:gd name="T2" fmla="*/ 140 w 156"/>
                <a:gd name="T3" fmla="*/ 5 h 65"/>
                <a:gd name="T4" fmla="*/ 15 w 156"/>
                <a:gd name="T5" fmla="*/ 37 h 65"/>
                <a:gd name="T6" fmla="*/ 8 w 156"/>
                <a:gd name="T7" fmla="*/ 34 h 65"/>
                <a:gd name="T8" fmla="*/ 0 w 156"/>
                <a:gd name="T9" fmla="*/ 42 h 65"/>
                <a:gd name="T10" fmla="*/ 3 w 156"/>
                <a:gd name="T11" fmla="*/ 48 h 65"/>
                <a:gd name="T12" fmla="*/ 5 w 156"/>
                <a:gd name="T13" fmla="*/ 50 h 65"/>
                <a:gd name="T14" fmla="*/ 60 w 156"/>
                <a:gd name="T15" fmla="*/ 65 h 65"/>
                <a:gd name="T16" fmla="*/ 154 w 156"/>
                <a:gd name="T17" fmla="*/ 13 h 65"/>
                <a:gd name="T18" fmla="*/ 151 w 156"/>
                <a:gd name="T19"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5">
                  <a:moveTo>
                    <a:pt x="151" y="2"/>
                  </a:moveTo>
                  <a:cubicBezTo>
                    <a:pt x="147" y="0"/>
                    <a:pt x="142" y="1"/>
                    <a:pt x="140" y="5"/>
                  </a:cubicBezTo>
                  <a:cubicBezTo>
                    <a:pt x="114" y="47"/>
                    <a:pt x="58" y="62"/>
                    <a:pt x="15" y="37"/>
                  </a:cubicBezTo>
                  <a:cubicBezTo>
                    <a:pt x="13" y="35"/>
                    <a:pt x="11" y="34"/>
                    <a:pt x="8" y="34"/>
                  </a:cubicBezTo>
                  <a:cubicBezTo>
                    <a:pt x="4" y="34"/>
                    <a:pt x="0" y="38"/>
                    <a:pt x="0" y="42"/>
                  </a:cubicBezTo>
                  <a:cubicBezTo>
                    <a:pt x="0" y="45"/>
                    <a:pt x="2" y="47"/>
                    <a:pt x="3" y="48"/>
                  </a:cubicBezTo>
                  <a:cubicBezTo>
                    <a:pt x="4" y="49"/>
                    <a:pt x="4" y="50"/>
                    <a:pt x="5" y="50"/>
                  </a:cubicBezTo>
                  <a:cubicBezTo>
                    <a:pt x="22" y="60"/>
                    <a:pt x="41" y="65"/>
                    <a:pt x="60" y="65"/>
                  </a:cubicBezTo>
                  <a:cubicBezTo>
                    <a:pt x="97" y="65"/>
                    <a:pt x="133" y="46"/>
                    <a:pt x="154" y="13"/>
                  </a:cubicBezTo>
                  <a:cubicBezTo>
                    <a:pt x="156" y="9"/>
                    <a:pt x="155" y="4"/>
                    <a:pt x="15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6">
              <a:extLst>
                <a:ext uri="{FF2B5EF4-FFF2-40B4-BE49-F238E27FC236}">
                  <a16:creationId xmlns:a16="http://schemas.microsoft.com/office/drawing/2014/main" id="{0CEA2BC4-A858-EF35-2C19-275872EFEFB0}"/>
                </a:ext>
              </a:extLst>
            </p:cNvPr>
            <p:cNvSpPr>
              <a:spLocks/>
            </p:cNvSpPr>
            <p:nvPr/>
          </p:nvSpPr>
          <p:spPr bwMode="auto">
            <a:xfrm>
              <a:off x="5364" y="2712"/>
              <a:ext cx="281" cy="278"/>
            </a:xfrm>
            <a:custGeom>
              <a:avLst/>
              <a:gdLst>
                <a:gd name="T0" fmla="*/ 109 w 117"/>
                <a:gd name="T1" fmla="*/ 100 h 116"/>
                <a:gd name="T2" fmla="*/ 16 w 117"/>
                <a:gd name="T3" fmla="*/ 8 h 116"/>
                <a:gd name="T4" fmla="*/ 16 w 117"/>
                <a:gd name="T5" fmla="*/ 8 h 116"/>
                <a:gd name="T6" fmla="*/ 8 w 117"/>
                <a:gd name="T7" fmla="*/ 0 h 116"/>
                <a:gd name="T8" fmla="*/ 0 w 117"/>
                <a:gd name="T9" fmla="*/ 8 h 116"/>
                <a:gd name="T10" fmla="*/ 109 w 117"/>
                <a:gd name="T11" fmla="*/ 116 h 116"/>
                <a:gd name="T12" fmla="*/ 117 w 117"/>
                <a:gd name="T13" fmla="*/ 108 h 116"/>
                <a:gd name="T14" fmla="*/ 109 w 117"/>
                <a:gd name="T15" fmla="*/ 10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16">
                  <a:moveTo>
                    <a:pt x="109" y="100"/>
                  </a:moveTo>
                  <a:cubicBezTo>
                    <a:pt x="58" y="100"/>
                    <a:pt x="16" y="59"/>
                    <a:pt x="16" y="8"/>
                  </a:cubicBezTo>
                  <a:cubicBezTo>
                    <a:pt x="16" y="8"/>
                    <a:pt x="16" y="8"/>
                    <a:pt x="16" y="8"/>
                  </a:cubicBezTo>
                  <a:cubicBezTo>
                    <a:pt x="16" y="3"/>
                    <a:pt x="13" y="0"/>
                    <a:pt x="8" y="0"/>
                  </a:cubicBezTo>
                  <a:cubicBezTo>
                    <a:pt x="4" y="0"/>
                    <a:pt x="0" y="4"/>
                    <a:pt x="0" y="8"/>
                  </a:cubicBezTo>
                  <a:cubicBezTo>
                    <a:pt x="0" y="68"/>
                    <a:pt x="49" y="116"/>
                    <a:pt x="109" y="116"/>
                  </a:cubicBezTo>
                  <a:cubicBezTo>
                    <a:pt x="114" y="116"/>
                    <a:pt x="117" y="113"/>
                    <a:pt x="117" y="108"/>
                  </a:cubicBezTo>
                  <a:cubicBezTo>
                    <a:pt x="117" y="104"/>
                    <a:pt x="114" y="100"/>
                    <a:pt x="10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7">
              <a:extLst>
                <a:ext uri="{FF2B5EF4-FFF2-40B4-BE49-F238E27FC236}">
                  <a16:creationId xmlns:a16="http://schemas.microsoft.com/office/drawing/2014/main" id="{96302180-E54A-1DE2-9A49-248B5E9F1CE8}"/>
                </a:ext>
              </a:extLst>
            </p:cNvPr>
            <p:cNvSpPr>
              <a:spLocks/>
            </p:cNvSpPr>
            <p:nvPr/>
          </p:nvSpPr>
          <p:spPr bwMode="auto">
            <a:xfrm>
              <a:off x="5249" y="2546"/>
              <a:ext cx="194" cy="367"/>
            </a:xfrm>
            <a:custGeom>
              <a:avLst/>
              <a:gdLst>
                <a:gd name="T0" fmla="*/ 76 w 81"/>
                <a:gd name="T1" fmla="*/ 15 h 153"/>
                <a:gd name="T2" fmla="*/ 78 w 81"/>
                <a:gd name="T3" fmla="*/ 14 h 153"/>
                <a:gd name="T4" fmla="*/ 81 w 81"/>
                <a:gd name="T5" fmla="*/ 8 h 153"/>
                <a:gd name="T6" fmla="*/ 73 w 81"/>
                <a:gd name="T7" fmla="*/ 0 h 153"/>
                <a:gd name="T8" fmla="*/ 67 w 81"/>
                <a:gd name="T9" fmla="*/ 3 h 153"/>
                <a:gd name="T10" fmla="*/ 30 w 81"/>
                <a:gd name="T11" fmla="*/ 149 h 153"/>
                <a:gd name="T12" fmla="*/ 36 w 81"/>
                <a:gd name="T13" fmla="*/ 153 h 153"/>
                <a:gd name="T14" fmla="*/ 40 w 81"/>
                <a:gd name="T15" fmla="*/ 152 h 153"/>
                <a:gd name="T16" fmla="*/ 43 w 81"/>
                <a:gd name="T17" fmla="*/ 141 h 153"/>
                <a:gd name="T18" fmla="*/ 76 w 81"/>
                <a:gd name="T19" fmla="*/ 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53">
                  <a:moveTo>
                    <a:pt x="76" y="15"/>
                  </a:moveTo>
                  <a:cubicBezTo>
                    <a:pt x="77" y="15"/>
                    <a:pt x="78" y="14"/>
                    <a:pt x="78" y="14"/>
                  </a:cubicBezTo>
                  <a:cubicBezTo>
                    <a:pt x="80" y="12"/>
                    <a:pt x="81" y="10"/>
                    <a:pt x="81" y="8"/>
                  </a:cubicBezTo>
                  <a:cubicBezTo>
                    <a:pt x="81" y="3"/>
                    <a:pt x="78" y="0"/>
                    <a:pt x="73" y="0"/>
                  </a:cubicBezTo>
                  <a:cubicBezTo>
                    <a:pt x="71" y="0"/>
                    <a:pt x="68" y="1"/>
                    <a:pt x="67" y="3"/>
                  </a:cubicBezTo>
                  <a:cubicBezTo>
                    <a:pt x="17" y="33"/>
                    <a:pt x="0" y="98"/>
                    <a:pt x="30" y="149"/>
                  </a:cubicBezTo>
                  <a:cubicBezTo>
                    <a:pt x="31" y="152"/>
                    <a:pt x="34" y="153"/>
                    <a:pt x="36" y="153"/>
                  </a:cubicBezTo>
                  <a:cubicBezTo>
                    <a:pt x="38" y="153"/>
                    <a:pt x="39" y="153"/>
                    <a:pt x="40" y="152"/>
                  </a:cubicBezTo>
                  <a:cubicBezTo>
                    <a:pt x="44" y="150"/>
                    <a:pt x="46" y="145"/>
                    <a:pt x="43" y="141"/>
                  </a:cubicBezTo>
                  <a:cubicBezTo>
                    <a:pt x="18" y="97"/>
                    <a:pt x="33" y="41"/>
                    <a:pt x="7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8">
              <a:extLst>
                <a:ext uri="{FF2B5EF4-FFF2-40B4-BE49-F238E27FC236}">
                  <a16:creationId xmlns:a16="http://schemas.microsoft.com/office/drawing/2014/main" id="{A48008D7-1520-56C9-0C01-622B70252243}"/>
                </a:ext>
              </a:extLst>
            </p:cNvPr>
            <p:cNvSpPr>
              <a:spLocks/>
            </p:cNvSpPr>
            <p:nvPr/>
          </p:nvSpPr>
          <p:spPr bwMode="auto">
            <a:xfrm>
              <a:off x="5242" y="2433"/>
              <a:ext cx="371" cy="197"/>
            </a:xfrm>
            <a:custGeom>
              <a:avLst/>
              <a:gdLst>
                <a:gd name="T0" fmla="*/ 72 w 155"/>
                <a:gd name="T1" fmla="*/ 35 h 82"/>
                <a:gd name="T2" fmla="*/ 140 w 155"/>
                <a:gd name="T3" fmla="*/ 42 h 82"/>
                <a:gd name="T4" fmla="*/ 147 w 155"/>
                <a:gd name="T5" fmla="*/ 45 h 82"/>
                <a:gd name="T6" fmla="*/ 155 w 155"/>
                <a:gd name="T7" fmla="*/ 37 h 82"/>
                <a:gd name="T8" fmla="*/ 152 w 155"/>
                <a:gd name="T9" fmla="*/ 31 h 82"/>
                <a:gd name="T10" fmla="*/ 150 w 155"/>
                <a:gd name="T11" fmla="*/ 29 h 82"/>
                <a:gd name="T12" fmla="*/ 2 w 155"/>
                <a:gd name="T13" fmla="*/ 70 h 82"/>
                <a:gd name="T14" fmla="*/ 5 w 155"/>
                <a:gd name="T15" fmla="*/ 81 h 82"/>
                <a:gd name="T16" fmla="*/ 9 w 155"/>
                <a:gd name="T17" fmla="*/ 82 h 82"/>
                <a:gd name="T18" fmla="*/ 16 w 155"/>
                <a:gd name="T19" fmla="*/ 78 h 82"/>
                <a:gd name="T20" fmla="*/ 72 w 155"/>
                <a:gd name="T21" fmla="*/ 3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82">
                  <a:moveTo>
                    <a:pt x="72" y="35"/>
                  </a:moveTo>
                  <a:cubicBezTo>
                    <a:pt x="95" y="28"/>
                    <a:pt x="119" y="31"/>
                    <a:pt x="140" y="42"/>
                  </a:cubicBezTo>
                  <a:cubicBezTo>
                    <a:pt x="142" y="44"/>
                    <a:pt x="144" y="45"/>
                    <a:pt x="147" y="45"/>
                  </a:cubicBezTo>
                  <a:cubicBezTo>
                    <a:pt x="151" y="45"/>
                    <a:pt x="155" y="42"/>
                    <a:pt x="155" y="37"/>
                  </a:cubicBezTo>
                  <a:cubicBezTo>
                    <a:pt x="155" y="35"/>
                    <a:pt x="154" y="33"/>
                    <a:pt x="152" y="31"/>
                  </a:cubicBezTo>
                  <a:cubicBezTo>
                    <a:pt x="151" y="30"/>
                    <a:pt x="151" y="30"/>
                    <a:pt x="150" y="29"/>
                  </a:cubicBezTo>
                  <a:cubicBezTo>
                    <a:pt x="98" y="0"/>
                    <a:pt x="31" y="18"/>
                    <a:pt x="2" y="70"/>
                  </a:cubicBezTo>
                  <a:cubicBezTo>
                    <a:pt x="0" y="74"/>
                    <a:pt x="1" y="79"/>
                    <a:pt x="5" y="81"/>
                  </a:cubicBezTo>
                  <a:cubicBezTo>
                    <a:pt x="6" y="82"/>
                    <a:pt x="8" y="82"/>
                    <a:pt x="9" y="82"/>
                  </a:cubicBezTo>
                  <a:cubicBezTo>
                    <a:pt x="12" y="82"/>
                    <a:pt x="15" y="80"/>
                    <a:pt x="16" y="78"/>
                  </a:cubicBezTo>
                  <a:cubicBezTo>
                    <a:pt x="28" y="57"/>
                    <a:pt x="48" y="41"/>
                    <a:pt x="7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9">
              <a:extLst>
                <a:ext uri="{FF2B5EF4-FFF2-40B4-BE49-F238E27FC236}">
                  <a16:creationId xmlns:a16="http://schemas.microsoft.com/office/drawing/2014/main" id="{8404643D-9CD1-0619-E9E8-17ABCFCF196A}"/>
                </a:ext>
              </a:extLst>
            </p:cNvPr>
            <p:cNvSpPr>
              <a:spLocks noEditPoints="1"/>
            </p:cNvSpPr>
            <p:nvPr/>
          </p:nvSpPr>
          <p:spPr bwMode="auto">
            <a:xfrm>
              <a:off x="5443" y="2582"/>
              <a:ext cx="209" cy="206"/>
            </a:xfrm>
            <a:custGeom>
              <a:avLst/>
              <a:gdLst>
                <a:gd name="T0" fmla="*/ 43 w 87"/>
                <a:gd name="T1" fmla="*/ 0 h 86"/>
                <a:gd name="T2" fmla="*/ 0 w 87"/>
                <a:gd name="T3" fmla="*/ 43 h 86"/>
                <a:gd name="T4" fmla="*/ 43 w 87"/>
                <a:gd name="T5" fmla="*/ 86 h 86"/>
                <a:gd name="T6" fmla="*/ 87 w 87"/>
                <a:gd name="T7" fmla="*/ 43 h 86"/>
                <a:gd name="T8" fmla="*/ 43 w 87"/>
                <a:gd name="T9" fmla="*/ 0 h 86"/>
                <a:gd name="T10" fmla="*/ 43 w 87"/>
                <a:gd name="T11" fmla="*/ 70 h 86"/>
                <a:gd name="T12" fmla="*/ 16 w 87"/>
                <a:gd name="T13" fmla="*/ 43 h 86"/>
                <a:gd name="T14" fmla="*/ 43 w 87"/>
                <a:gd name="T15" fmla="*/ 16 h 86"/>
                <a:gd name="T16" fmla="*/ 71 w 87"/>
                <a:gd name="T17" fmla="*/ 43 h 86"/>
                <a:gd name="T18" fmla="*/ 43 w 87"/>
                <a:gd name="T19" fmla="*/ 7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6">
                  <a:moveTo>
                    <a:pt x="43" y="0"/>
                  </a:moveTo>
                  <a:cubicBezTo>
                    <a:pt x="20" y="0"/>
                    <a:pt x="0" y="19"/>
                    <a:pt x="0" y="43"/>
                  </a:cubicBezTo>
                  <a:cubicBezTo>
                    <a:pt x="0" y="67"/>
                    <a:pt x="20" y="86"/>
                    <a:pt x="43" y="86"/>
                  </a:cubicBezTo>
                  <a:cubicBezTo>
                    <a:pt x="67" y="86"/>
                    <a:pt x="87" y="67"/>
                    <a:pt x="87" y="43"/>
                  </a:cubicBezTo>
                  <a:cubicBezTo>
                    <a:pt x="87" y="19"/>
                    <a:pt x="67" y="0"/>
                    <a:pt x="43" y="0"/>
                  </a:cubicBezTo>
                  <a:close/>
                  <a:moveTo>
                    <a:pt x="43" y="70"/>
                  </a:moveTo>
                  <a:cubicBezTo>
                    <a:pt x="28" y="70"/>
                    <a:pt x="16" y="58"/>
                    <a:pt x="16" y="43"/>
                  </a:cubicBezTo>
                  <a:cubicBezTo>
                    <a:pt x="16" y="28"/>
                    <a:pt x="28" y="16"/>
                    <a:pt x="43" y="16"/>
                  </a:cubicBezTo>
                  <a:cubicBezTo>
                    <a:pt x="58" y="16"/>
                    <a:pt x="71" y="28"/>
                    <a:pt x="71" y="43"/>
                  </a:cubicBezTo>
                  <a:cubicBezTo>
                    <a:pt x="71" y="58"/>
                    <a:pt x="58" y="70"/>
                    <a:pt x="4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5" name="Rectangle: Rounded Corners 1374">
            <a:extLst>
              <a:ext uri="{FF2B5EF4-FFF2-40B4-BE49-F238E27FC236}">
                <a16:creationId xmlns:a16="http://schemas.microsoft.com/office/drawing/2014/main" id="{1A8CA705-C9C6-D096-3177-9440F023560A}"/>
              </a:ext>
            </a:extLst>
          </p:cNvPr>
          <p:cNvSpPr/>
          <p:nvPr/>
        </p:nvSpPr>
        <p:spPr>
          <a:xfrm>
            <a:off x="3008531" y="3071762"/>
            <a:ext cx="450889" cy="450889"/>
          </a:xfrm>
          <a:prstGeom prst="roundRect">
            <a:avLst/>
          </a:prstGeom>
          <a:noFill/>
          <a:ln w="19050">
            <a:solidFill>
              <a:srgbClr val="0077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76" name="Group 29" descr="Wind.">
            <a:extLst>
              <a:ext uri="{FF2B5EF4-FFF2-40B4-BE49-F238E27FC236}">
                <a16:creationId xmlns:a16="http://schemas.microsoft.com/office/drawing/2014/main" id="{B69F7254-21B0-CB41-1132-5DF88307C1E0}"/>
              </a:ext>
            </a:extLst>
          </p:cNvPr>
          <p:cNvGrpSpPr>
            <a:grpSpLocks noChangeAspect="1"/>
          </p:cNvGrpSpPr>
          <p:nvPr/>
        </p:nvGrpSpPr>
        <p:grpSpPr bwMode="auto">
          <a:xfrm>
            <a:off x="2667973" y="3640571"/>
            <a:ext cx="294395" cy="261897"/>
            <a:chOff x="5242" y="1984"/>
            <a:chExt cx="616" cy="548"/>
          </a:xfrm>
          <a:solidFill>
            <a:schemeClr val="accent6"/>
          </a:solidFill>
        </p:grpSpPr>
        <p:sp>
          <p:nvSpPr>
            <p:cNvPr id="1377" name="Freeform 17">
              <a:extLst>
                <a:ext uri="{FF2B5EF4-FFF2-40B4-BE49-F238E27FC236}">
                  <a16:creationId xmlns:a16="http://schemas.microsoft.com/office/drawing/2014/main" id="{0658CF82-8509-D77A-67B1-B7908B1F711D}"/>
                </a:ext>
              </a:extLst>
            </p:cNvPr>
            <p:cNvSpPr>
              <a:spLocks/>
            </p:cNvSpPr>
            <p:nvPr/>
          </p:nvSpPr>
          <p:spPr bwMode="auto">
            <a:xfrm>
              <a:off x="5242" y="1984"/>
              <a:ext cx="453" cy="198"/>
            </a:xfrm>
            <a:custGeom>
              <a:avLst/>
              <a:gdLst>
                <a:gd name="T0" fmla="*/ 8 w 189"/>
                <a:gd name="T1" fmla="*/ 82 h 82"/>
                <a:gd name="T2" fmla="*/ 148 w 189"/>
                <a:gd name="T3" fmla="*/ 82 h 82"/>
                <a:gd name="T4" fmla="*/ 189 w 189"/>
                <a:gd name="T5" fmla="*/ 41 h 82"/>
                <a:gd name="T6" fmla="*/ 148 w 189"/>
                <a:gd name="T7" fmla="*/ 0 h 82"/>
                <a:gd name="T8" fmla="*/ 110 w 189"/>
                <a:gd name="T9" fmla="*/ 27 h 82"/>
                <a:gd name="T10" fmla="*/ 114 w 189"/>
                <a:gd name="T11" fmla="*/ 37 h 82"/>
                <a:gd name="T12" fmla="*/ 125 w 189"/>
                <a:gd name="T13" fmla="*/ 33 h 82"/>
                <a:gd name="T14" fmla="*/ 148 w 189"/>
                <a:gd name="T15" fmla="*/ 16 h 82"/>
                <a:gd name="T16" fmla="*/ 173 w 189"/>
                <a:gd name="T17" fmla="*/ 41 h 82"/>
                <a:gd name="T18" fmla="*/ 148 w 189"/>
                <a:gd name="T19" fmla="*/ 66 h 82"/>
                <a:gd name="T20" fmla="*/ 8 w 189"/>
                <a:gd name="T21" fmla="*/ 66 h 82"/>
                <a:gd name="T22" fmla="*/ 0 w 189"/>
                <a:gd name="T23" fmla="*/ 74 h 82"/>
                <a:gd name="T24" fmla="*/ 8 w 189"/>
                <a:gd name="T25"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82">
                  <a:moveTo>
                    <a:pt x="8" y="82"/>
                  </a:moveTo>
                  <a:cubicBezTo>
                    <a:pt x="148" y="82"/>
                    <a:pt x="148" y="82"/>
                    <a:pt x="148" y="82"/>
                  </a:cubicBezTo>
                  <a:cubicBezTo>
                    <a:pt x="171" y="82"/>
                    <a:pt x="189" y="64"/>
                    <a:pt x="189" y="41"/>
                  </a:cubicBezTo>
                  <a:cubicBezTo>
                    <a:pt x="189" y="18"/>
                    <a:pt x="171" y="0"/>
                    <a:pt x="148" y="0"/>
                  </a:cubicBezTo>
                  <a:cubicBezTo>
                    <a:pt x="131" y="0"/>
                    <a:pt x="116" y="11"/>
                    <a:pt x="110" y="27"/>
                  </a:cubicBezTo>
                  <a:cubicBezTo>
                    <a:pt x="108" y="31"/>
                    <a:pt x="110" y="36"/>
                    <a:pt x="114" y="37"/>
                  </a:cubicBezTo>
                  <a:cubicBezTo>
                    <a:pt x="118" y="39"/>
                    <a:pt x="123" y="37"/>
                    <a:pt x="125" y="33"/>
                  </a:cubicBezTo>
                  <a:cubicBezTo>
                    <a:pt x="128" y="23"/>
                    <a:pt x="138" y="16"/>
                    <a:pt x="148" y="16"/>
                  </a:cubicBezTo>
                  <a:cubicBezTo>
                    <a:pt x="162" y="16"/>
                    <a:pt x="173" y="27"/>
                    <a:pt x="173" y="41"/>
                  </a:cubicBezTo>
                  <a:cubicBezTo>
                    <a:pt x="173" y="55"/>
                    <a:pt x="162" y="66"/>
                    <a:pt x="148" y="66"/>
                  </a:cubicBezTo>
                  <a:cubicBezTo>
                    <a:pt x="8" y="66"/>
                    <a:pt x="8" y="66"/>
                    <a:pt x="8" y="66"/>
                  </a:cubicBezTo>
                  <a:cubicBezTo>
                    <a:pt x="4" y="66"/>
                    <a:pt x="0" y="70"/>
                    <a:pt x="0" y="74"/>
                  </a:cubicBezTo>
                  <a:cubicBezTo>
                    <a:pt x="0" y="78"/>
                    <a:pt x="4" y="82"/>
                    <a:pt x="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8">
              <a:extLst>
                <a:ext uri="{FF2B5EF4-FFF2-40B4-BE49-F238E27FC236}">
                  <a16:creationId xmlns:a16="http://schemas.microsoft.com/office/drawing/2014/main" id="{A37365A0-A18A-B553-7474-96B97A2E746A}"/>
                </a:ext>
              </a:extLst>
            </p:cNvPr>
            <p:cNvSpPr>
              <a:spLocks/>
            </p:cNvSpPr>
            <p:nvPr/>
          </p:nvSpPr>
          <p:spPr bwMode="auto">
            <a:xfrm>
              <a:off x="5242" y="2335"/>
              <a:ext cx="297" cy="197"/>
            </a:xfrm>
            <a:custGeom>
              <a:avLst/>
              <a:gdLst>
                <a:gd name="T0" fmla="*/ 83 w 124"/>
                <a:gd name="T1" fmla="*/ 0 h 82"/>
                <a:gd name="T2" fmla="*/ 8 w 124"/>
                <a:gd name="T3" fmla="*/ 0 h 82"/>
                <a:gd name="T4" fmla="*/ 0 w 124"/>
                <a:gd name="T5" fmla="*/ 8 h 82"/>
                <a:gd name="T6" fmla="*/ 8 w 124"/>
                <a:gd name="T7" fmla="*/ 16 h 82"/>
                <a:gd name="T8" fmla="*/ 83 w 124"/>
                <a:gd name="T9" fmla="*/ 16 h 82"/>
                <a:gd name="T10" fmla="*/ 108 w 124"/>
                <a:gd name="T11" fmla="*/ 41 h 82"/>
                <a:gd name="T12" fmla="*/ 83 w 124"/>
                <a:gd name="T13" fmla="*/ 66 h 82"/>
                <a:gd name="T14" fmla="*/ 60 w 124"/>
                <a:gd name="T15" fmla="*/ 49 h 82"/>
                <a:gd name="T16" fmla="*/ 49 w 124"/>
                <a:gd name="T17" fmla="*/ 45 h 82"/>
                <a:gd name="T18" fmla="*/ 45 w 124"/>
                <a:gd name="T19" fmla="*/ 55 h 82"/>
                <a:gd name="T20" fmla="*/ 83 w 124"/>
                <a:gd name="T21" fmla="*/ 82 h 82"/>
                <a:gd name="T22" fmla="*/ 124 w 124"/>
                <a:gd name="T23" fmla="*/ 41 h 82"/>
                <a:gd name="T24" fmla="*/ 83 w 124"/>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82">
                  <a:moveTo>
                    <a:pt x="83" y="0"/>
                  </a:moveTo>
                  <a:cubicBezTo>
                    <a:pt x="8" y="0"/>
                    <a:pt x="8" y="0"/>
                    <a:pt x="8" y="0"/>
                  </a:cubicBezTo>
                  <a:cubicBezTo>
                    <a:pt x="4" y="0"/>
                    <a:pt x="0" y="4"/>
                    <a:pt x="0" y="8"/>
                  </a:cubicBezTo>
                  <a:cubicBezTo>
                    <a:pt x="0" y="12"/>
                    <a:pt x="4" y="16"/>
                    <a:pt x="8" y="16"/>
                  </a:cubicBezTo>
                  <a:cubicBezTo>
                    <a:pt x="83" y="16"/>
                    <a:pt x="83" y="16"/>
                    <a:pt x="83" y="16"/>
                  </a:cubicBezTo>
                  <a:cubicBezTo>
                    <a:pt x="97" y="16"/>
                    <a:pt x="108" y="27"/>
                    <a:pt x="108" y="41"/>
                  </a:cubicBezTo>
                  <a:cubicBezTo>
                    <a:pt x="108" y="55"/>
                    <a:pt x="97" y="66"/>
                    <a:pt x="83" y="66"/>
                  </a:cubicBezTo>
                  <a:cubicBezTo>
                    <a:pt x="73" y="66"/>
                    <a:pt x="63" y="59"/>
                    <a:pt x="60" y="49"/>
                  </a:cubicBezTo>
                  <a:cubicBezTo>
                    <a:pt x="58" y="45"/>
                    <a:pt x="54" y="43"/>
                    <a:pt x="49" y="45"/>
                  </a:cubicBezTo>
                  <a:cubicBezTo>
                    <a:pt x="45" y="46"/>
                    <a:pt x="43" y="51"/>
                    <a:pt x="45" y="55"/>
                  </a:cubicBezTo>
                  <a:cubicBezTo>
                    <a:pt x="51" y="71"/>
                    <a:pt x="66" y="82"/>
                    <a:pt x="83" y="82"/>
                  </a:cubicBezTo>
                  <a:cubicBezTo>
                    <a:pt x="106" y="82"/>
                    <a:pt x="124" y="64"/>
                    <a:pt x="124" y="41"/>
                  </a:cubicBezTo>
                  <a:cubicBezTo>
                    <a:pt x="124" y="18"/>
                    <a:pt x="106"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9">
              <a:extLst>
                <a:ext uri="{FF2B5EF4-FFF2-40B4-BE49-F238E27FC236}">
                  <a16:creationId xmlns:a16="http://schemas.microsoft.com/office/drawing/2014/main" id="{878350FE-7A2B-CE59-7A2F-4BD2F5EF0E9A}"/>
                </a:ext>
              </a:extLst>
            </p:cNvPr>
            <p:cNvSpPr>
              <a:spLocks/>
            </p:cNvSpPr>
            <p:nvPr/>
          </p:nvSpPr>
          <p:spPr bwMode="auto">
            <a:xfrm>
              <a:off x="5242" y="2239"/>
              <a:ext cx="616" cy="197"/>
            </a:xfrm>
            <a:custGeom>
              <a:avLst/>
              <a:gdLst>
                <a:gd name="T0" fmla="*/ 215 w 257"/>
                <a:gd name="T1" fmla="*/ 0 h 82"/>
                <a:gd name="T2" fmla="*/ 8 w 257"/>
                <a:gd name="T3" fmla="*/ 0 h 82"/>
                <a:gd name="T4" fmla="*/ 0 w 257"/>
                <a:gd name="T5" fmla="*/ 8 h 82"/>
                <a:gd name="T6" fmla="*/ 8 w 257"/>
                <a:gd name="T7" fmla="*/ 16 h 82"/>
                <a:gd name="T8" fmla="*/ 215 w 257"/>
                <a:gd name="T9" fmla="*/ 16 h 82"/>
                <a:gd name="T10" fmla="*/ 241 w 257"/>
                <a:gd name="T11" fmla="*/ 41 h 82"/>
                <a:gd name="T12" fmla="*/ 216 w 257"/>
                <a:gd name="T13" fmla="*/ 66 h 82"/>
                <a:gd name="T14" fmla="*/ 193 w 257"/>
                <a:gd name="T15" fmla="*/ 49 h 82"/>
                <a:gd name="T16" fmla="*/ 182 w 257"/>
                <a:gd name="T17" fmla="*/ 45 h 82"/>
                <a:gd name="T18" fmla="*/ 178 w 257"/>
                <a:gd name="T19" fmla="*/ 55 h 82"/>
                <a:gd name="T20" fmla="*/ 216 w 257"/>
                <a:gd name="T21" fmla="*/ 82 h 82"/>
                <a:gd name="T22" fmla="*/ 257 w 257"/>
                <a:gd name="T23" fmla="*/ 41 h 82"/>
                <a:gd name="T24" fmla="*/ 215 w 257"/>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82">
                  <a:moveTo>
                    <a:pt x="215" y="0"/>
                  </a:moveTo>
                  <a:cubicBezTo>
                    <a:pt x="8" y="0"/>
                    <a:pt x="8" y="0"/>
                    <a:pt x="8" y="0"/>
                  </a:cubicBezTo>
                  <a:cubicBezTo>
                    <a:pt x="4" y="0"/>
                    <a:pt x="0" y="4"/>
                    <a:pt x="0" y="8"/>
                  </a:cubicBezTo>
                  <a:cubicBezTo>
                    <a:pt x="0" y="12"/>
                    <a:pt x="4" y="16"/>
                    <a:pt x="8" y="16"/>
                  </a:cubicBezTo>
                  <a:cubicBezTo>
                    <a:pt x="215" y="16"/>
                    <a:pt x="215" y="16"/>
                    <a:pt x="215" y="16"/>
                  </a:cubicBezTo>
                  <a:cubicBezTo>
                    <a:pt x="230" y="16"/>
                    <a:pt x="241" y="27"/>
                    <a:pt x="241" y="41"/>
                  </a:cubicBezTo>
                  <a:cubicBezTo>
                    <a:pt x="241" y="55"/>
                    <a:pt x="230" y="66"/>
                    <a:pt x="216" y="66"/>
                  </a:cubicBezTo>
                  <a:cubicBezTo>
                    <a:pt x="206" y="66"/>
                    <a:pt x="196" y="59"/>
                    <a:pt x="193" y="49"/>
                  </a:cubicBezTo>
                  <a:cubicBezTo>
                    <a:pt x="191" y="45"/>
                    <a:pt x="186" y="43"/>
                    <a:pt x="182" y="45"/>
                  </a:cubicBezTo>
                  <a:cubicBezTo>
                    <a:pt x="178" y="46"/>
                    <a:pt x="176" y="51"/>
                    <a:pt x="178" y="55"/>
                  </a:cubicBezTo>
                  <a:cubicBezTo>
                    <a:pt x="184" y="71"/>
                    <a:pt x="199" y="82"/>
                    <a:pt x="216" y="82"/>
                  </a:cubicBezTo>
                  <a:cubicBezTo>
                    <a:pt x="239" y="82"/>
                    <a:pt x="257" y="64"/>
                    <a:pt x="257" y="41"/>
                  </a:cubicBezTo>
                  <a:cubicBezTo>
                    <a:pt x="257" y="18"/>
                    <a:pt x="238"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0" name="Rectangle: Rounded Corners 1379">
            <a:extLst>
              <a:ext uri="{FF2B5EF4-FFF2-40B4-BE49-F238E27FC236}">
                <a16:creationId xmlns:a16="http://schemas.microsoft.com/office/drawing/2014/main" id="{69DFCD8B-2AE5-3367-2272-10467CFCD5F6}"/>
              </a:ext>
            </a:extLst>
          </p:cNvPr>
          <p:cNvSpPr/>
          <p:nvPr/>
        </p:nvSpPr>
        <p:spPr>
          <a:xfrm>
            <a:off x="2591163" y="3549220"/>
            <a:ext cx="450889" cy="45088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81" name="Group 29" descr="Tide.">
            <a:extLst>
              <a:ext uri="{FF2B5EF4-FFF2-40B4-BE49-F238E27FC236}">
                <a16:creationId xmlns:a16="http://schemas.microsoft.com/office/drawing/2014/main" id="{B879CFE2-F813-D067-6498-04EFF5DE5E5C}"/>
              </a:ext>
            </a:extLst>
          </p:cNvPr>
          <p:cNvGrpSpPr>
            <a:grpSpLocks noChangeAspect="1"/>
          </p:cNvGrpSpPr>
          <p:nvPr/>
        </p:nvGrpSpPr>
        <p:grpSpPr bwMode="auto">
          <a:xfrm>
            <a:off x="962101" y="3773088"/>
            <a:ext cx="294394" cy="285269"/>
            <a:chOff x="5242" y="1679"/>
            <a:chExt cx="613" cy="594"/>
          </a:xfrm>
          <a:solidFill>
            <a:schemeClr val="accent3"/>
          </a:solidFill>
        </p:grpSpPr>
        <p:sp>
          <p:nvSpPr>
            <p:cNvPr id="1382" name="Freeform 10">
              <a:extLst>
                <a:ext uri="{FF2B5EF4-FFF2-40B4-BE49-F238E27FC236}">
                  <a16:creationId xmlns:a16="http://schemas.microsoft.com/office/drawing/2014/main" id="{90D716F2-A8B6-784E-E95F-EF2699371601}"/>
                </a:ext>
              </a:extLst>
            </p:cNvPr>
            <p:cNvSpPr>
              <a:spLocks/>
            </p:cNvSpPr>
            <p:nvPr/>
          </p:nvSpPr>
          <p:spPr bwMode="auto">
            <a:xfrm>
              <a:off x="5558" y="1679"/>
              <a:ext cx="223" cy="326"/>
            </a:xfrm>
            <a:custGeom>
              <a:avLst/>
              <a:gdLst>
                <a:gd name="T0" fmla="*/ 9 w 93"/>
                <a:gd name="T1" fmla="*/ 54 h 136"/>
                <a:gd name="T2" fmla="*/ 15 w 93"/>
                <a:gd name="T3" fmla="*/ 51 h 136"/>
                <a:gd name="T4" fmla="*/ 39 w 93"/>
                <a:gd name="T5" fmla="*/ 27 h 136"/>
                <a:gd name="T6" fmla="*/ 39 w 93"/>
                <a:gd name="T7" fmla="*/ 128 h 136"/>
                <a:gd name="T8" fmla="*/ 47 w 93"/>
                <a:gd name="T9" fmla="*/ 136 h 136"/>
                <a:gd name="T10" fmla="*/ 55 w 93"/>
                <a:gd name="T11" fmla="*/ 128 h 136"/>
                <a:gd name="T12" fmla="*/ 55 w 93"/>
                <a:gd name="T13" fmla="*/ 27 h 136"/>
                <a:gd name="T14" fmla="*/ 79 w 93"/>
                <a:gd name="T15" fmla="*/ 51 h 136"/>
                <a:gd name="T16" fmla="*/ 90 w 93"/>
                <a:gd name="T17" fmla="*/ 51 h 136"/>
                <a:gd name="T18" fmla="*/ 90 w 93"/>
                <a:gd name="T19" fmla="*/ 40 h 136"/>
                <a:gd name="T20" fmla="*/ 52 w 93"/>
                <a:gd name="T21" fmla="*/ 2 h 136"/>
                <a:gd name="T22" fmla="*/ 50 w 93"/>
                <a:gd name="T23" fmla="*/ 1 h 136"/>
                <a:gd name="T24" fmla="*/ 47 w 93"/>
                <a:gd name="T25" fmla="*/ 0 h 136"/>
                <a:gd name="T26" fmla="*/ 47 w 93"/>
                <a:gd name="T27" fmla="*/ 0 h 136"/>
                <a:gd name="T28" fmla="*/ 44 w 93"/>
                <a:gd name="T29" fmla="*/ 1 h 136"/>
                <a:gd name="T30" fmla="*/ 41 w 93"/>
                <a:gd name="T31" fmla="*/ 2 h 136"/>
                <a:gd name="T32" fmla="*/ 41 w 93"/>
                <a:gd name="T33" fmla="*/ 2 h 136"/>
                <a:gd name="T34" fmla="*/ 4 w 93"/>
                <a:gd name="T35" fmla="*/ 40 h 136"/>
                <a:gd name="T36" fmla="*/ 4 w 93"/>
                <a:gd name="T37" fmla="*/ 51 h 136"/>
                <a:gd name="T38" fmla="*/ 9 w 93"/>
                <a:gd name="T39"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136">
                  <a:moveTo>
                    <a:pt x="9" y="54"/>
                  </a:moveTo>
                  <a:cubicBezTo>
                    <a:pt x="11" y="54"/>
                    <a:pt x="13" y="53"/>
                    <a:pt x="15" y="51"/>
                  </a:cubicBezTo>
                  <a:cubicBezTo>
                    <a:pt x="39" y="27"/>
                    <a:pt x="39" y="27"/>
                    <a:pt x="39" y="27"/>
                  </a:cubicBezTo>
                  <a:cubicBezTo>
                    <a:pt x="39" y="128"/>
                    <a:pt x="39" y="128"/>
                    <a:pt x="39" y="128"/>
                  </a:cubicBezTo>
                  <a:cubicBezTo>
                    <a:pt x="39" y="132"/>
                    <a:pt x="42" y="136"/>
                    <a:pt x="47" y="136"/>
                  </a:cubicBezTo>
                  <a:cubicBezTo>
                    <a:pt x="51" y="136"/>
                    <a:pt x="55" y="132"/>
                    <a:pt x="55" y="128"/>
                  </a:cubicBezTo>
                  <a:cubicBezTo>
                    <a:pt x="55" y="27"/>
                    <a:pt x="55" y="27"/>
                    <a:pt x="55" y="27"/>
                  </a:cubicBezTo>
                  <a:cubicBezTo>
                    <a:pt x="79" y="51"/>
                    <a:pt x="79" y="51"/>
                    <a:pt x="79" y="51"/>
                  </a:cubicBezTo>
                  <a:cubicBezTo>
                    <a:pt x="82" y="54"/>
                    <a:pt x="87" y="54"/>
                    <a:pt x="90" y="51"/>
                  </a:cubicBezTo>
                  <a:cubicBezTo>
                    <a:pt x="93" y="48"/>
                    <a:pt x="93" y="43"/>
                    <a:pt x="90" y="40"/>
                  </a:cubicBezTo>
                  <a:cubicBezTo>
                    <a:pt x="52" y="2"/>
                    <a:pt x="52" y="2"/>
                    <a:pt x="52" y="2"/>
                  </a:cubicBezTo>
                  <a:cubicBezTo>
                    <a:pt x="52" y="2"/>
                    <a:pt x="51" y="1"/>
                    <a:pt x="50" y="1"/>
                  </a:cubicBezTo>
                  <a:cubicBezTo>
                    <a:pt x="49" y="0"/>
                    <a:pt x="48" y="0"/>
                    <a:pt x="47" y="0"/>
                  </a:cubicBezTo>
                  <a:cubicBezTo>
                    <a:pt x="47" y="0"/>
                    <a:pt x="47" y="0"/>
                    <a:pt x="47" y="0"/>
                  </a:cubicBezTo>
                  <a:cubicBezTo>
                    <a:pt x="46" y="0"/>
                    <a:pt x="45" y="0"/>
                    <a:pt x="44" y="1"/>
                  </a:cubicBezTo>
                  <a:cubicBezTo>
                    <a:pt x="43" y="1"/>
                    <a:pt x="42" y="2"/>
                    <a:pt x="41" y="2"/>
                  </a:cubicBezTo>
                  <a:cubicBezTo>
                    <a:pt x="41" y="2"/>
                    <a:pt x="41" y="2"/>
                    <a:pt x="41" y="2"/>
                  </a:cubicBezTo>
                  <a:cubicBezTo>
                    <a:pt x="4" y="40"/>
                    <a:pt x="4" y="40"/>
                    <a:pt x="4" y="40"/>
                  </a:cubicBezTo>
                  <a:cubicBezTo>
                    <a:pt x="0" y="43"/>
                    <a:pt x="1" y="48"/>
                    <a:pt x="4" y="51"/>
                  </a:cubicBezTo>
                  <a:cubicBezTo>
                    <a:pt x="5" y="53"/>
                    <a:pt x="7" y="54"/>
                    <a:pt x="9"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1">
              <a:extLst>
                <a:ext uri="{FF2B5EF4-FFF2-40B4-BE49-F238E27FC236}">
                  <a16:creationId xmlns:a16="http://schemas.microsoft.com/office/drawing/2014/main" id="{B71EED17-63B2-1DE3-8503-C3024CCC48DE}"/>
                </a:ext>
              </a:extLst>
            </p:cNvPr>
            <p:cNvSpPr>
              <a:spLocks/>
            </p:cNvSpPr>
            <p:nvPr/>
          </p:nvSpPr>
          <p:spPr bwMode="auto">
            <a:xfrm>
              <a:off x="5343" y="1679"/>
              <a:ext cx="223" cy="326"/>
            </a:xfrm>
            <a:custGeom>
              <a:avLst/>
              <a:gdLst>
                <a:gd name="T0" fmla="*/ 41 w 93"/>
                <a:gd name="T1" fmla="*/ 134 h 136"/>
                <a:gd name="T2" fmla="*/ 41 w 93"/>
                <a:gd name="T3" fmla="*/ 134 h 136"/>
                <a:gd name="T4" fmla="*/ 44 w 93"/>
                <a:gd name="T5" fmla="*/ 135 h 136"/>
                <a:gd name="T6" fmla="*/ 47 w 93"/>
                <a:gd name="T7" fmla="*/ 136 h 136"/>
                <a:gd name="T8" fmla="*/ 47 w 93"/>
                <a:gd name="T9" fmla="*/ 136 h 136"/>
                <a:gd name="T10" fmla="*/ 50 w 93"/>
                <a:gd name="T11" fmla="*/ 135 h 136"/>
                <a:gd name="T12" fmla="*/ 52 w 93"/>
                <a:gd name="T13" fmla="*/ 134 h 136"/>
                <a:gd name="T14" fmla="*/ 90 w 93"/>
                <a:gd name="T15" fmla="*/ 96 h 136"/>
                <a:gd name="T16" fmla="*/ 90 w 93"/>
                <a:gd name="T17" fmla="*/ 85 h 136"/>
                <a:gd name="T18" fmla="*/ 79 w 93"/>
                <a:gd name="T19" fmla="*/ 85 h 136"/>
                <a:gd name="T20" fmla="*/ 55 w 93"/>
                <a:gd name="T21" fmla="*/ 109 h 136"/>
                <a:gd name="T22" fmla="*/ 55 w 93"/>
                <a:gd name="T23" fmla="*/ 8 h 136"/>
                <a:gd name="T24" fmla="*/ 47 w 93"/>
                <a:gd name="T25" fmla="*/ 0 h 136"/>
                <a:gd name="T26" fmla="*/ 39 w 93"/>
                <a:gd name="T27" fmla="*/ 8 h 136"/>
                <a:gd name="T28" fmla="*/ 39 w 93"/>
                <a:gd name="T29" fmla="*/ 109 h 136"/>
                <a:gd name="T30" fmla="*/ 15 w 93"/>
                <a:gd name="T31" fmla="*/ 85 h 136"/>
                <a:gd name="T32" fmla="*/ 4 w 93"/>
                <a:gd name="T33" fmla="*/ 85 h 136"/>
                <a:gd name="T34" fmla="*/ 4 w 93"/>
                <a:gd name="T35" fmla="*/ 96 h 136"/>
                <a:gd name="T36" fmla="*/ 41 w 93"/>
                <a:gd name="T37" fmla="*/ 1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 h="136">
                  <a:moveTo>
                    <a:pt x="41" y="134"/>
                  </a:moveTo>
                  <a:cubicBezTo>
                    <a:pt x="41" y="134"/>
                    <a:pt x="41" y="134"/>
                    <a:pt x="41" y="134"/>
                  </a:cubicBezTo>
                  <a:cubicBezTo>
                    <a:pt x="42" y="134"/>
                    <a:pt x="43" y="135"/>
                    <a:pt x="44" y="135"/>
                  </a:cubicBezTo>
                  <a:cubicBezTo>
                    <a:pt x="45" y="136"/>
                    <a:pt x="46" y="136"/>
                    <a:pt x="47" y="136"/>
                  </a:cubicBezTo>
                  <a:cubicBezTo>
                    <a:pt x="47" y="136"/>
                    <a:pt x="47" y="136"/>
                    <a:pt x="47" y="136"/>
                  </a:cubicBezTo>
                  <a:cubicBezTo>
                    <a:pt x="48" y="136"/>
                    <a:pt x="49" y="136"/>
                    <a:pt x="50" y="135"/>
                  </a:cubicBezTo>
                  <a:cubicBezTo>
                    <a:pt x="51" y="135"/>
                    <a:pt x="52" y="134"/>
                    <a:pt x="52" y="134"/>
                  </a:cubicBezTo>
                  <a:cubicBezTo>
                    <a:pt x="90" y="96"/>
                    <a:pt x="90" y="96"/>
                    <a:pt x="90" y="96"/>
                  </a:cubicBezTo>
                  <a:cubicBezTo>
                    <a:pt x="93" y="93"/>
                    <a:pt x="93" y="88"/>
                    <a:pt x="90" y="85"/>
                  </a:cubicBezTo>
                  <a:cubicBezTo>
                    <a:pt x="87" y="82"/>
                    <a:pt x="82" y="82"/>
                    <a:pt x="79" y="85"/>
                  </a:cubicBezTo>
                  <a:cubicBezTo>
                    <a:pt x="55" y="109"/>
                    <a:pt x="55" y="109"/>
                    <a:pt x="55" y="109"/>
                  </a:cubicBezTo>
                  <a:cubicBezTo>
                    <a:pt x="55" y="8"/>
                    <a:pt x="55" y="8"/>
                    <a:pt x="55" y="8"/>
                  </a:cubicBezTo>
                  <a:cubicBezTo>
                    <a:pt x="55" y="4"/>
                    <a:pt x="51" y="0"/>
                    <a:pt x="47" y="0"/>
                  </a:cubicBezTo>
                  <a:cubicBezTo>
                    <a:pt x="42" y="0"/>
                    <a:pt x="39" y="4"/>
                    <a:pt x="39" y="8"/>
                  </a:cubicBezTo>
                  <a:cubicBezTo>
                    <a:pt x="39" y="109"/>
                    <a:pt x="39" y="109"/>
                    <a:pt x="39" y="109"/>
                  </a:cubicBezTo>
                  <a:cubicBezTo>
                    <a:pt x="15" y="85"/>
                    <a:pt x="15" y="85"/>
                    <a:pt x="15" y="85"/>
                  </a:cubicBezTo>
                  <a:cubicBezTo>
                    <a:pt x="12" y="82"/>
                    <a:pt x="7" y="82"/>
                    <a:pt x="4" y="85"/>
                  </a:cubicBezTo>
                  <a:cubicBezTo>
                    <a:pt x="1" y="88"/>
                    <a:pt x="0" y="93"/>
                    <a:pt x="4" y="96"/>
                  </a:cubicBezTo>
                  <a:lnTo>
                    <a:pt x="41"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Freeform 12">
              <a:extLst>
                <a:ext uri="{FF2B5EF4-FFF2-40B4-BE49-F238E27FC236}">
                  <a16:creationId xmlns:a16="http://schemas.microsoft.com/office/drawing/2014/main" id="{4E5085CA-3509-5AD2-1BD4-8178070704EB}"/>
                </a:ext>
              </a:extLst>
            </p:cNvPr>
            <p:cNvSpPr>
              <a:spLocks/>
            </p:cNvSpPr>
            <p:nvPr/>
          </p:nvSpPr>
          <p:spPr bwMode="auto">
            <a:xfrm>
              <a:off x="5242" y="2149"/>
              <a:ext cx="613" cy="124"/>
            </a:xfrm>
            <a:custGeom>
              <a:avLst/>
              <a:gdLst>
                <a:gd name="T0" fmla="*/ 248 w 256"/>
                <a:gd name="T1" fmla="*/ 28 h 52"/>
                <a:gd name="T2" fmla="*/ 248 w 256"/>
                <a:gd name="T3" fmla="*/ 28 h 52"/>
                <a:gd name="T4" fmla="*/ 194 w 256"/>
                <a:gd name="T5" fmla="*/ 3 h 52"/>
                <a:gd name="T6" fmla="*/ 189 w 256"/>
                <a:gd name="T7" fmla="*/ 0 h 52"/>
                <a:gd name="T8" fmla="*/ 183 w 256"/>
                <a:gd name="T9" fmla="*/ 2 h 52"/>
                <a:gd name="T10" fmla="*/ 174 w 256"/>
                <a:gd name="T11" fmla="*/ 12 h 52"/>
                <a:gd name="T12" fmla="*/ 74 w 256"/>
                <a:gd name="T13" fmla="*/ 3 h 52"/>
                <a:gd name="T14" fmla="*/ 68 w 256"/>
                <a:gd name="T15" fmla="*/ 0 h 52"/>
                <a:gd name="T16" fmla="*/ 62 w 256"/>
                <a:gd name="T17" fmla="*/ 3 h 52"/>
                <a:gd name="T18" fmla="*/ 8 w 256"/>
                <a:gd name="T19" fmla="*/ 28 h 52"/>
                <a:gd name="T20" fmla="*/ 0 w 256"/>
                <a:gd name="T21" fmla="*/ 36 h 52"/>
                <a:gd name="T22" fmla="*/ 8 w 256"/>
                <a:gd name="T23" fmla="*/ 44 h 52"/>
                <a:gd name="T24" fmla="*/ 8 w 256"/>
                <a:gd name="T25" fmla="*/ 44 h 52"/>
                <a:gd name="T26" fmla="*/ 68 w 256"/>
                <a:gd name="T27" fmla="*/ 20 h 52"/>
                <a:gd name="T28" fmla="*/ 184 w 256"/>
                <a:gd name="T29" fmla="*/ 23 h 52"/>
                <a:gd name="T30" fmla="*/ 188 w 256"/>
                <a:gd name="T31" fmla="*/ 20 h 52"/>
                <a:gd name="T32" fmla="*/ 248 w 256"/>
                <a:gd name="T33" fmla="*/ 44 h 52"/>
                <a:gd name="T34" fmla="*/ 256 w 256"/>
                <a:gd name="T35" fmla="*/ 36 h 52"/>
                <a:gd name="T36" fmla="*/ 248 w 256"/>
                <a:gd name="T37"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52">
                  <a:moveTo>
                    <a:pt x="248" y="28"/>
                  </a:moveTo>
                  <a:cubicBezTo>
                    <a:pt x="248" y="28"/>
                    <a:pt x="248" y="28"/>
                    <a:pt x="248" y="28"/>
                  </a:cubicBezTo>
                  <a:cubicBezTo>
                    <a:pt x="227" y="28"/>
                    <a:pt x="208" y="19"/>
                    <a:pt x="194" y="3"/>
                  </a:cubicBezTo>
                  <a:cubicBezTo>
                    <a:pt x="193" y="1"/>
                    <a:pt x="191" y="0"/>
                    <a:pt x="189" y="0"/>
                  </a:cubicBezTo>
                  <a:cubicBezTo>
                    <a:pt x="186" y="0"/>
                    <a:pt x="184" y="1"/>
                    <a:pt x="183" y="2"/>
                  </a:cubicBezTo>
                  <a:cubicBezTo>
                    <a:pt x="174" y="12"/>
                    <a:pt x="174" y="12"/>
                    <a:pt x="174" y="12"/>
                  </a:cubicBezTo>
                  <a:cubicBezTo>
                    <a:pt x="144" y="36"/>
                    <a:pt x="99" y="33"/>
                    <a:pt x="74" y="3"/>
                  </a:cubicBezTo>
                  <a:cubicBezTo>
                    <a:pt x="73" y="1"/>
                    <a:pt x="71" y="0"/>
                    <a:pt x="68" y="0"/>
                  </a:cubicBezTo>
                  <a:cubicBezTo>
                    <a:pt x="66" y="0"/>
                    <a:pt x="64" y="1"/>
                    <a:pt x="62" y="3"/>
                  </a:cubicBezTo>
                  <a:cubicBezTo>
                    <a:pt x="49" y="19"/>
                    <a:pt x="29" y="28"/>
                    <a:pt x="8" y="28"/>
                  </a:cubicBezTo>
                  <a:cubicBezTo>
                    <a:pt x="4" y="28"/>
                    <a:pt x="0" y="32"/>
                    <a:pt x="0" y="36"/>
                  </a:cubicBezTo>
                  <a:cubicBezTo>
                    <a:pt x="0" y="40"/>
                    <a:pt x="4" y="44"/>
                    <a:pt x="8" y="44"/>
                  </a:cubicBezTo>
                  <a:cubicBezTo>
                    <a:pt x="8" y="44"/>
                    <a:pt x="8" y="44"/>
                    <a:pt x="8" y="44"/>
                  </a:cubicBezTo>
                  <a:cubicBezTo>
                    <a:pt x="31" y="44"/>
                    <a:pt x="52" y="35"/>
                    <a:pt x="68" y="20"/>
                  </a:cubicBezTo>
                  <a:cubicBezTo>
                    <a:pt x="100" y="50"/>
                    <a:pt x="150" y="52"/>
                    <a:pt x="184" y="23"/>
                  </a:cubicBezTo>
                  <a:cubicBezTo>
                    <a:pt x="188" y="20"/>
                    <a:pt x="188" y="20"/>
                    <a:pt x="188" y="20"/>
                  </a:cubicBezTo>
                  <a:cubicBezTo>
                    <a:pt x="204" y="35"/>
                    <a:pt x="225" y="44"/>
                    <a:pt x="248" y="44"/>
                  </a:cubicBezTo>
                  <a:cubicBezTo>
                    <a:pt x="253" y="44"/>
                    <a:pt x="256" y="40"/>
                    <a:pt x="256" y="36"/>
                  </a:cubicBezTo>
                  <a:cubicBezTo>
                    <a:pt x="256" y="32"/>
                    <a:pt x="253" y="28"/>
                    <a:pt x="24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3">
              <a:extLst>
                <a:ext uri="{FF2B5EF4-FFF2-40B4-BE49-F238E27FC236}">
                  <a16:creationId xmlns:a16="http://schemas.microsoft.com/office/drawing/2014/main" id="{0357DC1D-A4C5-67E1-B106-0FF47640BC61}"/>
                </a:ext>
              </a:extLst>
            </p:cNvPr>
            <p:cNvSpPr>
              <a:spLocks/>
            </p:cNvSpPr>
            <p:nvPr/>
          </p:nvSpPr>
          <p:spPr bwMode="auto">
            <a:xfrm>
              <a:off x="5242" y="2053"/>
              <a:ext cx="613" cy="125"/>
            </a:xfrm>
            <a:custGeom>
              <a:avLst/>
              <a:gdLst>
                <a:gd name="T0" fmla="*/ 8 w 256"/>
                <a:gd name="T1" fmla="*/ 44 h 52"/>
                <a:gd name="T2" fmla="*/ 8 w 256"/>
                <a:gd name="T3" fmla="*/ 44 h 52"/>
                <a:gd name="T4" fmla="*/ 68 w 256"/>
                <a:gd name="T5" fmla="*/ 20 h 52"/>
                <a:gd name="T6" fmla="*/ 184 w 256"/>
                <a:gd name="T7" fmla="*/ 23 h 52"/>
                <a:gd name="T8" fmla="*/ 188 w 256"/>
                <a:gd name="T9" fmla="*/ 20 h 52"/>
                <a:gd name="T10" fmla="*/ 248 w 256"/>
                <a:gd name="T11" fmla="*/ 44 h 52"/>
                <a:gd name="T12" fmla="*/ 256 w 256"/>
                <a:gd name="T13" fmla="*/ 36 h 52"/>
                <a:gd name="T14" fmla="*/ 248 w 256"/>
                <a:gd name="T15" fmla="*/ 28 h 52"/>
                <a:gd name="T16" fmla="*/ 248 w 256"/>
                <a:gd name="T17" fmla="*/ 28 h 52"/>
                <a:gd name="T18" fmla="*/ 194 w 256"/>
                <a:gd name="T19" fmla="*/ 3 h 52"/>
                <a:gd name="T20" fmla="*/ 189 w 256"/>
                <a:gd name="T21" fmla="*/ 0 h 52"/>
                <a:gd name="T22" fmla="*/ 183 w 256"/>
                <a:gd name="T23" fmla="*/ 2 h 52"/>
                <a:gd name="T24" fmla="*/ 174 w 256"/>
                <a:gd name="T25" fmla="*/ 12 h 52"/>
                <a:gd name="T26" fmla="*/ 74 w 256"/>
                <a:gd name="T27" fmla="*/ 3 h 52"/>
                <a:gd name="T28" fmla="*/ 68 w 256"/>
                <a:gd name="T29" fmla="*/ 0 h 52"/>
                <a:gd name="T30" fmla="*/ 62 w 256"/>
                <a:gd name="T31" fmla="*/ 3 h 52"/>
                <a:gd name="T32" fmla="*/ 8 w 256"/>
                <a:gd name="T33" fmla="*/ 28 h 52"/>
                <a:gd name="T34" fmla="*/ 0 w 256"/>
                <a:gd name="T35" fmla="*/ 36 h 52"/>
                <a:gd name="T36" fmla="*/ 8 w 256"/>
                <a:gd name="T3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52">
                  <a:moveTo>
                    <a:pt x="8" y="44"/>
                  </a:moveTo>
                  <a:cubicBezTo>
                    <a:pt x="8" y="44"/>
                    <a:pt x="8" y="44"/>
                    <a:pt x="8" y="44"/>
                  </a:cubicBezTo>
                  <a:cubicBezTo>
                    <a:pt x="31" y="44"/>
                    <a:pt x="52" y="35"/>
                    <a:pt x="68" y="20"/>
                  </a:cubicBezTo>
                  <a:cubicBezTo>
                    <a:pt x="100" y="50"/>
                    <a:pt x="150" y="52"/>
                    <a:pt x="184" y="23"/>
                  </a:cubicBezTo>
                  <a:cubicBezTo>
                    <a:pt x="188" y="20"/>
                    <a:pt x="188" y="20"/>
                    <a:pt x="188" y="20"/>
                  </a:cubicBezTo>
                  <a:cubicBezTo>
                    <a:pt x="204" y="35"/>
                    <a:pt x="225" y="44"/>
                    <a:pt x="248" y="44"/>
                  </a:cubicBezTo>
                  <a:cubicBezTo>
                    <a:pt x="253" y="44"/>
                    <a:pt x="256" y="40"/>
                    <a:pt x="256" y="36"/>
                  </a:cubicBezTo>
                  <a:cubicBezTo>
                    <a:pt x="256" y="32"/>
                    <a:pt x="253" y="28"/>
                    <a:pt x="248" y="28"/>
                  </a:cubicBezTo>
                  <a:cubicBezTo>
                    <a:pt x="248" y="28"/>
                    <a:pt x="248" y="28"/>
                    <a:pt x="248" y="28"/>
                  </a:cubicBezTo>
                  <a:cubicBezTo>
                    <a:pt x="227" y="28"/>
                    <a:pt x="208" y="19"/>
                    <a:pt x="194" y="3"/>
                  </a:cubicBezTo>
                  <a:cubicBezTo>
                    <a:pt x="193" y="1"/>
                    <a:pt x="191" y="0"/>
                    <a:pt x="189" y="0"/>
                  </a:cubicBezTo>
                  <a:cubicBezTo>
                    <a:pt x="186" y="0"/>
                    <a:pt x="184" y="1"/>
                    <a:pt x="183" y="2"/>
                  </a:cubicBezTo>
                  <a:cubicBezTo>
                    <a:pt x="174" y="12"/>
                    <a:pt x="174" y="12"/>
                    <a:pt x="174" y="12"/>
                  </a:cubicBezTo>
                  <a:cubicBezTo>
                    <a:pt x="144" y="36"/>
                    <a:pt x="99" y="33"/>
                    <a:pt x="74" y="3"/>
                  </a:cubicBezTo>
                  <a:cubicBezTo>
                    <a:pt x="73" y="1"/>
                    <a:pt x="71" y="0"/>
                    <a:pt x="68" y="0"/>
                  </a:cubicBezTo>
                  <a:cubicBezTo>
                    <a:pt x="66" y="0"/>
                    <a:pt x="64" y="1"/>
                    <a:pt x="62" y="3"/>
                  </a:cubicBezTo>
                  <a:cubicBezTo>
                    <a:pt x="49" y="19"/>
                    <a:pt x="29" y="28"/>
                    <a:pt x="8" y="28"/>
                  </a:cubicBezTo>
                  <a:cubicBezTo>
                    <a:pt x="4" y="28"/>
                    <a:pt x="0" y="32"/>
                    <a:pt x="0" y="36"/>
                  </a:cubicBezTo>
                  <a:cubicBezTo>
                    <a:pt x="0" y="40"/>
                    <a:pt x="4" y="44"/>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6" name="Rectangle: Rounded Corners 1385">
            <a:extLst>
              <a:ext uri="{FF2B5EF4-FFF2-40B4-BE49-F238E27FC236}">
                <a16:creationId xmlns:a16="http://schemas.microsoft.com/office/drawing/2014/main" id="{F5620E30-97D6-21DC-573E-95F6823DB76E}"/>
              </a:ext>
            </a:extLst>
          </p:cNvPr>
          <p:cNvSpPr/>
          <p:nvPr/>
        </p:nvSpPr>
        <p:spPr>
          <a:xfrm>
            <a:off x="883863" y="3692677"/>
            <a:ext cx="450889" cy="450889"/>
          </a:xfrm>
          <a:prstGeom prst="round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87" name="Group 29" descr="Wildfire bushfire.">
            <a:extLst>
              <a:ext uri="{FF2B5EF4-FFF2-40B4-BE49-F238E27FC236}">
                <a16:creationId xmlns:a16="http://schemas.microsoft.com/office/drawing/2014/main" id="{46EEEE78-FFF0-ED2D-A03B-6966D5598CC6}"/>
              </a:ext>
            </a:extLst>
          </p:cNvPr>
          <p:cNvGrpSpPr>
            <a:grpSpLocks noChangeAspect="1"/>
          </p:cNvGrpSpPr>
          <p:nvPr/>
        </p:nvGrpSpPr>
        <p:grpSpPr bwMode="auto">
          <a:xfrm>
            <a:off x="1501678" y="2751532"/>
            <a:ext cx="183029" cy="294395"/>
            <a:chOff x="5240" y="1368"/>
            <a:chExt cx="378" cy="608"/>
          </a:xfrm>
          <a:solidFill>
            <a:schemeClr val="accent2"/>
          </a:solidFill>
        </p:grpSpPr>
        <p:sp>
          <p:nvSpPr>
            <p:cNvPr id="1388" name="Freeform 5">
              <a:extLst>
                <a:ext uri="{FF2B5EF4-FFF2-40B4-BE49-F238E27FC236}">
                  <a16:creationId xmlns:a16="http://schemas.microsoft.com/office/drawing/2014/main" id="{CB7B1A25-C97D-F619-9BF8-B1B21AEE68D5}"/>
                </a:ext>
              </a:extLst>
            </p:cNvPr>
            <p:cNvSpPr>
              <a:spLocks/>
            </p:cNvSpPr>
            <p:nvPr/>
          </p:nvSpPr>
          <p:spPr bwMode="auto">
            <a:xfrm>
              <a:off x="5273" y="1368"/>
              <a:ext cx="316" cy="335"/>
            </a:xfrm>
            <a:custGeom>
              <a:avLst/>
              <a:gdLst>
                <a:gd name="T0" fmla="*/ 17 w 131"/>
                <a:gd name="T1" fmla="*/ 140 h 140"/>
                <a:gd name="T2" fmla="*/ 21 w 131"/>
                <a:gd name="T3" fmla="*/ 139 h 140"/>
                <a:gd name="T4" fmla="*/ 24 w 131"/>
                <a:gd name="T5" fmla="*/ 128 h 140"/>
                <a:gd name="T6" fmla="*/ 16 w 131"/>
                <a:gd name="T7" fmla="*/ 101 h 140"/>
                <a:gd name="T8" fmla="*/ 46 w 131"/>
                <a:gd name="T9" fmla="*/ 49 h 140"/>
                <a:gd name="T10" fmla="*/ 64 w 131"/>
                <a:gd name="T11" fmla="*/ 24 h 140"/>
                <a:gd name="T12" fmla="*/ 66 w 131"/>
                <a:gd name="T13" fmla="*/ 60 h 140"/>
                <a:gd name="T14" fmla="*/ 64 w 131"/>
                <a:gd name="T15" fmla="*/ 68 h 140"/>
                <a:gd name="T16" fmla="*/ 77 w 131"/>
                <a:gd name="T17" fmla="*/ 82 h 140"/>
                <a:gd name="T18" fmla="*/ 101 w 131"/>
                <a:gd name="T19" fmla="*/ 65 h 140"/>
                <a:gd name="T20" fmla="*/ 112 w 131"/>
                <a:gd name="T21" fmla="*/ 104 h 140"/>
                <a:gd name="T22" fmla="*/ 106 w 131"/>
                <a:gd name="T23" fmla="*/ 124 h 140"/>
                <a:gd name="T24" fmla="*/ 109 w 131"/>
                <a:gd name="T25" fmla="*/ 135 h 140"/>
                <a:gd name="T26" fmla="*/ 120 w 131"/>
                <a:gd name="T27" fmla="*/ 133 h 140"/>
                <a:gd name="T28" fmla="*/ 128 w 131"/>
                <a:gd name="T29" fmla="*/ 104 h 140"/>
                <a:gd name="T30" fmla="*/ 105 w 131"/>
                <a:gd name="T31" fmla="*/ 44 h 140"/>
                <a:gd name="T32" fmla="*/ 97 w 131"/>
                <a:gd name="T33" fmla="*/ 41 h 140"/>
                <a:gd name="T34" fmla="*/ 91 w 131"/>
                <a:gd name="T35" fmla="*/ 47 h 140"/>
                <a:gd name="T36" fmla="*/ 81 w 131"/>
                <a:gd name="T37" fmla="*/ 65 h 140"/>
                <a:gd name="T38" fmla="*/ 81 w 131"/>
                <a:gd name="T39" fmla="*/ 62 h 140"/>
                <a:gd name="T40" fmla="*/ 63 w 131"/>
                <a:gd name="T41" fmla="*/ 2 h 140"/>
                <a:gd name="T42" fmla="*/ 55 w 131"/>
                <a:gd name="T43" fmla="*/ 1 h 140"/>
                <a:gd name="T44" fmla="*/ 51 w 131"/>
                <a:gd name="T45" fmla="*/ 8 h 140"/>
                <a:gd name="T46" fmla="*/ 36 w 131"/>
                <a:gd name="T47" fmla="*/ 37 h 140"/>
                <a:gd name="T48" fmla="*/ 0 w 131"/>
                <a:gd name="T49" fmla="*/ 101 h 140"/>
                <a:gd name="T50" fmla="*/ 10 w 131"/>
                <a:gd name="T51" fmla="*/ 136 h 140"/>
                <a:gd name="T52" fmla="*/ 17 w 131"/>
                <a:gd name="T5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40">
                  <a:moveTo>
                    <a:pt x="17" y="140"/>
                  </a:moveTo>
                  <a:cubicBezTo>
                    <a:pt x="19" y="140"/>
                    <a:pt x="20" y="140"/>
                    <a:pt x="21" y="139"/>
                  </a:cubicBezTo>
                  <a:cubicBezTo>
                    <a:pt x="25" y="137"/>
                    <a:pt x="26" y="132"/>
                    <a:pt x="24" y="128"/>
                  </a:cubicBezTo>
                  <a:cubicBezTo>
                    <a:pt x="19" y="120"/>
                    <a:pt x="16" y="110"/>
                    <a:pt x="16" y="101"/>
                  </a:cubicBezTo>
                  <a:cubicBezTo>
                    <a:pt x="16" y="79"/>
                    <a:pt x="38" y="57"/>
                    <a:pt x="46" y="49"/>
                  </a:cubicBezTo>
                  <a:cubicBezTo>
                    <a:pt x="54" y="42"/>
                    <a:pt x="60" y="34"/>
                    <a:pt x="64" y="24"/>
                  </a:cubicBezTo>
                  <a:cubicBezTo>
                    <a:pt x="69" y="34"/>
                    <a:pt x="68" y="47"/>
                    <a:pt x="66" y="60"/>
                  </a:cubicBezTo>
                  <a:cubicBezTo>
                    <a:pt x="65" y="63"/>
                    <a:pt x="64" y="66"/>
                    <a:pt x="64" y="68"/>
                  </a:cubicBezTo>
                  <a:cubicBezTo>
                    <a:pt x="64" y="75"/>
                    <a:pt x="70" y="81"/>
                    <a:pt x="77" y="82"/>
                  </a:cubicBezTo>
                  <a:cubicBezTo>
                    <a:pt x="83" y="83"/>
                    <a:pt x="93" y="81"/>
                    <a:pt x="101" y="65"/>
                  </a:cubicBezTo>
                  <a:cubicBezTo>
                    <a:pt x="108" y="76"/>
                    <a:pt x="114" y="88"/>
                    <a:pt x="112" y="104"/>
                  </a:cubicBezTo>
                  <a:cubicBezTo>
                    <a:pt x="112" y="113"/>
                    <a:pt x="112" y="115"/>
                    <a:pt x="106" y="124"/>
                  </a:cubicBezTo>
                  <a:cubicBezTo>
                    <a:pt x="104" y="128"/>
                    <a:pt x="105" y="133"/>
                    <a:pt x="109" y="135"/>
                  </a:cubicBezTo>
                  <a:cubicBezTo>
                    <a:pt x="113" y="138"/>
                    <a:pt x="118" y="136"/>
                    <a:pt x="120" y="133"/>
                  </a:cubicBezTo>
                  <a:cubicBezTo>
                    <a:pt x="127" y="121"/>
                    <a:pt x="128" y="115"/>
                    <a:pt x="128" y="104"/>
                  </a:cubicBezTo>
                  <a:cubicBezTo>
                    <a:pt x="131" y="75"/>
                    <a:pt x="113" y="53"/>
                    <a:pt x="105" y="44"/>
                  </a:cubicBezTo>
                  <a:cubicBezTo>
                    <a:pt x="103" y="42"/>
                    <a:pt x="100" y="41"/>
                    <a:pt x="97" y="41"/>
                  </a:cubicBezTo>
                  <a:cubicBezTo>
                    <a:pt x="94" y="42"/>
                    <a:pt x="92" y="44"/>
                    <a:pt x="91" y="47"/>
                  </a:cubicBezTo>
                  <a:cubicBezTo>
                    <a:pt x="87" y="60"/>
                    <a:pt x="83" y="64"/>
                    <a:pt x="81" y="65"/>
                  </a:cubicBezTo>
                  <a:cubicBezTo>
                    <a:pt x="81" y="65"/>
                    <a:pt x="81" y="63"/>
                    <a:pt x="81" y="62"/>
                  </a:cubicBezTo>
                  <a:cubicBezTo>
                    <a:pt x="84" y="48"/>
                    <a:pt x="89" y="18"/>
                    <a:pt x="63" y="2"/>
                  </a:cubicBezTo>
                  <a:cubicBezTo>
                    <a:pt x="61" y="0"/>
                    <a:pt x="58" y="0"/>
                    <a:pt x="55" y="1"/>
                  </a:cubicBezTo>
                  <a:cubicBezTo>
                    <a:pt x="53" y="3"/>
                    <a:pt x="51" y="5"/>
                    <a:pt x="51" y="8"/>
                  </a:cubicBezTo>
                  <a:cubicBezTo>
                    <a:pt x="50" y="19"/>
                    <a:pt x="45" y="29"/>
                    <a:pt x="36" y="37"/>
                  </a:cubicBezTo>
                  <a:cubicBezTo>
                    <a:pt x="23" y="49"/>
                    <a:pt x="0" y="74"/>
                    <a:pt x="0" y="101"/>
                  </a:cubicBezTo>
                  <a:cubicBezTo>
                    <a:pt x="0" y="113"/>
                    <a:pt x="4" y="126"/>
                    <a:pt x="10" y="136"/>
                  </a:cubicBezTo>
                  <a:cubicBezTo>
                    <a:pt x="12" y="139"/>
                    <a:pt x="14" y="140"/>
                    <a:pt x="17"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6">
              <a:extLst>
                <a:ext uri="{FF2B5EF4-FFF2-40B4-BE49-F238E27FC236}">
                  <a16:creationId xmlns:a16="http://schemas.microsoft.com/office/drawing/2014/main" id="{D6044AAF-CC6C-7B0D-251A-12F88754EE6A}"/>
                </a:ext>
              </a:extLst>
            </p:cNvPr>
            <p:cNvSpPr>
              <a:spLocks noEditPoints="1"/>
            </p:cNvSpPr>
            <p:nvPr/>
          </p:nvSpPr>
          <p:spPr bwMode="auto">
            <a:xfrm>
              <a:off x="5240" y="1617"/>
              <a:ext cx="378" cy="359"/>
            </a:xfrm>
            <a:custGeom>
              <a:avLst/>
              <a:gdLst>
                <a:gd name="T0" fmla="*/ 154 w 157"/>
                <a:gd name="T1" fmla="*/ 137 h 150"/>
                <a:gd name="T2" fmla="*/ 141 w 157"/>
                <a:gd name="T3" fmla="*/ 120 h 150"/>
                <a:gd name="T4" fmla="*/ 147 w 157"/>
                <a:gd name="T5" fmla="*/ 116 h 150"/>
                <a:gd name="T6" fmla="*/ 146 w 157"/>
                <a:gd name="T7" fmla="*/ 108 h 150"/>
                <a:gd name="T8" fmla="*/ 128 w 157"/>
                <a:gd name="T9" fmla="*/ 84 h 150"/>
                <a:gd name="T10" fmla="*/ 131 w 157"/>
                <a:gd name="T11" fmla="*/ 84 h 150"/>
                <a:gd name="T12" fmla="*/ 138 w 157"/>
                <a:gd name="T13" fmla="*/ 79 h 150"/>
                <a:gd name="T14" fmla="*/ 138 w 157"/>
                <a:gd name="T15" fmla="*/ 71 h 150"/>
                <a:gd name="T16" fmla="*/ 85 w 157"/>
                <a:gd name="T17" fmla="*/ 3 h 150"/>
                <a:gd name="T18" fmla="*/ 78 w 157"/>
                <a:gd name="T19" fmla="*/ 0 h 150"/>
                <a:gd name="T20" fmla="*/ 72 w 157"/>
                <a:gd name="T21" fmla="*/ 3 h 150"/>
                <a:gd name="T22" fmla="*/ 19 w 157"/>
                <a:gd name="T23" fmla="*/ 71 h 150"/>
                <a:gd name="T24" fmla="*/ 18 w 157"/>
                <a:gd name="T25" fmla="*/ 79 h 150"/>
                <a:gd name="T26" fmla="*/ 26 w 157"/>
                <a:gd name="T27" fmla="*/ 84 h 150"/>
                <a:gd name="T28" fmla="*/ 29 w 157"/>
                <a:gd name="T29" fmla="*/ 84 h 150"/>
                <a:gd name="T30" fmla="*/ 10 w 157"/>
                <a:gd name="T31" fmla="*/ 108 h 150"/>
                <a:gd name="T32" fmla="*/ 10 w 157"/>
                <a:gd name="T33" fmla="*/ 116 h 150"/>
                <a:gd name="T34" fmla="*/ 16 w 157"/>
                <a:gd name="T35" fmla="*/ 120 h 150"/>
                <a:gd name="T36" fmla="*/ 3 w 157"/>
                <a:gd name="T37" fmla="*/ 137 h 150"/>
                <a:gd name="T38" fmla="*/ 2 w 157"/>
                <a:gd name="T39" fmla="*/ 146 h 150"/>
                <a:gd name="T40" fmla="*/ 9 w 157"/>
                <a:gd name="T41" fmla="*/ 150 h 150"/>
                <a:gd name="T42" fmla="*/ 148 w 157"/>
                <a:gd name="T43" fmla="*/ 150 h 150"/>
                <a:gd name="T44" fmla="*/ 155 w 157"/>
                <a:gd name="T45" fmla="*/ 146 h 150"/>
                <a:gd name="T46" fmla="*/ 154 w 157"/>
                <a:gd name="T47" fmla="*/ 137 h 150"/>
                <a:gd name="T48" fmla="*/ 25 w 157"/>
                <a:gd name="T49" fmla="*/ 134 h 150"/>
                <a:gd name="T50" fmla="*/ 38 w 157"/>
                <a:gd name="T51" fmla="*/ 117 h 150"/>
                <a:gd name="T52" fmla="*/ 39 w 157"/>
                <a:gd name="T53" fmla="*/ 109 h 150"/>
                <a:gd name="T54" fmla="*/ 33 w 157"/>
                <a:gd name="T55" fmla="*/ 104 h 150"/>
                <a:gd name="T56" fmla="*/ 51 w 157"/>
                <a:gd name="T57" fmla="*/ 80 h 150"/>
                <a:gd name="T58" fmla="*/ 52 w 157"/>
                <a:gd name="T59" fmla="*/ 72 h 150"/>
                <a:gd name="T60" fmla="*/ 45 w 157"/>
                <a:gd name="T61" fmla="*/ 68 h 150"/>
                <a:gd name="T62" fmla="*/ 42 w 157"/>
                <a:gd name="T63" fmla="*/ 68 h 150"/>
                <a:gd name="T64" fmla="*/ 78 w 157"/>
                <a:gd name="T65" fmla="*/ 21 h 150"/>
                <a:gd name="T66" fmla="*/ 115 w 157"/>
                <a:gd name="T67" fmla="*/ 68 h 150"/>
                <a:gd name="T68" fmla="*/ 112 w 157"/>
                <a:gd name="T69" fmla="*/ 68 h 150"/>
                <a:gd name="T70" fmla="*/ 105 w 157"/>
                <a:gd name="T71" fmla="*/ 72 h 150"/>
                <a:gd name="T72" fmla="*/ 106 w 157"/>
                <a:gd name="T73" fmla="*/ 80 h 150"/>
                <a:gd name="T74" fmla="*/ 124 w 157"/>
                <a:gd name="T75" fmla="*/ 104 h 150"/>
                <a:gd name="T76" fmla="*/ 118 w 157"/>
                <a:gd name="T77" fmla="*/ 109 h 150"/>
                <a:gd name="T78" fmla="*/ 119 w 157"/>
                <a:gd name="T79" fmla="*/ 117 h 150"/>
                <a:gd name="T80" fmla="*/ 132 w 157"/>
                <a:gd name="T81" fmla="*/ 134 h 150"/>
                <a:gd name="T82" fmla="*/ 25 w 157"/>
                <a:gd name="T83"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 h="150">
                  <a:moveTo>
                    <a:pt x="154" y="137"/>
                  </a:moveTo>
                  <a:cubicBezTo>
                    <a:pt x="141" y="120"/>
                    <a:pt x="141" y="120"/>
                    <a:pt x="141" y="120"/>
                  </a:cubicBezTo>
                  <a:cubicBezTo>
                    <a:pt x="144" y="120"/>
                    <a:pt x="146" y="118"/>
                    <a:pt x="147" y="116"/>
                  </a:cubicBezTo>
                  <a:cubicBezTo>
                    <a:pt x="149" y="113"/>
                    <a:pt x="148" y="110"/>
                    <a:pt x="146" y="108"/>
                  </a:cubicBezTo>
                  <a:cubicBezTo>
                    <a:pt x="128" y="84"/>
                    <a:pt x="128" y="84"/>
                    <a:pt x="128" y="84"/>
                  </a:cubicBezTo>
                  <a:cubicBezTo>
                    <a:pt x="131" y="84"/>
                    <a:pt x="131" y="84"/>
                    <a:pt x="131" y="84"/>
                  </a:cubicBezTo>
                  <a:cubicBezTo>
                    <a:pt x="134" y="84"/>
                    <a:pt x="137" y="82"/>
                    <a:pt x="138" y="79"/>
                  </a:cubicBezTo>
                  <a:cubicBezTo>
                    <a:pt x="140" y="76"/>
                    <a:pt x="139" y="73"/>
                    <a:pt x="138" y="71"/>
                  </a:cubicBezTo>
                  <a:cubicBezTo>
                    <a:pt x="85" y="3"/>
                    <a:pt x="85" y="3"/>
                    <a:pt x="85" y="3"/>
                  </a:cubicBezTo>
                  <a:cubicBezTo>
                    <a:pt x="83" y="1"/>
                    <a:pt x="81" y="0"/>
                    <a:pt x="78" y="0"/>
                  </a:cubicBezTo>
                  <a:cubicBezTo>
                    <a:pt x="76" y="0"/>
                    <a:pt x="74" y="1"/>
                    <a:pt x="72" y="3"/>
                  </a:cubicBezTo>
                  <a:cubicBezTo>
                    <a:pt x="19" y="71"/>
                    <a:pt x="19" y="71"/>
                    <a:pt x="19" y="71"/>
                  </a:cubicBezTo>
                  <a:cubicBezTo>
                    <a:pt x="17" y="73"/>
                    <a:pt x="17" y="76"/>
                    <a:pt x="18" y="79"/>
                  </a:cubicBezTo>
                  <a:cubicBezTo>
                    <a:pt x="20" y="82"/>
                    <a:pt x="23" y="84"/>
                    <a:pt x="26" y="84"/>
                  </a:cubicBezTo>
                  <a:cubicBezTo>
                    <a:pt x="29" y="84"/>
                    <a:pt x="29" y="84"/>
                    <a:pt x="29" y="84"/>
                  </a:cubicBezTo>
                  <a:cubicBezTo>
                    <a:pt x="10" y="108"/>
                    <a:pt x="10" y="108"/>
                    <a:pt x="10" y="108"/>
                  </a:cubicBezTo>
                  <a:cubicBezTo>
                    <a:pt x="9" y="110"/>
                    <a:pt x="8" y="113"/>
                    <a:pt x="10" y="116"/>
                  </a:cubicBezTo>
                  <a:cubicBezTo>
                    <a:pt x="11" y="118"/>
                    <a:pt x="13" y="120"/>
                    <a:pt x="16" y="120"/>
                  </a:cubicBezTo>
                  <a:cubicBezTo>
                    <a:pt x="3" y="137"/>
                    <a:pt x="3" y="137"/>
                    <a:pt x="3" y="137"/>
                  </a:cubicBezTo>
                  <a:cubicBezTo>
                    <a:pt x="1" y="140"/>
                    <a:pt x="0" y="143"/>
                    <a:pt x="2" y="146"/>
                  </a:cubicBezTo>
                  <a:cubicBezTo>
                    <a:pt x="3" y="148"/>
                    <a:pt x="6" y="150"/>
                    <a:pt x="9" y="150"/>
                  </a:cubicBezTo>
                  <a:cubicBezTo>
                    <a:pt x="148" y="150"/>
                    <a:pt x="148" y="150"/>
                    <a:pt x="148" y="150"/>
                  </a:cubicBezTo>
                  <a:cubicBezTo>
                    <a:pt x="151" y="150"/>
                    <a:pt x="154" y="148"/>
                    <a:pt x="155" y="146"/>
                  </a:cubicBezTo>
                  <a:cubicBezTo>
                    <a:pt x="157" y="143"/>
                    <a:pt x="156" y="140"/>
                    <a:pt x="154" y="137"/>
                  </a:cubicBezTo>
                  <a:close/>
                  <a:moveTo>
                    <a:pt x="25" y="134"/>
                  </a:moveTo>
                  <a:cubicBezTo>
                    <a:pt x="38" y="117"/>
                    <a:pt x="38" y="117"/>
                    <a:pt x="38" y="117"/>
                  </a:cubicBezTo>
                  <a:cubicBezTo>
                    <a:pt x="40" y="115"/>
                    <a:pt x="41" y="112"/>
                    <a:pt x="39" y="109"/>
                  </a:cubicBezTo>
                  <a:cubicBezTo>
                    <a:pt x="38" y="106"/>
                    <a:pt x="36" y="105"/>
                    <a:pt x="33" y="104"/>
                  </a:cubicBezTo>
                  <a:cubicBezTo>
                    <a:pt x="51" y="80"/>
                    <a:pt x="51" y="80"/>
                    <a:pt x="51" y="80"/>
                  </a:cubicBezTo>
                  <a:cubicBezTo>
                    <a:pt x="53" y="78"/>
                    <a:pt x="53" y="75"/>
                    <a:pt x="52" y="72"/>
                  </a:cubicBezTo>
                  <a:cubicBezTo>
                    <a:pt x="51" y="69"/>
                    <a:pt x="48" y="68"/>
                    <a:pt x="45" y="68"/>
                  </a:cubicBezTo>
                  <a:cubicBezTo>
                    <a:pt x="42" y="68"/>
                    <a:pt x="42" y="68"/>
                    <a:pt x="42" y="68"/>
                  </a:cubicBezTo>
                  <a:cubicBezTo>
                    <a:pt x="78" y="21"/>
                    <a:pt x="78" y="21"/>
                    <a:pt x="78" y="21"/>
                  </a:cubicBezTo>
                  <a:cubicBezTo>
                    <a:pt x="115" y="68"/>
                    <a:pt x="115" y="68"/>
                    <a:pt x="115" y="68"/>
                  </a:cubicBezTo>
                  <a:cubicBezTo>
                    <a:pt x="112" y="68"/>
                    <a:pt x="112" y="68"/>
                    <a:pt x="112" y="68"/>
                  </a:cubicBezTo>
                  <a:cubicBezTo>
                    <a:pt x="109" y="68"/>
                    <a:pt x="106" y="69"/>
                    <a:pt x="105" y="72"/>
                  </a:cubicBezTo>
                  <a:cubicBezTo>
                    <a:pt x="104" y="75"/>
                    <a:pt x="104" y="78"/>
                    <a:pt x="106" y="80"/>
                  </a:cubicBezTo>
                  <a:cubicBezTo>
                    <a:pt x="124" y="104"/>
                    <a:pt x="124" y="104"/>
                    <a:pt x="124" y="104"/>
                  </a:cubicBezTo>
                  <a:cubicBezTo>
                    <a:pt x="121" y="105"/>
                    <a:pt x="119" y="106"/>
                    <a:pt x="118" y="109"/>
                  </a:cubicBezTo>
                  <a:cubicBezTo>
                    <a:pt x="116" y="112"/>
                    <a:pt x="117" y="115"/>
                    <a:pt x="119" y="117"/>
                  </a:cubicBezTo>
                  <a:cubicBezTo>
                    <a:pt x="132" y="134"/>
                    <a:pt x="132" y="134"/>
                    <a:pt x="132" y="134"/>
                  </a:cubicBezTo>
                  <a:lnTo>
                    <a:pt x="25"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0" name="Rectangle: Rounded Corners 1389">
            <a:extLst>
              <a:ext uri="{FF2B5EF4-FFF2-40B4-BE49-F238E27FC236}">
                <a16:creationId xmlns:a16="http://schemas.microsoft.com/office/drawing/2014/main" id="{BBA0FC1E-04AE-FD3E-1FA6-360DB20D31D1}"/>
              </a:ext>
            </a:extLst>
          </p:cNvPr>
          <p:cNvSpPr/>
          <p:nvPr/>
        </p:nvSpPr>
        <p:spPr>
          <a:xfrm>
            <a:off x="1367735" y="2673285"/>
            <a:ext cx="450889" cy="450889"/>
          </a:xfrm>
          <a:prstGeom prst="roundRect">
            <a:avLst/>
          </a:prstGeom>
          <a:no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1391" name="Rectangle: Rounded Corners 1390">
            <a:extLst>
              <a:ext uri="{FF2B5EF4-FFF2-40B4-BE49-F238E27FC236}">
                <a16:creationId xmlns:a16="http://schemas.microsoft.com/office/drawing/2014/main" id="{84DD9DE8-2EEF-EC56-C033-7D29293B380A}"/>
              </a:ext>
            </a:extLst>
          </p:cNvPr>
          <p:cNvSpPr/>
          <p:nvPr/>
        </p:nvSpPr>
        <p:spPr>
          <a:xfrm>
            <a:off x="1666411" y="3190228"/>
            <a:ext cx="450889" cy="45088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1392" name="Group 29" descr="Sun.">
            <a:extLst>
              <a:ext uri="{FF2B5EF4-FFF2-40B4-BE49-F238E27FC236}">
                <a16:creationId xmlns:a16="http://schemas.microsoft.com/office/drawing/2014/main" id="{111C4DB4-C42A-BE5A-5BC5-EDA00D72A740}"/>
              </a:ext>
            </a:extLst>
          </p:cNvPr>
          <p:cNvGrpSpPr>
            <a:grpSpLocks noChangeAspect="1"/>
          </p:cNvGrpSpPr>
          <p:nvPr/>
        </p:nvGrpSpPr>
        <p:grpSpPr bwMode="auto">
          <a:xfrm>
            <a:off x="1744652" y="3268458"/>
            <a:ext cx="294394" cy="294389"/>
            <a:chOff x="3408" y="1731"/>
            <a:chExt cx="614" cy="614"/>
          </a:xfrm>
        </p:grpSpPr>
        <p:sp>
          <p:nvSpPr>
            <p:cNvPr id="1393" name="Freeform 30">
              <a:extLst>
                <a:ext uri="{FF2B5EF4-FFF2-40B4-BE49-F238E27FC236}">
                  <a16:creationId xmlns:a16="http://schemas.microsoft.com/office/drawing/2014/main" id="{45A2C137-DA77-BB4E-B833-152B686433CF}"/>
                </a:ext>
              </a:extLst>
            </p:cNvPr>
            <p:cNvSpPr>
              <a:spLocks/>
            </p:cNvSpPr>
            <p:nvPr/>
          </p:nvSpPr>
          <p:spPr bwMode="auto">
            <a:xfrm>
              <a:off x="3408" y="2018"/>
              <a:ext cx="77"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4" name="Freeform 31">
              <a:extLst>
                <a:ext uri="{FF2B5EF4-FFF2-40B4-BE49-F238E27FC236}">
                  <a16:creationId xmlns:a16="http://schemas.microsoft.com/office/drawing/2014/main" id="{9335A8BF-0C4F-31A8-06C7-E073E8F0181A}"/>
                </a:ext>
              </a:extLst>
            </p:cNvPr>
            <p:cNvSpPr>
              <a:spLocks/>
            </p:cNvSpPr>
            <p:nvPr/>
          </p:nvSpPr>
          <p:spPr bwMode="auto">
            <a:xfrm>
              <a:off x="3492" y="1812"/>
              <a:ext cx="67" cy="67"/>
            </a:xfrm>
            <a:custGeom>
              <a:avLst/>
              <a:gdLst>
                <a:gd name="T0" fmla="*/ 14 w 28"/>
                <a:gd name="T1" fmla="*/ 26 h 28"/>
                <a:gd name="T2" fmla="*/ 20 w 28"/>
                <a:gd name="T3" fmla="*/ 28 h 28"/>
                <a:gd name="T4" fmla="*/ 25 w 28"/>
                <a:gd name="T5" fmla="*/ 26 h 28"/>
                <a:gd name="T6" fmla="*/ 25 w 28"/>
                <a:gd name="T7" fmla="*/ 15 h 28"/>
                <a:gd name="T8" fmla="*/ 14 w 28"/>
                <a:gd name="T9" fmla="*/ 4 h 28"/>
                <a:gd name="T10" fmla="*/ 3 w 28"/>
                <a:gd name="T11" fmla="*/ 4 h 28"/>
                <a:gd name="T12" fmla="*/ 3 w 28"/>
                <a:gd name="T13" fmla="*/ 15 h 28"/>
                <a:gd name="T14" fmla="*/ 14 w 28"/>
                <a:gd name="T15" fmla="*/ 26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26"/>
                  </a:moveTo>
                  <a:cubicBezTo>
                    <a:pt x="16" y="28"/>
                    <a:pt x="18" y="28"/>
                    <a:pt x="20" y="28"/>
                  </a:cubicBezTo>
                  <a:cubicBezTo>
                    <a:pt x="22" y="28"/>
                    <a:pt x="24" y="28"/>
                    <a:pt x="25" y="26"/>
                  </a:cubicBezTo>
                  <a:cubicBezTo>
                    <a:pt x="28" y="23"/>
                    <a:pt x="28" y="18"/>
                    <a:pt x="25" y="15"/>
                  </a:cubicBezTo>
                  <a:cubicBezTo>
                    <a:pt x="14" y="4"/>
                    <a:pt x="14" y="4"/>
                    <a:pt x="14" y="4"/>
                  </a:cubicBezTo>
                  <a:cubicBezTo>
                    <a:pt x="11" y="0"/>
                    <a:pt x="6" y="0"/>
                    <a:pt x="3" y="4"/>
                  </a:cubicBezTo>
                  <a:cubicBezTo>
                    <a:pt x="0" y="7"/>
                    <a:pt x="0" y="12"/>
                    <a:pt x="3" y="15"/>
                  </a:cubicBezTo>
                  <a:lnTo>
                    <a:pt x="14" y="26"/>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5" name="Freeform 32">
              <a:extLst>
                <a:ext uri="{FF2B5EF4-FFF2-40B4-BE49-F238E27FC236}">
                  <a16:creationId xmlns:a16="http://schemas.microsoft.com/office/drawing/2014/main" id="{824BFFF2-EB43-860A-C6AC-9C6AD36F9CBC}"/>
                </a:ext>
              </a:extLst>
            </p:cNvPr>
            <p:cNvSpPr>
              <a:spLocks/>
            </p:cNvSpPr>
            <p:nvPr/>
          </p:nvSpPr>
          <p:spPr bwMode="auto">
            <a:xfrm>
              <a:off x="3696" y="1731"/>
              <a:ext cx="38" cy="76"/>
            </a:xfrm>
            <a:custGeom>
              <a:avLst/>
              <a:gdLst>
                <a:gd name="T0" fmla="*/ 8 w 16"/>
                <a:gd name="T1" fmla="*/ 32 h 32"/>
                <a:gd name="T2" fmla="*/ 16 w 16"/>
                <a:gd name="T3" fmla="*/ 24 h 32"/>
                <a:gd name="T4" fmla="*/ 16 w 16"/>
                <a:gd name="T5" fmla="*/ 8 h 32"/>
                <a:gd name="T6" fmla="*/ 8 w 16"/>
                <a:gd name="T7" fmla="*/ 0 h 32"/>
                <a:gd name="T8" fmla="*/ 0 w 16"/>
                <a:gd name="T9" fmla="*/ 8 h 32"/>
                <a:gd name="T10" fmla="*/ 0 w 16"/>
                <a:gd name="T11" fmla="*/ 24 h 32"/>
                <a:gd name="T12" fmla="*/ 8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32"/>
                  </a:moveTo>
                  <a:cubicBezTo>
                    <a:pt x="13" y="32"/>
                    <a:pt x="16" y="28"/>
                    <a:pt x="16" y="24"/>
                  </a:cubicBezTo>
                  <a:cubicBezTo>
                    <a:pt x="16" y="8"/>
                    <a:pt x="16" y="8"/>
                    <a:pt x="16" y="8"/>
                  </a:cubicBezTo>
                  <a:cubicBezTo>
                    <a:pt x="16" y="4"/>
                    <a:pt x="13" y="0"/>
                    <a:pt x="8" y="0"/>
                  </a:cubicBezTo>
                  <a:cubicBezTo>
                    <a:pt x="4" y="0"/>
                    <a:pt x="0" y="4"/>
                    <a:pt x="0" y="8"/>
                  </a:cubicBezTo>
                  <a:cubicBezTo>
                    <a:pt x="0" y="24"/>
                    <a:pt x="0" y="24"/>
                    <a:pt x="0" y="24"/>
                  </a:cubicBezTo>
                  <a:cubicBezTo>
                    <a:pt x="0" y="28"/>
                    <a:pt x="4" y="32"/>
                    <a:pt x="8"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6" name="Freeform 33">
              <a:extLst>
                <a:ext uri="{FF2B5EF4-FFF2-40B4-BE49-F238E27FC236}">
                  <a16:creationId xmlns:a16="http://schemas.microsoft.com/office/drawing/2014/main" id="{C4659654-ECEE-C393-6A2E-F3452F19C76B}"/>
                </a:ext>
              </a:extLst>
            </p:cNvPr>
            <p:cNvSpPr>
              <a:spLocks/>
            </p:cNvSpPr>
            <p:nvPr/>
          </p:nvSpPr>
          <p:spPr bwMode="auto">
            <a:xfrm>
              <a:off x="3871" y="1812"/>
              <a:ext cx="70" cy="67"/>
            </a:xfrm>
            <a:custGeom>
              <a:avLst/>
              <a:gdLst>
                <a:gd name="T0" fmla="*/ 14 w 29"/>
                <a:gd name="T1" fmla="*/ 4 h 28"/>
                <a:gd name="T2" fmla="*/ 3 w 29"/>
                <a:gd name="T3" fmla="*/ 15 h 28"/>
                <a:gd name="T4" fmla="*/ 3 w 29"/>
                <a:gd name="T5" fmla="*/ 26 h 28"/>
                <a:gd name="T6" fmla="*/ 9 w 29"/>
                <a:gd name="T7" fmla="*/ 28 h 28"/>
                <a:gd name="T8" fmla="*/ 14 w 29"/>
                <a:gd name="T9" fmla="*/ 26 h 28"/>
                <a:gd name="T10" fmla="*/ 26 w 29"/>
                <a:gd name="T11" fmla="*/ 15 h 28"/>
                <a:gd name="T12" fmla="*/ 26 w 29"/>
                <a:gd name="T13" fmla="*/ 4 h 28"/>
                <a:gd name="T14" fmla="*/ 14 w 29"/>
                <a:gd name="T15" fmla="*/ 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4"/>
                  </a:moveTo>
                  <a:cubicBezTo>
                    <a:pt x="3" y="15"/>
                    <a:pt x="3" y="15"/>
                    <a:pt x="3" y="15"/>
                  </a:cubicBezTo>
                  <a:cubicBezTo>
                    <a:pt x="0" y="18"/>
                    <a:pt x="0" y="23"/>
                    <a:pt x="3" y="26"/>
                  </a:cubicBezTo>
                  <a:cubicBezTo>
                    <a:pt x="5" y="28"/>
                    <a:pt x="7" y="28"/>
                    <a:pt x="9" y="28"/>
                  </a:cubicBezTo>
                  <a:cubicBezTo>
                    <a:pt x="11" y="28"/>
                    <a:pt x="13" y="28"/>
                    <a:pt x="14" y="26"/>
                  </a:cubicBezTo>
                  <a:cubicBezTo>
                    <a:pt x="26" y="15"/>
                    <a:pt x="26" y="15"/>
                    <a:pt x="26" y="15"/>
                  </a:cubicBezTo>
                  <a:cubicBezTo>
                    <a:pt x="29" y="12"/>
                    <a:pt x="29" y="7"/>
                    <a:pt x="26" y="4"/>
                  </a:cubicBezTo>
                  <a:cubicBezTo>
                    <a:pt x="23" y="0"/>
                    <a:pt x="18" y="0"/>
                    <a:pt x="14" y="4"/>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7" name="Freeform 34">
              <a:extLst>
                <a:ext uri="{FF2B5EF4-FFF2-40B4-BE49-F238E27FC236}">
                  <a16:creationId xmlns:a16="http://schemas.microsoft.com/office/drawing/2014/main" id="{61ED6220-9EEF-DECF-9AEE-6B2CE8EA9667}"/>
                </a:ext>
              </a:extLst>
            </p:cNvPr>
            <p:cNvSpPr>
              <a:spLocks/>
            </p:cNvSpPr>
            <p:nvPr/>
          </p:nvSpPr>
          <p:spPr bwMode="auto">
            <a:xfrm>
              <a:off x="3946" y="2018"/>
              <a:ext cx="76"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8" name="Freeform 35">
              <a:extLst>
                <a:ext uri="{FF2B5EF4-FFF2-40B4-BE49-F238E27FC236}">
                  <a16:creationId xmlns:a16="http://schemas.microsoft.com/office/drawing/2014/main" id="{D6845E5D-D81C-AC27-5C51-73FBD4494D0A}"/>
                </a:ext>
              </a:extLst>
            </p:cNvPr>
            <p:cNvSpPr>
              <a:spLocks/>
            </p:cNvSpPr>
            <p:nvPr/>
          </p:nvSpPr>
          <p:spPr bwMode="auto">
            <a:xfrm>
              <a:off x="3871" y="2194"/>
              <a:ext cx="70" cy="67"/>
            </a:xfrm>
            <a:custGeom>
              <a:avLst/>
              <a:gdLst>
                <a:gd name="T0" fmla="*/ 14 w 29"/>
                <a:gd name="T1" fmla="*/ 3 h 28"/>
                <a:gd name="T2" fmla="*/ 3 w 29"/>
                <a:gd name="T3" fmla="*/ 3 h 28"/>
                <a:gd name="T4" fmla="*/ 3 w 29"/>
                <a:gd name="T5" fmla="*/ 14 h 28"/>
                <a:gd name="T6" fmla="*/ 14 w 29"/>
                <a:gd name="T7" fmla="*/ 25 h 28"/>
                <a:gd name="T8" fmla="*/ 20 w 29"/>
                <a:gd name="T9" fmla="*/ 28 h 28"/>
                <a:gd name="T10" fmla="*/ 26 w 29"/>
                <a:gd name="T11" fmla="*/ 25 h 28"/>
                <a:gd name="T12" fmla="*/ 26 w 29"/>
                <a:gd name="T13" fmla="*/ 14 h 28"/>
                <a:gd name="T14" fmla="*/ 14 w 29"/>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3"/>
                  </a:moveTo>
                  <a:cubicBezTo>
                    <a:pt x="11" y="0"/>
                    <a:pt x="6" y="0"/>
                    <a:pt x="3" y="3"/>
                  </a:cubicBezTo>
                  <a:cubicBezTo>
                    <a:pt x="0" y="6"/>
                    <a:pt x="0" y="11"/>
                    <a:pt x="3" y="14"/>
                  </a:cubicBezTo>
                  <a:cubicBezTo>
                    <a:pt x="14" y="25"/>
                    <a:pt x="14" y="25"/>
                    <a:pt x="14" y="25"/>
                  </a:cubicBezTo>
                  <a:cubicBezTo>
                    <a:pt x="16" y="27"/>
                    <a:pt x="18" y="28"/>
                    <a:pt x="20" y="28"/>
                  </a:cubicBezTo>
                  <a:cubicBezTo>
                    <a:pt x="22" y="28"/>
                    <a:pt x="24" y="27"/>
                    <a:pt x="26" y="25"/>
                  </a:cubicBezTo>
                  <a:cubicBezTo>
                    <a:pt x="29" y="22"/>
                    <a:pt x="29" y="17"/>
                    <a:pt x="26" y="14"/>
                  </a:cubicBezTo>
                  <a:lnTo>
                    <a:pt x="14" y="3"/>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399" name="Freeform 36">
              <a:extLst>
                <a:ext uri="{FF2B5EF4-FFF2-40B4-BE49-F238E27FC236}">
                  <a16:creationId xmlns:a16="http://schemas.microsoft.com/office/drawing/2014/main" id="{603BFD3B-C1D9-057A-87F5-C113754E14C3}"/>
                </a:ext>
              </a:extLst>
            </p:cNvPr>
            <p:cNvSpPr>
              <a:spLocks/>
            </p:cNvSpPr>
            <p:nvPr/>
          </p:nvSpPr>
          <p:spPr bwMode="auto">
            <a:xfrm>
              <a:off x="3696" y="2268"/>
              <a:ext cx="38" cy="77"/>
            </a:xfrm>
            <a:custGeom>
              <a:avLst/>
              <a:gdLst>
                <a:gd name="T0" fmla="*/ 8 w 16"/>
                <a:gd name="T1" fmla="*/ 0 h 32"/>
                <a:gd name="T2" fmla="*/ 0 w 16"/>
                <a:gd name="T3" fmla="*/ 8 h 32"/>
                <a:gd name="T4" fmla="*/ 0 w 16"/>
                <a:gd name="T5" fmla="*/ 24 h 32"/>
                <a:gd name="T6" fmla="*/ 8 w 16"/>
                <a:gd name="T7" fmla="*/ 32 h 32"/>
                <a:gd name="T8" fmla="*/ 16 w 16"/>
                <a:gd name="T9" fmla="*/ 24 h 32"/>
                <a:gd name="T10" fmla="*/ 16 w 16"/>
                <a:gd name="T11" fmla="*/ 8 h 32"/>
                <a:gd name="T12" fmla="*/ 8 w 1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0"/>
                  </a:moveTo>
                  <a:cubicBezTo>
                    <a:pt x="4" y="0"/>
                    <a:pt x="0" y="4"/>
                    <a:pt x="0" y="8"/>
                  </a:cubicBezTo>
                  <a:cubicBezTo>
                    <a:pt x="0" y="24"/>
                    <a:pt x="0" y="24"/>
                    <a:pt x="0" y="24"/>
                  </a:cubicBezTo>
                  <a:cubicBezTo>
                    <a:pt x="0" y="28"/>
                    <a:pt x="4" y="32"/>
                    <a:pt x="8" y="32"/>
                  </a:cubicBezTo>
                  <a:cubicBezTo>
                    <a:pt x="13" y="32"/>
                    <a:pt x="16" y="28"/>
                    <a:pt x="16" y="24"/>
                  </a:cubicBezTo>
                  <a:cubicBezTo>
                    <a:pt x="16" y="8"/>
                    <a:pt x="16" y="8"/>
                    <a:pt x="16" y="8"/>
                  </a:cubicBezTo>
                  <a:cubicBezTo>
                    <a:pt x="16" y="4"/>
                    <a:pt x="13" y="0"/>
                    <a:pt x="8"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00" name="Freeform 37">
              <a:extLst>
                <a:ext uri="{FF2B5EF4-FFF2-40B4-BE49-F238E27FC236}">
                  <a16:creationId xmlns:a16="http://schemas.microsoft.com/office/drawing/2014/main" id="{A0B21760-2611-4D6C-8F97-B5DD255F8265}"/>
                </a:ext>
              </a:extLst>
            </p:cNvPr>
            <p:cNvSpPr>
              <a:spLocks/>
            </p:cNvSpPr>
            <p:nvPr/>
          </p:nvSpPr>
          <p:spPr bwMode="auto">
            <a:xfrm>
              <a:off x="3492" y="2194"/>
              <a:ext cx="67" cy="67"/>
            </a:xfrm>
            <a:custGeom>
              <a:avLst/>
              <a:gdLst>
                <a:gd name="T0" fmla="*/ 14 w 28"/>
                <a:gd name="T1" fmla="*/ 3 h 28"/>
                <a:gd name="T2" fmla="*/ 3 w 28"/>
                <a:gd name="T3" fmla="*/ 14 h 28"/>
                <a:gd name="T4" fmla="*/ 3 w 28"/>
                <a:gd name="T5" fmla="*/ 25 h 28"/>
                <a:gd name="T6" fmla="*/ 8 w 28"/>
                <a:gd name="T7" fmla="*/ 28 h 28"/>
                <a:gd name="T8" fmla="*/ 14 w 28"/>
                <a:gd name="T9" fmla="*/ 25 h 28"/>
                <a:gd name="T10" fmla="*/ 25 w 28"/>
                <a:gd name="T11" fmla="*/ 14 h 28"/>
                <a:gd name="T12" fmla="*/ 25 w 28"/>
                <a:gd name="T13" fmla="*/ 3 h 28"/>
                <a:gd name="T14" fmla="*/ 14 w 28"/>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3"/>
                  </a:moveTo>
                  <a:cubicBezTo>
                    <a:pt x="3" y="14"/>
                    <a:pt x="3" y="14"/>
                    <a:pt x="3" y="14"/>
                  </a:cubicBezTo>
                  <a:cubicBezTo>
                    <a:pt x="0" y="17"/>
                    <a:pt x="0" y="22"/>
                    <a:pt x="3" y="25"/>
                  </a:cubicBezTo>
                  <a:cubicBezTo>
                    <a:pt x="4" y="27"/>
                    <a:pt x="6" y="28"/>
                    <a:pt x="8" y="28"/>
                  </a:cubicBezTo>
                  <a:cubicBezTo>
                    <a:pt x="10" y="28"/>
                    <a:pt x="13" y="27"/>
                    <a:pt x="14" y="25"/>
                  </a:cubicBezTo>
                  <a:cubicBezTo>
                    <a:pt x="25" y="14"/>
                    <a:pt x="25" y="14"/>
                    <a:pt x="25" y="14"/>
                  </a:cubicBezTo>
                  <a:cubicBezTo>
                    <a:pt x="28" y="11"/>
                    <a:pt x="28" y="6"/>
                    <a:pt x="25" y="3"/>
                  </a:cubicBezTo>
                  <a:cubicBezTo>
                    <a:pt x="22" y="0"/>
                    <a:pt x="17" y="0"/>
                    <a:pt x="14"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01" name="Freeform 38">
              <a:extLst>
                <a:ext uri="{FF2B5EF4-FFF2-40B4-BE49-F238E27FC236}">
                  <a16:creationId xmlns:a16="http://schemas.microsoft.com/office/drawing/2014/main" id="{99F6AC5F-E752-1CCA-960E-6ED398E17301}"/>
                </a:ext>
              </a:extLst>
            </p:cNvPr>
            <p:cNvSpPr>
              <a:spLocks noEditPoints="1"/>
            </p:cNvSpPr>
            <p:nvPr/>
          </p:nvSpPr>
          <p:spPr bwMode="auto">
            <a:xfrm>
              <a:off x="3542" y="1865"/>
              <a:ext cx="346" cy="345"/>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28 h 144"/>
                <a:gd name="T12" fmla="*/ 16 w 144"/>
                <a:gd name="T13" fmla="*/ 72 h 144"/>
                <a:gd name="T14" fmla="*/ 72 w 144"/>
                <a:gd name="T15" fmla="*/ 16 h 144"/>
                <a:gd name="T16" fmla="*/ 128 w 144"/>
                <a:gd name="T17" fmla="*/ 72 h 144"/>
                <a:gd name="T18" fmla="*/ 72 w 144"/>
                <a:gd name="T1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3" y="0"/>
                    <a:pt x="0" y="32"/>
                    <a:pt x="0" y="72"/>
                  </a:cubicBezTo>
                  <a:cubicBezTo>
                    <a:pt x="0" y="112"/>
                    <a:pt x="33" y="144"/>
                    <a:pt x="72" y="144"/>
                  </a:cubicBezTo>
                  <a:cubicBezTo>
                    <a:pt x="112" y="144"/>
                    <a:pt x="144" y="112"/>
                    <a:pt x="144" y="72"/>
                  </a:cubicBezTo>
                  <a:cubicBezTo>
                    <a:pt x="144" y="32"/>
                    <a:pt x="112" y="0"/>
                    <a:pt x="72" y="0"/>
                  </a:cubicBezTo>
                  <a:close/>
                  <a:moveTo>
                    <a:pt x="72" y="128"/>
                  </a:moveTo>
                  <a:cubicBezTo>
                    <a:pt x="41" y="128"/>
                    <a:pt x="16" y="103"/>
                    <a:pt x="16" y="72"/>
                  </a:cubicBezTo>
                  <a:cubicBezTo>
                    <a:pt x="16" y="41"/>
                    <a:pt x="41" y="16"/>
                    <a:pt x="72" y="16"/>
                  </a:cubicBezTo>
                  <a:cubicBezTo>
                    <a:pt x="103" y="16"/>
                    <a:pt x="128" y="41"/>
                    <a:pt x="128" y="72"/>
                  </a:cubicBezTo>
                  <a:cubicBezTo>
                    <a:pt x="128" y="103"/>
                    <a:pt x="103" y="128"/>
                    <a:pt x="72" y="12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2512" name="Rectangle: Rounded Corners 2511">
            <a:extLst>
              <a:ext uri="{FF2B5EF4-FFF2-40B4-BE49-F238E27FC236}">
                <a16:creationId xmlns:a16="http://schemas.microsoft.com/office/drawing/2014/main" id="{B3505457-06FD-9E1B-2877-E7D3238D0AE6}"/>
              </a:ext>
            </a:extLst>
          </p:cNvPr>
          <p:cNvSpPr/>
          <p:nvPr/>
        </p:nvSpPr>
        <p:spPr>
          <a:xfrm>
            <a:off x="5831366" y="3219847"/>
            <a:ext cx="450889" cy="45088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2513" name="Group 29" descr="Sun.">
            <a:extLst>
              <a:ext uri="{FF2B5EF4-FFF2-40B4-BE49-F238E27FC236}">
                <a16:creationId xmlns:a16="http://schemas.microsoft.com/office/drawing/2014/main" id="{4F1179E3-FBDA-8F44-DBE7-7CF55E6ECF97}"/>
              </a:ext>
            </a:extLst>
          </p:cNvPr>
          <p:cNvGrpSpPr>
            <a:grpSpLocks noChangeAspect="1"/>
          </p:cNvGrpSpPr>
          <p:nvPr/>
        </p:nvGrpSpPr>
        <p:grpSpPr bwMode="auto">
          <a:xfrm>
            <a:off x="5909607" y="3298077"/>
            <a:ext cx="294394" cy="294389"/>
            <a:chOff x="3408" y="1731"/>
            <a:chExt cx="614" cy="614"/>
          </a:xfrm>
        </p:grpSpPr>
        <p:sp>
          <p:nvSpPr>
            <p:cNvPr id="2514" name="Freeform 30">
              <a:extLst>
                <a:ext uri="{FF2B5EF4-FFF2-40B4-BE49-F238E27FC236}">
                  <a16:creationId xmlns:a16="http://schemas.microsoft.com/office/drawing/2014/main" id="{51D63542-323C-05F5-97AD-24105443C1B0}"/>
                </a:ext>
              </a:extLst>
            </p:cNvPr>
            <p:cNvSpPr>
              <a:spLocks/>
            </p:cNvSpPr>
            <p:nvPr/>
          </p:nvSpPr>
          <p:spPr bwMode="auto">
            <a:xfrm>
              <a:off x="3408" y="2018"/>
              <a:ext cx="77"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5" name="Freeform 31">
              <a:extLst>
                <a:ext uri="{FF2B5EF4-FFF2-40B4-BE49-F238E27FC236}">
                  <a16:creationId xmlns:a16="http://schemas.microsoft.com/office/drawing/2014/main" id="{C4072BE4-BF6A-11AD-465B-7EB205980B14}"/>
                </a:ext>
              </a:extLst>
            </p:cNvPr>
            <p:cNvSpPr>
              <a:spLocks/>
            </p:cNvSpPr>
            <p:nvPr/>
          </p:nvSpPr>
          <p:spPr bwMode="auto">
            <a:xfrm>
              <a:off x="3492" y="1812"/>
              <a:ext cx="67" cy="67"/>
            </a:xfrm>
            <a:custGeom>
              <a:avLst/>
              <a:gdLst>
                <a:gd name="T0" fmla="*/ 14 w 28"/>
                <a:gd name="T1" fmla="*/ 26 h 28"/>
                <a:gd name="T2" fmla="*/ 20 w 28"/>
                <a:gd name="T3" fmla="*/ 28 h 28"/>
                <a:gd name="T4" fmla="*/ 25 w 28"/>
                <a:gd name="T5" fmla="*/ 26 h 28"/>
                <a:gd name="T6" fmla="*/ 25 w 28"/>
                <a:gd name="T7" fmla="*/ 15 h 28"/>
                <a:gd name="T8" fmla="*/ 14 w 28"/>
                <a:gd name="T9" fmla="*/ 4 h 28"/>
                <a:gd name="T10" fmla="*/ 3 w 28"/>
                <a:gd name="T11" fmla="*/ 4 h 28"/>
                <a:gd name="T12" fmla="*/ 3 w 28"/>
                <a:gd name="T13" fmla="*/ 15 h 28"/>
                <a:gd name="T14" fmla="*/ 14 w 28"/>
                <a:gd name="T15" fmla="*/ 26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26"/>
                  </a:moveTo>
                  <a:cubicBezTo>
                    <a:pt x="16" y="28"/>
                    <a:pt x="18" y="28"/>
                    <a:pt x="20" y="28"/>
                  </a:cubicBezTo>
                  <a:cubicBezTo>
                    <a:pt x="22" y="28"/>
                    <a:pt x="24" y="28"/>
                    <a:pt x="25" y="26"/>
                  </a:cubicBezTo>
                  <a:cubicBezTo>
                    <a:pt x="28" y="23"/>
                    <a:pt x="28" y="18"/>
                    <a:pt x="25" y="15"/>
                  </a:cubicBezTo>
                  <a:cubicBezTo>
                    <a:pt x="14" y="4"/>
                    <a:pt x="14" y="4"/>
                    <a:pt x="14" y="4"/>
                  </a:cubicBezTo>
                  <a:cubicBezTo>
                    <a:pt x="11" y="0"/>
                    <a:pt x="6" y="0"/>
                    <a:pt x="3" y="4"/>
                  </a:cubicBezTo>
                  <a:cubicBezTo>
                    <a:pt x="0" y="7"/>
                    <a:pt x="0" y="12"/>
                    <a:pt x="3" y="15"/>
                  </a:cubicBezTo>
                  <a:lnTo>
                    <a:pt x="14" y="26"/>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6" name="Freeform 32">
              <a:extLst>
                <a:ext uri="{FF2B5EF4-FFF2-40B4-BE49-F238E27FC236}">
                  <a16:creationId xmlns:a16="http://schemas.microsoft.com/office/drawing/2014/main" id="{EC849FCB-FEC0-E458-358B-FEFD20E4CF15}"/>
                </a:ext>
              </a:extLst>
            </p:cNvPr>
            <p:cNvSpPr>
              <a:spLocks/>
            </p:cNvSpPr>
            <p:nvPr/>
          </p:nvSpPr>
          <p:spPr bwMode="auto">
            <a:xfrm>
              <a:off x="3696" y="1731"/>
              <a:ext cx="38" cy="76"/>
            </a:xfrm>
            <a:custGeom>
              <a:avLst/>
              <a:gdLst>
                <a:gd name="T0" fmla="*/ 8 w 16"/>
                <a:gd name="T1" fmla="*/ 32 h 32"/>
                <a:gd name="T2" fmla="*/ 16 w 16"/>
                <a:gd name="T3" fmla="*/ 24 h 32"/>
                <a:gd name="T4" fmla="*/ 16 w 16"/>
                <a:gd name="T5" fmla="*/ 8 h 32"/>
                <a:gd name="T6" fmla="*/ 8 w 16"/>
                <a:gd name="T7" fmla="*/ 0 h 32"/>
                <a:gd name="T8" fmla="*/ 0 w 16"/>
                <a:gd name="T9" fmla="*/ 8 h 32"/>
                <a:gd name="T10" fmla="*/ 0 w 16"/>
                <a:gd name="T11" fmla="*/ 24 h 32"/>
                <a:gd name="T12" fmla="*/ 8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32"/>
                  </a:moveTo>
                  <a:cubicBezTo>
                    <a:pt x="13" y="32"/>
                    <a:pt x="16" y="28"/>
                    <a:pt x="16" y="24"/>
                  </a:cubicBezTo>
                  <a:cubicBezTo>
                    <a:pt x="16" y="8"/>
                    <a:pt x="16" y="8"/>
                    <a:pt x="16" y="8"/>
                  </a:cubicBezTo>
                  <a:cubicBezTo>
                    <a:pt x="16" y="4"/>
                    <a:pt x="13" y="0"/>
                    <a:pt x="8" y="0"/>
                  </a:cubicBezTo>
                  <a:cubicBezTo>
                    <a:pt x="4" y="0"/>
                    <a:pt x="0" y="4"/>
                    <a:pt x="0" y="8"/>
                  </a:cubicBezTo>
                  <a:cubicBezTo>
                    <a:pt x="0" y="24"/>
                    <a:pt x="0" y="24"/>
                    <a:pt x="0" y="24"/>
                  </a:cubicBezTo>
                  <a:cubicBezTo>
                    <a:pt x="0" y="28"/>
                    <a:pt x="4" y="32"/>
                    <a:pt x="8"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7" name="Freeform 33">
              <a:extLst>
                <a:ext uri="{FF2B5EF4-FFF2-40B4-BE49-F238E27FC236}">
                  <a16:creationId xmlns:a16="http://schemas.microsoft.com/office/drawing/2014/main" id="{2222A884-BE9F-485E-3764-83CE5C4BB213}"/>
                </a:ext>
              </a:extLst>
            </p:cNvPr>
            <p:cNvSpPr>
              <a:spLocks/>
            </p:cNvSpPr>
            <p:nvPr/>
          </p:nvSpPr>
          <p:spPr bwMode="auto">
            <a:xfrm>
              <a:off x="3871" y="1812"/>
              <a:ext cx="70" cy="67"/>
            </a:xfrm>
            <a:custGeom>
              <a:avLst/>
              <a:gdLst>
                <a:gd name="T0" fmla="*/ 14 w 29"/>
                <a:gd name="T1" fmla="*/ 4 h 28"/>
                <a:gd name="T2" fmla="*/ 3 w 29"/>
                <a:gd name="T3" fmla="*/ 15 h 28"/>
                <a:gd name="T4" fmla="*/ 3 w 29"/>
                <a:gd name="T5" fmla="*/ 26 h 28"/>
                <a:gd name="T6" fmla="*/ 9 w 29"/>
                <a:gd name="T7" fmla="*/ 28 h 28"/>
                <a:gd name="T8" fmla="*/ 14 w 29"/>
                <a:gd name="T9" fmla="*/ 26 h 28"/>
                <a:gd name="T10" fmla="*/ 26 w 29"/>
                <a:gd name="T11" fmla="*/ 15 h 28"/>
                <a:gd name="T12" fmla="*/ 26 w 29"/>
                <a:gd name="T13" fmla="*/ 4 h 28"/>
                <a:gd name="T14" fmla="*/ 14 w 29"/>
                <a:gd name="T15" fmla="*/ 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4"/>
                  </a:moveTo>
                  <a:cubicBezTo>
                    <a:pt x="3" y="15"/>
                    <a:pt x="3" y="15"/>
                    <a:pt x="3" y="15"/>
                  </a:cubicBezTo>
                  <a:cubicBezTo>
                    <a:pt x="0" y="18"/>
                    <a:pt x="0" y="23"/>
                    <a:pt x="3" y="26"/>
                  </a:cubicBezTo>
                  <a:cubicBezTo>
                    <a:pt x="5" y="28"/>
                    <a:pt x="7" y="28"/>
                    <a:pt x="9" y="28"/>
                  </a:cubicBezTo>
                  <a:cubicBezTo>
                    <a:pt x="11" y="28"/>
                    <a:pt x="13" y="28"/>
                    <a:pt x="14" y="26"/>
                  </a:cubicBezTo>
                  <a:cubicBezTo>
                    <a:pt x="26" y="15"/>
                    <a:pt x="26" y="15"/>
                    <a:pt x="26" y="15"/>
                  </a:cubicBezTo>
                  <a:cubicBezTo>
                    <a:pt x="29" y="12"/>
                    <a:pt x="29" y="7"/>
                    <a:pt x="26" y="4"/>
                  </a:cubicBezTo>
                  <a:cubicBezTo>
                    <a:pt x="23" y="0"/>
                    <a:pt x="18" y="0"/>
                    <a:pt x="14" y="4"/>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8" name="Freeform 34">
              <a:extLst>
                <a:ext uri="{FF2B5EF4-FFF2-40B4-BE49-F238E27FC236}">
                  <a16:creationId xmlns:a16="http://schemas.microsoft.com/office/drawing/2014/main" id="{25D566E0-BA1D-9EC8-8C32-7F0108D7996C}"/>
                </a:ext>
              </a:extLst>
            </p:cNvPr>
            <p:cNvSpPr>
              <a:spLocks/>
            </p:cNvSpPr>
            <p:nvPr/>
          </p:nvSpPr>
          <p:spPr bwMode="auto">
            <a:xfrm>
              <a:off x="3946" y="2018"/>
              <a:ext cx="76"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19" name="Freeform 35">
              <a:extLst>
                <a:ext uri="{FF2B5EF4-FFF2-40B4-BE49-F238E27FC236}">
                  <a16:creationId xmlns:a16="http://schemas.microsoft.com/office/drawing/2014/main" id="{B494C084-5481-FE50-3C6C-511C36DE09B6}"/>
                </a:ext>
              </a:extLst>
            </p:cNvPr>
            <p:cNvSpPr>
              <a:spLocks/>
            </p:cNvSpPr>
            <p:nvPr/>
          </p:nvSpPr>
          <p:spPr bwMode="auto">
            <a:xfrm>
              <a:off x="3871" y="2194"/>
              <a:ext cx="70" cy="67"/>
            </a:xfrm>
            <a:custGeom>
              <a:avLst/>
              <a:gdLst>
                <a:gd name="T0" fmla="*/ 14 w 29"/>
                <a:gd name="T1" fmla="*/ 3 h 28"/>
                <a:gd name="T2" fmla="*/ 3 w 29"/>
                <a:gd name="T3" fmla="*/ 3 h 28"/>
                <a:gd name="T4" fmla="*/ 3 w 29"/>
                <a:gd name="T5" fmla="*/ 14 h 28"/>
                <a:gd name="T6" fmla="*/ 14 w 29"/>
                <a:gd name="T7" fmla="*/ 25 h 28"/>
                <a:gd name="T8" fmla="*/ 20 w 29"/>
                <a:gd name="T9" fmla="*/ 28 h 28"/>
                <a:gd name="T10" fmla="*/ 26 w 29"/>
                <a:gd name="T11" fmla="*/ 25 h 28"/>
                <a:gd name="T12" fmla="*/ 26 w 29"/>
                <a:gd name="T13" fmla="*/ 14 h 28"/>
                <a:gd name="T14" fmla="*/ 14 w 29"/>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3"/>
                  </a:moveTo>
                  <a:cubicBezTo>
                    <a:pt x="11" y="0"/>
                    <a:pt x="6" y="0"/>
                    <a:pt x="3" y="3"/>
                  </a:cubicBezTo>
                  <a:cubicBezTo>
                    <a:pt x="0" y="6"/>
                    <a:pt x="0" y="11"/>
                    <a:pt x="3" y="14"/>
                  </a:cubicBezTo>
                  <a:cubicBezTo>
                    <a:pt x="14" y="25"/>
                    <a:pt x="14" y="25"/>
                    <a:pt x="14" y="25"/>
                  </a:cubicBezTo>
                  <a:cubicBezTo>
                    <a:pt x="16" y="27"/>
                    <a:pt x="18" y="28"/>
                    <a:pt x="20" y="28"/>
                  </a:cubicBezTo>
                  <a:cubicBezTo>
                    <a:pt x="22" y="28"/>
                    <a:pt x="24" y="27"/>
                    <a:pt x="26" y="25"/>
                  </a:cubicBezTo>
                  <a:cubicBezTo>
                    <a:pt x="29" y="22"/>
                    <a:pt x="29" y="17"/>
                    <a:pt x="26" y="14"/>
                  </a:cubicBezTo>
                  <a:lnTo>
                    <a:pt x="14" y="3"/>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0" name="Freeform 36">
              <a:extLst>
                <a:ext uri="{FF2B5EF4-FFF2-40B4-BE49-F238E27FC236}">
                  <a16:creationId xmlns:a16="http://schemas.microsoft.com/office/drawing/2014/main" id="{0F919F01-B3B6-7876-419E-881B32EC8F79}"/>
                </a:ext>
              </a:extLst>
            </p:cNvPr>
            <p:cNvSpPr>
              <a:spLocks/>
            </p:cNvSpPr>
            <p:nvPr/>
          </p:nvSpPr>
          <p:spPr bwMode="auto">
            <a:xfrm>
              <a:off x="3696" y="2268"/>
              <a:ext cx="38" cy="77"/>
            </a:xfrm>
            <a:custGeom>
              <a:avLst/>
              <a:gdLst>
                <a:gd name="T0" fmla="*/ 8 w 16"/>
                <a:gd name="T1" fmla="*/ 0 h 32"/>
                <a:gd name="T2" fmla="*/ 0 w 16"/>
                <a:gd name="T3" fmla="*/ 8 h 32"/>
                <a:gd name="T4" fmla="*/ 0 w 16"/>
                <a:gd name="T5" fmla="*/ 24 h 32"/>
                <a:gd name="T6" fmla="*/ 8 w 16"/>
                <a:gd name="T7" fmla="*/ 32 h 32"/>
                <a:gd name="T8" fmla="*/ 16 w 16"/>
                <a:gd name="T9" fmla="*/ 24 h 32"/>
                <a:gd name="T10" fmla="*/ 16 w 16"/>
                <a:gd name="T11" fmla="*/ 8 h 32"/>
                <a:gd name="T12" fmla="*/ 8 w 1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0"/>
                  </a:moveTo>
                  <a:cubicBezTo>
                    <a:pt x="4" y="0"/>
                    <a:pt x="0" y="4"/>
                    <a:pt x="0" y="8"/>
                  </a:cubicBezTo>
                  <a:cubicBezTo>
                    <a:pt x="0" y="24"/>
                    <a:pt x="0" y="24"/>
                    <a:pt x="0" y="24"/>
                  </a:cubicBezTo>
                  <a:cubicBezTo>
                    <a:pt x="0" y="28"/>
                    <a:pt x="4" y="32"/>
                    <a:pt x="8" y="32"/>
                  </a:cubicBezTo>
                  <a:cubicBezTo>
                    <a:pt x="13" y="32"/>
                    <a:pt x="16" y="28"/>
                    <a:pt x="16" y="24"/>
                  </a:cubicBezTo>
                  <a:cubicBezTo>
                    <a:pt x="16" y="8"/>
                    <a:pt x="16" y="8"/>
                    <a:pt x="16" y="8"/>
                  </a:cubicBezTo>
                  <a:cubicBezTo>
                    <a:pt x="16" y="4"/>
                    <a:pt x="13" y="0"/>
                    <a:pt x="8"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1" name="Freeform 37">
              <a:extLst>
                <a:ext uri="{FF2B5EF4-FFF2-40B4-BE49-F238E27FC236}">
                  <a16:creationId xmlns:a16="http://schemas.microsoft.com/office/drawing/2014/main" id="{041582D0-3C0E-DEF8-435A-9DBF088F7CE2}"/>
                </a:ext>
              </a:extLst>
            </p:cNvPr>
            <p:cNvSpPr>
              <a:spLocks/>
            </p:cNvSpPr>
            <p:nvPr/>
          </p:nvSpPr>
          <p:spPr bwMode="auto">
            <a:xfrm>
              <a:off x="3492" y="2194"/>
              <a:ext cx="67" cy="67"/>
            </a:xfrm>
            <a:custGeom>
              <a:avLst/>
              <a:gdLst>
                <a:gd name="T0" fmla="*/ 14 w 28"/>
                <a:gd name="T1" fmla="*/ 3 h 28"/>
                <a:gd name="T2" fmla="*/ 3 w 28"/>
                <a:gd name="T3" fmla="*/ 14 h 28"/>
                <a:gd name="T4" fmla="*/ 3 w 28"/>
                <a:gd name="T5" fmla="*/ 25 h 28"/>
                <a:gd name="T6" fmla="*/ 8 w 28"/>
                <a:gd name="T7" fmla="*/ 28 h 28"/>
                <a:gd name="T8" fmla="*/ 14 w 28"/>
                <a:gd name="T9" fmla="*/ 25 h 28"/>
                <a:gd name="T10" fmla="*/ 25 w 28"/>
                <a:gd name="T11" fmla="*/ 14 h 28"/>
                <a:gd name="T12" fmla="*/ 25 w 28"/>
                <a:gd name="T13" fmla="*/ 3 h 28"/>
                <a:gd name="T14" fmla="*/ 14 w 28"/>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3"/>
                  </a:moveTo>
                  <a:cubicBezTo>
                    <a:pt x="3" y="14"/>
                    <a:pt x="3" y="14"/>
                    <a:pt x="3" y="14"/>
                  </a:cubicBezTo>
                  <a:cubicBezTo>
                    <a:pt x="0" y="17"/>
                    <a:pt x="0" y="22"/>
                    <a:pt x="3" y="25"/>
                  </a:cubicBezTo>
                  <a:cubicBezTo>
                    <a:pt x="4" y="27"/>
                    <a:pt x="6" y="28"/>
                    <a:pt x="8" y="28"/>
                  </a:cubicBezTo>
                  <a:cubicBezTo>
                    <a:pt x="10" y="28"/>
                    <a:pt x="13" y="27"/>
                    <a:pt x="14" y="25"/>
                  </a:cubicBezTo>
                  <a:cubicBezTo>
                    <a:pt x="25" y="14"/>
                    <a:pt x="25" y="14"/>
                    <a:pt x="25" y="14"/>
                  </a:cubicBezTo>
                  <a:cubicBezTo>
                    <a:pt x="28" y="11"/>
                    <a:pt x="28" y="6"/>
                    <a:pt x="25" y="3"/>
                  </a:cubicBezTo>
                  <a:cubicBezTo>
                    <a:pt x="22" y="0"/>
                    <a:pt x="17" y="0"/>
                    <a:pt x="14"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2" name="Freeform 38">
              <a:extLst>
                <a:ext uri="{FF2B5EF4-FFF2-40B4-BE49-F238E27FC236}">
                  <a16:creationId xmlns:a16="http://schemas.microsoft.com/office/drawing/2014/main" id="{5B2B6E79-245C-0330-2AD5-87FD09C091A6}"/>
                </a:ext>
              </a:extLst>
            </p:cNvPr>
            <p:cNvSpPr>
              <a:spLocks noEditPoints="1"/>
            </p:cNvSpPr>
            <p:nvPr/>
          </p:nvSpPr>
          <p:spPr bwMode="auto">
            <a:xfrm>
              <a:off x="3542" y="1865"/>
              <a:ext cx="346" cy="345"/>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28 h 144"/>
                <a:gd name="T12" fmla="*/ 16 w 144"/>
                <a:gd name="T13" fmla="*/ 72 h 144"/>
                <a:gd name="T14" fmla="*/ 72 w 144"/>
                <a:gd name="T15" fmla="*/ 16 h 144"/>
                <a:gd name="T16" fmla="*/ 128 w 144"/>
                <a:gd name="T17" fmla="*/ 72 h 144"/>
                <a:gd name="T18" fmla="*/ 72 w 144"/>
                <a:gd name="T1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3" y="0"/>
                    <a:pt x="0" y="32"/>
                    <a:pt x="0" y="72"/>
                  </a:cubicBezTo>
                  <a:cubicBezTo>
                    <a:pt x="0" y="112"/>
                    <a:pt x="33" y="144"/>
                    <a:pt x="72" y="144"/>
                  </a:cubicBezTo>
                  <a:cubicBezTo>
                    <a:pt x="112" y="144"/>
                    <a:pt x="144" y="112"/>
                    <a:pt x="144" y="72"/>
                  </a:cubicBezTo>
                  <a:cubicBezTo>
                    <a:pt x="144" y="32"/>
                    <a:pt x="112" y="0"/>
                    <a:pt x="72" y="0"/>
                  </a:cubicBezTo>
                  <a:close/>
                  <a:moveTo>
                    <a:pt x="72" y="128"/>
                  </a:moveTo>
                  <a:cubicBezTo>
                    <a:pt x="41" y="128"/>
                    <a:pt x="16" y="103"/>
                    <a:pt x="16" y="72"/>
                  </a:cubicBezTo>
                  <a:cubicBezTo>
                    <a:pt x="16" y="41"/>
                    <a:pt x="41" y="16"/>
                    <a:pt x="72" y="16"/>
                  </a:cubicBezTo>
                  <a:cubicBezTo>
                    <a:pt x="103" y="16"/>
                    <a:pt x="128" y="41"/>
                    <a:pt x="128" y="72"/>
                  </a:cubicBezTo>
                  <a:cubicBezTo>
                    <a:pt x="128" y="103"/>
                    <a:pt x="103" y="128"/>
                    <a:pt x="72" y="12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2523" name="Rectangle: Rounded Corners 2522">
            <a:extLst>
              <a:ext uri="{FF2B5EF4-FFF2-40B4-BE49-F238E27FC236}">
                <a16:creationId xmlns:a16="http://schemas.microsoft.com/office/drawing/2014/main" id="{8F2FF839-EB07-AF27-66A4-ABC74BA25752}"/>
              </a:ext>
            </a:extLst>
          </p:cNvPr>
          <p:cNvSpPr/>
          <p:nvPr/>
        </p:nvSpPr>
        <p:spPr>
          <a:xfrm>
            <a:off x="4489148" y="2862109"/>
            <a:ext cx="450889" cy="45088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2524" name="Group 29" descr="Sun.">
            <a:extLst>
              <a:ext uri="{FF2B5EF4-FFF2-40B4-BE49-F238E27FC236}">
                <a16:creationId xmlns:a16="http://schemas.microsoft.com/office/drawing/2014/main" id="{B89C0B6D-3131-B8EA-BB42-0A5B4F3BFE2F}"/>
              </a:ext>
            </a:extLst>
          </p:cNvPr>
          <p:cNvGrpSpPr>
            <a:grpSpLocks noChangeAspect="1"/>
          </p:cNvGrpSpPr>
          <p:nvPr/>
        </p:nvGrpSpPr>
        <p:grpSpPr bwMode="auto">
          <a:xfrm>
            <a:off x="4567389" y="2940339"/>
            <a:ext cx="294394" cy="294389"/>
            <a:chOff x="3408" y="1731"/>
            <a:chExt cx="614" cy="614"/>
          </a:xfrm>
        </p:grpSpPr>
        <p:sp>
          <p:nvSpPr>
            <p:cNvPr id="2525" name="Freeform 30">
              <a:extLst>
                <a:ext uri="{FF2B5EF4-FFF2-40B4-BE49-F238E27FC236}">
                  <a16:creationId xmlns:a16="http://schemas.microsoft.com/office/drawing/2014/main" id="{EB11DBCF-F5C1-6FEB-FFDE-257E713A4B31}"/>
                </a:ext>
              </a:extLst>
            </p:cNvPr>
            <p:cNvSpPr>
              <a:spLocks/>
            </p:cNvSpPr>
            <p:nvPr/>
          </p:nvSpPr>
          <p:spPr bwMode="auto">
            <a:xfrm>
              <a:off x="3408" y="2018"/>
              <a:ext cx="77"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6" name="Freeform 31">
              <a:extLst>
                <a:ext uri="{FF2B5EF4-FFF2-40B4-BE49-F238E27FC236}">
                  <a16:creationId xmlns:a16="http://schemas.microsoft.com/office/drawing/2014/main" id="{72BCD447-450E-F8AB-CFCB-C975AA5B07B8}"/>
                </a:ext>
              </a:extLst>
            </p:cNvPr>
            <p:cNvSpPr>
              <a:spLocks/>
            </p:cNvSpPr>
            <p:nvPr/>
          </p:nvSpPr>
          <p:spPr bwMode="auto">
            <a:xfrm>
              <a:off x="3492" y="1812"/>
              <a:ext cx="67" cy="67"/>
            </a:xfrm>
            <a:custGeom>
              <a:avLst/>
              <a:gdLst>
                <a:gd name="T0" fmla="*/ 14 w 28"/>
                <a:gd name="T1" fmla="*/ 26 h 28"/>
                <a:gd name="T2" fmla="*/ 20 w 28"/>
                <a:gd name="T3" fmla="*/ 28 h 28"/>
                <a:gd name="T4" fmla="*/ 25 w 28"/>
                <a:gd name="T5" fmla="*/ 26 h 28"/>
                <a:gd name="T6" fmla="*/ 25 w 28"/>
                <a:gd name="T7" fmla="*/ 15 h 28"/>
                <a:gd name="T8" fmla="*/ 14 w 28"/>
                <a:gd name="T9" fmla="*/ 4 h 28"/>
                <a:gd name="T10" fmla="*/ 3 w 28"/>
                <a:gd name="T11" fmla="*/ 4 h 28"/>
                <a:gd name="T12" fmla="*/ 3 w 28"/>
                <a:gd name="T13" fmla="*/ 15 h 28"/>
                <a:gd name="T14" fmla="*/ 14 w 28"/>
                <a:gd name="T15" fmla="*/ 26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26"/>
                  </a:moveTo>
                  <a:cubicBezTo>
                    <a:pt x="16" y="28"/>
                    <a:pt x="18" y="28"/>
                    <a:pt x="20" y="28"/>
                  </a:cubicBezTo>
                  <a:cubicBezTo>
                    <a:pt x="22" y="28"/>
                    <a:pt x="24" y="28"/>
                    <a:pt x="25" y="26"/>
                  </a:cubicBezTo>
                  <a:cubicBezTo>
                    <a:pt x="28" y="23"/>
                    <a:pt x="28" y="18"/>
                    <a:pt x="25" y="15"/>
                  </a:cubicBezTo>
                  <a:cubicBezTo>
                    <a:pt x="14" y="4"/>
                    <a:pt x="14" y="4"/>
                    <a:pt x="14" y="4"/>
                  </a:cubicBezTo>
                  <a:cubicBezTo>
                    <a:pt x="11" y="0"/>
                    <a:pt x="6" y="0"/>
                    <a:pt x="3" y="4"/>
                  </a:cubicBezTo>
                  <a:cubicBezTo>
                    <a:pt x="0" y="7"/>
                    <a:pt x="0" y="12"/>
                    <a:pt x="3" y="15"/>
                  </a:cubicBezTo>
                  <a:lnTo>
                    <a:pt x="14" y="26"/>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7" name="Freeform 32">
              <a:extLst>
                <a:ext uri="{FF2B5EF4-FFF2-40B4-BE49-F238E27FC236}">
                  <a16:creationId xmlns:a16="http://schemas.microsoft.com/office/drawing/2014/main" id="{4790F48D-6B0A-3182-05FC-D07FC414DDE8}"/>
                </a:ext>
              </a:extLst>
            </p:cNvPr>
            <p:cNvSpPr>
              <a:spLocks/>
            </p:cNvSpPr>
            <p:nvPr/>
          </p:nvSpPr>
          <p:spPr bwMode="auto">
            <a:xfrm>
              <a:off x="3696" y="1731"/>
              <a:ext cx="38" cy="76"/>
            </a:xfrm>
            <a:custGeom>
              <a:avLst/>
              <a:gdLst>
                <a:gd name="T0" fmla="*/ 8 w 16"/>
                <a:gd name="T1" fmla="*/ 32 h 32"/>
                <a:gd name="T2" fmla="*/ 16 w 16"/>
                <a:gd name="T3" fmla="*/ 24 h 32"/>
                <a:gd name="T4" fmla="*/ 16 w 16"/>
                <a:gd name="T5" fmla="*/ 8 h 32"/>
                <a:gd name="T6" fmla="*/ 8 w 16"/>
                <a:gd name="T7" fmla="*/ 0 h 32"/>
                <a:gd name="T8" fmla="*/ 0 w 16"/>
                <a:gd name="T9" fmla="*/ 8 h 32"/>
                <a:gd name="T10" fmla="*/ 0 w 16"/>
                <a:gd name="T11" fmla="*/ 24 h 32"/>
                <a:gd name="T12" fmla="*/ 8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32"/>
                  </a:moveTo>
                  <a:cubicBezTo>
                    <a:pt x="13" y="32"/>
                    <a:pt x="16" y="28"/>
                    <a:pt x="16" y="24"/>
                  </a:cubicBezTo>
                  <a:cubicBezTo>
                    <a:pt x="16" y="8"/>
                    <a:pt x="16" y="8"/>
                    <a:pt x="16" y="8"/>
                  </a:cubicBezTo>
                  <a:cubicBezTo>
                    <a:pt x="16" y="4"/>
                    <a:pt x="13" y="0"/>
                    <a:pt x="8" y="0"/>
                  </a:cubicBezTo>
                  <a:cubicBezTo>
                    <a:pt x="4" y="0"/>
                    <a:pt x="0" y="4"/>
                    <a:pt x="0" y="8"/>
                  </a:cubicBezTo>
                  <a:cubicBezTo>
                    <a:pt x="0" y="24"/>
                    <a:pt x="0" y="24"/>
                    <a:pt x="0" y="24"/>
                  </a:cubicBezTo>
                  <a:cubicBezTo>
                    <a:pt x="0" y="28"/>
                    <a:pt x="4" y="32"/>
                    <a:pt x="8"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8" name="Freeform 33">
              <a:extLst>
                <a:ext uri="{FF2B5EF4-FFF2-40B4-BE49-F238E27FC236}">
                  <a16:creationId xmlns:a16="http://schemas.microsoft.com/office/drawing/2014/main" id="{2A32E35E-652C-A82F-C0A0-CE8277080125}"/>
                </a:ext>
              </a:extLst>
            </p:cNvPr>
            <p:cNvSpPr>
              <a:spLocks/>
            </p:cNvSpPr>
            <p:nvPr/>
          </p:nvSpPr>
          <p:spPr bwMode="auto">
            <a:xfrm>
              <a:off x="3871" y="1812"/>
              <a:ext cx="70" cy="67"/>
            </a:xfrm>
            <a:custGeom>
              <a:avLst/>
              <a:gdLst>
                <a:gd name="T0" fmla="*/ 14 w 29"/>
                <a:gd name="T1" fmla="*/ 4 h 28"/>
                <a:gd name="T2" fmla="*/ 3 w 29"/>
                <a:gd name="T3" fmla="*/ 15 h 28"/>
                <a:gd name="T4" fmla="*/ 3 w 29"/>
                <a:gd name="T5" fmla="*/ 26 h 28"/>
                <a:gd name="T6" fmla="*/ 9 w 29"/>
                <a:gd name="T7" fmla="*/ 28 h 28"/>
                <a:gd name="T8" fmla="*/ 14 w 29"/>
                <a:gd name="T9" fmla="*/ 26 h 28"/>
                <a:gd name="T10" fmla="*/ 26 w 29"/>
                <a:gd name="T11" fmla="*/ 15 h 28"/>
                <a:gd name="T12" fmla="*/ 26 w 29"/>
                <a:gd name="T13" fmla="*/ 4 h 28"/>
                <a:gd name="T14" fmla="*/ 14 w 29"/>
                <a:gd name="T15" fmla="*/ 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4"/>
                  </a:moveTo>
                  <a:cubicBezTo>
                    <a:pt x="3" y="15"/>
                    <a:pt x="3" y="15"/>
                    <a:pt x="3" y="15"/>
                  </a:cubicBezTo>
                  <a:cubicBezTo>
                    <a:pt x="0" y="18"/>
                    <a:pt x="0" y="23"/>
                    <a:pt x="3" y="26"/>
                  </a:cubicBezTo>
                  <a:cubicBezTo>
                    <a:pt x="5" y="28"/>
                    <a:pt x="7" y="28"/>
                    <a:pt x="9" y="28"/>
                  </a:cubicBezTo>
                  <a:cubicBezTo>
                    <a:pt x="11" y="28"/>
                    <a:pt x="13" y="28"/>
                    <a:pt x="14" y="26"/>
                  </a:cubicBezTo>
                  <a:cubicBezTo>
                    <a:pt x="26" y="15"/>
                    <a:pt x="26" y="15"/>
                    <a:pt x="26" y="15"/>
                  </a:cubicBezTo>
                  <a:cubicBezTo>
                    <a:pt x="29" y="12"/>
                    <a:pt x="29" y="7"/>
                    <a:pt x="26" y="4"/>
                  </a:cubicBezTo>
                  <a:cubicBezTo>
                    <a:pt x="23" y="0"/>
                    <a:pt x="18" y="0"/>
                    <a:pt x="14" y="4"/>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29" name="Freeform 34">
              <a:extLst>
                <a:ext uri="{FF2B5EF4-FFF2-40B4-BE49-F238E27FC236}">
                  <a16:creationId xmlns:a16="http://schemas.microsoft.com/office/drawing/2014/main" id="{06EBC499-F68A-3397-9DBE-1D13FFCF3DF4}"/>
                </a:ext>
              </a:extLst>
            </p:cNvPr>
            <p:cNvSpPr>
              <a:spLocks/>
            </p:cNvSpPr>
            <p:nvPr/>
          </p:nvSpPr>
          <p:spPr bwMode="auto">
            <a:xfrm>
              <a:off x="3946" y="2018"/>
              <a:ext cx="76" cy="39"/>
            </a:xfrm>
            <a:custGeom>
              <a:avLst/>
              <a:gdLst>
                <a:gd name="T0" fmla="*/ 24 w 32"/>
                <a:gd name="T1" fmla="*/ 0 h 16"/>
                <a:gd name="T2" fmla="*/ 8 w 32"/>
                <a:gd name="T3" fmla="*/ 0 h 16"/>
                <a:gd name="T4" fmla="*/ 0 w 32"/>
                <a:gd name="T5" fmla="*/ 8 h 16"/>
                <a:gd name="T6" fmla="*/ 8 w 32"/>
                <a:gd name="T7" fmla="*/ 16 h 16"/>
                <a:gd name="T8" fmla="*/ 24 w 32"/>
                <a:gd name="T9" fmla="*/ 16 h 16"/>
                <a:gd name="T10" fmla="*/ 32 w 32"/>
                <a:gd name="T11" fmla="*/ 8 h 16"/>
                <a:gd name="T12" fmla="*/ 24 w 32"/>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24" y="0"/>
                  </a:moveTo>
                  <a:cubicBezTo>
                    <a:pt x="8" y="0"/>
                    <a:pt x="8" y="0"/>
                    <a:pt x="8" y="0"/>
                  </a:cubicBezTo>
                  <a:cubicBezTo>
                    <a:pt x="4" y="0"/>
                    <a:pt x="0" y="4"/>
                    <a:pt x="0" y="8"/>
                  </a:cubicBezTo>
                  <a:cubicBezTo>
                    <a:pt x="0" y="12"/>
                    <a:pt x="4" y="16"/>
                    <a:pt x="8" y="16"/>
                  </a:cubicBezTo>
                  <a:cubicBezTo>
                    <a:pt x="24" y="16"/>
                    <a:pt x="24" y="16"/>
                    <a:pt x="24" y="16"/>
                  </a:cubicBezTo>
                  <a:cubicBezTo>
                    <a:pt x="29" y="16"/>
                    <a:pt x="32" y="12"/>
                    <a:pt x="32" y="8"/>
                  </a:cubicBezTo>
                  <a:cubicBezTo>
                    <a:pt x="32" y="4"/>
                    <a:pt x="29" y="0"/>
                    <a:pt x="24"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30" name="Freeform 35">
              <a:extLst>
                <a:ext uri="{FF2B5EF4-FFF2-40B4-BE49-F238E27FC236}">
                  <a16:creationId xmlns:a16="http://schemas.microsoft.com/office/drawing/2014/main" id="{1C30CC0B-35B9-3936-33F7-5EFFEEFDD988}"/>
                </a:ext>
              </a:extLst>
            </p:cNvPr>
            <p:cNvSpPr>
              <a:spLocks/>
            </p:cNvSpPr>
            <p:nvPr/>
          </p:nvSpPr>
          <p:spPr bwMode="auto">
            <a:xfrm>
              <a:off x="3871" y="2194"/>
              <a:ext cx="70" cy="67"/>
            </a:xfrm>
            <a:custGeom>
              <a:avLst/>
              <a:gdLst>
                <a:gd name="T0" fmla="*/ 14 w 29"/>
                <a:gd name="T1" fmla="*/ 3 h 28"/>
                <a:gd name="T2" fmla="*/ 3 w 29"/>
                <a:gd name="T3" fmla="*/ 3 h 28"/>
                <a:gd name="T4" fmla="*/ 3 w 29"/>
                <a:gd name="T5" fmla="*/ 14 h 28"/>
                <a:gd name="T6" fmla="*/ 14 w 29"/>
                <a:gd name="T7" fmla="*/ 25 h 28"/>
                <a:gd name="T8" fmla="*/ 20 w 29"/>
                <a:gd name="T9" fmla="*/ 28 h 28"/>
                <a:gd name="T10" fmla="*/ 26 w 29"/>
                <a:gd name="T11" fmla="*/ 25 h 28"/>
                <a:gd name="T12" fmla="*/ 26 w 29"/>
                <a:gd name="T13" fmla="*/ 14 h 28"/>
                <a:gd name="T14" fmla="*/ 14 w 29"/>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8">
                  <a:moveTo>
                    <a:pt x="14" y="3"/>
                  </a:moveTo>
                  <a:cubicBezTo>
                    <a:pt x="11" y="0"/>
                    <a:pt x="6" y="0"/>
                    <a:pt x="3" y="3"/>
                  </a:cubicBezTo>
                  <a:cubicBezTo>
                    <a:pt x="0" y="6"/>
                    <a:pt x="0" y="11"/>
                    <a:pt x="3" y="14"/>
                  </a:cubicBezTo>
                  <a:cubicBezTo>
                    <a:pt x="14" y="25"/>
                    <a:pt x="14" y="25"/>
                    <a:pt x="14" y="25"/>
                  </a:cubicBezTo>
                  <a:cubicBezTo>
                    <a:pt x="16" y="27"/>
                    <a:pt x="18" y="28"/>
                    <a:pt x="20" y="28"/>
                  </a:cubicBezTo>
                  <a:cubicBezTo>
                    <a:pt x="22" y="28"/>
                    <a:pt x="24" y="27"/>
                    <a:pt x="26" y="25"/>
                  </a:cubicBezTo>
                  <a:cubicBezTo>
                    <a:pt x="29" y="22"/>
                    <a:pt x="29" y="17"/>
                    <a:pt x="26" y="14"/>
                  </a:cubicBezTo>
                  <a:lnTo>
                    <a:pt x="14" y="3"/>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31" name="Freeform 36">
              <a:extLst>
                <a:ext uri="{FF2B5EF4-FFF2-40B4-BE49-F238E27FC236}">
                  <a16:creationId xmlns:a16="http://schemas.microsoft.com/office/drawing/2014/main" id="{B9ECF5D8-46FD-23BB-86D9-ED8AF0DF763E}"/>
                </a:ext>
              </a:extLst>
            </p:cNvPr>
            <p:cNvSpPr>
              <a:spLocks/>
            </p:cNvSpPr>
            <p:nvPr/>
          </p:nvSpPr>
          <p:spPr bwMode="auto">
            <a:xfrm>
              <a:off x="3696" y="2268"/>
              <a:ext cx="38" cy="77"/>
            </a:xfrm>
            <a:custGeom>
              <a:avLst/>
              <a:gdLst>
                <a:gd name="T0" fmla="*/ 8 w 16"/>
                <a:gd name="T1" fmla="*/ 0 h 32"/>
                <a:gd name="T2" fmla="*/ 0 w 16"/>
                <a:gd name="T3" fmla="*/ 8 h 32"/>
                <a:gd name="T4" fmla="*/ 0 w 16"/>
                <a:gd name="T5" fmla="*/ 24 h 32"/>
                <a:gd name="T6" fmla="*/ 8 w 16"/>
                <a:gd name="T7" fmla="*/ 32 h 32"/>
                <a:gd name="T8" fmla="*/ 16 w 16"/>
                <a:gd name="T9" fmla="*/ 24 h 32"/>
                <a:gd name="T10" fmla="*/ 16 w 16"/>
                <a:gd name="T11" fmla="*/ 8 h 32"/>
                <a:gd name="T12" fmla="*/ 8 w 1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8" y="0"/>
                  </a:moveTo>
                  <a:cubicBezTo>
                    <a:pt x="4" y="0"/>
                    <a:pt x="0" y="4"/>
                    <a:pt x="0" y="8"/>
                  </a:cubicBezTo>
                  <a:cubicBezTo>
                    <a:pt x="0" y="24"/>
                    <a:pt x="0" y="24"/>
                    <a:pt x="0" y="24"/>
                  </a:cubicBezTo>
                  <a:cubicBezTo>
                    <a:pt x="0" y="28"/>
                    <a:pt x="4" y="32"/>
                    <a:pt x="8" y="32"/>
                  </a:cubicBezTo>
                  <a:cubicBezTo>
                    <a:pt x="13" y="32"/>
                    <a:pt x="16" y="28"/>
                    <a:pt x="16" y="24"/>
                  </a:cubicBezTo>
                  <a:cubicBezTo>
                    <a:pt x="16" y="8"/>
                    <a:pt x="16" y="8"/>
                    <a:pt x="16" y="8"/>
                  </a:cubicBezTo>
                  <a:cubicBezTo>
                    <a:pt x="16" y="4"/>
                    <a:pt x="13" y="0"/>
                    <a:pt x="8"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32" name="Freeform 37">
              <a:extLst>
                <a:ext uri="{FF2B5EF4-FFF2-40B4-BE49-F238E27FC236}">
                  <a16:creationId xmlns:a16="http://schemas.microsoft.com/office/drawing/2014/main" id="{991706E7-7108-47B6-6414-7509276CAD53}"/>
                </a:ext>
              </a:extLst>
            </p:cNvPr>
            <p:cNvSpPr>
              <a:spLocks/>
            </p:cNvSpPr>
            <p:nvPr/>
          </p:nvSpPr>
          <p:spPr bwMode="auto">
            <a:xfrm>
              <a:off x="3492" y="2194"/>
              <a:ext cx="67" cy="67"/>
            </a:xfrm>
            <a:custGeom>
              <a:avLst/>
              <a:gdLst>
                <a:gd name="T0" fmla="*/ 14 w 28"/>
                <a:gd name="T1" fmla="*/ 3 h 28"/>
                <a:gd name="T2" fmla="*/ 3 w 28"/>
                <a:gd name="T3" fmla="*/ 14 h 28"/>
                <a:gd name="T4" fmla="*/ 3 w 28"/>
                <a:gd name="T5" fmla="*/ 25 h 28"/>
                <a:gd name="T6" fmla="*/ 8 w 28"/>
                <a:gd name="T7" fmla="*/ 28 h 28"/>
                <a:gd name="T8" fmla="*/ 14 w 28"/>
                <a:gd name="T9" fmla="*/ 25 h 28"/>
                <a:gd name="T10" fmla="*/ 25 w 28"/>
                <a:gd name="T11" fmla="*/ 14 h 28"/>
                <a:gd name="T12" fmla="*/ 25 w 28"/>
                <a:gd name="T13" fmla="*/ 3 h 28"/>
                <a:gd name="T14" fmla="*/ 14 w 28"/>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4" y="3"/>
                  </a:moveTo>
                  <a:cubicBezTo>
                    <a:pt x="3" y="14"/>
                    <a:pt x="3" y="14"/>
                    <a:pt x="3" y="14"/>
                  </a:cubicBezTo>
                  <a:cubicBezTo>
                    <a:pt x="0" y="17"/>
                    <a:pt x="0" y="22"/>
                    <a:pt x="3" y="25"/>
                  </a:cubicBezTo>
                  <a:cubicBezTo>
                    <a:pt x="4" y="27"/>
                    <a:pt x="6" y="28"/>
                    <a:pt x="8" y="28"/>
                  </a:cubicBezTo>
                  <a:cubicBezTo>
                    <a:pt x="10" y="28"/>
                    <a:pt x="13" y="27"/>
                    <a:pt x="14" y="25"/>
                  </a:cubicBezTo>
                  <a:cubicBezTo>
                    <a:pt x="25" y="14"/>
                    <a:pt x="25" y="14"/>
                    <a:pt x="25" y="14"/>
                  </a:cubicBezTo>
                  <a:cubicBezTo>
                    <a:pt x="28" y="11"/>
                    <a:pt x="28" y="6"/>
                    <a:pt x="25" y="3"/>
                  </a:cubicBezTo>
                  <a:cubicBezTo>
                    <a:pt x="22" y="0"/>
                    <a:pt x="17" y="0"/>
                    <a:pt x="14" y="3"/>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533" name="Freeform 38">
              <a:extLst>
                <a:ext uri="{FF2B5EF4-FFF2-40B4-BE49-F238E27FC236}">
                  <a16:creationId xmlns:a16="http://schemas.microsoft.com/office/drawing/2014/main" id="{FFE4437F-AC48-9BDC-24A6-4C413829D19C}"/>
                </a:ext>
              </a:extLst>
            </p:cNvPr>
            <p:cNvSpPr>
              <a:spLocks noEditPoints="1"/>
            </p:cNvSpPr>
            <p:nvPr/>
          </p:nvSpPr>
          <p:spPr bwMode="auto">
            <a:xfrm>
              <a:off x="3542" y="1865"/>
              <a:ext cx="346" cy="345"/>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28 h 144"/>
                <a:gd name="T12" fmla="*/ 16 w 144"/>
                <a:gd name="T13" fmla="*/ 72 h 144"/>
                <a:gd name="T14" fmla="*/ 72 w 144"/>
                <a:gd name="T15" fmla="*/ 16 h 144"/>
                <a:gd name="T16" fmla="*/ 128 w 144"/>
                <a:gd name="T17" fmla="*/ 72 h 144"/>
                <a:gd name="T18" fmla="*/ 72 w 144"/>
                <a:gd name="T1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3" y="0"/>
                    <a:pt x="0" y="32"/>
                    <a:pt x="0" y="72"/>
                  </a:cubicBezTo>
                  <a:cubicBezTo>
                    <a:pt x="0" y="112"/>
                    <a:pt x="33" y="144"/>
                    <a:pt x="72" y="144"/>
                  </a:cubicBezTo>
                  <a:cubicBezTo>
                    <a:pt x="112" y="144"/>
                    <a:pt x="144" y="112"/>
                    <a:pt x="144" y="72"/>
                  </a:cubicBezTo>
                  <a:cubicBezTo>
                    <a:pt x="144" y="32"/>
                    <a:pt x="112" y="0"/>
                    <a:pt x="72" y="0"/>
                  </a:cubicBezTo>
                  <a:close/>
                  <a:moveTo>
                    <a:pt x="72" y="128"/>
                  </a:moveTo>
                  <a:cubicBezTo>
                    <a:pt x="41" y="128"/>
                    <a:pt x="16" y="103"/>
                    <a:pt x="16" y="72"/>
                  </a:cubicBezTo>
                  <a:cubicBezTo>
                    <a:pt x="16" y="41"/>
                    <a:pt x="41" y="16"/>
                    <a:pt x="72" y="16"/>
                  </a:cubicBezTo>
                  <a:cubicBezTo>
                    <a:pt x="103" y="16"/>
                    <a:pt x="128" y="41"/>
                    <a:pt x="128" y="72"/>
                  </a:cubicBezTo>
                  <a:cubicBezTo>
                    <a:pt x="128" y="103"/>
                    <a:pt x="103" y="128"/>
                    <a:pt x="72" y="12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cxnSp>
        <p:nvCxnSpPr>
          <p:cNvPr id="2535" name="Straight Connector 2534">
            <a:extLst>
              <a:ext uri="{FF2B5EF4-FFF2-40B4-BE49-F238E27FC236}">
                <a16:creationId xmlns:a16="http://schemas.microsoft.com/office/drawing/2014/main" id="{D7918D8D-D7BC-9E93-79E3-1EAF6F45BECE}"/>
              </a:ext>
            </a:extLst>
          </p:cNvPr>
          <p:cNvCxnSpPr>
            <a:cxnSpLocks/>
          </p:cNvCxnSpPr>
          <p:nvPr/>
        </p:nvCxnSpPr>
        <p:spPr>
          <a:xfrm>
            <a:off x="7832507" y="857250"/>
            <a:ext cx="0" cy="557198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sp>
        <p:nvSpPr>
          <p:cNvPr id="2504" name="Slide Number Placeholder 2">
            <a:extLst>
              <a:ext uri="{FF2B5EF4-FFF2-40B4-BE49-F238E27FC236}">
                <a16:creationId xmlns:a16="http://schemas.microsoft.com/office/drawing/2014/main" id="{26E3B303-B297-D59E-EC8F-E8D1404CEC9F}"/>
              </a:ext>
            </a:extLst>
          </p:cNvPr>
          <p:cNvSpPr>
            <a:spLocks noGrp="1"/>
          </p:cNvSpPr>
          <p:nvPr>
            <p:ph type="sldNum" sz="quarter" idx="10"/>
          </p:nvPr>
        </p:nvSpPr>
        <p:spPr>
          <a:xfrm>
            <a:off x="11430000" y="6516000"/>
            <a:ext cx="280800" cy="123111"/>
          </a:xfrm>
        </p:spPr>
        <p:txBody>
          <a:bodyPr/>
          <a:lstStyle/>
          <a:p>
            <a:pPr algn="r"/>
            <a:fld id="{DF66040D-6F20-4F4B-8995-856BEECD84BE}" type="slidenum">
              <a:rPr lang="en-US" smtClean="0"/>
              <a:pPr algn="r"/>
              <a:t>14</a:t>
            </a:fld>
            <a:endParaRPr lang="en-US"/>
          </a:p>
        </p:txBody>
      </p:sp>
    </p:spTree>
    <p:custDataLst>
      <p:custData r:id="rId1"/>
    </p:custDataLst>
    <p:extLst>
      <p:ext uri="{BB962C8B-B14F-4D97-AF65-F5344CB8AC3E}">
        <p14:creationId xmlns:p14="http://schemas.microsoft.com/office/powerpoint/2010/main" val="31415324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432AA-B4A9-83FC-FBBF-848C9FE320DB}"/>
              </a:ext>
            </a:extLst>
          </p:cNvPr>
          <p:cNvSpPr>
            <a:spLocks noGrp="1"/>
          </p:cNvSpPr>
          <p:nvPr>
            <p:ph type="title"/>
          </p:nvPr>
        </p:nvSpPr>
        <p:spPr/>
        <p:txBody>
          <a:bodyPr/>
          <a:lstStyle/>
          <a:p>
            <a:r>
              <a:rPr lang="es-ES" dirty="0"/>
              <a:t>Anomalías y extremos en la temperatura de la superficie del mar en mayo de 2024</a:t>
            </a:r>
            <a:endParaRPr lang="en-US" dirty="0"/>
          </a:p>
        </p:txBody>
      </p:sp>
      <p:sp>
        <p:nvSpPr>
          <p:cNvPr id="3" name="Slide Number Placeholder 2">
            <a:extLst>
              <a:ext uri="{FF2B5EF4-FFF2-40B4-BE49-F238E27FC236}">
                <a16:creationId xmlns:a16="http://schemas.microsoft.com/office/drawing/2014/main" id="{864C8D69-082E-2E5C-4A7E-51FA5D68301E}"/>
              </a:ext>
            </a:extLst>
          </p:cNvPr>
          <p:cNvSpPr>
            <a:spLocks noGrp="1"/>
          </p:cNvSpPr>
          <p:nvPr>
            <p:ph type="sldNum" sz="quarter" idx="10"/>
          </p:nvPr>
        </p:nvSpPr>
        <p:spPr/>
        <p:txBody>
          <a:bodyPr/>
          <a:lstStyle/>
          <a:p>
            <a:pPr algn="r"/>
            <a:fld id="{DF66040D-6F20-4F4B-8995-856BEECD84BE}" type="slidenum">
              <a:rPr lang="en-US" smtClean="0"/>
              <a:pPr algn="r"/>
              <a:t>15</a:t>
            </a:fld>
            <a:endParaRPr lang="en-US"/>
          </a:p>
        </p:txBody>
      </p:sp>
      <p:pic>
        <p:nvPicPr>
          <p:cNvPr id="6" name="Picture 5">
            <a:extLst>
              <a:ext uri="{FF2B5EF4-FFF2-40B4-BE49-F238E27FC236}">
                <a16:creationId xmlns:a16="http://schemas.microsoft.com/office/drawing/2014/main" id="{7958F069-2A86-DB28-8596-8E794227C407}"/>
              </a:ext>
            </a:extLst>
          </p:cNvPr>
          <p:cNvPicPr>
            <a:picLocks noChangeAspect="1"/>
          </p:cNvPicPr>
          <p:nvPr/>
        </p:nvPicPr>
        <p:blipFill rotWithShape="1">
          <a:blip r:embed="rId3">
            <a:extLst>
              <a:ext uri="{28A0092B-C50C-407E-A947-70E740481C1C}">
                <a14:useLocalDpi xmlns:a14="http://schemas.microsoft.com/office/drawing/2010/main" val="0"/>
              </a:ext>
            </a:extLst>
          </a:blip>
          <a:srcRect t="12633"/>
          <a:stretch/>
        </p:blipFill>
        <p:spPr bwMode="auto">
          <a:xfrm>
            <a:off x="1851689" y="1922549"/>
            <a:ext cx="8488623" cy="4201260"/>
          </a:xfrm>
          <a:prstGeom prst="rect">
            <a:avLst/>
          </a:prstGeom>
          <a:noFill/>
        </p:spPr>
      </p:pic>
      <p:sp>
        <p:nvSpPr>
          <p:cNvPr id="7" name="Footer Placeholder 6">
            <a:extLst>
              <a:ext uri="{FF2B5EF4-FFF2-40B4-BE49-F238E27FC236}">
                <a16:creationId xmlns:a16="http://schemas.microsoft.com/office/drawing/2014/main" id="{C41A602F-E06B-0B56-92A8-0A4C50A79C7B}"/>
              </a:ext>
            </a:extLst>
          </p:cNvPr>
          <p:cNvSpPr>
            <a:spLocks noGrp="1"/>
          </p:cNvSpPr>
          <p:nvPr>
            <p:ph type="ftr" sz="quarter" idx="11"/>
          </p:nvPr>
        </p:nvSpPr>
        <p:spPr/>
        <p:txBody>
          <a:bodyPr/>
          <a:lstStyle/>
          <a:p>
            <a:pPr algn="r">
              <a:spcAft>
                <a:spcPts val="600"/>
              </a:spcAft>
              <a:buFont typeface="Arial" panose="020B0604020202020204" pitchFamily="34" charset="0"/>
              <a:buNone/>
            </a:pPr>
            <a:r>
              <a:rPr lang="en-US" dirty="0"/>
              <a:t>Fuente: Copernicus.</a:t>
            </a:r>
          </a:p>
        </p:txBody>
      </p:sp>
      <p:sp>
        <p:nvSpPr>
          <p:cNvPr id="15" name="TextBox 14">
            <a:extLst>
              <a:ext uri="{FF2B5EF4-FFF2-40B4-BE49-F238E27FC236}">
                <a16:creationId xmlns:a16="http://schemas.microsoft.com/office/drawing/2014/main" id="{D1EFF3B9-80BC-FED2-8E94-67F857CE7416}"/>
              </a:ext>
            </a:extLst>
          </p:cNvPr>
          <p:cNvSpPr txBox="1"/>
          <p:nvPr/>
        </p:nvSpPr>
        <p:spPr>
          <a:xfrm>
            <a:off x="3047163" y="1609725"/>
            <a:ext cx="6094324"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rPr>
              <a:t>Data – ERA5 1979-2024 | </a:t>
            </a:r>
            <a:r>
              <a:rPr kumimoji="0" lang="en-US" sz="1200" b="0" i="0" u="none" strike="noStrike" kern="1200" cap="none" spc="0" normalizeH="0" baseline="0" noProof="0" dirty="0" err="1">
                <a:ln>
                  <a:noFill/>
                </a:ln>
                <a:solidFill>
                  <a:srgbClr val="202020"/>
                </a:solidFill>
                <a:effectLst/>
                <a:uLnTx/>
                <a:uFillTx/>
                <a:latin typeface="Arial" panose="020B0604020202020204"/>
                <a:ea typeface="+mn-ea"/>
                <a:cs typeface="+mn-cs"/>
              </a:rPr>
              <a:t>Periodo</a:t>
            </a:r>
            <a:r>
              <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rPr>
              <a:t> de </a:t>
            </a:r>
            <a:r>
              <a:rPr kumimoji="0" lang="en-US" sz="1200" b="0" i="0" u="none" strike="noStrike" kern="1200" cap="none" spc="0" normalizeH="0" baseline="0" noProof="0" dirty="0" err="1">
                <a:ln>
                  <a:noFill/>
                </a:ln>
                <a:solidFill>
                  <a:srgbClr val="202020"/>
                </a:solidFill>
                <a:effectLst/>
                <a:uLnTx/>
                <a:uFillTx/>
                <a:latin typeface="Arial" panose="020B0604020202020204"/>
                <a:ea typeface="+mn-ea"/>
                <a:cs typeface="+mn-cs"/>
              </a:rPr>
              <a:t>referencia</a:t>
            </a:r>
            <a:r>
              <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rPr>
              <a:t> – 1991-2020 | </a:t>
            </a:r>
            <a:r>
              <a:rPr kumimoji="0" lang="en-US" sz="1200" b="0" i="0" u="none" strike="noStrike" kern="1200" cap="none" spc="0" normalizeH="0" baseline="0" noProof="0" dirty="0" err="1">
                <a:ln>
                  <a:noFill/>
                </a:ln>
                <a:solidFill>
                  <a:srgbClr val="202020"/>
                </a:solidFill>
                <a:effectLst/>
                <a:uLnTx/>
                <a:uFillTx/>
                <a:latin typeface="Arial" panose="020B0604020202020204"/>
                <a:ea typeface="+mn-ea"/>
                <a:cs typeface="+mn-cs"/>
              </a:rPr>
              <a:t>Credito</a:t>
            </a:r>
            <a:r>
              <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rPr>
              <a:t> – C3S/ECMWF</a:t>
            </a:r>
          </a:p>
        </p:txBody>
      </p:sp>
    </p:spTree>
    <p:extLst>
      <p:ext uri="{BB962C8B-B14F-4D97-AF65-F5344CB8AC3E}">
        <p14:creationId xmlns:p14="http://schemas.microsoft.com/office/powerpoint/2010/main" val="11252971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67427E9-5C16-4CB0-AA5E-1991B35A2834}"/>
              </a:ext>
            </a:extLst>
          </p:cNvPr>
          <p:cNvSpPr/>
          <p:nvPr/>
        </p:nvSpPr>
        <p:spPr>
          <a:xfrm>
            <a:off x="8483400" y="2017593"/>
            <a:ext cx="3222824" cy="40996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p:txBody>
          <a:bodyPr/>
          <a:lstStyle/>
          <a:p>
            <a:r>
              <a:rPr lang="es-ES" dirty="0"/>
              <a:t>Sentimiento sobre el cambio climático</a:t>
            </a: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4" name="TextBox 13"/>
          <p:cNvSpPr txBox="1"/>
          <p:nvPr/>
        </p:nvSpPr>
        <p:spPr>
          <a:xfrm>
            <a:off x="8829373" y="2305480"/>
            <a:ext cx="2530877" cy="923330"/>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chemeClr val="accent4"/>
                </a:solidFill>
                <a:effectLst/>
                <a:uLnTx/>
                <a:uFillTx/>
                <a:latin typeface="Arial" panose="020B0604020202020204"/>
                <a:ea typeface="+mn-ea"/>
                <a:cs typeface="+mn-cs"/>
              </a:rPr>
              <a:t>En la mayoría de los territorios, se citó como motivo de preocupación una amplia gama de peligros. Los peligros más citados por territorio se encuentran a continuación.</a:t>
            </a:r>
            <a:endParaRPr kumimoji="0" lang="en-GB" sz="1200" b="1" i="0" u="none" strike="noStrike" kern="1200" cap="none" spc="0" normalizeH="0" baseline="0" noProof="0" dirty="0">
              <a:ln>
                <a:noFill/>
              </a:ln>
              <a:solidFill>
                <a:schemeClr val="accent4"/>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B344FA1-47BF-4971-8531-FCD51435D0E8}"/>
              </a:ext>
            </a:extLst>
          </p:cNvPr>
          <p:cNvSpPr txBox="1"/>
          <p:nvPr/>
        </p:nvSpPr>
        <p:spPr>
          <a:xfrm>
            <a:off x="9608043" y="3429688"/>
            <a:ext cx="1855700" cy="2269852"/>
          </a:xfrm>
          <a:prstGeom prst="rect">
            <a:avLst/>
          </a:prstGeom>
          <a:noFill/>
        </p:spPr>
        <p:txBody>
          <a:bodyPr wrap="square" lIns="0" tIns="0" rIns="0" bIns="0" rtlCol="0" anchor="t">
            <a:spAutoFit/>
          </a:bodyPr>
          <a:lstStyle/>
          <a:p>
            <a:pPr>
              <a:spcAft>
                <a:spcPts val="300"/>
              </a:spcAft>
              <a:defRPr/>
            </a:pPr>
            <a:r>
              <a:rPr kumimoji="0" lang="es-CO" sz="1400" b="1" i="0" u="none" strike="noStrike" kern="1200" cap="none" spc="0" normalizeH="0" baseline="0" noProof="0" dirty="0">
                <a:ln>
                  <a:noFill/>
                </a:ln>
                <a:solidFill>
                  <a:schemeClr val="accent4"/>
                </a:solidFill>
                <a:effectLst/>
                <a:uLnTx/>
                <a:uFillTx/>
                <a:latin typeface="Arial" panose="020B0604020202020204"/>
                <a:ea typeface="+mn-ea"/>
                <a:cs typeface="+mn-cs"/>
              </a:rPr>
              <a:t>Europa</a:t>
            </a:r>
            <a:r>
              <a:rPr lang="es-CO" sz="1400" b="1" dirty="0">
                <a:solidFill>
                  <a:schemeClr val="accent4"/>
                </a:solidFill>
                <a:latin typeface="Arial" panose="020B0604020202020204"/>
              </a:rPr>
              <a:t> </a:t>
            </a:r>
            <a:endParaRPr lang="es-CO" sz="1400" b="1"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chemeClr val="bg1"/>
                </a:solidFill>
                <a:effectLst/>
                <a:uLnTx/>
                <a:uFillTx/>
                <a:latin typeface="Arial" panose="020B0604020202020204"/>
                <a:ea typeface="+mn-ea"/>
                <a:cs typeface="+mn-cs"/>
              </a:rPr>
              <a:t>Inundación</a:t>
            </a:r>
            <a:endParaRPr lang="es-CO" sz="1400" b="0" i="0" u="none" strike="noStrike" kern="1200" cap="none" spc="0" normalizeH="0" baseline="0" noProof="0" dirty="0">
              <a:ln>
                <a:noFill/>
              </a:ln>
              <a:solidFill>
                <a:schemeClr val="bg1"/>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s-CO" sz="1400" b="0"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s-CO" sz="1400" b="0"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300"/>
              </a:spcAft>
              <a:buClrTx/>
              <a:buSzTx/>
              <a:buFontTx/>
              <a:buNone/>
              <a:tabLst/>
              <a:defRPr/>
            </a:pPr>
            <a:r>
              <a:rPr lang="es-CO" sz="1400" b="1" dirty="0">
                <a:solidFill>
                  <a:schemeClr val="accent4"/>
                </a:solidFill>
                <a:latin typeface="Arial" panose="020B0604020202020204"/>
              </a:rPr>
              <a:t>EE. UU.</a:t>
            </a:r>
            <a:endParaRPr lang="es-CO" sz="1400" b="1"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chemeClr val="bg1"/>
                </a:solidFill>
                <a:effectLst/>
                <a:uLnTx/>
                <a:uFillTx/>
                <a:latin typeface="Arial" panose="020B0604020202020204"/>
                <a:ea typeface="+mn-ea"/>
                <a:cs typeface="+mn-cs"/>
              </a:rPr>
              <a:t>Tormenta severa</a:t>
            </a:r>
            <a:endParaRPr lang="es-CO" sz="1400" b="0" i="0" u="none" strike="noStrike" kern="1200" cap="none" spc="0" normalizeH="0" baseline="0" noProof="0" dirty="0">
              <a:ln>
                <a:noFill/>
              </a:ln>
              <a:solidFill>
                <a:schemeClr val="bg1"/>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s-CO" sz="1400" b="0"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s-CO" sz="1400" b="0" i="0" u="none" strike="noStrike" kern="1200" cap="none" spc="0" normalizeH="0" baseline="0" noProof="0" dirty="0">
              <a:ln>
                <a:noFill/>
              </a:ln>
              <a:solidFill>
                <a:schemeClr val="accent4"/>
              </a:solidFill>
              <a:effectLst/>
              <a:uLnTx/>
              <a:uFillTx/>
              <a:latin typeface="Arial" panose="020B0604020202020204"/>
              <a:cs typeface="Arial"/>
            </a:endParaRPr>
          </a:p>
          <a:p>
            <a:pPr>
              <a:spcAft>
                <a:spcPts val="300"/>
              </a:spcAft>
              <a:defRPr/>
            </a:pPr>
            <a:r>
              <a:rPr kumimoji="0" lang="es-CO" sz="1400" b="1" i="0" u="none" strike="noStrike" kern="1200" cap="none" spc="0" normalizeH="0" baseline="0" noProof="0" dirty="0">
                <a:ln>
                  <a:noFill/>
                </a:ln>
                <a:solidFill>
                  <a:schemeClr val="accent4"/>
                </a:solidFill>
                <a:effectLst/>
                <a:uLnTx/>
                <a:uFillTx/>
                <a:latin typeface="Arial" panose="020B0604020202020204"/>
                <a:ea typeface="+mn-ea"/>
                <a:cs typeface="+mn-cs"/>
              </a:rPr>
              <a:t>Asia Pacífico</a:t>
            </a:r>
            <a:r>
              <a:rPr lang="es-CO" sz="1400" b="1" dirty="0">
                <a:solidFill>
                  <a:schemeClr val="accent4"/>
                </a:solidFill>
                <a:latin typeface="Arial" panose="020B0604020202020204"/>
              </a:rPr>
              <a:t> </a:t>
            </a:r>
            <a:endParaRPr lang="es-CO" sz="1400" b="1" i="0" u="none" strike="noStrike" kern="1200" cap="none" spc="0" normalizeH="0" baseline="0" noProof="0" dirty="0">
              <a:ln>
                <a:noFill/>
              </a:ln>
              <a:solidFill>
                <a:schemeClr val="accent4"/>
              </a:solidFill>
              <a:effectLst/>
              <a:uLnTx/>
              <a:uFillTx/>
              <a:latin typeface="Arial" panose="020B0604020202020204"/>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chemeClr val="bg1"/>
                </a:solidFill>
                <a:effectLst/>
                <a:uLnTx/>
                <a:uFillTx/>
                <a:latin typeface="Arial" panose="020B0604020202020204"/>
                <a:ea typeface="+mn-ea"/>
                <a:cs typeface="+mn-cs"/>
              </a:rPr>
              <a:t>Inundación</a:t>
            </a:r>
            <a:endParaRPr lang="es-CO" sz="1400" b="0" i="0" u="none" strike="noStrike" kern="1200" cap="none" spc="0" normalizeH="0" baseline="0" noProof="0" dirty="0">
              <a:ln>
                <a:noFill/>
              </a:ln>
              <a:solidFill>
                <a:schemeClr val="bg1"/>
              </a:solidFill>
              <a:effectLst/>
              <a:uLnTx/>
              <a:uFillTx/>
              <a:latin typeface="Arial" panose="020B0604020202020204"/>
              <a:cs typeface="Arial"/>
            </a:endParaRPr>
          </a:p>
        </p:txBody>
      </p:sp>
      <p:grpSp>
        <p:nvGrpSpPr>
          <p:cNvPr id="26" name="Group 10">
            <a:extLst>
              <a:ext uri="{FF2B5EF4-FFF2-40B4-BE49-F238E27FC236}">
                <a16:creationId xmlns:a16="http://schemas.microsoft.com/office/drawing/2014/main" id="{0F5C65AE-8858-44E3-87F4-8D473FA1734E}"/>
              </a:ext>
            </a:extLst>
          </p:cNvPr>
          <p:cNvGrpSpPr>
            <a:grpSpLocks noChangeAspect="1"/>
          </p:cNvGrpSpPr>
          <p:nvPr/>
        </p:nvGrpSpPr>
        <p:grpSpPr bwMode="auto">
          <a:xfrm>
            <a:off x="8973642" y="3567882"/>
            <a:ext cx="344417" cy="300461"/>
            <a:chOff x="3838" y="2158"/>
            <a:chExt cx="619" cy="540"/>
          </a:xfrm>
          <a:solidFill>
            <a:schemeClr val="accent4"/>
          </a:solidFill>
        </p:grpSpPr>
        <p:sp>
          <p:nvSpPr>
            <p:cNvPr id="28" name="Freeform 11">
              <a:extLst>
                <a:ext uri="{FF2B5EF4-FFF2-40B4-BE49-F238E27FC236}">
                  <a16:creationId xmlns:a16="http://schemas.microsoft.com/office/drawing/2014/main" id="{4D12FC35-CD9A-414C-B787-97EE93EE93CA}"/>
                </a:ext>
              </a:extLst>
            </p:cNvPr>
            <p:cNvSpPr>
              <a:spLocks/>
            </p:cNvSpPr>
            <p:nvPr/>
          </p:nvSpPr>
          <p:spPr bwMode="auto">
            <a:xfrm>
              <a:off x="3838" y="2158"/>
              <a:ext cx="619" cy="422"/>
            </a:xfrm>
            <a:custGeom>
              <a:avLst/>
              <a:gdLst>
                <a:gd name="T0" fmla="*/ 14 w 258"/>
                <a:gd name="T1" fmla="*/ 110 h 176"/>
                <a:gd name="T2" fmla="*/ 33 w 258"/>
                <a:gd name="T3" fmla="*/ 95 h 176"/>
                <a:gd name="T4" fmla="*/ 33 w 258"/>
                <a:gd name="T5" fmla="*/ 168 h 176"/>
                <a:gd name="T6" fmla="*/ 41 w 258"/>
                <a:gd name="T7" fmla="*/ 176 h 176"/>
                <a:gd name="T8" fmla="*/ 49 w 258"/>
                <a:gd name="T9" fmla="*/ 168 h 176"/>
                <a:gd name="T10" fmla="*/ 49 w 258"/>
                <a:gd name="T11" fmla="*/ 84 h 176"/>
                <a:gd name="T12" fmla="*/ 49 w 258"/>
                <a:gd name="T13" fmla="*/ 83 h 176"/>
                <a:gd name="T14" fmla="*/ 129 w 258"/>
                <a:gd name="T15" fmla="*/ 18 h 176"/>
                <a:gd name="T16" fmla="*/ 210 w 258"/>
                <a:gd name="T17" fmla="*/ 83 h 176"/>
                <a:gd name="T18" fmla="*/ 209 w 258"/>
                <a:gd name="T19" fmla="*/ 84 h 176"/>
                <a:gd name="T20" fmla="*/ 209 w 258"/>
                <a:gd name="T21" fmla="*/ 168 h 176"/>
                <a:gd name="T22" fmla="*/ 217 w 258"/>
                <a:gd name="T23" fmla="*/ 176 h 176"/>
                <a:gd name="T24" fmla="*/ 225 w 258"/>
                <a:gd name="T25" fmla="*/ 168 h 176"/>
                <a:gd name="T26" fmla="*/ 225 w 258"/>
                <a:gd name="T27" fmla="*/ 95 h 176"/>
                <a:gd name="T28" fmla="*/ 244 w 258"/>
                <a:gd name="T29" fmla="*/ 110 h 176"/>
                <a:gd name="T30" fmla="*/ 249 w 258"/>
                <a:gd name="T31" fmla="*/ 112 h 176"/>
                <a:gd name="T32" fmla="*/ 255 w 258"/>
                <a:gd name="T33" fmla="*/ 109 h 176"/>
                <a:gd name="T34" fmla="*/ 254 w 258"/>
                <a:gd name="T35" fmla="*/ 98 h 176"/>
                <a:gd name="T36" fmla="*/ 134 w 258"/>
                <a:gd name="T37" fmla="*/ 2 h 176"/>
                <a:gd name="T38" fmla="*/ 124 w 258"/>
                <a:gd name="T39" fmla="*/ 2 h 176"/>
                <a:gd name="T40" fmla="*/ 4 w 258"/>
                <a:gd name="T41" fmla="*/ 98 h 176"/>
                <a:gd name="T42" fmla="*/ 3 w 258"/>
                <a:gd name="T43" fmla="*/ 109 h 176"/>
                <a:gd name="T44" fmla="*/ 14 w 258"/>
                <a:gd name="T45" fmla="*/ 11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8" h="176">
                  <a:moveTo>
                    <a:pt x="14" y="110"/>
                  </a:moveTo>
                  <a:cubicBezTo>
                    <a:pt x="33" y="95"/>
                    <a:pt x="33" y="95"/>
                    <a:pt x="33" y="95"/>
                  </a:cubicBezTo>
                  <a:cubicBezTo>
                    <a:pt x="33" y="168"/>
                    <a:pt x="33" y="168"/>
                    <a:pt x="33" y="168"/>
                  </a:cubicBezTo>
                  <a:cubicBezTo>
                    <a:pt x="33" y="173"/>
                    <a:pt x="37" y="176"/>
                    <a:pt x="41" y="176"/>
                  </a:cubicBezTo>
                  <a:cubicBezTo>
                    <a:pt x="46" y="176"/>
                    <a:pt x="49" y="173"/>
                    <a:pt x="49" y="168"/>
                  </a:cubicBezTo>
                  <a:cubicBezTo>
                    <a:pt x="49" y="84"/>
                    <a:pt x="49" y="84"/>
                    <a:pt x="49" y="84"/>
                  </a:cubicBezTo>
                  <a:cubicBezTo>
                    <a:pt x="49" y="84"/>
                    <a:pt x="49" y="83"/>
                    <a:pt x="49" y="83"/>
                  </a:cubicBezTo>
                  <a:cubicBezTo>
                    <a:pt x="129" y="18"/>
                    <a:pt x="129" y="18"/>
                    <a:pt x="129" y="18"/>
                  </a:cubicBezTo>
                  <a:cubicBezTo>
                    <a:pt x="210" y="83"/>
                    <a:pt x="210" y="83"/>
                    <a:pt x="210" y="83"/>
                  </a:cubicBezTo>
                  <a:cubicBezTo>
                    <a:pt x="209" y="83"/>
                    <a:pt x="209" y="84"/>
                    <a:pt x="209" y="84"/>
                  </a:cubicBezTo>
                  <a:cubicBezTo>
                    <a:pt x="209" y="168"/>
                    <a:pt x="209" y="168"/>
                    <a:pt x="209" y="168"/>
                  </a:cubicBezTo>
                  <a:cubicBezTo>
                    <a:pt x="209" y="173"/>
                    <a:pt x="213" y="176"/>
                    <a:pt x="217" y="176"/>
                  </a:cubicBezTo>
                  <a:cubicBezTo>
                    <a:pt x="222" y="176"/>
                    <a:pt x="225" y="173"/>
                    <a:pt x="225" y="168"/>
                  </a:cubicBezTo>
                  <a:cubicBezTo>
                    <a:pt x="225" y="95"/>
                    <a:pt x="225" y="95"/>
                    <a:pt x="225" y="95"/>
                  </a:cubicBezTo>
                  <a:cubicBezTo>
                    <a:pt x="244" y="110"/>
                    <a:pt x="244" y="110"/>
                    <a:pt x="244" y="110"/>
                  </a:cubicBezTo>
                  <a:cubicBezTo>
                    <a:pt x="246" y="112"/>
                    <a:pt x="247" y="112"/>
                    <a:pt x="249" y="112"/>
                  </a:cubicBezTo>
                  <a:cubicBezTo>
                    <a:pt x="252" y="112"/>
                    <a:pt x="254" y="111"/>
                    <a:pt x="255" y="109"/>
                  </a:cubicBezTo>
                  <a:cubicBezTo>
                    <a:pt x="258" y="106"/>
                    <a:pt x="258" y="101"/>
                    <a:pt x="254" y="98"/>
                  </a:cubicBezTo>
                  <a:cubicBezTo>
                    <a:pt x="134" y="2"/>
                    <a:pt x="134" y="2"/>
                    <a:pt x="134" y="2"/>
                  </a:cubicBezTo>
                  <a:cubicBezTo>
                    <a:pt x="131" y="0"/>
                    <a:pt x="127" y="0"/>
                    <a:pt x="124" y="2"/>
                  </a:cubicBezTo>
                  <a:cubicBezTo>
                    <a:pt x="4" y="98"/>
                    <a:pt x="4" y="98"/>
                    <a:pt x="4" y="98"/>
                  </a:cubicBezTo>
                  <a:cubicBezTo>
                    <a:pt x="1" y="101"/>
                    <a:pt x="0" y="106"/>
                    <a:pt x="3" y="109"/>
                  </a:cubicBezTo>
                  <a:cubicBezTo>
                    <a:pt x="6" y="113"/>
                    <a:pt x="11" y="113"/>
                    <a:pt x="1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9" name="Freeform 12">
              <a:extLst>
                <a:ext uri="{FF2B5EF4-FFF2-40B4-BE49-F238E27FC236}">
                  <a16:creationId xmlns:a16="http://schemas.microsoft.com/office/drawing/2014/main" id="{FD7992FC-FEE1-4BD6-A88E-90FB9EDA2177}"/>
                </a:ext>
              </a:extLst>
            </p:cNvPr>
            <p:cNvSpPr>
              <a:spLocks/>
            </p:cNvSpPr>
            <p:nvPr/>
          </p:nvSpPr>
          <p:spPr bwMode="auto">
            <a:xfrm>
              <a:off x="4070" y="2412"/>
              <a:ext cx="154" cy="168"/>
            </a:xfrm>
            <a:custGeom>
              <a:avLst/>
              <a:gdLst>
                <a:gd name="T0" fmla="*/ 56 w 64"/>
                <a:gd name="T1" fmla="*/ 70 h 70"/>
                <a:gd name="T2" fmla="*/ 64 w 64"/>
                <a:gd name="T3" fmla="*/ 62 h 70"/>
                <a:gd name="T4" fmla="*/ 64 w 64"/>
                <a:gd name="T5" fmla="*/ 8 h 70"/>
                <a:gd name="T6" fmla="*/ 56 w 64"/>
                <a:gd name="T7" fmla="*/ 0 h 70"/>
                <a:gd name="T8" fmla="*/ 8 w 64"/>
                <a:gd name="T9" fmla="*/ 0 h 70"/>
                <a:gd name="T10" fmla="*/ 0 w 64"/>
                <a:gd name="T11" fmla="*/ 8 h 70"/>
                <a:gd name="T12" fmla="*/ 0 w 64"/>
                <a:gd name="T13" fmla="*/ 62 h 70"/>
                <a:gd name="T14" fmla="*/ 8 w 64"/>
                <a:gd name="T15" fmla="*/ 70 h 70"/>
                <a:gd name="T16" fmla="*/ 16 w 64"/>
                <a:gd name="T17" fmla="*/ 62 h 70"/>
                <a:gd name="T18" fmla="*/ 16 w 64"/>
                <a:gd name="T19" fmla="*/ 16 h 70"/>
                <a:gd name="T20" fmla="*/ 48 w 64"/>
                <a:gd name="T21" fmla="*/ 16 h 70"/>
                <a:gd name="T22" fmla="*/ 48 w 64"/>
                <a:gd name="T23" fmla="*/ 62 h 70"/>
                <a:gd name="T24" fmla="*/ 56 w 64"/>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0">
                  <a:moveTo>
                    <a:pt x="56" y="70"/>
                  </a:moveTo>
                  <a:cubicBezTo>
                    <a:pt x="61" y="70"/>
                    <a:pt x="64" y="67"/>
                    <a:pt x="64" y="62"/>
                  </a:cubicBezTo>
                  <a:cubicBezTo>
                    <a:pt x="64" y="8"/>
                    <a:pt x="64" y="8"/>
                    <a:pt x="64" y="8"/>
                  </a:cubicBezTo>
                  <a:cubicBezTo>
                    <a:pt x="64" y="4"/>
                    <a:pt x="61" y="0"/>
                    <a:pt x="56" y="0"/>
                  </a:cubicBezTo>
                  <a:cubicBezTo>
                    <a:pt x="8" y="0"/>
                    <a:pt x="8" y="0"/>
                    <a:pt x="8" y="0"/>
                  </a:cubicBezTo>
                  <a:cubicBezTo>
                    <a:pt x="4" y="0"/>
                    <a:pt x="0" y="4"/>
                    <a:pt x="0" y="8"/>
                  </a:cubicBezTo>
                  <a:cubicBezTo>
                    <a:pt x="0" y="62"/>
                    <a:pt x="0" y="62"/>
                    <a:pt x="0" y="62"/>
                  </a:cubicBezTo>
                  <a:cubicBezTo>
                    <a:pt x="0" y="67"/>
                    <a:pt x="4" y="70"/>
                    <a:pt x="8" y="70"/>
                  </a:cubicBezTo>
                  <a:cubicBezTo>
                    <a:pt x="13" y="70"/>
                    <a:pt x="16" y="67"/>
                    <a:pt x="16" y="62"/>
                  </a:cubicBezTo>
                  <a:cubicBezTo>
                    <a:pt x="16" y="16"/>
                    <a:pt x="16" y="16"/>
                    <a:pt x="16" y="16"/>
                  </a:cubicBezTo>
                  <a:cubicBezTo>
                    <a:pt x="48" y="16"/>
                    <a:pt x="48" y="16"/>
                    <a:pt x="48" y="16"/>
                  </a:cubicBezTo>
                  <a:cubicBezTo>
                    <a:pt x="48" y="62"/>
                    <a:pt x="48" y="62"/>
                    <a:pt x="48" y="62"/>
                  </a:cubicBezTo>
                  <a:cubicBezTo>
                    <a:pt x="48" y="67"/>
                    <a:pt x="52" y="70"/>
                    <a:pt x="56"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 name="Freeform 13">
              <a:extLst>
                <a:ext uri="{FF2B5EF4-FFF2-40B4-BE49-F238E27FC236}">
                  <a16:creationId xmlns:a16="http://schemas.microsoft.com/office/drawing/2014/main" id="{8E719A5B-5244-4860-B4E7-989AF9AE203A}"/>
                </a:ext>
              </a:extLst>
            </p:cNvPr>
            <p:cNvSpPr>
              <a:spLocks/>
            </p:cNvSpPr>
            <p:nvPr/>
          </p:nvSpPr>
          <p:spPr bwMode="auto">
            <a:xfrm>
              <a:off x="3840" y="2571"/>
              <a:ext cx="614" cy="127"/>
            </a:xfrm>
            <a:custGeom>
              <a:avLst/>
              <a:gdLst>
                <a:gd name="T0" fmla="*/ 248 w 256"/>
                <a:gd name="T1" fmla="*/ 28 h 53"/>
                <a:gd name="T2" fmla="*/ 194 w 256"/>
                <a:gd name="T3" fmla="*/ 3 h 53"/>
                <a:gd name="T4" fmla="*/ 189 w 256"/>
                <a:gd name="T5" fmla="*/ 0 h 53"/>
                <a:gd name="T6" fmla="*/ 183 w 256"/>
                <a:gd name="T7" fmla="*/ 2 h 53"/>
                <a:gd name="T8" fmla="*/ 174 w 256"/>
                <a:gd name="T9" fmla="*/ 12 h 53"/>
                <a:gd name="T10" fmla="*/ 74 w 256"/>
                <a:gd name="T11" fmla="*/ 3 h 53"/>
                <a:gd name="T12" fmla="*/ 68 w 256"/>
                <a:gd name="T13" fmla="*/ 0 h 53"/>
                <a:gd name="T14" fmla="*/ 62 w 256"/>
                <a:gd name="T15" fmla="*/ 3 h 53"/>
                <a:gd name="T16" fmla="*/ 8 w 256"/>
                <a:gd name="T17" fmla="*/ 28 h 53"/>
                <a:gd name="T18" fmla="*/ 0 w 256"/>
                <a:gd name="T19" fmla="*/ 36 h 53"/>
                <a:gd name="T20" fmla="*/ 8 w 256"/>
                <a:gd name="T21" fmla="*/ 44 h 53"/>
                <a:gd name="T22" fmla="*/ 68 w 256"/>
                <a:gd name="T23" fmla="*/ 20 h 53"/>
                <a:gd name="T24" fmla="*/ 184 w 256"/>
                <a:gd name="T25" fmla="*/ 23 h 53"/>
                <a:gd name="T26" fmla="*/ 188 w 256"/>
                <a:gd name="T27" fmla="*/ 20 h 53"/>
                <a:gd name="T28" fmla="*/ 248 w 256"/>
                <a:gd name="T29" fmla="*/ 44 h 53"/>
                <a:gd name="T30" fmla="*/ 256 w 256"/>
                <a:gd name="T31" fmla="*/ 36 h 53"/>
                <a:gd name="T32" fmla="*/ 248 w 256"/>
                <a:gd name="T33" fmla="*/ 2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53">
                  <a:moveTo>
                    <a:pt x="248" y="28"/>
                  </a:moveTo>
                  <a:cubicBezTo>
                    <a:pt x="227" y="28"/>
                    <a:pt x="207" y="19"/>
                    <a:pt x="194" y="3"/>
                  </a:cubicBezTo>
                  <a:cubicBezTo>
                    <a:pt x="193" y="1"/>
                    <a:pt x="191" y="0"/>
                    <a:pt x="189" y="0"/>
                  </a:cubicBezTo>
                  <a:cubicBezTo>
                    <a:pt x="186" y="0"/>
                    <a:pt x="184" y="1"/>
                    <a:pt x="183" y="2"/>
                  </a:cubicBezTo>
                  <a:cubicBezTo>
                    <a:pt x="174" y="12"/>
                    <a:pt x="174" y="12"/>
                    <a:pt x="174" y="12"/>
                  </a:cubicBezTo>
                  <a:cubicBezTo>
                    <a:pt x="143" y="37"/>
                    <a:pt x="100" y="33"/>
                    <a:pt x="74" y="3"/>
                  </a:cubicBezTo>
                  <a:cubicBezTo>
                    <a:pt x="73" y="1"/>
                    <a:pt x="71" y="0"/>
                    <a:pt x="68" y="0"/>
                  </a:cubicBezTo>
                  <a:cubicBezTo>
                    <a:pt x="66" y="0"/>
                    <a:pt x="64" y="1"/>
                    <a:pt x="62" y="3"/>
                  </a:cubicBezTo>
                  <a:cubicBezTo>
                    <a:pt x="48" y="19"/>
                    <a:pt x="29" y="28"/>
                    <a:pt x="8" y="28"/>
                  </a:cubicBezTo>
                  <a:cubicBezTo>
                    <a:pt x="4" y="28"/>
                    <a:pt x="0" y="32"/>
                    <a:pt x="0" y="36"/>
                  </a:cubicBezTo>
                  <a:cubicBezTo>
                    <a:pt x="0" y="41"/>
                    <a:pt x="4" y="44"/>
                    <a:pt x="8" y="44"/>
                  </a:cubicBezTo>
                  <a:cubicBezTo>
                    <a:pt x="30" y="44"/>
                    <a:pt x="52" y="35"/>
                    <a:pt x="68" y="20"/>
                  </a:cubicBezTo>
                  <a:cubicBezTo>
                    <a:pt x="100" y="50"/>
                    <a:pt x="149" y="53"/>
                    <a:pt x="184" y="23"/>
                  </a:cubicBezTo>
                  <a:cubicBezTo>
                    <a:pt x="188" y="20"/>
                    <a:pt x="188" y="20"/>
                    <a:pt x="188" y="20"/>
                  </a:cubicBezTo>
                  <a:cubicBezTo>
                    <a:pt x="204" y="35"/>
                    <a:pt x="226" y="44"/>
                    <a:pt x="248" y="44"/>
                  </a:cubicBezTo>
                  <a:cubicBezTo>
                    <a:pt x="253" y="44"/>
                    <a:pt x="256" y="41"/>
                    <a:pt x="256" y="36"/>
                  </a:cubicBezTo>
                  <a:cubicBezTo>
                    <a:pt x="256" y="32"/>
                    <a:pt x="253" y="28"/>
                    <a:pt x="24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cxnSp>
        <p:nvCxnSpPr>
          <p:cNvPr id="7" name="Straight Connector 6">
            <a:extLst>
              <a:ext uri="{FF2B5EF4-FFF2-40B4-BE49-F238E27FC236}">
                <a16:creationId xmlns:a16="http://schemas.microsoft.com/office/drawing/2014/main" id="{F5DECA5B-0E05-4EAE-B083-E3E48D8FFF76}"/>
              </a:ext>
            </a:extLst>
          </p:cNvPr>
          <p:cNvCxnSpPr/>
          <p:nvPr/>
        </p:nvCxnSpPr>
        <p:spPr>
          <a:xfrm>
            <a:off x="8829373" y="4105468"/>
            <a:ext cx="2530877"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DFF8D860-AD70-471E-978E-58A159F86325}"/>
              </a:ext>
            </a:extLst>
          </p:cNvPr>
          <p:cNvCxnSpPr/>
          <p:nvPr/>
        </p:nvCxnSpPr>
        <p:spPr>
          <a:xfrm>
            <a:off x="8829373" y="4943668"/>
            <a:ext cx="2530877"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8" name="Group 4"/>
          <p:cNvGrpSpPr>
            <a:grpSpLocks noChangeAspect="1"/>
          </p:cNvGrpSpPr>
          <p:nvPr/>
        </p:nvGrpSpPr>
        <p:grpSpPr bwMode="auto">
          <a:xfrm>
            <a:off x="8995785" y="4384427"/>
            <a:ext cx="356078" cy="322924"/>
            <a:chOff x="3840" y="2160"/>
            <a:chExt cx="537" cy="487"/>
          </a:xfrm>
          <a:solidFill>
            <a:schemeClr val="accent4"/>
          </a:solidFill>
        </p:grpSpPr>
        <p:sp>
          <p:nvSpPr>
            <p:cNvPr id="11" name="Freeform 5"/>
            <p:cNvSpPr>
              <a:spLocks/>
            </p:cNvSpPr>
            <p:nvPr/>
          </p:nvSpPr>
          <p:spPr bwMode="auto">
            <a:xfrm>
              <a:off x="4041" y="2393"/>
              <a:ext cx="137" cy="254"/>
            </a:xfrm>
            <a:custGeom>
              <a:avLst/>
              <a:gdLst>
                <a:gd name="T0" fmla="*/ 56 w 65"/>
                <a:gd name="T1" fmla="*/ 49 h 121"/>
                <a:gd name="T2" fmla="*/ 23 w 65"/>
                <a:gd name="T3" fmla="*/ 49 h 121"/>
                <a:gd name="T4" fmla="*/ 47 w 65"/>
                <a:gd name="T5" fmla="*/ 13 h 121"/>
                <a:gd name="T6" fmla="*/ 45 w 65"/>
                <a:gd name="T7" fmla="*/ 2 h 121"/>
                <a:gd name="T8" fmla="*/ 34 w 65"/>
                <a:gd name="T9" fmla="*/ 5 h 121"/>
                <a:gd name="T10" fmla="*/ 2 w 65"/>
                <a:gd name="T11" fmla="*/ 53 h 121"/>
                <a:gd name="T12" fmla="*/ 1 w 65"/>
                <a:gd name="T13" fmla="*/ 61 h 121"/>
                <a:gd name="T14" fmla="*/ 8 w 65"/>
                <a:gd name="T15" fmla="*/ 65 h 121"/>
                <a:gd name="T16" fmla="*/ 42 w 65"/>
                <a:gd name="T17" fmla="*/ 65 h 121"/>
                <a:gd name="T18" fmla="*/ 17 w 65"/>
                <a:gd name="T19" fmla="*/ 109 h 121"/>
                <a:gd name="T20" fmla="*/ 20 w 65"/>
                <a:gd name="T21" fmla="*/ 120 h 121"/>
                <a:gd name="T22" fmla="*/ 24 w 65"/>
                <a:gd name="T23" fmla="*/ 121 h 121"/>
                <a:gd name="T24" fmla="*/ 31 w 65"/>
                <a:gd name="T25" fmla="*/ 117 h 121"/>
                <a:gd name="T26" fmla="*/ 63 w 65"/>
                <a:gd name="T27" fmla="*/ 61 h 121"/>
                <a:gd name="T28" fmla="*/ 63 w 65"/>
                <a:gd name="T29" fmla="*/ 53 h 121"/>
                <a:gd name="T30" fmla="*/ 56 w 65"/>
                <a:gd name="T31"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21">
                  <a:moveTo>
                    <a:pt x="56" y="49"/>
                  </a:moveTo>
                  <a:cubicBezTo>
                    <a:pt x="23" y="49"/>
                    <a:pt x="23" y="49"/>
                    <a:pt x="23" y="49"/>
                  </a:cubicBezTo>
                  <a:cubicBezTo>
                    <a:pt x="47" y="13"/>
                    <a:pt x="47" y="13"/>
                    <a:pt x="47" y="13"/>
                  </a:cubicBezTo>
                  <a:cubicBezTo>
                    <a:pt x="49" y="10"/>
                    <a:pt x="48" y="5"/>
                    <a:pt x="45" y="2"/>
                  </a:cubicBezTo>
                  <a:cubicBezTo>
                    <a:pt x="41" y="0"/>
                    <a:pt x="36" y="1"/>
                    <a:pt x="34" y="5"/>
                  </a:cubicBezTo>
                  <a:cubicBezTo>
                    <a:pt x="2" y="53"/>
                    <a:pt x="2" y="53"/>
                    <a:pt x="2" y="53"/>
                  </a:cubicBezTo>
                  <a:cubicBezTo>
                    <a:pt x="0" y="55"/>
                    <a:pt x="0" y="58"/>
                    <a:pt x="1" y="61"/>
                  </a:cubicBezTo>
                  <a:cubicBezTo>
                    <a:pt x="3" y="63"/>
                    <a:pt x="5" y="65"/>
                    <a:pt x="8" y="65"/>
                  </a:cubicBezTo>
                  <a:cubicBezTo>
                    <a:pt x="42" y="65"/>
                    <a:pt x="42" y="65"/>
                    <a:pt x="42" y="65"/>
                  </a:cubicBezTo>
                  <a:cubicBezTo>
                    <a:pt x="17" y="109"/>
                    <a:pt x="17" y="109"/>
                    <a:pt x="17" y="109"/>
                  </a:cubicBezTo>
                  <a:cubicBezTo>
                    <a:pt x="15" y="113"/>
                    <a:pt x="16" y="118"/>
                    <a:pt x="20" y="120"/>
                  </a:cubicBezTo>
                  <a:cubicBezTo>
                    <a:pt x="22" y="121"/>
                    <a:pt x="23" y="121"/>
                    <a:pt x="24" y="121"/>
                  </a:cubicBezTo>
                  <a:cubicBezTo>
                    <a:pt x="27" y="121"/>
                    <a:pt x="30" y="120"/>
                    <a:pt x="31" y="117"/>
                  </a:cubicBezTo>
                  <a:cubicBezTo>
                    <a:pt x="63" y="61"/>
                    <a:pt x="63" y="61"/>
                    <a:pt x="63" y="61"/>
                  </a:cubicBezTo>
                  <a:cubicBezTo>
                    <a:pt x="65" y="59"/>
                    <a:pt x="65" y="55"/>
                    <a:pt x="63" y="53"/>
                  </a:cubicBezTo>
                  <a:cubicBezTo>
                    <a:pt x="62" y="51"/>
                    <a:pt x="59" y="49"/>
                    <a:pt x="56"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 name="Freeform 6"/>
            <p:cNvSpPr>
              <a:spLocks/>
            </p:cNvSpPr>
            <p:nvPr/>
          </p:nvSpPr>
          <p:spPr bwMode="auto">
            <a:xfrm>
              <a:off x="3840" y="2160"/>
              <a:ext cx="537" cy="369"/>
            </a:xfrm>
            <a:custGeom>
              <a:avLst/>
              <a:gdLst>
                <a:gd name="T0" fmla="*/ 215 w 256"/>
                <a:gd name="T1" fmla="*/ 73 h 176"/>
                <a:gd name="T2" fmla="*/ 128 w 256"/>
                <a:gd name="T3" fmla="*/ 0 h 176"/>
                <a:gd name="T4" fmla="*/ 45 w 256"/>
                <a:gd name="T5" fmla="*/ 58 h 176"/>
                <a:gd name="T6" fmla="*/ 0 w 256"/>
                <a:gd name="T7" fmla="*/ 116 h 176"/>
                <a:gd name="T8" fmla="*/ 56 w 256"/>
                <a:gd name="T9" fmla="*/ 176 h 176"/>
                <a:gd name="T10" fmla="*/ 64 w 256"/>
                <a:gd name="T11" fmla="*/ 169 h 176"/>
                <a:gd name="T12" fmla="*/ 57 w 256"/>
                <a:gd name="T13" fmla="*/ 160 h 176"/>
                <a:gd name="T14" fmla="*/ 16 w 256"/>
                <a:gd name="T15" fmla="*/ 116 h 176"/>
                <a:gd name="T16" fmla="*/ 53 w 256"/>
                <a:gd name="T17" fmla="*/ 73 h 176"/>
                <a:gd name="T18" fmla="*/ 59 w 256"/>
                <a:gd name="T19" fmla="*/ 67 h 176"/>
                <a:gd name="T20" fmla="*/ 128 w 256"/>
                <a:gd name="T21" fmla="*/ 16 h 176"/>
                <a:gd name="T22" fmla="*/ 200 w 256"/>
                <a:gd name="T23" fmla="*/ 81 h 176"/>
                <a:gd name="T24" fmla="*/ 207 w 256"/>
                <a:gd name="T25" fmla="*/ 88 h 176"/>
                <a:gd name="T26" fmla="*/ 240 w 256"/>
                <a:gd name="T27" fmla="*/ 124 h 176"/>
                <a:gd name="T28" fmla="*/ 207 w 256"/>
                <a:gd name="T29" fmla="*/ 160 h 176"/>
                <a:gd name="T30" fmla="*/ 200 w 256"/>
                <a:gd name="T31" fmla="*/ 169 h 176"/>
                <a:gd name="T32" fmla="*/ 208 w 256"/>
                <a:gd name="T33" fmla="*/ 176 h 176"/>
                <a:gd name="T34" fmla="*/ 209 w 256"/>
                <a:gd name="T35" fmla="*/ 176 h 176"/>
                <a:gd name="T36" fmla="*/ 256 w 256"/>
                <a:gd name="T37" fmla="*/ 124 h 176"/>
                <a:gd name="T38" fmla="*/ 215 w 256"/>
                <a:gd name="T39" fmla="*/ 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176">
                  <a:moveTo>
                    <a:pt x="215" y="73"/>
                  </a:moveTo>
                  <a:cubicBezTo>
                    <a:pt x="208" y="31"/>
                    <a:pt x="172" y="0"/>
                    <a:pt x="128" y="0"/>
                  </a:cubicBezTo>
                  <a:cubicBezTo>
                    <a:pt x="91" y="0"/>
                    <a:pt x="58" y="23"/>
                    <a:pt x="45" y="58"/>
                  </a:cubicBezTo>
                  <a:cubicBezTo>
                    <a:pt x="19" y="65"/>
                    <a:pt x="0" y="89"/>
                    <a:pt x="0" y="116"/>
                  </a:cubicBezTo>
                  <a:cubicBezTo>
                    <a:pt x="0" y="147"/>
                    <a:pt x="24" y="173"/>
                    <a:pt x="56" y="176"/>
                  </a:cubicBezTo>
                  <a:cubicBezTo>
                    <a:pt x="60" y="176"/>
                    <a:pt x="64" y="173"/>
                    <a:pt x="64" y="169"/>
                  </a:cubicBezTo>
                  <a:cubicBezTo>
                    <a:pt x="65" y="164"/>
                    <a:pt x="61" y="160"/>
                    <a:pt x="57" y="160"/>
                  </a:cubicBezTo>
                  <a:cubicBezTo>
                    <a:pt x="34" y="158"/>
                    <a:pt x="16" y="139"/>
                    <a:pt x="16" y="116"/>
                  </a:cubicBezTo>
                  <a:cubicBezTo>
                    <a:pt x="16" y="95"/>
                    <a:pt x="32" y="76"/>
                    <a:pt x="53" y="73"/>
                  </a:cubicBezTo>
                  <a:cubicBezTo>
                    <a:pt x="56" y="72"/>
                    <a:pt x="58" y="70"/>
                    <a:pt x="59" y="67"/>
                  </a:cubicBezTo>
                  <a:cubicBezTo>
                    <a:pt x="69" y="37"/>
                    <a:pt x="97" y="16"/>
                    <a:pt x="128" y="16"/>
                  </a:cubicBezTo>
                  <a:cubicBezTo>
                    <a:pt x="166" y="16"/>
                    <a:pt x="197" y="44"/>
                    <a:pt x="200" y="81"/>
                  </a:cubicBezTo>
                  <a:cubicBezTo>
                    <a:pt x="201" y="85"/>
                    <a:pt x="204" y="88"/>
                    <a:pt x="207" y="88"/>
                  </a:cubicBezTo>
                  <a:cubicBezTo>
                    <a:pt x="226" y="90"/>
                    <a:pt x="240" y="105"/>
                    <a:pt x="240" y="124"/>
                  </a:cubicBezTo>
                  <a:cubicBezTo>
                    <a:pt x="240" y="143"/>
                    <a:pt x="226" y="158"/>
                    <a:pt x="207" y="160"/>
                  </a:cubicBezTo>
                  <a:cubicBezTo>
                    <a:pt x="203" y="161"/>
                    <a:pt x="200" y="164"/>
                    <a:pt x="200" y="169"/>
                  </a:cubicBezTo>
                  <a:cubicBezTo>
                    <a:pt x="201" y="173"/>
                    <a:pt x="204" y="176"/>
                    <a:pt x="208" y="176"/>
                  </a:cubicBezTo>
                  <a:cubicBezTo>
                    <a:pt x="209" y="176"/>
                    <a:pt x="209" y="176"/>
                    <a:pt x="209" y="176"/>
                  </a:cubicBezTo>
                  <a:cubicBezTo>
                    <a:pt x="236" y="173"/>
                    <a:pt x="256" y="151"/>
                    <a:pt x="256" y="124"/>
                  </a:cubicBezTo>
                  <a:cubicBezTo>
                    <a:pt x="256" y="99"/>
                    <a:pt x="239" y="79"/>
                    <a:pt x="21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aphicFrame>
        <p:nvGraphicFramePr>
          <p:cNvPr id="32" name="Chart 31"/>
          <p:cNvGraphicFramePr>
            <a:graphicFrameLocks/>
          </p:cNvGraphicFramePr>
          <p:nvPr>
            <p:extLst>
              <p:ext uri="{D42A27DB-BD31-4B8C-83A1-F6EECF244321}">
                <p14:modId xmlns:p14="http://schemas.microsoft.com/office/powerpoint/2010/main" val="171747247"/>
              </p:ext>
            </p:extLst>
          </p:nvPr>
        </p:nvGraphicFramePr>
        <p:xfrm>
          <a:off x="485776" y="2021768"/>
          <a:ext cx="7746899" cy="4099632"/>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10">
            <a:extLst>
              <a:ext uri="{FF2B5EF4-FFF2-40B4-BE49-F238E27FC236}">
                <a16:creationId xmlns:a16="http://schemas.microsoft.com/office/drawing/2014/main" id="{0F5C65AE-8858-44E3-87F4-8D473FA1734E}"/>
              </a:ext>
            </a:extLst>
          </p:cNvPr>
          <p:cNvGrpSpPr>
            <a:grpSpLocks noChangeAspect="1"/>
          </p:cNvGrpSpPr>
          <p:nvPr/>
        </p:nvGrpSpPr>
        <p:grpSpPr bwMode="auto">
          <a:xfrm>
            <a:off x="9002950" y="5286386"/>
            <a:ext cx="344417" cy="300461"/>
            <a:chOff x="3838" y="2158"/>
            <a:chExt cx="619" cy="540"/>
          </a:xfrm>
          <a:solidFill>
            <a:schemeClr val="accent4"/>
          </a:solidFill>
        </p:grpSpPr>
        <p:sp>
          <p:nvSpPr>
            <p:cNvPr id="35" name="Freeform 11">
              <a:extLst>
                <a:ext uri="{FF2B5EF4-FFF2-40B4-BE49-F238E27FC236}">
                  <a16:creationId xmlns:a16="http://schemas.microsoft.com/office/drawing/2014/main" id="{4D12FC35-CD9A-414C-B787-97EE93EE93CA}"/>
                </a:ext>
              </a:extLst>
            </p:cNvPr>
            <p:cNvSpPr>
              <a:spLocks/>
            </p:cNvSpPr>
            <p:nvPr/>
          </p:nvSpPr>
          <p:spPr bwMode="auto">
            <a:xfrm>
              <a:off x="3838" y="2158"/>
              <a:ext cx="619" cy="422"/>
            </a:xfrm>
            <a:custGeom>
              <a:avLst/>
              <a:gdLst>
                <a:gd name="T0" fmla="*/ 14 w 258"/>
                <a:gd name="T1" fmla="*/ 110 h 176"/>
                <a:gd name="T2" fmla="*/ 33 w 258"/>
                <a:gd name="T3" fmla="*/ 95 h 176"/>
                <a:gd name="T4" fmla="*/ 33 w 258"/>
                <a:gd name="T5" fmla="*/ 168 h 176"/>
                <a:gd name="T6" fmla="*/ 41 w 258"/>
                <a:gd name="T7" fmla="*/ 176 h 176"/>
                <a:gd name="T8" fmla="*/ 49 w 258"/>
                <a:gd name="T9" fmla="*/ 168 h 176"/>
                <a:gd name="T10" fmla="*/ 49 w 258"/>
                <a:gd name="T11" fmla="*/ 84 h 176"/>
                <a:gd name="T12" fmla="*/ 49 w 258"/>
                <a:gd name="T13" fmla="*/ 83 h 176"/>
                <a:gd name="T14" fmla="*/ 129 w 258"/>
                <a:gd name="T15" fmla="*/ 18 h 176"/>
                <a:gd name="T16" fmla="*/ 210 w 258"/>
                <a:gd name="T17" fmla="*/ 83 h 176"/>
                <a:gd name="T18" fmla="*/ 209 w 258"/>
                <a:gd name="T19" fmla="*/ 84 h 176"/>
                <a:gd name="T20" fmla="*/ 209 w 258"/>
                <a:gd name="T21" fmla="*/ 168 h 176"/>
                <a:gd name="T22" fmla="*/ 217 w 258"/>
                <a:gd name="T23" fmla="*/ 176 h 176"/>
                <a:gd name="T24" fmla="*/ 225 w 258"/>
                <a:gd name="T25" fmla="*/ 168 h 176"/>
                <a:gd name="T26" fmla="*/ 225 w 258"/>
                <a:gd name="T27" fmla="*/ 95 h 176"/>
                <a:gd name="T28" fmla="*/ 244 w 258"/>
                <a:gd name="T29" fmla="*/ 110 h 176"/>
                <a:gd name="T30" fmla="*/ 249 w 258"/>
                <a:gd name="T31" fmla="*/ 112 h 176"/>
                <a:gd name="T32" fmla="*/ 255 w 258"/>
                <a:gd name="T33" fmla="*/ 109 h 176"/>
                <a:gd name="T34" fmla="*/ 254 w 258"/>
                <a:gd name="T35" fmla="*/ 98 h 176"/>
                <a:gd name="T36" fmla="*/ 134 w 258"/>
                <a:gd name="T37" fmla="*/ 2 h 176"/>
                <a:gd name="T38" fmla="*/ 124 w 258"/>
                <a:gd name="T39" fmla="*/ 2 h 176"/>
                <a:gd name="T40" fmla="*/ 4 w 258"/>
                <a:gd name="T41" fmla="*/ 98 h 176"/>
                <a:gd name="T42" fmla="*/ 3 w 258"/>
                <a:gd name="T43" fmla="*/ 109 h 176"/>
                <a:gd name="T44" fmla="*/ 14 w 258"/>
                <a:gd name="T45" fmla="*/ 11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8" h="176">
                  <a:moveTo>
                    <a:pt x="14" y="110"/>
                  </a:moveTo>
                  <a:cubicBezTo>
                    <a:pt x="33" y="95"/>
                    <a:pt x="33" y="95"/>
                    <a:pt x="33" y="95"/>
                  </a:cubicBezTo>
                  <a:cubicBezTo>
                    <a:pt x="33" y="168"/>
                    <a:pt x="33" y="168"/>
                    <a:pt x="33" y="168"/>
                  </a:cubicBezTo>
                  <a:cubicBezTo>
                    <a:pt x="33" y="173"/>
                    <a:pt x="37" y="176"/>
                    <a:pt x="41" y="176"/>
                  </a:cubicBezTo>
                  <a:cubicBezTo>
                    <a:pt x="46" y="176"/>
                    <a:pt x="49" y="173"/>
                    <a:pt x="49" y="168"/>
                  </a:cubicBezTo>
                  <a:cubicBezTo>
                    <a:pt x="49" y="84"/>
                    <a:pt x="49" y="84"/>
                    <a:pt x="49" y="84"/>
                  </a:cubicBezTo>
                  <a:cubicBezTo>
                    <a:pt x="49" y="84"/>
                    <a:pt x="49" y="83"/>
                    <a:pt x="49" y="83"/>
                  </a:cubicBezTo>
                  <a:cubicBezTo>
                    <a:pt x="129" y="18"/>
                    <a:pt x="129" y="18"/>
                    <a:pt x="129" y="18"/>
                  </a:cubicBezTo>
                  <a:cubicBezTo>
                    <a:pt x="210" y="83"/>
                    <a:pt x="210" y="83"/>
                    <a:pt x="210" y="83"/>
                  </a:cubicBezTo>
                  <a:cubicBezTo>
                    <a:pt x="209" y="83"/>
                    <a:pt x="209" y="84"/>
                    <a:pt x="209" y="84"/>
                  </a:cubicBezTo>
                  <a:cubicBezTo>
                    <a:pt x="209" y="168"/>
                    <a:pt x="209" y="168"/>
                    <a:pt x="209" y="168"/>
                  </a:cubicBezTo>
                  <a:cubicBezTo>
                    <a:pt x="209" y="173"/>
                    <a:pt x="213" y="176"/>
                    <a:pt x="217" y="176"/>
                  </a:cubicBezTo>
                  <a:cubicBezTo>
                    <a:pt x="222" y="176"/>
                    <a:pt x="225" y="173"/>
                    <a:pt x="225" y="168"/>
                  </a:cubicBezTo>
                  <a:cubicBezTo>
                    <a:pt x="225" y="95"/>
                    <a:pt x="225" y="95"/>
                    <a:pt x="225" y="95"/>
                  </a:cubicBezTo>
                  <a:cubicBezTo>
                    <a:pt x="244" y="110"/>
                    <a:pt x="244" y="110"/>
                    <a:pt x="244" y="110"/>
                  </a:cubicBezTo>
                  <a:cubicBezTo>
                    <a:pt x="246" y="112"/>
                    <a:pt x="247" y="112"/>
                    <a:pt x="249" y="112"/>
                  </a:cubicBezTo>
                  <a:cubicBezTo>
                    <a:pt x="252" y="112"/>
                    <a:pt x="254" y="111"/>
                    <a:pt x="255" y="109"/>
                  </a:cubicBezTo>
                  <a:cubicBezTo>
                    <a:pt x="258" y="106"/>
                    <a:pt x="258" y="101"/>
                    <a:pt x="254" y="98"/>
                  </a:cubicBezTo>
                  <a:cubicBezTo>
                    <a:pt x="134" y="2"/>
                    <a:pt x="134" y="2"/>
                    <a:pt x="134" y="2"/>
                  </a:cubicBezTo>
                  <a:cubicBezTo>
                    <a:pt x="131" y="0"/>
                    <a:pt x="127" y="0"/>
                    <a:pt x="124" y="2"/>
                  </a:cubicBezTo>
                  <a:cubicBezTo>
                    <a:pt x="4" y="98"/>
                    <a:pt x="4" y="98"/>
                    <a:pt x="4" y="98"/>
                  </a:cubicBezTo>
                  <a:cubicBezTo>
                    <a:pt x="1" y="101"/>
                    <a:pt x="0" y="106"/>
                    <a:pt x="3" y="109"/>
                  </a:cubicBezTo>
                  <a:cubicBezTo>
                    <a:pt x="6" y="113"/>
                    <a:pt x="11" y="113"/>
                    <a:pt x="1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6" name="Freeform 12">
              <a:extLst>
                <a:ext uri="{FF2B5EF4-FFF2-40B4-BE49-F238E27FC236}">
                  <a16:creationId xmlns:a16="http://schemas.microsoft.com/office/drawing/2014/main" id="{FD7992FC-FEE1-4BD6-A88E-90FB9EDA2177}"/>
                </a:ext>
              </a:extLst>
            </p:cNvPr>
            <p:cNvSpPr>
              <a:spLocks/>
            </p:cNvSpPr>
            <p:nvPr/>
          </p:nvSpPr>
          <p:spPr bwMode="auto">
            <a:xfrm>
              <a:off x="4070" y="2412"/>
              <a:ext cx="154" cy="168"/>
            </a:xfrm>
            <a:custGeom>
              <a:avLst/>
              <a:gdLst>
                <a:gd name="T0" fmla="*/ 56 w 64"/>
                <a:gd name="T1" fmla="*/ 70 h 70"/>
                <a:gd name="T2" fmla="*/ 64 w 64"/>
                <a:gd name="T3" fmla="*/ 62 h 70"/>
                <a:gd name="T4" fmla="*/ 64 w 64"/>
                <a:gd name="T5" fmla="*/ 8 h 70"/>
                <a:gd name="T6" fmla="*/ 56 w 64"/>
                <a:gd name="T7" fmla="*/ 0 h 70"/>
                <a:gd name="T8" fmla="*/ 8 w 64"/>
                <a:gd name="T9" fmla="*/ 0 h 70"/>
                <a:gd name="T10" fmla="*/ 0 w 64"/>
                <a:gd name="T11" fmla="*/ 8 h 70"/>
                <a:gd name="T12" fmla="*/ 0 w 64"/>
                <a:gd name="T13" fmla="*/ 62 h 70"/>
                <a:gd name="T14" fmla="*/ 8 w 64"/>
                <a:gd name="T15" fmla="*/ 70 h 70"/>
                <a:gd name="T16" fmla="*/ 16 w 64"/>
                <a:gd name="T17" fmla="*/ 62 h 70"/>
                <a:gd name="T18" fmla="*/ 16 w 64"/>
                <a:gd name="T19" fmla="*/ 16 h 70"/>
                <a:gd name="T20" fmla="*/ 48 w 64"/>
                <a:gd name="T21" fmla="*/ 16 h 70"/>
                <a:gd name="T22" fmla="*/ 48 w 64"/>
                <a:gd name="T23" fmla="*/ 62 h 70"/>
                <a:gd name="T24" fmla="*/ 56 w 64"/>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0">
                  <a:moveTo>
                    <a:pt x="56" y="70"/>
                  </a:moveTo>
                  <a:cubicBezTo>
                    <a:pt x="61" y="70"/>
                    <a:pt x="64" y="67"/>
                    <a:pt x="64" y="62"/>
                  </a:cubicBezTo>
                  <a:cubicBezTo>
                    <a:pt x="64" y="8"/>
                    <a:pt x="64" y="8"/>
                    <a:pt x="64" y="8"/>
                  </a:cubicBezTo>
                  <a:cubicBezTo>
                    <a:pt x="64" y="4"/>
                    <a:pt x="61" y="0"/>
                    <a:pt x="56" y="0"/>
                  </a:cubicBezTo>
                  <a:cubicBezTo>
                    <a:pt x="8" y="0"/>
                    <a:pt x="8" y="0"/>
                    <a:pt x="8" y="0"/>
                  </a:cubicBezTo>
                  <a:cubicBezTo>
                    <a:pt x="4" y="0"/>
                    <a:pt x="0" y="4"/>
                    <a:pt x="0" y="8"/>
                  </a:cubicBezTo>
                  <a:cubicBezTo>
                    <a:pt x="0" y="62"/>
                    <a:pt x="0" y="62"/>
                    <a:pt x="0" y="62"/>
                  </a:cubicBezTo>
                  <a:cubicBezTo>
                    <a:pt x="0" y="67"/>
                    <a:pt x="4" y="70"/>
                    <a:pt x="8" y="70"/>
                  </a:cubicBezTo>
                  <a:cubicBezTo>
                    <a:pt x="13" y="70"/>
                    <a:pt x="16" y="67"/>
                    <a:pt x="16" y="62"/>
                  </a:cubicBezTo>
                  <a:cubicBezTo>
                    <a:pt x="16" y="16"/>
                    <a:pt x="16" y="16"/>
                    <a:pt x="16" y="16"/>
                  </a:cubicBezTo>
                  <a:cubicBezTo>
                    <a:pt x="48" y="16"/>
                    <a:pt x="48" y="16"/>
                    <a:pt x="48" y="16"/>
                  </a:cubicBezTo>
                  <a:cubicBezTo>
                    <a:pt x="48" y="62"/>
                    <a:pt x="48" y="62"/>
                    <a:pt x="48" y="62"/>
                  </a:cubicBezTo>
                  <a:cubicBezTo>
                    <a:pt x="48" y="67"/>
                    <a:pt x="52" y="70"/>
                    <a:pt x="56"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 name="Freeform 13">
              <a:extLst>
                <a:ext uri="{FF2B5EF4-FFF2-40B4-BE49-F238E27FC236}">
                  <a16:creationId xmlns:a16="http://schemas.microsoft.com/office/drawing/2014/main" id="{8E719A5B-5244-4860-B4E7-989AF9AE203A}"/>
                </a:ext>
              </a:extLst>
            </p:cNvPr>
            <p:cNvSpPr>
              <a:spLocks/>
            </p:cNvSpPr>
            <p:nvPr/>
          </p:nvSpPr>
          <p:spPr bwMode="auto">
            <a:xfrm>
              <a:off x="3840" y="2571"/>
              <a:ext cx="614" cy="127"/>
            </a:xfrm>
            <a:custGeom>
              <a:avLst/>
              <a:gdLst>
                <a:gd name="T0" fmla="*/ 248 w 256"/>
                <a:gd name="T1" fmla="*/ 28 h 53"/>
                <a:gd name="T2" fmla="*/ 194 w 256"/>
                <a:gd name="T3" fmla="*/ 3 h 53"/>
                <a:gd name="T4" fmla="*/ 189 w 256"/>
                <a:gd name="T5" fmla="*/ 0 h 53"/>
                <a:gd name="T6" fmla="*/ 183 w 256"/>
                <a:gd name="T7" fmla="*/ 2 h 53"/>
                <a:gd name="T8" fmla="*/ 174 w 256"/>
                <a:gd name="T9" fmla="*/ 12 h 53"/>
                <a:gd name="T10" fmla="*/ 74 w 256"/>
                <a:gd name="T11" fmla="*/ 3 h 53"/>
                <a:gd name="T12" fmla="*/ 68 w 256"/>
                <a:gd name="T13" fmla="*/ 0 h 53"/>
                <a:gd name="T14" fmla="*/ 62 w 256"/>
                <a:gd name="T15" fmla="*/ 3 h 53"/>
                <a:gd name="T16" fmla="*/ 8 w 256"/>
                <a:gd name="T17" fmla="*/ 28 h 53"/>
                <a:gd name="T18" fmla="*/ 0 w 256"/>
                <a:gd name="T19" fmla="*/ 36 h 53"/>
                <a:gd name="T20" fmla="*/ 8 w 256"/>
                <a:gd name="T21" fmla="*/ 44 h 53"/>
                <a:gd name="T22" fmla="*/ 68 w 256"/>
                <a:gd name="T23" fmla="*/ 20 h 53"/>
                <a:gd name="T24" fmla="*/ 184 w 256"/>
                <a:gd name="T25" fmla="*/ 23 h 53"/>
                <a:gd name="T26" fmla="*/ 188 w 256"/>
                <a:gd name="T27" fmla="*/ 20 h 53"/>
                <a:gd name="T28" fmla="*/ 248 w 256"/>
                <a:gd name="T29" fmla="*/ 44 h 53"/>
                <a:gd name="T30" fmla="*/ 256 w 256"/>
                <a:gd name="T31" fmla="*/ 36 h 53"/>
                <a:gd name="T32" fmla="*/ 248 w 256"/>
                <a:gd name="T33" fmla="*/ 2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53">
                  <a:moveTo>
                    <a:pt x="248" y="28"/>
                  </a:moveTo>
                  <a:cubicBezTo>
                    <a:pt x="227" y="28"/>
                    <a:pt x="207" y="19"/>
                    <a:pt x="194" y="3"/>
                  </a:cubicBezTo>
                  <a:cubicBezTo>
                    <a:pt x="193" y="1"/>
                    <a:pt x="191" y="0"/>
                    <a:pt x="189" y="0"/>
                  </a:cubicBezTo>
                  <a:cubicBezTo>
                    <a:pt x="186" y="0"/>
                    <a:pt x="184" y="1"/>
                    <a:pt x="183" y="2"/>
                  </a:cubicBezTo>
                  <a:cubicBezTo>
                    <a:pt x="174" y="12"/>
                    <a:pt x="174" y="12"/>
                    <a:pt x="174" y="12"/>
                  </a:cubicBezTo>
                  <a:cubicBezTo>
                    <a:pt x="143" y="37"/>
                    <a:pt x="100" y="33"/>
                    <a:pt x="74" y="3"/>
                  </a:cubicBezTo>
                  <a:cubicBezTo>
                    <a:pt x="73" y="1"/>
                    <a:pt x="71" y="0"/>
                    <a:pt x="68" y="0"/>
                  </a:cubicBezTo>
                  <a:cubicBezTo>
                    <a:pt x="66" y="0"/>
                    <a:pt x="64" y="1"/>
                    <a:pt x="62" y="3"/>
                  </a:cubicBezTo>
                  <a:cubicBezTo>
                    <a:pt x="48" y="19"/>
                    <a:pt x="29" y="28"/>
                    <a:pt x="8" y="28"/>
                  </a:cubicBezTo>
                  <a:cubicBezTo>
                    <a:pt x="4" y="28"/>
                    <a:pt x="0" y="32"/>
                    <a:pt x="0" y="36"/>
                  </a:cubicBezTo>
                  <a:cubicBezTo>
                    <a:pt x="0" y="41"/>
                    <a:pt x="4" y="44"/>
                    <a:pt x="8" y="44"/>
                  </a:cubicBezTo>
                  <a:cubicBezTo>
                    <a:pt x="30" y="44"/>
                    <a:pt x="52" y="35"/>
                    <a:pt x="68" y="20"/>
                  </a:cubicBezTo>
                  <a:cubicBezTo>
                    <a:pt x="100" y="50"/>
                    <a:pt x="149" y="53"/>
                    <a:pt x="184" y="23"/>
                  </a:cubicBezTo>
                  <a:cubicBezTo>
                    <a:pt x="188" y="20"/>
                    <a:pt x="188" y="20"/>
                    <a:pt x="188" y="20"/>
                  </a:cubicBezTo>
                  <a:cubicBezTo>
                    <a:pt x="204" y="35"/>
                    <a:pt x="226" y="44"/>
                    <a:pt x="248" y="44"/>
                  </a:cubicBezTo>
                  <a:cubicBezTo>
                    <a:pt x="253" y="44"/>
                    <a:pt x="256" y="41"/>
                    <a:pt x="256" y="36"/>
                  </a:cubicBezTo>
                  <a:cubicBezTo>
                    <a:pt x="256" y="32"/>
                    <a:pt x="253" y="28"/>
                    <a:pt x="24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5" name="Rectangle 4">
            <a:extLst>
              <a:ext uri="{FF2B5EF4-FFF2-40B4-BE49-F238E27FC236}">
                <a16:creationId xmlns:a16="http://schemas.microsoft.com/office/drawing/2014/main" id="{F790B64C-8892-827A-4855-5D6A19AE338E}"/>
              </a:ext>
            </a:extLst>
          </p:cNvPr>
          <p:cNvSpPr/>
          <p:nvPr/>
        </p:nvSpPr>
        <p:spPr>
          <a:xfrm>
            <a:off x="488274" y="1119248"/>
            <a:ext cx="11221123" cy="685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738B47DC-753C-DC12-F7AD-58C590E6F5E5}"/>
              </a:ext>
            </a:extLst>
          </p:cNvPr>
          <p:cNvSpPr txBox="1"/>
          <p:nvPr/>
        </p:nvSpPr>
        <p:spPr>
          <a:xfrm>
            <a:off x="1604430" y="1290856"/>
            <a:ext cx="9859313" cy="307777"/>
          </a:xfrm>
          <a:prstGeom prst="rect">
            <a:avLst/>
          </a:prstGeom>
          <a:noFill/>
        </p:spPr>
        <p:txBody>
          <a:bodyPr wrap="square">
            <a:spAutoFit/>
          </a:bodyPr>
          <a:lstStyle/>
          <a:p>
            <a:pPr>
              <a:spcAft>
                <a:spcPts val="600"/>
              </a:spcAft>
            </a:pPr>
            <a:r>
              <a:rPr lang="es-ES" sz="1400" b="1" dirty="0">
                <a:solidFill>
                  <a:schemeClr val="accent4"/>
                </a:solidFill>
              </a:rPr>
              <a:t>Para los mercados que comentan abiertamente sobre el cambio climático, ¿qué peligros les preocupan más?</a:t>
            </a:r>
            <a:endParaRPr lang="en-US" sz="1400" b="1" dirty="0">
              <a:solidFill>
                <a:schemeClr val="accent4"/>
              </a:solidFill>
            </a:endParaRPr>
          </a:p>
        </p:txBody>
      </p:sp>
      <p:grpSp>
        <p:nvGrpSpPr>
          <p:cNvPr id="16" name="Group 4">
            <a:extLst>
              <a:ext uri="{FF2B5EF4-FFF2-40B4-BE49-F238E27FC236}">
                <a16:creationId xmlns:a16="http://schemas.microsoft.com/office/drawing/2014/main" id="{E6CF672C-7501-4B75-8E84-E62FCF9C0AE3}"/>
              </a:ext>
            </a:extLst>
          </p:cNvPr>
          <p:cNvGrpSpPr>
            <a:grpSpLocks noChangeAspect="1"/>
          </p:cNvGrpSpPr>
          <p:nvPr/>
        </p:nvGrpSpPr>
        <p:grpSpPr bwMode="auto">
          <a:xfrm>
            <a:off x="962106" y="1253444"/>
            <a:ext cx="413377" cy="413377"/>
            <a:chOff x="3840" y="2163"/>
            <a:chExt cx="614" cy="614"/>
          </a:xfrm>
          <a:solidFill>
            <a:schemeClr val="accent4"/>
          </a:solidFill>
        </p:grpSpPr>
        <p:sp>
          <p:nvSpPr>
            <p:cNvPr id="18" name="Freeform 5">
              <a:extLst>
                <a:ext uri="{FF2B5EF4-FFF2-40B4-BE49-F238E27FC236}">
                  <a16:creationId xmlns:a16="http://schemas.microsoft.com/office/drawing/2014/main" id="{4A5FA9B7-2E8B-44DC-8A08-90857E934935}"/>
                </a:ext>
              </a:extLst>
            </p:cNvPr>
            <p:cNvSpPr>
              <a:spLocks noEditPoints="1"/>
            </p:cNvSpPr>
            <p:nvPr/>
          </p:nvSpPr>
          <p:spPr bwMode="auto">
            <a:xfrm>
              <a:off x="3840" y="2163"/>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9" name="Oval 6">
              <a:extLst>
                <a:ext uri="{FF2B5EF4-FFF2-40B4-BE49-F238E27FC236}">
                  <a16:creationId xmlns:a16="http://schemas.microsoft.com/office/drawing/2014/main" id="{F425E7BD-2E76-45CA-B6EB-6B8D8CE66D93}"/>
                </a:ext>
              </a:extLst>
            </p:cNvPr>
            <p:cNvSpPr>
              <a:spLocks noChangeArrowheads="1"/>
            </p:cNvSpPr>
            <p:nvPr/>
          </p:nvSpPr>
          <p:spPr bwMode="auto">
            <a:xfrm>
              <a:off x="4118" y="2604"/>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0" name="Freeform 7">
              <a:extLst>
                <a:ext uri="{FF2B5EF4-FFF2-40B4-BE49-F238E27FC236}">
                  <a16:creationId xmlns:a16="http://schemas.microsoft.com/office/drawing/2014/main" id="{5954636F-24C5-4A5A-B717-9C4BCBA5F661}"/>
                </a:ext>
              </a:extLst>
            </p:cNvPr>
            <p:cNvSpPr>
              <a:spLocks/>
            </p:cNvSpPr>
            <p:nvPr/>
          </p:nvSpPr>
          <p:spPr bwMode="auto">
            <a:xfrm>
              <a:off x="4066" y="2268"/>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
        <p:nvSpPr>
          <p:cNvPr id="3" name="TextBox 2">
            <a:extLst>
              <a:ext uri="{FF2B5EF4-FFF2-40B4-BE49-F238E27FC236}">
                <a16:creationId xmlns:a16="http://schemas.microsoft.com/office/drawing/2014/main" id="{880D63FD-A08F-AB00-9B3B-52D0420B6DA7}"/>
              </a:ext>
            </a:extLst>
          </p:cNvPr>
          <p:cNvSpPr txBox="1"/>
          <p:nvPr/>
        </p:nvSpPr>
        <p:spPr>
          <a:xfrm>
            <a:off x="23246" y="2780539"/>
            <a:ext cx="2513973" cy="184666"/>
          </a:xfrm>
          <a:prstGeom prst="rect">
            <a:avLst/>
          </a:prstGeom>
          <a:solidFill>
            <a:schemeClr val="bg1"/>
          </a:solidFill>
        </p:spPr>
        <p:txBody>
          <a:bodyPr wrap="square" lIns="0" tIns="0" rIns="0" bIns="0" rtlCol="0">
            <a:spAutoFit/>
          </a:bodyPr>
          <a:lstStyle/>
          <a:p>
            <a:pPr algn="r"/>
            <a:r>
              <a:rPr lang="es-CO" sz="1200" dirty="0"/>
              <a:t>Reino Unido y mercado londinense</a:t>
            </a:r>
          </a:p>
        </p:txBody>
      </p:sp>
      <p:sp>
        <p:nvSpPr>
          <p:cNvPr id="6" name="TextBox 5">
            <a:extLst>
              <a:ext uri="{FF2B5EF4-FFF2-40B4-BE49-F238E27FC236}">
                <a16:creationId xmlns:a16="http://schemas.microsoft.com/office/drawing/2014/main" id="{FDAAEE60-A86A-EDFF-B2E2-7A2B75BA22EF}"/>
              </a:ext>
            </a:extLst>
          </p:cNvPr>
          <p:cNvSpPr txBox="1"/>
          <p:nvPr/>
        </p:nvSpPr>
        <p:spPr>
          <a:xfrm>
            <a:off x="19199" y="3104518"/>
            <a:ext cx="2513973" cy="184666"/>
          </a:xfrm>
          <a:prstGeom prst="rect">
            <a:avLst/>
          </a:prstGeom>
          <a:solidFill>
            <a:schemeClr val="bg1"/>
          </a:solidFill>
        </p:spPr>
        <p:txBody>
          <a:bodyPr wrap="square" lIns="0" tIns="0" rIns="0" bIns="0" rtlCol="0">
            <a:spAutoFit/>
          </a:bodyPr>
          <a:lstStyle/>
          <a:p>
            <a:pPr algn="r"/>
            <a:r>
              <a:rPr lang="es-CO" sz="1200" dirty="0"/>
              <a:t>India, Oriente Medio y África</a:t>
            </a:r>
          </a:p>
        </p:txBody>
      </p:sp>
      <p:sp>
        <p:nvSpPr>
          <p:cNvPr id="9" name="TextBox 8">
            <a:extLst>
              <a:ext uri="{FF2B5EF4-FFF2-40B4-BE49-F238E27FC236}">
                <a16:creationId xmlns:a16="http://schemas.microsoft.com/office/drawing/2014/main" id="{D8DAB963-789A-4440-2592-535B3DE52A3D}"/>
              </a:ext>
            </a:extLst>
          </p:cNvPr>
          <p:cNvSpPr txBox="1"/>
          <p:nvPr/>
        </p:nvSpPr>
        <p:spPr>
          <a:xfrm>
            <a:off x="27905" y="3435554"/>
            <a:ext cx="2513973" cy="184666"/>
          </a:xfrm>
          <a:prstGeom prst="rect">
            <a:avLst/>
          </a:prstGeom>
          <a:solidFill>
            <a:schemeClr val="bg1"/>
          </a:solidFill>
        </p:spPr>
        <p:txBody>
          <a:bodyPr wrap="square" lIns="0" tIns="0" rIns="0" bIns="0" rtlCol="0">
            <a:spAutoFit/>
          </a:bodyPr>
          <a:lstStyle/>
          <a:p>
            <a:pPr algn="r"/>
            <a:r>
              <a:rPr lang="es-CO" sz="1200" dirty="0"/>
              <a:t>Latinoamérica y el Caribe</a:t>
            </a:r>
          </a:p>
        </p:txBody>
      </p:sp>
      <p:sp>
        <p:nvSpPr>
          <p:cNvPr id="13" name="TextBox 12">
            <a:extLst>
              <a:ext uri="{FF2B5EF4-FFF2-40B4-BE49-F238E27FC236}">
                <a16:creationId xmlns:a16="http://schemas.microsoft.com/office/drawing/2014/main" id="{F5039745-34EA-B2AF-0415-D161C4A60AE5}"/>
              </a:ext>
            </a:extLst>
          </p:cNvPr>
          <p:cNvSpPr txBox="1"/>
          <p:nvPr/>
        </p:nvSpPr>
        <p:spPr>
          <a:xfrm>
            <a:off x="18380" y="3776115"/>
            <a:ext cx="2513973" cy="184666"/>
          </a:xfrm>
          <a:prstGeom prst="rect">
            <a:avLst/>
          </a:prstGeom>
          <a:solidFill>
            <a:schemeClr val="bg1"/>
          </a:solidFill>
        </p:spPr>
        <p:txBody>
          <a:bodyPr wrap="square" lIns="0" tIns="0" rIns="0" bIns="0" rtlCol="0">
            <a:spAutoFit/>
          </a:bodyPr>
          <a:lstStyle/>
          <a:p>
            <a:pPr algn="r"/>
            <a:r>
              <a:rPr lang="es-CO" sz="1200" dirty="0"/>
              <a:t>APAC</a:t>
            </a:r>
          </a:p>
        </p:txBody>
      </p:sp>
      <p:sp>
        <p:nvSpPr>
          <p:cNvPr id="15" name="TextBox 14">
            <a:extLst>
              <a:ext uri="{FF2B5EF4-FFF2-40B4-BE49-F238E27FC236}">
                <a16:creationId xmlns:a16="http://schemas.microsoft.com/office/drawing/2014/main" id="{90B17C78-458E-555E-B3C5-1B24E1854275}"/>
              </a:ext>
            </a:extLst>
          </p:cNvPr>
          <p:cNvSpPr txBox="1"/>
          <p:nvPr/>
        </p:nvSpPr>
        <p:spPr>
          <a:xfrm>
            <a:off x="27905" y="4117023"/>
            <a:ext cx="2513973" cy="184666"/>
          </a:xfrm>
          <a:prstGeom prst="rect">
            <a:avLst/>
          </a:prstGeom>
          <a:solidFill>
            <a:schemeClr val="bg1"/>
          </a:solidFill>
        </p:spPr>
        <p:txBody>
          <a:bodyPr wrap="square" lIns="0" tIns="0" rIns="0" bIns="0" rtlCol="0">
            <a:spAutoFit/>
          </a:bodyPr>
          <a:lstStyle/>
          <a:p>
            <a:pPr algn="r"/>
            <a:r>
              <a:rPr lang="es-CO" sz="1200" dirty="0"/>
              <a:t>Europa</a:t>
            </a:r>
          </a:p>
        </p:txBody>
      </p:sp>
      <p:sp>
        <p:nvSpPr>
          <p:cNvPr id="17" name="TextBox 16">
            <a:extLst>
              <a:ext uri="{FF2B5EF4-FFF2-40B4-BE49-F238E27FC236}">
                <a16:creationId xmlns:a16="http://schemas.microsoft.com/office/drawing/2014/main" id="{6D52BA2B-9115-C216-F199-32570AAA6E2D}"/>
              </a:ext>
            </a:extLst>
          </p:cNvPr>
          <p:cNvSpPr txBox="1"/>
          <p:nvPr/>
        </p:nvSpPr>
        <p:spPr>
          <a:xfrm>
            <a:off x="25633" y="4792190"/>
            <a:ext cx="2513973" cy="184666"/>
          </a:xfrm>
          <a:prstGeom prst="rect">
            <a:avLst/>
          </a:prstGeom>
          <a:solidFill>
            <a:schemeClr val="bg1"/>
          </a:solidFill>
        </p:spPr>
        <p:txBody>
          <a:bodyPr wrap="square" lIns="0" tIns="0" rIns="0" bIns="0" rtlCol="0">
            <a:spAutoFit/>
          </a:bodyPr>
          <a:lstStyle/>
          <a:p>
            <a:pPr algn="r"/>
            <a:r>
              <a:rPr lang="es-CO" sz="1200" dirty="0"/>
              <a:t>EE. UU.</a:t>
            </a:r>
          </a:p>
        </p:txBody>
      </p:sp>
      <p:sp>
        <p:nvSpPr>
          <p:cNvPr id="25" name="TextBox 24">
            <a:extLst>
              <a:ext uri="{FF2B5EF4-FFF2-40B4-BE49-F238E27FC236}">
                <a16:creationId xmlns:a16="http://schemas.microsoft.com/office/drawing/2014/main" id="{7F7316A8-E97F-2AC9-C951-18950A4CE1A8}"/>
              </a:ext>
            </a:extLst>
          </p:cNvPr>
          <p:cNvSpPr txBox="1"/>
          <p:nvPr/>
        </p:nvSpPr>
        <p:spPr>
          <a:xfrm>
            <a:off x="6547526" y="5646419"/>
            <a:ext cx="1075573" cy="184666"/>
          </a:xfrm>
          <a:prstGeom prst="rect">
            <a:avLst/>
          </a:prstGeom>
          <a:solidFill>
            <a:schemeClr val="bg1"/>
          </a:solidFill>
        </p:spPr>
        <p:txBody>
          <a:bodyPr wrap="square" lIns="0" tIns="0" rIns="0" bIns="0" rtlCol="0">
            <a:spAutoFit/>
          </a:bodyPr>
          <a:lstStyle/>
          <a:p>
            <a:pPr algn="l"/>
            <a:r>
              <a:rPr lang="es-CO" sz="1200" dirty="0"/>
              <a:t>Inundación</a:t>
            </a:r>
          </a:p>
        </p:txBody>
      </p:sp>
      <p:sp>
        <p:nvSpPr>
          <p:cNvPr id="27" name="TextBox 26">
            <a:extLst>
              <a:ext uri="{FF2B5EF4-FFF2-40B4-BE49-F238E27FC236}">
                <a16:creationId xmlns:a16="http://schemas.microsoft.com/office/drawing/2014/main" id="{3D4A9887-CB6A-B919-107F-6BDF5A2A5E2F}"/>
              </a:ext>
            </a:extLst>
          </p:cNvPr>
          <p:cNvSpPr txBox="1"/>
          <p:nvPr/>
        </p:nvSpPr>
        <p:spPr>
          <a:xfrm>
            <a:off x="4825270" y="5884935"/>
            <a:ext cx="1566005" cy="369332"/>
          </a:xfrm>
          <a:prstGeom prst="rect">
            <a:avLst/>
          </a:prstGeom>
          <a:solidFill>
            <a:schemeClr val="bg1"/>
          </a:solidFill>
        </p:spPr>
        <p:txBody>
          <a:bodyPr wrap="square" lIns="0" tIns="0" rIns="0" bIns="0" rtlCol="0">
            <a:spAutoFit/>
          </a:bodyPr>
          <a:lstStyle/>
          <a:p>
            <a:pPr algn="l"/>
            <a:r>
              <a:rPr lang="es-CO" sz="1200" dirty="0"/>
              <a:t>Tormenta de viento europea</a:t>
            </a:r>
          </a:p>
        </p:txBody>
      </p:sp>
      <p:sp>
        <p:nvSpPr>
          <p:cNvPr id="31" name="TextBox 30">
            <a:extLst>
              <a:ext uri="{FF2B5EF4-FFF2-40B4-BE49-F238E27FC236}">
                <a16:creationId xmlns:a16="http://schemas.microsoft.com/office/drawing/2014/main" id="{83A3410F-A583-17B2-8D27-6BD6EEB1666C}"/>
              </a:ext>
            </a:extLst>
          </p:cNvPr>
          <p:cNvSpPr txBox="1"/>
          <p:nvPr/>
        </p:nvSpPr>
        <p:spPr>
          <a:xfrm>
            <a:off x="1393226" y="5898314"/>
            <a:ext cx="1454773" cy="184666"/>
          </a:xfrm>
          <a:prstGeom prst="rect">
            <a:avLst/>
          </a:prstGeom>
          <a:solidFill>
            <a:schemeClr val="bg1"/>
          </a:solidFill>
        </p:spPr>
        <p:txBody>
          <a:bodyPr wrap="square" lIns="0" tIns="0" rIns="0" bIns="0" rtlCol="0">
            <a:spAutoFit/>
          </a:bodyPr>
          <a:lstStyle/>
          <a:p>
            <a:pPr algn="l"/>
            <a:r>
              <a:rPr lang="es-CO" sz="1200" dirty="0"/>
              <a:t>Marejada ciclónica</a:t>
            </a:r>
          </a:p>
        </p:txBody>
      </p:sp>
      <p:sp>
        <p:nvSpPr>
          <p:cNvPr id="33" name="TextBox 32">
            <a:extLst>
              <a:ext uri="{FF2B5EF4-FFF2-40B4-BE49-F238E27FC236}">
                <a16:creationId xmlns:a16="http://schemas.microsoft.com/office/drawing/2014/main" id="{94DDB029-14BB-186A-2662-5E0BFD979319}"/>
              </a:ext>
            </a:extLst>
          </p:cNvPr>
          <p:cNvSpPr txBox="1"/>
          <p:nvPr/>
        </p:nvSpPr>
        <p:spPr>
          <a:xfrm>
            <a:off x="1393227" y="5638681"/>
            <a:ext cx="1470449" cy="184666"/>
          </a:xfrm>
          <a:prstGeom prst="rect">
            <a:avLst/>
          </a:prstGeom>
          <a:solidFill>
            <a:schemeClr val="bg1"/>
          </a:solidFill>
        </p:spPr>
        <p:txBody>
          <a:bodyPr wrap="square" lIns="0" tIns="0" rIns="0" bIns="0" rtlCol="0">
            <a:spAutoFit/>
          </a:bodyPr>
          <a:lstStyle/>
          <a:p>
            <a:pPr algn="l"/>
            <a:r>
              <a:rPr lang="es-CO" sz="1200" dirty="0"/>
              <a:t>Tormenta severa</a:t>
            </a:r>
          </a:p>
        </p:txBody>
      </p:sp>
      <p:sp>
        <p:nvSpPr>
          <p:cNvPr id="39" name="TextBox 38">
            <a:extLst>
              <a:ext uri="{FF2B5EF4-FFF2-40B4-BE49-F238E27FC236}">
                <a16:creationId xmlns:a16="http://schemas.microsoft.com/office/drawing/2014/main" id="{33252BE3-90A2-C483-8C77-4DE781D3CE88}"/>
              </a:ext>
            </a:extLst>
          </p:cNvPr>
          <p:cNvSpPr txBox="1"/>
          <p:nvPr/>
        </p:nvSpPr>
        <p:spPr>
          <a:xfrm>
            <a:off x="3098725" y="5883881"/>
            <a:ext cx="1330400" cy="184666"/>
          </a:xfrm>
          <a:prstGeom prst="rect">
            <a:avLst/>
          </a:prstGeom>
          <a:solidFill>
            <a:schemeClr val="bg1"/>
          </a:solidFill>
        </p:spPr>
        <p:txBody>
          <a:bodyPr wrap="square" lIns="0" tIns="0" rIns="0" bIns="0" rtlCol="0">
            <a:spAutoFit/>
          </a:bodyPr>
          <a:lstStyle/>
          <a:p>
            <a:pPr algn="l"/>
            <a:r>
              <a:rPr lang="es-CO" sz="1200" dirty="0"/>
              <a:t>Tormenta Invernal</a:t>
            </a:r>
          </a:p>
        </p:txBody>
      </p:sp>
      <p:sp>
        <p:nvSpPr>
          <p:cNvPr id="40" name="TextBox 39">
            <a:extLst>
              <a:ext uri="{FF2B5EF4-FFF2-40B4-BE49-F238E27FC236}">
                <a16:creationId xmlns:a16="http://schemas.microsoft.com/office/drawing/2014/main" id="{7BA34A3D-B024-3355-21BC-D20998BC0F89}"/>
              </a:ext>
            </a:extLst>
          </p:cNvPr>
          <p:cNvSpPr txBox="1"/>
          <p:nvPr/>
        </p:nvSpPr>
        <p:spPr>
          <a:xfrm>
            <a:off x="3114402" y="5637781"/>
            <a:ext cx="1330400" cy="184666"/>
          </a:xfrm>
          <a:prstGeom prst="rect">
            <a:avLst/>
          </a:prstGeom>
          <a:solidFill>
            <a:schemeClr val="bg1"/>
          </a:solidFill>
        </p:spPr>
        <p:txBody>
          <a:bodyPr wrap="square" lIns="0" tIns="0" rIns="0" bIns="0" rtlCol="0">
            <a:spAutoFit/>
          </a:bodyPr>
          <a:lstStyle/>
          <a:p>
            <a:pPr algn="l"/>
            <a:r>
              <a:rPr lang="es-CO" sz="1200" dirty="0"/>
              <a:t>Incendio forestal</a:t>
            </a:r>
          </a:p>
        </p:txBody>
      </p:sp>
    </p:spTree>
    <p:extLst>
      <p:ext uri="{BB962C8B-B14F-4D97-AF65-F5344CB8AC3E}">
        <p14:creationId xmlns:p14="http://schemas.microsoft.com/office/powerpoint/2010/main" val="2951973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DB0CB-268F-4218-9A99-BA9C96147D95}"/>
              </a:ext>
            </a:extLst>
          </p:cNvPr>
          <p:cNvSpPr>
            <a:spLocks noGrp="1"/>
          </p:cNvSpPr>
          <p:nvPr>
            <p:ph type="title"/>
          </p:nvPr>
        </p:nvSpPr>
        <p:spPr/>
        <p:txBody>
          <a:bodyPr/>
          <a:lstStyle/>
          <a:p>
            <a:r>
              <a:rPr lang="en-US" dirty="0" err="1"/>
              <a:t>Mirando</a:t>
            </a:r>
            <a:r>
              <a:rPr lang="en-US" dirty="0"/>
              <a:t> </a:t>
            </a:r>
            <a:r>
              <a:rPr lang="en-US" dirty="0" err="1"/>
              <a:t>hacia</a:t>
            </a:r>
            <a:r>
              <a:rPr lang="en-US" dirty="0"/>
              <a:t> </a:t>
            </a:r>
            <a:r>
              <a:rPr lang="en-US" dirty="0" err="1"/>
              <a:t>el</a:t>
            </a:r>
            <a:r>
              <a:rPr lang="en-US" dirty="0"/>
              <a:t> </a:t>
            </a:r>
            <a:r>
              <a:rPr lang="en-US" dirty="0" err="1"/>
              <a:t>futuro</a:t>
            </a:r>
            <a:br>
              <a:rPr lang="en-US" dirty="0"/>
            </a:br>
            <a:br>
              <a:rPr lang="en-US" dirty="0"/>
            </a:br>
            <a:br>
              <a:rPr lang="en-US" dirty="0"/>
            </a:br>
            <a:endParaRPr lang="en-US" dirty="0"/>
          </a:p>
        </p:txBody>
      </p:sp>
      <p:grpSp>
        <p:nvGrpSpPr>
          <p:cNvPr id="8" name="Group 19">
            <a:extLst>
              <a:ext uri="{FF2B5EF4-FFF2-40B4-BE49-F238E27FC236}">
                <a16:creationId xmlns:a16="http://schemas.microsoft.com/office/drawing/2014/main" id="{24739DA1-2996-4823-B4F5-128766281342}"/>
              </a:ext>
            </a:extLst>
          </p:cNvPr>
          <p:cNvGrpSpPr>
            <a:grpSpLocks noChangeAspect="1"/>
          </p:cNvGrpSpPr>
          <p:nvPr/>
        </p:nvGrpSpPr>
        <p:grpSpPr bwMode="auto">
          <a:xfrm>
            <a:off x="7262573" y="2395728"/>
            <a:ext cx="4446827" cy="4462272"/>
            <a:chOff x="3838" y="2158"/>
            <a:chExt cx="576" cy="578"/>
          </a:xfrm>
          <a:solidFill>
            <a:schemeClr val="accent4"/>
          </a:solidFill>
        </p:grpSpPr>
        <p:sp>
          <p:nvSpPr>
            <p:cNvPr id="9" name="Freeform 20">
              <a:extLst>
                <a:ext uri="{FF2B5EF4-FFF2-40B4-BE49-F238E27FC236}">
                  <a16:creationId xmlns:a16="http://schemas.microsoft.com/office/drawing/2014/main" id="{C3D0420D-FA1E-4D17-A2CD-A8618A2753F7}"/>
                </a:ext>
              </a:extLst>
            </p:cNvPr>
            <p:cNvSpPr>
              <a:spLocks/>
            </p:cNvSpPr>
            <p:nvPr/>
          </p:nvSpPr>
          <p:spPr bwMode="auto">
            <a:xfrm>
              <a:off x="3838" y="2330"/>
              <a:ext cx="576" cy="233"/>
            </a:xfrm>
            <a:custGeom>
              <a:avLst/>
              <a:gdLst>
                <a:gd name="T0" fmla="*/ 240 w 240"/>
                <a:gd name="T1" fmla="*/ 52 h 97"/>
                <a:gd name="T2" fmla="*/ 240 w 240"/>
                <a:gd name="T3" fmla="*/ 46 h 97"/>
                <a:gd name="T4" fmla="*/ 238 w 240"/>
                <a:gd name="T5" fmla="*/ 43 h 97"/>
                <a:gd name="T6" fmla="*/ 198 w 240"/>
                <a:gd name="T7" fmla="*/ 3 h 97"/>
                <a:gd name="T8" fmla="*/ 187 w 240"/>
                <a:gd name="T9" fmla="*/ 3 h 97"/>
                <a:gd name="T10" fmla="*/ 187 w 240"/>
                <a:gd name="T11" fmla="*/ 15 h 97"/>
                <a:gd name="T12" fmla="*/ 213 w 240"/>
                <a:gd name="T13" fmla="*/ 41 h 97"/>
                <a:gd name="T14" fmla="*/ 8 w 240"/>
                <a:gd name="T15" fmla="*/ 41 h 97"/>
                <a:gd name="T16" fmla="*/ 0 w 240"/>
                <a:gd name="T17" fmla="*/ 49 h 97"/>
                <a:gd name="T18" fmla="*/ 8 w 240"/>
                <a:gd name="T19" fmla="*/ 57 h 97"/>
                <a:gd name="T20" fmla="*/ 213 w 240"/>
                <a:gd name="T21" fmla="*/ 57 h 97"/>
                <a:gd name="T22" fmla="*/ 187 w 240"/>
                <a:gd name="T23" fmla="*/ 83 h 97"/>
                <a:gd name="T24" fmla="*/ 187 w 240"/>
                <a:gd name="T25" fmla="*/ 95 h 97"/>
                <a:gd name="T26" fmla="*/ 192 w 240"/>
                <a:gd name="T27" fmla="*/ 97 h 97"/>
                <a:gd name="T28" fmla="*/ 198 w 240"/>
                <a:gd name="T29" fmla="*/ 95 h 97"/>
                <a:gd name="T30" fmla="*/ 238 w 240"/>
                <a:gd name="T31" fmla="*/ 55 h 97"/>
                <a:gd name="T32" fmla="*/ 240 w 240"/>
                <a:gd name="T33" fmla="*/ 5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97">
                  <a:moveTo>
                    <a:pt x="240" y="52"/>
                  </a:moveTo>
                  <a:cubicBezTo>
                    <a:pt x="240" y="50"/>
                    <a:pt x="240" y="48"/>
                    <a:pt x="240" y="46"/>
                  </a:cubicBezTo>
                  <a:cubicBezTo>
                    <a:pt x="239" y="45"/>
                    <a:pt x="239" y="44"/>
                    <a:pt x="238" y="43"/>
                  </a:cubicBezTo>
                  <a:cubicBezTo>
                    <a:pt x="198" y="3"/>
                    <a:pt x="198" y="3"/>
                    <a:pt x="198" y="3"/>
                  </a:cubicBezTo>
                  <a:cubicBezTo>
                    <a:pt x="195" y="0"/>
                    <a:pt x="190" y="0"/>
                    <a:pt x="187" y="3"/>
                  </a:cubicBezTo>
                  <a:cubicBezTo>
                    <a:pt x="183" y="7"/>
                    <a:pt x="183" y="12"/>
                    <a:pt x="187" y="15"/>
                  </a:cubicBezTo>
                  <a:cubicBezTo>
                    <a:pt x="213" y="41"/>
                    <a:pt x="213" y="41"/>
                    <a:pt x="213" y="41"/>
                  </a:cubicBezTo>
                  <a:cubicBezTo>
                    <a:pt x="8" y="41"/>
                    <a:pt x="8" y="41"/>
                    <a:pt x="8" y="41"/>
                  </a:cubicBezTo>
                  <a:cubicBezTo>
                    <a:pt x="4" y="41"/>
                    <a:pt x="0" y="45"/>
                    <a:pt x="0" y="49"/>
                  </a:cubicBezTo>
                  <a:cubicBezTo>
                    <a:pt x="0" y="53"/>
                    <a:pt x="4" y="57"/>
                    <a:pt x="8" y="57"/>
                  </a:cubicBezTo>
                  <a:cubicBezTo>
                    <a:pt x="213" y="57"/>
                    <a:pt x="213" y="57"/>
                    <a:pt x="213" y="57"/>
                  </a:cubicBezTo>
                  <a:cubicBezTo>
                    <a:pt x="187" y="83"/>
                    <a:pt x="187" y="83"/>
                    <a:pt x="187" y="83"/>
                  </a:cubicBezTo>
                  <a:cubicBezTo>
                    <a:pt x="183" y="87"/>
                    <a:pt x="183" y="92"/>
                    <a:pt x="187" y="95"/>
                  </a:cubicBezTo>
                  <a:cubicBezTo>
                    <a:pt x="188" y="96"/>
                    <a:pt x="190" y="97"/>
                    <a:pt x="192" y="97"/>
                  </a:cubicBezTo>
                  <a:cubicBezTo>
                    <a:pt x="194" y="97"/>
                    <a:pt x="196" y="96"/>
                    <a:pt x="198" y="95"/>
                  </a:cubicBezTo>
                  <a:cubicBezTo>
                    <a:pt x="238" y="55"/>
                    <a:pt x="238" y="55"/>
                    <a:pt x="238" y="55"/>
                  </a:cubicBezTo>
                  <a:cubicBezTo>
                    <a:pt x="239" y="54"/>
                    <a:pt x="239" y="53"/>
                    <a:pt x="24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1">
              <a:extLst>
                <a:ext uri="{FF2B5EF4-FFF2-40B4-BE49-F238E27FC236}">
                  <a16:creationId xmlns:a16="http://schemas.microsoft.com/office/drawing/2014/main" id="{BB4B899D-0690-47D8-BE45-DAAC6A32AF9D}"/>
                </a:ext>
              </a:extLst>
            </p:cNvPr>
            <p:cNvSpPr>
              <a:spLocks/>
            </p:cNvSpPr>
            <p:nvPr/>
          </p:nvSpPr>
          <p:spPr bwMode="auto">
            <a:xfrm>
              <a:off x="3838" y="2158"/>
              <a:ext cx="307" cy="232"/>
            </a:xfrm>
            <a:custGeom>
              <a:avLst/>
              <a:gdLst>
                <a:gd name="T0" fmla="*/ 8 w 128"/>
                <a:gd name="T1" fmla="*/ 57 h 97"/>
                <a:gd name="T2" fmla="*/ 101 w 128"/>
                <a:gd name="T3" fmla="*/ 57 h 97"/>
                <a:gd name="T4" fmla="*/ 75 w 128"/>
                <a:gd name="T5" fmla="*/ 83 h 97"/>
                <a:gd name="T6" fmla="*/ 75 w 128"/>
                <a:gd name="T7" fmla="*/ 95 h 97"/>
                <a:gd name="T8" fmla="*/ 80 w 128"/>
                <a:gd name="T9" fmla="*/ 97 h 97"/>
                <a:gd name="T10" fmla="*/ 86 w 128"/>
                <a:gd name="T11" fmla="*/ 95 h 97"/>
                <a:gd name="T12" fmla="*/ 126 w 128"/>
                <a:gd name="T13" fmla="*/ 55 h 97"/>
                <a:gd name="T14" fmla="*/ 128 w 128"/>
                <a:gd name="T15" fmla="*/ 52 h 97"/>
                <a:gd name="T16" fmla="*/ 128 w 128"/>
                <a:gd name="T17" fmla="*/ 46 h 97"/>
                <a:gd name="T18" fmla="*/ 126 w 128"/>
                <a:gd name="T19" fmla="*/ 43 h 97"/>
                <a:gd name="T20" fmla="*/ 86 w 128"/>
                <a:gd name="T21" fmla="*/ 3 h 97"/>
                <a:gd name="T22" fmla="*/ 75 w 128"/>
                <a:gd name="T23" fmla="*/ 3 h 97"/>
                <a:gd name="T24" fmla="*/ 75 w 128"/>
                <a:gd name="T25" fmla="*/ 15 h 97"/>
                <a:gd name="T26" fmla="*/ 101 w 128"/>
                <a:gd name="T27" fmla="*/ 41 h 97"/>
                <a:gd name="T28" fmla="*/ 8 w 128"/>
                <a:gd name="T29" fmla="*/ 41 h 97"/>
                <a:gd name="T30" fmla="*/ 0 w 128"/>
                <a:gd name="T31" fmla="*/ 49 h 97"/>
                <a:gd name="T32" fmla="*/ 8 w 128"/>
                <a:gd name="T33"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97">
                  <a:moveTo>
                    <a:pt x="8" y="57"/>
                  </a:moveTo>
                  <a:cubicBezTo>
                    <a:pt x="101" y="57"/>
                    <a:pt x="101" y="57"/>
                    <a:pt x="101" y="57"/>
                  </a:cubicBezTo>
                  <a:cubicBezTo>
                    <a:pt x="75" y="83"/>
                    <a:pt x="75" y="83"/>
                    <a:pt x="75" y="83"/>
                  </a:cubicBezTo>
                  <a:cubicBezTo>
                    <a:pt x="71" y="87"/>
                    <a:pt x="71" y="92"/>
                    <a:pt x="75" y="95"/>
                  </a:cubicBezTo>
                  <a:cubicBezTo>
                    <a:pt x="76" y="96"/>
                    <a:pt x="78" y="97"/>
                    <a:pt x="80" y="97"/>
                  </a:cubicBezTo>
                  <a:cubicBezTo>
                    <a:pt x="82" y="97"/>
                    <a:pt x="84" y="96"/>
                    <a:pt x="86" y="95"/>
                  </a:cubicBezTo>
                  <a:cubicBezTo>
                    <a:pt x="126" y="55"/>
                    <a:pt x="126" y="55"/>
                    <a:pt x="126" y="55"/>
                  </a:cubicBezTo>
                  <a:cubicBezTo>
                    <a:pt x="127" y="54"/>
                    <a:pt x="127" y="53"/>
                    <a:pt x="128" y="52"/>
                  </a:cubicBezTo>
                  <a:cubicBezTo>
                    <a:pt x="128" y="50"/>
                    <a:pt x="128" y="48"/>
                    <a:pt x="128" y="46"/>
                  </a:cubicBezTo>
                  <a:cubicBezTo>
                    <a:pt x="127" y="45"/>
                    <a:pt x="127" y="44"/>
                    <a:pt x="126" y="43"/>
                  </a:cubicBezTo>
                  <a:cubicBezTo>
                    <a:pt x="86" y="3"/>
                    <a:pt x="86" y="3"/>
                    <a:pt x="86" y="3"/>
                  </a:cubicBezTo>
                  <a:cubicBezTo>
                    <a:pt x="83" y="0"/>
                    <a:pt x="78" y="0"/>
                    <a:pt x="75" y="3"/>
                  </a:cubicBezTo>
                  <a:cubicBezTo>
                    <a:pt x="71" y="7"/>
                    <a:pt x="71" y="12"/>
                    <a:pt x="75" y="15"/>
                  </a:cubicBezTo>
                  <a:cubicBezTo>
                    <a:pt x="101" y="41"/>
                    <a:pt x="101" y="41"/>
                    <a:pt x="101" y="41"/>
                  </a:cubicBezTo>
                  <a:cubicBezTo>
                    <a:pt x="8" y="41"/>
                    <a:pt x="8" y="41"/>
                    <a:pt x="8" y="41"/>
                  </a:cubicBezTo>
                  <a:cubicBezTo>
                    <a:pt x="4" y="41"/>
                    <a:pt x="0" y="45"/>
                    <a:pt x="0" y="49"/>
                  </a:cubicBezTo>
                  <a:cubicBezTo>
                    <a:pt x="0" y="53"/>
                    <a:pt x="4" y="57"/>
                    <a:pt x="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
              <a:extLst>
                <a:ext uri="{FF2B5EF4-FFF2-40B4-BE49-F238E27FC236}">
                  <a16:creationId xmlns:a16="http://schemas.microsoft.com/office/drawing/2014/main" id="{066D931C-B03D-4CE5-A885-69448EF496BA}"/>
                </a:ext>
              </a:extLst>
            </p:cNvPr>
            <p:cNvSpPr>
              <a:spLocks/>
            </p:cNvSpPr>
            <p:nvPr/>
          </p:nvSpPr>
          <p:spPr bwMode="auto">
            <a:xfrm>
              <a:off x="3838" y="2503"/>
              <a:ext cx="403" cy="233"/>
            </a:xfrm>
            <a:custGeom>
              <a:avLst/>
              <a:gdLst>
                <a:gd name="T0" fmla="*/ 168 w 168"/>
                <a:gd name="T1" fmla="*/ 46 h 97"/>
                <a:gd name="T2" fmla="*/ 166 w 168"/>
                <a:gd name="T3" fmla="*/ 43 h 97"/>
                <a:gd name="T4" fmla="*/ 126 w 168"/>
                <a:gd name="T5" fmla="*/ 3 h 97"/>
                <a:gd name="T6" fmla="*/ 115 w 168"/>
                <a:gd name="T7" fmla="*/ 3 h 97"/>
                <a:gd name="T8" fmla="*/ 115 w 168"/>
                <a:gd name="T9" fmla="*/ 15 h 97"/>
                <a:gd name="T10" fmla="*/ 141 w 168"/>
                <a:gd name="T11" fmla="*/ 41 h 97"/>
                <a:gd name="T12" fmla="*/ 8 w 168"/>
                <a:gd name="T13" fmla="*/ 41 h 97"/>
                <a:gd name="T14" fmla="*/ 0 w 168"/>
                <a:gd name="T15" fmla="*/ 49 h 97"/>
                <a:gd name="T16" fmla="*/ 8 w 168"/>
                <a:gd name="T17" fmla="*/ 57 h 97"/>
                <a:gd name="T18" fmla="*/ 141 w 168"/>
                <a:gd name="T19" fmla="*/ 57 h 97"/>
                <a:gd name="T20" fmla="*/ 115 w 168"/>
                <a:gd name="T21" fmla="*/ 83 h 97"/>
                <a:gd name="T22" fmla="*/ 115 w 168"/>
                <a:gd name="T23" fmla="*/ 95 h 97"/>
                <a:gd name="T24" fmla="*/ 120 w 168"/>
                <a:gd name="T25" fmla="*/ 97 h 97"/>
                <a:gd name="T26" fmla="*/ 126 w 168"/>
                <a:gd name="T27" fmla="*/ 95 h 97"/>
                <a:gd name="T28" fmla="*/ 166 w 168"/>
                <a:gd name="T29" fmla="*/ 55 h 97"/>
                <a:gd name="T30" fmla="*/ 168 w 168"/>
                <a:gd name="T31" fmla="*/ 52 h 97"/>
                <a:gd name="T32" fmla="*/ 168 w 168"/>
                <a:gd name="T33"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97">
                  <a:moveTo>
                    <a:pt x="168" y="46"/>
                  </a:moveTo>
                  <a:cubicBezTo>
                    <a:pt x="167" y="45"/>
                    <a:pt x="167" y="44"/>
                    <a:pt x="166" y="43"/>
                  </a:cubicBezTo>
                  <a:cubicBezTo>
                    <a:pt x="126" y="3"/>
                    <a:pt x="126" y="3"/>
                    <a:pt x="126" y="3"/>
                  </a:cubicBezTo>
                  <a:cubicBezTo>
                    <a:pt x="123" y="0"/>
                    <a:pt x="118" y="0"/>
                    <a:pt x="115" y="3"/>
                  </a:cubicBezTo>
                  <a:cubicBezTo>
                    <a:pt x="111" y="7"/>
                    <a:pt x="111" y="12"/>
                    <a:pt x="115" y="15"/>
                  </a:cubicBezTo>
                  <a:cubicBezTo>
                    <a:pt x="141" y="41"/>
                    <a:pt x="141" y="41"/>
                    <a:pt x="141" y="41"/>
                  </a:cubicBezTo>
                  <a:cubicBezTo>
                    <a:pt x="8" y="41"/>
                    <a:pt x="8" y="41"/>
                    <a:pt x="8" y="41"/>
                  </a:cubicBezTo>
                  <a:cubicBezTo>
                    <a:pt x="4" y="41"/>
                    <a:pt x="0" y="45"/>
                    <a:pt x="0" y="49"/>
                  </a:cubicBezTo>
                  <a:cubicBezTo>
                    <a:pt x="0" y="53"/>
                    <a:pt x="4" y="57"/>
                    <a:pt x="8" y="57"/>
                  </a:cubicBezTo>
                  <a:cubicBezTo>
                    <a:pt x="141" y="57"/>
                    <a:pt x="141" y="57"/>
                    <a:pt x="141" y="57"/>
                  </a:cubicBezTo>
                  <a:cubicBezTo>
                    <a:pt x="115" y="83"/>
                    <a:pt x="115" y="83"/>
                    <a:pt x="115" y="83"/>
                  </a:cubicBezTo>
                  <a:cubicBezTo>
                    <a:pt x="111" y="87"/>
                    <a:pt x="111" y="92"/>
                    <a:pt x="115" y="95"/>
                  </a:cubicBezTo>
                  <a:cubicBezTo>
                    <a:pt x="116" y="96"/>
                    <a:pt x="118" y="97"/>
                    <a:pt x="120" y="97"/>
                  </a:cubicBezTo>
                  <a:cubicBezTo>
                    <a:pt x="122" y="97"/>
                    <a:pt x="124" y="96"/>
                    <a:pt x="126" y="95"/>
                  </a:cubicBezTo>
                  <a:cubicBezTo>
                    <a:pt x="166" y="55"/>
                    <a:pt x="166" y="55"/>
                    <a:pt x="166" y="55"/>
                  </a:cubicBezTo>
                  <a:cubicBezTo>
                    <a:pt x="167" y="54"/>
                    <a:pt x="167" y="53"/>
                    <a:pt x="168" y="52"/>
                  </a:cubicBezTo>
                  <a:cubicBezTo>
                    <a:pt x="168" y="50"/>
                    <a:pt x="168" y="48"/>
                    <a:pt x="16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62468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85DF4-C9F9-136E-43C9-1081A334526D}"/>
              </a:ext>
            </a:extLst>
          </p:cNvPr>
          <p:cNvSpPr>
            <a:spLocks noGrp="1"/>
          </p:cNvSpPr>
          <p:nvPr>
            <p:ph type="title"/>
          </p:nvPr>
        </p:nvSpPr>
        <p:spPr>
          <a:xfrm>
            <a:off x="482600" y="358774"/>
            <a:ext cx="8308600" cy="759812"/>
          </a:xfrm>
        </p:spPr>
        <p:txBody>
          <a:bodyPr/>
          <a:lstStyle/>
          <a:p>
            <a:r>
              <a:rPr lang="en-US" dirty="0"/>
              <a:t>Grupo LARG</a:t>
            </a:r>
          </a:p>
        </p:txBody>
      </p:sp>
      <p:sp>
        <p:nvSpPr>
          <p:cNvPr id="4" name="TextBox 3">
            <a:extLst>
              <a:ext uri="{FF2B5EF4-FFF2-40B4-BE49-F238E27FC236}">
                <a16:creationId xmlns:a16="http://schemas.microsoft.com/office/drawing/2014/main" id="{CF76A1F2-4B3F-53FC-BEA6-FF7BAF9DE5C8}"/>
              </a:ext>
            </a:extLst>
          </p:cNvPr>
          <p:cNvSpPr txBox="1"/>
          <p:nvPr/>
        </p:nvSpPr>
        <p:spPr>
          <a:xfrm>
            <a:off x="612560" y="1740957"/>
            <a:ext cx="11034944" cy="553998"/>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solidFill>
                  <a:schemeClr val="bg1"/>
                </a:solidFill>
              </a:rPr>
              <a:t>En </a:t>
            </a:r>
            <a:r>
              <a:rPr lang="en-US" dirty="0" err="1">
                <a:solidFill>
                  <a:schemeClr val="bg1"/>
                </a:solidFill>
              </a:rPr>
              <a:t>estos</a:t>
            </a:r>
            <a:r>
              <a:rPr lang="en-US" dirty="0">
                <a:solidFill>
                  <a:schemeClr val="bg1"/>
                </a:solidFill>
              </a:rPr>
              <a:t> </a:t>
            </a:r>
            <a:r>
              <a:rPr lang="en-US" dirty="0" err="1">
                <a:solidFill>
                  <a:schemeClr val="bg1"/>
                </a:solidFill>
              </a:rPr>
              <a:t>momentos</a:t>
            </a:r>
            <a:r>
              <a:rPr lang="en-US" dirty="0">
                <a:solidFill>
                  <a:schemeClr val="bg1"/>
                </a:solidFill>
              </a:rPr>
              <a:t> de </a:t>
            </a:r>
            <a:r>
              <a:rPr lang="en-US" dirty="0" err="1">
                <a:solidFill>
                  <a:schemeClr val="bg1"/>
                </a:solidFill>
              </a:rPr>
              <a:t>inseguridad</a:t>
            </a:r>
            <a:r>
              <a:rPr lang="en-US" dirty="0">
                <a:solidFill>
                  <a:schemeClr val="bg1"/>
                </a:solidFill>
              </a:rPr>
              <a:t>, es </a:t>
            </a:r>
            <a:r>
              <a:rPr lang="en-US" dirty="0" err="1">
                <a:solidFill>
                  <a:schemeClr val="bg1"/>
                </a:solidFill>
              </a:rPr>
              <a:t>importante</a:t>
            </a:r>
            <a:r>
              <a:rPr lang="en-US" dirty="0">
                <a:solidFill>
                  <a:schemeClr val="bg1"/>
                </a:solidFill>
              </a:rPr>
              <a:t> que </a:t>
            </a:r>
            <a:r>
              <a:rPr lang="en-US" dirty="0" err="1">
                <a:solidFill>
                  <a:schemeClr val="bg1"/>
                </a:solidFill>
              </a:rPr>
              <a:t>el</a:t>
            </a:r>
            <a:r>
              <a:rPr lang="en-US" dirty="0">
                <a:solidFill>
                  <a:schemeClr val="bg1"/>
                </a:solidFill>
              </a:rPr>
              <a:t> sector </a:t>
            </a:r>
            <a:r>
              <a:rPr lang="en-US" dirty="0" err="1">
                <a:solidFill>
                  <a:schemeClr val="bg1"/>
                </a:solidFill>
              </a:rPr>
              <a:t>Cooperativo</a:t>
            </a:r>
            <a:r>
              <a:rPr lang="en-US" dirty="0">
                <a:solidFill>
                  <a:schemeClr val="bg1"/>
                </a:solidFill>
              </a:rPr>
              <a:t> y </a:t>
            </a:r>
            <a:r>
              <a:rPr lang="en-US" dirty="0" err="1">
                <a:solidFill>
                  <a:schemeClr val="bg1"/>
                </a:solidFill>
              </a:rPr>
              <a:t>Mutuo</a:t>
            </a:r>
            <a:r>
              <a:rPr lang="en-US" dirty="0">
                <a:solidFill>
                  <a:schemeClr val="bg1"/>
                </a:solidFill>
              </a:rPr>
              <a:t> </a:t>
            </a:r>
            <a:r>
              <a:rPr lang="en-US" dirty="0" err="1">
                <a:solidFill>
                  <a:schemeClr val="bg1"/>
                </a:solidFill>
              </a:rPr>
              <a:t>trabaje</a:t>
            </a:r>
            <a:r>
              <a:rPr lang="en-US" dirty="0">
                <a:solidFill>
                  <a:schemeClr val="bg1"/>
                </a:solidFill>
              </a:rPr>
              <a:t> mas de la mano. Se </a:t>
            </a:r>
            <a:r>
              <a:rPr lang="en-US" dirty="0" err="1">
                <a:solidFill>
                  <a:schemeClr val="bg1"/>
                </a:solidFill>
              </a:rPr>
              <a:t>estara</a:t>
            </a:r>
            <a:r>
              <a:rPr lang="en-US" dirty="0">
                <a:solidFill>
                  <a:schemeClr val="bg1"/>
                </a:solidFill>
              </a:rPr>
              <a:t> </a:t>
            </a:r>
            <a:r>
              <a:rPr lang="en-US" dirty="0" err="1">
                <a:solidFill>
                  <a:schemeClr val="bg1"/>
                </a:solidFill>
              </a:rPr>
              <a:t>discutiendo</a:t>
            </a:r>
            <a:r>
              <a:rPr lang="en-US" dirty="0">
                <a:solidFill>
                  <a:schemeClr val="bg1"/>
                </a:solidFill>
              </a:rPr>
              <a:t> </a:t>
            </a:r>
            <a:r>
              <a:rPr lang="en-US" dirty="0" err="1">
                <a:solidFill>
                  <a:schemeClr val="bg1"/>
                </a:solidFill>
              </a:rPr>
              <a:t>este</a:t>
            </a:r>
            <a:r>
              <a:rPr lang="en-US" dirty="0">
                <a:solidFill>
                  <a:schemeClr val="bg1"/>
                </a:solidFill>
              </a:rPr>
              <a:t> </a:t>
            </a:r>
            <a:r>
              <a:rPr lang="en-US" dirty="0" err="1">
                <a:solidFill>
                  <a:schemeClr val="bg1"/>
                </a:solidFill>
              </a:rPr>
              <a:t>tema</a:t>
            </a:r>
            <a:r>
              <a:rPr lang="en-US" dirty="0">
                <a:solidFill>
                  <a:schemeClr val="bg1"/>
                </a:solidFill>
              </a:rPr>
              <a:t> </a:t>
            </a:r>
            <a:r>
              <a:rPr lang="en-US" dirty="0" err="1">
                <a:solidFill>
                  <a:schemeClr val="bg1"/>
                </a:solidFill>
              </a:rPr>
              <a:t>en</a:t>
            </a:r>
            <a:r>
              <a:rPr lang="en-US" dirty="0">
                <a:solidFill>
                  <a:schemeClr val="bg1"/>
                </a:solidFill>
              </a:rPr>
              <a:t> la </a:t>
            </a:r>
            <a:r>
              <a:rPr lang="en-US" dirty="0" err="1">
                <a:solidFill>
                  <a:schemeClr val="bg1"/>
                </a:solidFill>
              </a:rPr>
              <a:t>conferencia</a:t>
            </a:r>
            <a:r>
              <a:rPr lang="en-US" dirty="0">
                <a:solidFill>
                  <a:schemeClr val="bg1"/>
                </a:solidFill>
              </a:rPr>
              <a:t> Bi-</a:t>
            </a:r>
            <a:r>
              <a:rPr lang="en-US" dirty="0" err="1">
                <a:solidFill>
                  <a:schemeClr val="bg1"/>
                </a:solidFill>
              </a:rPr>
              <a:t>anual</a:t>
            </a:r>
            <a:r>
              <a:rPr lang="en-US" dirty="0">
                <a:solidFill>
                  <a:schemeClr val="bg1"/>
                </a:solidFill>
              </a:rPr>
              <a:t> de Buenos Aires. </a:t>
            </a:r>
          </a:p>
        </p:txBody>
      </p:sp>
      <p:sp>
        <p:nvSpPr>
          <p:cNvPr id="5" name="TextBox 4">
            <a:extLst>
              <a:ext uri="{FF2B5EF4-FFF2-40B4-BE49-F238E27FC236}">
                <a16:creationId xmlns:a16="http://schemas.microsoft.com/office/drawing/2014/main" id="{6B4088B5-0A5F-1672-A5F3-741231412554}"/>
              </a:ext>
            </a:extLst>
          </p:cNvPr>
          <p:cNvSpPr txBox="1"/>
          <p:nvPr/>
        </p:nvSpPr>
        <p:spPr>
          <a:xfrm>
            <a:off x="578528" y="2744290"/>
            <a:ext cx="11034944" cy="276999"/>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err="1">
                <a:solidFill>
                  <a:schemeClr val="bg1"/>
                </a:solidFill>
              </a:rPr>
              <a:t>Repetimos</a:t>
            </a:r>
            <a:r>
              <a:rPr lang="en-US" dirty="0">
                <a:solidFill>
                  <a:schemeClr val="bg1"/>
                </a:solidFill>
              </a:rPr>
              <a:t>, que </a:t>
            </a:r>
            <a:r>
              <a:rPr lang="en-US" dirty="0" err="1">
                <a:solidFill>
                  <a:schemeClr val="bg1"/>
                </a:solidFill>
              </a:rPr>
              <a:t>el</a:t>
            </a:r>
            <a:r>
              <a:rPr lang="en-US" dirty="0">
                <a:solidFill>
                  <a:schemeClr val="bg1"/>
                </a:solidFill>
              </a:rPr>
              <a:t> </a:t>
            </a:r>
            <a:r>
              <a:rPr lang="en-US" dirty="0" err="1">
                <a:solidFill>
                  <a:schemeClr val="bg1"/>
                </a:solidFill>
              </a:rPr>
              <a:t>movimiento</a:t>
            </a:r>
            <a:r>
              <a:rPr lang="en-US" dirty="0">
                <a:solidFill>
                  <a:schemeClr val="bg1"/>
                </a:solidFill>
              </a:rPr>
              <a:t> </a:t>
            </a:r>
            <a:r>
              <a:rPr lang="en-US" dirty="0" err="1">
                <a:solidFill>
                  <a:schemeClr val="bg1"/>
                </a:solidFill>
              </a:rPr>
              <a:t>debe</a:t>
            </a:r>
            <a:r>
              <a:rPr lang="en-US" dirty="0">
                <a:solidFill>
                  <a:schemeClr val="bg1"/>
                </a:solidFill>
              </a:rPr>
              <a:t> </a:t>
            </a:r>
            <a:r>
              <a:rPr lang="en-US" dirty="0" err="1">
                <a:solidFill>
                  <a:schemeClr val="bg1"/>
                </a:solidFill>
              </a:rPr>
              <a:t>apoyar</a:t>
            </a:r>
            <a:r>
              <a:rPr lang="en-US" dirty="0">
                <a:solidFill>
                  <a:schemeClr val="bg1"/>
                </a:solidFill>
              </a:rPr>
              <a:t> a </a:t>
            </a:r>
            <a:r>
              <a:rPr lang="en-US" dirty="0" err="1">
                <a:solidFill>
                  <a:schemeClr val="bg1"/>
                </a:solidFill>
              </a:rPr>
              <a:t>su</a:t>
            </a:r>
            <a:r>
              <a:rPr lang="en-US" dirty="0">
                <a:solidFill>
                  <a:schemeClr val="bg1"/>
                </a:solidFill>
              </a:rPr>
              <a:t> </a:t>
            </a:r>
            <a:r>
              <a:rPr lang="en-US" dirty="0" err="1">
                <a:solidFill>
                  <a:schemeClr val="bg1"/>
                </a:solidFill>
              </a:rPr>
              <a:t>compania</a:t>
            </a:r>
            <a:r>
              <a:rPr lang="en-US" dirty="0">
                <a:solidFill>
                  <a:schemeClr val="bg1"/>
                </a:solidFill>
              </a:rPr>
              <a:t> </a:t>
            </a:r>
            <a:r>
              <a:rPr lang="en-US" dirty="0" err="1">
                <a:solidFill>
                  <a:schemeClr val="bg1"/>
                </a:solidFill>
              </a:rPr>
              <a:t>aseguradora</a:t>
            </a:r>
            <a:r>
              <a:rPr lang="en-US" dirty="0">
                <a:solidFill>
                  <a:schemeClr val="bg1"/>
                </a:solidFill>
              </a:rPr>
              <a:t> local !!</a:t>
            </a:r>
          </a:p>
        </p:txBody>
      </p:sp>
      <p:sp>
        <p:nvSpPr>
          <p:cNvPr id="6" name="TextBox 5">
            <a:extLst>
              <a:ext uri="{FF2B5EF4-FFF2-40B4-BE49-F238E27FC236}">
                <a16:creationId xmlns:a16="http://schemas.microsoft.com/office/drawing/2014/main" id="{ED2D9087-A180-1261-1B98-A9320F614424}"/>
              </a:ext>
            </a:extLst>
          </p:cNvPr>
          <p:cNvSpPr txBox="1"/>
          <p:nvPr/>
        </p:nvSpPr>
        <p:spPr>
          <a:xfrm>
            <a:off x="612560" y="3477321"/>
            <a:ext cx="11034944" cy="553998"/>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solidFill>
                  <a:schemeClr val="bg1"/>
                </a:solidFill>
              </a:rPr>
              <a:t>Hay que </a:t>
            </a:r>
            <a:r>
              <a:rPr lang="en-US" dirty="0" err="1">
                <a:solidFill>
                  <a:schemeClr val="bg1"/>
                </a:solidFill>
              </a:rPr>
              <a:t>seguir</a:t>
            </a:r>
            <a:r>
              <a:rPr lang="en-US" dirty="0">
                <a:solidFill>
                  <a:schemeClr val="bg1"/>
                </a:solidFill>
              </a:rPr>
              <a:t> </a:t>
            </a:r>
            <a:r>
              <a:rPr lang="en-US" dirty="0" err="1">
                <a:solidFill>
                  <a:schemeClr val="bg1"/>
                </a:solidFill>
              </a:rPr>
              <a:t>inovando</a:t>
            </a:r>
            <a:r>
              <a:rPr lang="en-US" dirty="0">
                <a:solidFill>
                  <a:schemeClr val="bg1"/>
                </a:solidFill>
              </a:rPr>
              <a:t> y </a:t>
            </a:r>
            <a:r>
              <a:rPr lang="en-US" dirty="0" err="1">
                <a:solidFill>
                  <a:schemeClr val="bg1"/>
                </a:solidFill>
              </a:rPr>
              <a:t>buscar</a:t>
            </a:r>
            <a:r>
              <a:rPr lang="en-US" dirty="0">
                <a:solidFill>
                  <a:schemeClr val="bg1"/>
                </a:solidFill>
              </a:rPr>
              <a:t> </a:t>
            </a:r>
            <a:r>
              <a:rPr lang="en-US" dirty="0" err="1">
                <a:solidFill>
                  <a:schemeClr val="bg1"/>
                </a:solidFill>
              </a:rPr>
              <a:t>nuevos</a:t>
            </a:r>
            <a:r>
              <a:rPr lang="en-US" dirty="0">
                <a:solidFill>
                  <a:schemeClr val="bg1"/>
                </a:solidFill>
              </a:rPr>
              <a:t> </a:t>
            </a:r>
            <a:r>
              <a:rPr lang="en-US" dirty="0" err="1">
                <a:solidFill>
                  <a:schemeClr val="bg1"/>
                </a:solidFill>
              </a:rPr>
              <a:t>productos</a:t>
            </a:r>
            <a:r>
              <a:rPr lang="en-US" dirty="0">
                <a:solidFill>
                  <a:schemeClr val="bg1"/>
                </a:solidFill>
              </a:rPr>
              <a:t> para </a:t>
            </a:r>
            <a:r>
              <a:rPr lang="en-US" dirty="0" err="1">
                <a:solidFill>
                  <a:schemeClr val="bg1"/>
                </a:solidFill>
              </a:rPr>
              <a:t>ofrecer</a:t>
            </a:r>
            <a:r>
              <a:rPr lang="en-US" dirty="0">
                <a:solidFill>
                  <a:schemeClr val="bg1"/>
                </a:solidFill>
              </a:rPr>
              <a:t> a </a:t>
            </a:r>
            <a:r>
              <a:rPr lang="en-US" dirty="0" err="1">
                <a:solidFill>
                  <a:schemeClr val="bg1"/>
                </a:solidFill>
              </a:rPr>
              <a:t>los</a:t>
            </a:r>
            <a:r>
              <a:rPr lang="en-US" dirty="0">
                <a:solidFill>
                  <a:schemeClr val="bg1"/>
                </a:solidFill>
              </a:rPr>
              <a:t> </a:t>
            </a:r>
            <a:r>
              <a:rPr lang="en-US" dirty="0" err="1">
                <a:solidFill>
                  <a:schemeClr val="bg1"/>
                </a:solidFill>
              </a:rPr>
              <a:t>socios</a:t>
            </a:r>
            <a:r>
              <a:rPr lang="en-US" dirty="0">
                <a:solidFill>
                  <a:schemeClr val="bg1"/>
                </a:solidFill>
              </a:rPr>
              <a:t> </a:t>
            </a:r>
            <a:r>
              <a:rPr lang="en-US" dirty="0" err="1">
                <a:solidFill>
                  <a:schemeClr val="bg1"/>
                </a:solidFill>
              </a:rPr>
              <a:t>cooperativos</a:t>
            </a:r>
            <a:r>
              <a:rPr lang="en-US" dirty="0">
                <a:solidFill>
                  <a:schemeClr val="bg1"/>
                </a:solidFill>
              </a:rPr>
              <a:t> y </a:t>
            </a:r>
            <a:r>
              <a:rPr lang="en-US" dirty="0" err="1">
                <a:solidFill>
                  <a:schemeClr val="bg1"/>
                </a:solidFill>
              </a:rPr>
              <a:t>el</a:t>
            </a:r>
            <a:r>
              <a:rPr lang="en-US" dirty="0">
                <a:solidFill>
                  <a:schemeClr val="bg1"/>
                </a:solidFill>
              </a:rPr>
              <a:t> </a:t>
            </a:r>
            <a:r>
              <a:rPr lang="en-US" dirty="0" err="1">
                <a:solidFill>
                  <a:schemeClr val="bg1"/>
                </a:solidFill>
              </a:rPr>
              <a:t>publico</a:t>
            </a:r>
            <a:r>
              <a:rPr lang="en-US" dirty="0">
                <a:solidFill>
                  <a:schemeClr val="bg1"/>
                </a:solidFill>
              </a:rPr>
              <a:t>. Los </a:t>
            </a:r>
            <a:r>
              <a:rPr lang="en-US" dirty="0" err="1">
                <a:solidFill>
                  <a:schemeClr val="bg1"/>
                </a:solidFill>
              </a:rPr>
              <a:t>socios</a:t>
            </a:r>
            <a:r>
              <a:rPr lang="en-US" dirty="0">
                <a:solidFill>
                  <a:schemeClr val="bg1"/>
                </a:solidFill>
              </a:rPr>
              <a:t> de la ICMIF </a:t>
            </a:r>
            <a:r>
              <a:rPr lang="en-US" dirty="0" err="1">
                <a:solidFill>
                  <a:schemeClr val="bg1"/>
                </a:solidFill>
              </a:rPr>
              <a:t>nos</a:t>
            </a:r>
            <a:r>
              <a:rPr lang="en-US" dirty="0">
                <a:solidFill>
                  <a:schemeClr val="bg1"/>
                </a:solidFill>
              </a:rPr>
              <a:t> </a:t>
            </a:r>
            <a:r>
              <a:rPr lang="en-US" dirty="0" err="1">
                <a:solidFill>
                  <a:schemeClr val="bg1"/>
                </a:solidFill>
              </a:rPr>
              <a:t>pueden</a:t>
            </a:r>
            <a:r>
              <a:rPr lang="en-US" dirty="0">
                <a:solidFill>
                  <a:schemeClr val="bg1"/>
                </a:solidFill>
              </a:rPr>
              <a:t> </a:t>
            </a:r>
            <a:r>
              <a:rPr lang="en-US" dirty="0" err="1">
                <a:solidFill>
                  <a:schemeClr val="bg1"/>
                </a:solidFill>
              </a:rPr>
              <a:t>ayudar</a:t>
            </a:r>
            <a:r>
              <a:rPr lang="en-US" dirty="0">
                <a:solidFill>
                  <a:schemeClr val="bg1"/>
                </a:solidFill>
              </a:rPr>
              <a:t>.</a:t>
            </a:r>
          </a:p>
        </p:txBody>
      </p:sp>
      <p:sp>
        <p:nvSpPr>
          <p:cNvPr id="7" name="TextBox 6">
            <a:extLst>
              <a:ext uri="{FF2B5EF4-FFF2-40B4-BE49-F238E27FC236}">
                <a16:creationId xmlns:a16="http://schemas.microsoft.com/office/drawing/2014/main" id="{D0142A7A-B52D-A7DD-F1F6-20382367B25F}"/>
              </a:ext>
            </a:extLst>
          </p:cNvPr>
          <p:cNvSpPr txBox="1"/>
          <p:nvPr/>
        </p:nvSpPr>
        <p:spPr>
          <a:xfrm>
            <a:off x="612560" y="4525976"/>
            <a:ext cx="11034944" cy="276999"/>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err="1">
                <a:solidFill>
                  <a:schemeClr val="bg1"/>
                </a:solidFill>
              </a:rPr>
              <a:t>Invertir</a:t>
            </a:r>
            <a:r>
              <a:rPr lang="en-US" dirty="0">
                <a:solidFill>
                  <a:schemeClr val="bg1"/>
                </a:solidFill>
              </a:rPr>
              <a:t> </a:t>
            </a:r>
            <a:r>
              <a:rPr lang="en-US" dirty="0" err="1">
                <a:solidFill>
                  <a:schemeClr val="bg1"/>
                </a:solidFill>
              </a:rPr>
              <a:t>en</a:t>
            </a:r>
            <a:r>
              <a:rPr lang="en-US" dirty="0">
                <a:solidFill>
                  <a:schemeClr val="bg1"/>
                </a:solidFill>
              </a:rPr>
              <a:t> </a:t>
            </a:r>
            <a:r>
              <a:rPr lang="en-US" dirty="0" err="1">
                <a:solidFill>
                  <a:schemeClr val="bg1"/>
                </a:solidFill>
              </a:rPr>
              <a:t>tecnologia</a:t>
            </a:r>
            <a:r>
              <a:rPr lang="en-US" dirty="0">
                <a:solidFill>
                  <a:schemeClr val="bg1"/>
                </a:solidFill>
              </a:rPr>
              <a:t> (</a:t>
            </a:r>
            <a:r>
              <a:rPr lang="en-US" dirty="0" err="1">
                <a:solidFill>
                  <a:schemeClr val="bg1"/>
                </a:solidFill>
              </a:rPr>
              <a:t>estar</a:t>
            </a:r>
            <a:r>
              <a:rPr lang="en-US" dirty="0">
                <a:solidFill>
                  <a:schemeClr val="bg1"/>
                </a:solidFill>
              </a:rPr>
              <a:t> al </a:t>
            </a:r>
            <a:r>
              <a:rPr lang="en-US" dirty="0" err="1">
                <a:solidFill>
                  <a:schemeClr val="bg1"/>
                </a:solidFill>
              </a:rPr>
              <a:t>frente</a:t>
            </a:r>
            <a:r>
              <a:rPr lang="en-US" dirty="0">
                <a:solidFill>
                  <a:schemeClr val="bg1"/>
                </a:solidFill>
              </a:rPr>
              <a:t> de </a:t>
            </a:r>
            <a:r>
              <a:rPr lang="en-US" dirty="0" err="1">
                <a:solidFill>
                  <a:schemeClr val="bg1"/>
                </a:solidFill>
              </a:rPr>
              <a:t>los</a:t>
            </a:r>
            <a:r>
              <a:rPr lang="en-US" dirty="0">
                <a:solidFill>
                  <a:schemeClr val="bg1"/>
                </a:solidFill>
              </a:rPr>
              <a:t> </a:t>
            </a:r>
            <a:r>
              <a:rPr lang="en-US" dirty="0" err="1">
                <a:solidFill>
                  <a:schemeClr val="bg1"/>
                </a:solidFill>
              </a:rPr>
              <a:t>cambios</a:t>
            </a:r>
            <a:r>
              <a:rPr lang="en-US" dirty="0">
                <a:solidFill>
                  <a:schemeClr val="bg1"/>
                </a:solidFill>
              </a:rPr>
              <a:t>)</a:t>
            </a:r>
          </a:p>
        </p:txBody>
      </p:sp>
    </p:spTree>
    <p:extLst>
      <p:ext uri="{BB962C8B-B14F-4D97-AF65-F5344CB8AC3E}">
        <p14:creationId xmlns:p14="http://schemas.microsoft.com/office/powerpoint/2010/main" val="72413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BCAF7-DC95-E40C-AC3F-78DD237499FD}"/>
              </a:ext>
            </a:extLst>
          </p:cNvPr>
          <p:cNvSpPr>
            <a:spLocks noGrp="1"/>
          </p:cNvSpPr>
          <p:nvPr>
            <p:ph type="title"/>
          </p:nvPr>
        </p:nvSpPr>
        <p:spPr/>
        <p:txBody>
          <a:bodyPr/>
          <a:lstStyle/>
          <a:p>
            <a:r>
              <a:rPr lang="en-US" dirty="0"/>
              <a:t>Guy Carpenter - t</a:t>
            </a:r>
            <a:r>
              <a:rPr lang="es-ES" dirty="0" err="1"/>
              <a:t>emas</a:t>
            </a:r>
            <a:r>
              <a:rPr lang="es-ES" dirty="0"/>
              <a:t> de otoño de 2024</a:t>
            </a:r>
            <a:endParaRPr lang="en-US" dirty="0"/>
          </a:p>
        </p:txBody>
      </p:sp>
      <p:sp>
        <p:nvSpPr>
          <p:cNvPr id="7" name="Slide Number Placeholder 3">
            <a:extLst>
              <a:ext uri="{FF2B5EF4-FFF2-40B4-BE49-F238E27FC236}">
                <a16:creationId xmlns:a16="http://schemas.microsoft.com/office/drawing/2014/main" id="{E7955E93-3796-ABA9-99E5-5211D2003A9D}"/>
              </a:ext>
            </a:extLst>
          </p:cNvPr>
          <p:cNvSpPr>
            <a:spLocks noGrp="1"/>
          </p:cNvSpPr>
          <p:nvPr>
            <p:ph type="sldNum" sz="quarter" idx="10"/>
          </p:nvPr>
        </p:nvSpPr>
        <p:spPr/>
        <p:txBody>
          <a:bodyPr/>
          <a:lstStyle/>
          <a:p>
            <a:pPr algn="r"/>
            <a:fld id="{DF66040D-6F20-4F4B-8995-856BEECD84BE}" type="slidenum">
              <a:rPr lang="en-US" smtClean="0"/>
              <a:pPr algn="r"/>
              <a:t>19</a:t>
            </a:fld>
            <a:endParaRPr lang="en-US"/>
          </a:p>
        </p:txBody>
      </p:sp>
      <p:sp>
        <p:nvSpPr>
          <p:cNvPr id="10" name="Text Placeholder 9">
            <a:extLst>
              <a:ext uri="{FF2B5EF4-FFF2-40B4-BE49-F238E27FC236}">
                <a16:creationId xmlns:a16="http://schemas.microsoft.com/office/drawing/2014/main" id="{01F47C0B-A482-EB27-5255-970A0A9830F6}"/>
              </a:ext>
            </a:extLst>
          </p:cNvPr>
          <p:cNvSpPr>
            <a:spLocks noGrp="1"/>
          </p:cNvSpPr>
          <p:nvPr>
            <p:ph type="body" sz="quarter" idx="12"/>
          </p:nvPr>
        </p:nvSpPr>
        <p:spPr/>
        <p:txBody>
          <a:bodyPr/>
          <a:lstStyle/>
          <a:p>
            <a:r>
              <a:rPr lang="es-ES" dirty="0"/>
              <a:t>Una nueva era de riesgo – Una nueva era de innovación</a:t>
            </a:r>
            <a:endParaRPr lang="en-US" dirty="0"/>
          </a:p>
        </p:txBody>
      </p:sp>
      <p:pic>
        <p:nvPicPr>
          <p:cNvPr id="4" name="Picture 3">
            <a:extLst>
              <a:ext uri="{FF2B5EF4-FFF2-40B4-BE49-F238E27FC236}">
                <a16:creationId xmlns:a16="http://schemas.microsoft.com/office/drawing/2014/main" id="{8AF97685-F071-4E07-91E9-0445CF58861B}"/>
              </a:ext>
            </a:extLst>
          </p:cNvPr>
          <p:cNvPicPr>
            <a:picLocks noChangeAspect="1"/>
          </p:cNvPicPr>
          <p:nvPr/>
        </p:nvPicPr>
        <p:blipFill>
          <a:blip r:embed="rId2"/>
          <a:srcRect/>
          <a:stretch/>
        </p:blipFill>
        <p:spPr>
          <a:xfrm>
            <a:off x="482798" y="1619034"/>
            <a:ext cx="2675912" cy="3462944"/>
          </a:xfrm>
          <a:prstGeom prst="rect">
            <a:avLst/>
          </a:prstGeom>
        </p:spPr>
      </p:pic>
      <p:pic>
        <p:nvPicPr>
          <p:cNvPr id="5" name="Picture 4">
            <a:extLst>
              <a:ext uri="{FF2B5EF4-FFF2-40B4-BE49-F238E27FC236}">
                <a16:creationId xmlns:a16="http://schemas.microsoft.com/office/drawing/2014/main" id="{3F9BA1E4-027D-6DDC-6C53-95472FDB670E}"/>
              </a:ext>
            </a:extLst>
          </p:cNvPr>
          <p:cNvPicPr>
            <a:picLocks noChangeAspect="1"/>
          </p:cNvPicPr>
          <p:nvPr/>
        </p:nvPicPr>
        <p:blipFill>
          <a:blip r:embed="rId3"/>
          <a:srcRect/>
          <a:stretch/>
        </p:blipFill>
        <p:spPr>
          <a:xfrm>
            <a:off x="3333231" y="1618778"/>
            <a:ext cx="2676306" cy="3463456"/>
          </a:xfrm>
          <a:prstGeom prst="rect">
            <a:avLst/>
          </a:prstGeom>
        </p:spPr>
      </p:pic>
      <p:pic>
        <p:nvPicPr>
          <p:cNvPr id="8" name="Picture 7">
            <a:extLst>
              <a:ext uri="{FF2B5EF4-FFF2-40B4-BE49-F238E27FC236}">
                <a16:creationId xmlns:a16="http://schemas.microsoft.com/office/drawing/2014/main" id="{650F8996-F4EB-27FF-B2B6-559B82EF456C}"/>
              </a:ext>
            </a:extLst>
          </p:cNvPr>
          <p:cNvPicPr>
            <a:picLocks noChangeAspect="1"/>
          </p:cNvPicPr>
          <p:nvPr/>
        </p:nvPicPr>
        <p:blipFill>
          <a:blip r:embed="rId4"/>
          <a:srcRect/>
          <a:stretch/>
        </p:blipFill>
        <p:spPr>
          <a:xfrm>
            <a:off x="9034492" y="1619235"/>
            <a:ext cx="2676307" cy="3462542"/>
          </a:xfrm>
          <a:prstGeom prst="rect">
            <a:avLst/>
          </a:prstGeom>
        </p:spPr>
      </p:pic>
      <p:pic>
        <p:nvPicPr>
          <p:cNvPr id="6" name="Picture 5">
            <a:extLst>
              <a:ext uri="{FF2B5EF4-FFF2-40B4-BE49-F238E27FC236}">
                <a16:creationId xmlns:a16="http://schemas.microsoft.com/office/drawing/2014/main" id="{31AB4A26-CDAA-1767-6143-94567CA7B599}"/>
              </a:ext>
            </a:extLst>
          </p:cNvPr>
          <p:cNvPicPr>
            <a:picLocks noChangeAspect="1"/>
          </p:cNvPicPr>
          <p:nvPr/>
        </p:nvPicPr>
        <p:blipFill>
          <a:blip r:embed="rId5"/>
          <a:srcRect/>
          <a:stretch/>
        </p:blipFill>
        <p:spPr>
          <a:xfrm>
            <a:off x="6184058" y="1619475"/>
            <a:ext cx="2675912" cy="3462063"/>
          </a:xfrm>
          <a:prstGeom prst="rect">
            <a:avLst/>
          </a:prstGeom>
        </p:spPr>
      </p:pic>
    </p:spTree>
    <p:extLst>
      <p:ext uri="{BB962C8B-B14F-4D97-AF65-F5344CB8AC3E}">
        <p14:creationId xmlns:p14="http://schemas.microsoft.com/office/powerpoint/2010/main" val="76866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C30C1A-59B4-486A-9FB0-86F4C0012DB1}"/>
              </a:ext>
            </a:extLst>
          </p:cNvPr>
          <p:cNvSpPr>
            <a:spLocks noGrp="1"/>
          </p:cNvSpPr>
          <p:nvPr>
            <p:ph type="body" sz="quarter" idx="13"/>
          </p:nvPr>
        </p:nvSpPr>
        <p:spPr/>
        <p:txBody>
          <a:bodyPr/>
          <a:lstStyle/>
          <a:p>
            <a:r>
              <a:rPr lang="en-US"/>
              <a:t>Agenda</a:t>
            </a:r>
          </a:p>
        </p:txBody>
      </p:sp>
      <p:graphicFrame>
        <p:nvGraphicFramePr>
          <p:cNvPr id="21" name="Table 6">
            <a:extLst>
              <a:ext uri="{FF2B5EF4-FFF2-40B4-BE49-F238E27FC236}">
                <a16:creationId xmlns:a16="http://schemas.microsoft.com/office/drawing/2014/main" id="{6C1F39F3-55B4-48C0-A29F-EB01922FD8E9}"/>
              </a:ext>
            </a:extLst>
          </p:cNvPr>
          <p:cNvGraphicFramePr>
            <a:graphicFrameLocks noGrp="1"/>
          </p:cNvGraphicFramePr>
          <p:nvPr>
            <p:extLst>
              <p:ext uri="{D42A27DB-BD31-4B8C-83A1-F6EECF244321}">
                <p14:modId xmlns:p14="http://schemas.microsoft.com/office/powerpoint/2010/main" val="2566985829"/>
              </p:ext>
            </p:extLst>
          </p:nvPr>
        </p:nvGraphicFramePr>
        <p:xfrm>
          <a:off x="486000" y="358774"/>
          <a:ext cx="6505350" cy="3775904"/>
        </p:xfrm>
        <a:graphic>
          <a:graphicData uri="http://schemas.openxmlformats.org/drawingml/2006/table">
            <a:tbl>
              <a:tblPr firstRow="1" bandRow="1"/>
              <a:tblGrid>
                <a:gridCol w="890039">
                  <a:extLst>
                    <a:ext uri="{9D8B030D-6E8A-4147-A177-3AD203B41FA5}">
                      <a16:colId xmlns:a16="http://schemas.microsoft.com/office/drawing/2014/main" val="2411598848"/>
                    </a:ext>
                  </a:extLst>
                </a:gridCol>
                <a:gridCol w="5615311">
                  <a:extLst>
                    <a:ext uri="{9D8B030D-6E8A-4147-A177-3AD203B41FA5}">
                      <a16:colId xmlns:a16="http://schemas.microsoft.com/office/drawing/2014/main" val="262500240"/>
                    </a:ext>
                  </a:extLst>
                </a:gridCol>
              </a:tblGrid>
              <a:tr h="943976">
                <a:tc>
                  <a:txBody>
                    <a:bodyPr/>
                    <a:lstStyle/>
                    <a:p>
                      <a:endParaRPr lang="es-CO" b="0" noProof="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s-CO" b="0" noProof="0" dirty="0">
                          <a:solidFill>
                            <a:schemeClr val="bg1"/>
                          </a:solidFill>
                        </a:rPr>
                        <a:t>Resultados </a:t>
                      </a:r>
                      <a:r>
                        <a:rPr lang="es-CO" b="0" noProof="0">
                          <a:solidFill>
                            <a:schemeClr val="bg1"/>
                          </a:solidFill>
                        </a:rPr>
                        <a:t>de renovación</a:t>
                      </a:r>
                      <a:endParaRPr lang="es-CO" b="0" noProof="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4058768474"/>
                  </a:ext>
                </a:extLst>
              </a:tr>
              <a:tr h="943976">
                <a:tc>
                  <a:txBody>
                    <a:bodyPr/>
                    <a:lstStyle/>
                    <a:p>
                      <a:endParaRPr lang="es-CO" b="0" noProof="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dirty="0">
                          <a:ln>
                            <a:noFill/>
                          </a:ln>
                          <a:solidFill>
                            <a:srgbClr val="FFFFFF"/>
                          </a:solidFill>
                          <a:effectLst/>
                          <a:uLnTx/>
                          <a:uFillTx/>
                          <a:latin typeface="+mn-lt"/>
                          <a:ea typeface="+mn-ea"/>
                          <a:cs typeface="+mn-cs"/>
                        </a:rPr>
                        <a:t>Indicadores del mercad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598013974"/>
                  </a:ext>
                </a:extLst>
              </a:tr>
              <a:tr h="943976">
                <a:tc>
                  <a:txBody>
                    <a:bodyPr/>
                    <a:lstStyle/>
                    <a:p>
                      <a:endParaRPr lang="es-CO" b="0" noProof="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dirty="0">
                          <a:ln>
                            <a:noFill/>
                          </a:ln>
                          <a:solidFill>
                            <a:srgbClr val="FFFFFF"/>
                          </a:solidFill>
                          <a:effectLst/>
                          <a:uLnTx/>
                          <a:uFillTx/>
                          <a:latin typeface="+mn-lt"/>
                          <a:ea typeface="+mn-ea"/>
                          <a:cs typeface="+mn-cs"/>
                        </a:rPr>
                        <a:t>Perspectivas meteorológicas y climátic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1249269"/>
                  </a:ext>
                </a:extLst>
              </a:tr>
              <a:tr h="943976">
                <a:tc>
                  <a:txBody>
                    <a:bodyPr/>
                    <a:lstStyle/>
                    <a:p>
                      <a:endParaRPr lang="es-CO" b="0" noProof="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dirty="0">
                          <a:ln>
                            <a:noFill/>
                          </a:ln>
                          <a:solidFill>
                            <a:srgbClr val="FFFFFF"/>
                          </a:solidFill>
                          <a:effectLst/>
                          <a:uLnTx/>
                          <a:uFillTx/>
                          <a:latin typeface="+mn-lt"/>
                          <a:ea typeface="+mn-ea"/>
                          <a:cs typeface="+mn-cs"/>
                        </a:rPr>
                        <a:t>Mirando hacia el futur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13928215"/>
                  </a:ext>
                </a:extLst>
              </a:tr>
            </a:tbl>
          </a:graphicData>
        </a:graphic>
      </p:graphicFrame>
      <p:sp>
        <p:nvSpPr>
          <p:cNvPr id="34" name="Freeform 5">
            <a:extLst>
              <a:ext uri="{FF2B5EF4-FFF2-40B4-BE49-F238E27FC236}">
                <a16:creationId xmlns:a16="http://schemas.microsoft.com/office/drawing/2014/main" id="{CA389435-7589-434F-8018-3450B8ACBC9E}"/>
              </a:ext>
            </a:extLst>
          </p:cNvPr>
          <p:cNvSpPr>
            <a:spLocks noEditPoints="1"/>
          </p:cNvSpPr>
          <p:nvPr/>
        </p:nvSpPr>
        <p:spPr bwMode="auto">
          <a:xfrm>
            <a:off x="762223" y="651583"/>
            <a:ext cx="338328" cy="338328"/>
          </a:xfrm>
          <a:custGeom>
            <a:avLst/>
            <a:gdLst>
              <a:gd name="T0" fmla="*/ 230 w 233"/>
              <a:gd name="T1" fmla="*/ 218 h 232"/>
              <a:gd name="T2" fmla="*/ 169 w 233"/>
              <a:gd name="T3" fmla="*/ 158 h 232"/>
              <a:gd name="T4" fmla="*/ 192 w 233"/>
              <a:gd name="T5" fmla="*/ 96 h 232"/>
              <a:gd name="T6" fmla="*/ 96 w 233"/>
              <a:gd name="T7" fmla="*/ 0 h 232"/>
              <a:gd name="T8" fmla="*/ 0 w 233"/>
              <a:gd name="T9" fmla="*/ 96 h 232"/>
              <a:gd name="T10" fmla="*/ 96 w 233"/>
              <a:gd name="T11" fmla="*/ 192 h 232"/>
              <a:gd name="T12" fmla="*/ 158 w 233"/>
              <a:gd name="T13" fmla="*/ 169 h 232"/>
              <a:gd name="T14" fmla="*/ 219 w 233"/>
              <a:gd name="T15" fmla="*/ 230 h 232"/>
              <a:gd name="T16" fmla="*/ 224 w 233"/>
              <a:gd name="T17" fmla="*/ 232 h 232"/>
              <a:gd name="T18" fmla="*/ 230 w 233"/>
              <a:gd name="T19" fmla="*/ 230 h 232"/>
              <a:gd name="T20" fmla="*/ 230 w 233"/>
              <a:gd name="T21" fmla="*/ 218 h 232"/>
              <a:gd name="T22" fmla="*/ 16 w 233"/>
              <a:gd name="T23" fmla="*/ 96 h 232"/>
              <a:gd name="T24" fmla="*/ 96 w 233"/>
              <a:gd name="T25" fmla="*/ 16 h 232"/>
              <a:gd name="T26" fmla="*/ 176 w 233"/>
              <a:gd name="T27" fmla="*/ 96 h 232"/>
              <a:gd name="T28" fmla="*/ 96 w 233"/>
              <a:gd name="T29" fmla="*/ 176 h 232"/>
              <a:gd name="T30" fmla="*/ 16 w 233"/>
              <a:gd name="T3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232">
                <a:moveTo>
                  <a:pt x="230" y="218"/>
                </a:moveTo>
                <a:cubicBezTo>
                  <a:pt x="169" y="158"/>
                  <a:pt x="169" y="158"/>
                  <a:pt x="169" y="158"/>
                </a:cubicBezTo>
                <a:cubicBezTo>
                  <a:pt x="184" y="141"/>
                  <a:pt x="192" y="120"/>
                  <a:pt x="192" y="96"/>
                </a:cubicBezTo>
                <a:cubicBezTo>
                  <a:pt x="192" y="43"/>
                  <a:pt x="149" y="0"/>
                  <a:pt x="96" y="0"/>
                </a:cubicBezTo>
                <a:cubicBezTo>
                  <a:pt x="43" y="0"/>
                  <a:pt x="0" y="43"/>
                  <a:pt x="0" y="96"/>
                </a:cubicBezTo>
                <a:cubicBezTo>
                  <a:pt x="0" y="149"/>
                  <a:pt x="43" y="192"/>
                  <a:pt x="96" y="192"/>
                </a:cubicBezTo>
                <a:cubicBezTo>
                  <a:pt x="120" y="192"/>
                  <a:pt x="141" y="183"/>
                  <a:pt x="158" y="169"/>
                </a:cubicBezTo>
                <a:cubicBezTo>
                  <a:pt x="219" y="230"/>
                  <a:pt x="219" y="230"/>
                  <a:pt x="219" y="230"/>
                </a:cubicBezTo>
                <a:cubicBezTo>
                  <a:pt x="220" y="231"/>
                  <a:pt x="222" y="232"/>
                  <a:pt x="224" y="232"/>
                </a:cubicBezTo>
                <a:cubicBezTo>
                  <a:pt x="226" y="232"/>
                  <a:pt x="228" y="231"/>
                  <a:pt x="230" y="230"/>
                </a:cubicBezTo>
                <a:cubicBezTo>
                  <a:pt x="233" y="227"/>
                  <a:pt x="233" y="222"/>
                  <a:pt x="230" y="218"/>
                </a:cubicBezTo>
                <a:close/>
                <a:moveTo>
                  <a:pt x="16" y="96"/>
                </a:moveTo>
                <a:cubicBezTo>
                  <a:pt x="16" y="52"/>
                  <a:pt x="52" y="16"/>
                  <a:pt x="96" y="16"/>
                </a:cubicBezTo>
                <a:cubicBezTo>
                  <a:pt x="140" y="16"/>
                  <a:pt x="176" y="52"/>
                  <a:pt x="176" y="96"/>
                </a:cubicBezTo>
                <a:cubicBezTo>
                  <a:pt x="176" y="140"/>
                  <a:pt x="140" y="176"/>
                  <a:pt x="96" y="176"/>
                </a:cubicBezTo>
                <a:cubicBezTo>
                  <a:pt x="52" y="176"/>
                  <a:pt x="16" y="140"/>
                  <a:pt x="16" y="9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5" name="Group 8">
            <a:extLst>
              <a:ext uri="{FF2B5EF4-FFF2-40B4-BE49-F238E27FC236}">
                <a16:creationId xmlns:a16="http://schemas.microsoft.com/office/drawing/2014/main" id="{2CA4A496-FEA5-4720-A67F-803CE309AB43}"/>
              </a:ext>
            </a:extLst>
          </p:cNvPr>
          <p:cNvGrpSpPr>
            <a:grpSpLocks noChangeAspect="1"/>
          </p:cNvGrpSpPr>
          <p:nvPr/>
        </p:nvGrpSpPr>
        <p:grpSpPr bwMode="auto">
          <a:xfrm>
            <a:off x="762223" y="1609725"/>
            <a:ext cx="338328" cy="338328"/>
            <a:chOff x="3840" y="2158"/>
            <a:chExt cx="614" cy="614"/>
          </a:xfrm>
          <a:solidFill>
            <a:schemeClr val="accent4"/>
          </a:solidFill>
        </p:grpSpPr>
        <p:sp>
          <p:nvSpPr>
            <p:cNvPr id="36" name="Freeform 9">
              <a:extLst>
                <a:ext uri="{FF2B5EF4-FFF2-40B4-BE49-F238E27FC236}">
                  <a16:creationId xmlns:a16="http://schemas.microsoft.com/office/drawing/2014/main" id="{288F143D-FC0D-4205-9392-FDEC860D9856}"/>
                </a:ext>
              </a:extLst>
            </p:cNvPr>
            <p:cNvSpPr>
              <a:spLocks/>
            </p:cNvSpPr>
            <p:nvPr/>
          </p:nvSpPr>
          <p:spPr bwMode="auto">
            <a:xfrm>
              <a:off x="3917" y="2158"/>
              <a:ext cx="38" cy="307"/>
            </a:xfrm>
            <a:custGeom>
              <a:avLst/>
              <a:gdLst>
                <a:gd name="T0" fmla="*/ 8 w 16"/>
                <a:gd name="T1" fmla="*/ 128 h 128"/>
                <a:gd name="T2" fmla="*/ 16 w 16"/>
                <a:gd name="T3" fmla="*/ 120 h 128"/>
                <a:gd name="T4" fmla="*/ 16 w 16"/>
                <a:gd name="T5" fmla="*/ 8 h 128"/>
                <a:gd name="T6" fmla="*/ 8 w 16"/>
                <a:gd name="T7" fmla="*/ 0 h 128"/>
                <a:gd name="T8" fmla="*/ 0 w 16"/>
                <a:gd name="T9" fmla="*/ 8 h 128"/>
                <a:gd name="T10" fmla="*/ 0 w 16"/>
                <a:gd name="T11" fmla="*/ 120 h 128"/>
                <a:gd name="T12" fmla="*/ 8 w 16"/>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6" h="128">
                  <a:moveTo>
                    <a:pt x="8" y="128"/>
                  </a:moveTo>
                  <a:cubicBezTo>
                    <a:pt x="13" y="128"/>
                    <a:pt x="16" y="124"/>
                    <a:pt x="16" y="120"/>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7" name="Freeform 10">
              <a:extLst>
                <a:ext uri="{FF2B5EF4-FFF2-40B4-BE49-F238E27FC236}">
                  <a16:creationId xmlns:a16="http://schemas.microsoft.com/office/drawing/2014/main" id="{19418CD3-A69B-4998-A098-D48E18C2847F}"/>
                </a:ext>
              </a:extLst>
            </p:cNvPr>
            <p:cNvSpPr>
              <a:spLocks noEditPoints="1"/>
            </p:cNvSpPr>
            <p:nvPr/>
          </p:nvSpPr>
          <p:spPr bwMode="auto">
            <a:xfrm>
              <a:off x="3840" y="2503"/>
              <a:ext cx="192" cy="269"/>
            </a:xfrm>
            <a:custGeom>
              <a:avLst/>
              <a:gdLst>
                <a:gd name="T0" fmla="*/ 72 w 80"/>
                <a:gd name="T1" fmla="*/ 0 h 112"/>
                <a:gd name="T2" fmla="*/ 8 w 80"/>
                <a:gd name="T3" fmla="*/ 0 h 112"/>
                <a:gd name="T4" fmla="*/ 0 w 80"/>
                <a:gd name="T5" fmla="*/ 8 h 112"/>
                <a:gd name="T6" fmla="*/ 0 w 80"/>
                <a:gd name="T7" fmla="*/ 48 h 112"/>
                <a:gd name="T8" fmla="*/ 8 w 80"/>
                <a:gd name="T9" fmla="*/ 56 h 112"/>
                <a:gd name="T10" fmla="*/ 32 w 80"/>
                <a:gd name="T11" fmla="*/ 56 h 112"/>
                <a:gd name="T12" fmla="*/ 32 w 80"/>
                <a:gd name="T13" fmla="*/ 104 h 112"/>
                <a:gd name="T14" fmla="*/ 40 w 80"/>
                <a:gd name="T15" fmla="*/ 112 h 112"/>
                <a:gd name="T16" fmla="*/ 48 w 80"/>
                <a:gd name="T17" fmla="*/ 104 h 112"/>
                <a:gd name="T18" fmla="*/ 48 w 80"/>
                <a:gd name="T19" fmla="*/ 56 h 112"/>
                <a:gd name="T20" fmla="*/ 72 w 80"/>
                <a:gd name="T21" fmla="*/ 56 h 112"/>
                <a:gd name="T22" fmla="*/ 80 w 80"/>
                <a:gd name="T23" fmla="*/ 48 h 112"/>
                <a:gd name="T24" fmla="*/ 80 w 80"/>
                <a:gd name="T25" fmla="*/ 8 h 112"/>
                <a:gd name="T26" fmla="*/ 72 w 80"/>
                <a:gd name="T27" fmla="*/ 0 h 112"/>
                <a:gd name="T28" fmla="*/ 64 w 80"/>
                <a:gd name="T29" fmla="*/ 40 h 112"/>
                <a:gd name="T30" fmla="*/ 16 w 80"/>
                <a:gd name="T31" fmla="*/ 40 h 112"/>
                <a:gd name="T32" fmla="*/ 16 w 80"/>
                <a:gd name="T33" fmla="*/ 16 h 112"/>
                <a:gd name="T34" fmla="*/ 64 w 80"/>
                <a:gd name="T35" fmla="*/ 16 h 112"/>
                <a:gd name="T36" fmla="*/ 64 w 80"/>
                <a:gd name="T37" fmla="*/ 4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12">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04"/>
                    <a:pt x="32" y="104"/>
                    <a:pt x="32" y="104"/>
                  </a:cubicBezTo>
                  <a:cubicBezTo>
                    <a:pt x="32" y="108"/>
                    <a:pt x="36" y="112"/>
                    <a:pt x="40" y="112"/>
                  </a:cubicBezTo>
                  <a:cubicBezTo>
                    <a:pt x="45" y="112"/>
                    <a:pt x="48" y="108"/>
                    <a:pt x="48" y="104"/>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 name="Freeform 11">
              <a:extLst>
                <a:ext uri="{FF2B5EF4-FFF2-40B4-BE49-F238E27FC236}">
                  <a16:creationId xmlns:a16="http://schemas.microsoft.com/office/drawing/2014/main" id="{59AD837A-3322-42FC-8815-B6D3BD70AC0F}"/>
                </a:ext>
              </a:extLst>
            </p:cNvPr>
            <p:cNvSpPr>
              <a:spLocks/>
            </p:cNvSpPr>
            <p:nvPr/>
          </p:nvSpPr>
          <p:spPr bwMode="auto">
            <a:xfrm>
              <a:off x="4339" y="2158"/>
              <a:ext cx="39" cy="307"/>
            </a:xfrm>
            <a:custGeom>
              <a:avLst/>
              <a:gdLst>
                <a:gd name="T0" fmla="*/ 8 w 16"/>
                <a:gd name="T1" fmla="*/ 128 h 128"/>
                <a:gd name="T2" fmla="*/ 16 w 16"/>
                <a:gd name="T3" fmla="*/ 120 h 128"/>
                <a:gd name="T4" fmla="*/ 16 w 16"/>
                <a:gd name="T5" fmla="*/ 8 h 128"/>
                <a:gd name="T6" fmla="*/ 8 w 16"/>
                <a:gd name="T7" fmla="*/ 0 h 128"/>
                <a:gd name="T8" fmla="*/ 0 w 16"/>
                <a:gd name="T9" fmla="*/ 8 h 128"/>
                <a:gd name="T10" fmla="*/ 0 w 16"/>
                <a:gd name="T11" fmla="*/ 120 h 128"/>
                <a:gd name="T12" fmla="*/ 8 w 16"/>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6" h="128">
                  <a:moveTo>
                    <a:pt x="8" y="128"/>
                  </a:moveTo>
                  <a:cubicBezTo>
                    <a:pt x="13" y="128"/>
                    <a:pt x="16" y="124"/>
                    <a:pt x="16" y="120"/>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 name="Freeform 12">
              <a:extLst>
                <a:ext uri="{FF2B5EF4-FFF2-40B4-BE49-F238E27FC236}">
                  <a16:creationId xmlns:a16="http://schemas.microsoft.com/office/drawing/2014/main" id="{9FFFB5AF-BF55-40C5-9FD4-B9E7EFE32862}"/>
                </a:ext>
              </a:extLst>
            </p:cNvPr>
            <p:cNvSpPr>
              <a:spLocks noEditPoints="1"/>
            </p:cNvSpPr>
            <p:nvPr/>
          </p:nvSpPr>
          <p:spPr bwMode="auto">
            <a:xfrm>
              <a:off x="4262" y="2503"/>
              <a:ext cx="192" cy="269"/>
            </a:xfrm>
            <a:custGeom>
              <a:avLst/>
              <a:gdLst>
                <a:gd name="T0" fmla="*/ 72 w 80"/>
                <a:gd name="T1" fmla="*/ 0 h 112"/>
                <a:gd name="T2" fmla="*/ 8 w 80"/>
                <a:gd name="T3" fmla="*/ 0 h 112"/>
                <a:gd name="T4" fmla="*/ 0 w 80"/>
                <a:gd name="T5" fmla="*/ 8 h 112"/>
                <a:gd name="T6" fmla="*/ 0 w 80"/>
                <a:gd name="T7" fmla="*/ 48 h 112"/>
                <a:gd name="T8" fmla="*/ 8 w 80"/>
                <a:gd name="T9" fmla="*/ 56 h 112"/>
                <a:gd name="T10" fmla="*/ 32 w 80"/>
                <a:gd name="T11" fmla="*/ 56 h 112"/>
                <a:gd name="T12" fmla="*/ 32 w 80"/>
                <a:gd name="T13" fmla="*/ 104 h 112"/>
                <a:gd name="T14" fmla="*/ 40 w 80"/>
                <a:gd name="T15" fmla="*/ 112 h 112"/>
                <a:gd name="T16" fmla="*/ 48 w 80"/>
                <a:gd name="T17" fmla="*/ 104 h 112"/>
                <a:gd name="T18" fmla="*/ 48 w 80"/>
                <a:gd name="T19" fmla="*/ 56 h 112"/>
                <a:gd name="T20" fmla="*/ 72 w 80"/>
                <a:gd name="T21" fmla="*/ 56 h 112"/>
                <a:gd name="T22" fmla="*/ 80 w 80"/>
                <a:gd name="T23" fmla="*/ 48 h 112"/>
                <a:gd name="T24" fmla="*/ 80 w 80"/>
                <a:gd name="T25" fmla="*/ 8 h 112"/>
                <a:gd name="T26" fmla="*/ 72 w 80"/>
                <a:gd name="T27" fmla="*/ 0 h 112"/>
                <a:gd name="T28" fmla="*/ 64 w 80"/>
                <a:gd name="T29" fmla="*/ 40 h 112"/>
                <a:gd name="T30" fmla="*/ 16 w 80"/>
                <a:gd name="T31" fmla="*/ 40 h 112"/>
                <a:gd name="T32" fmla="*/ 16 w 80"/>
                <a:gd name="T33" fmla="*/ 16 h 112"/>
                <a:gd name="T34" fmla="*/ 64 w 80"/>
                <a:gd name="T35" fmla="*/ 16 h 112"/>
                <a:gd name="T36" fmla="*/ 64 w 80"/>
                <a:gd name="T37" fmla="*/ 4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12">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04"/>
                    <a:pt x="32" y="104"/>
                    <a:pt x="32" y="104"/>
                  </a:cubicBezTo>
                  <a:cubicBezTo>
                    <a:pt x="32" y="108"/>
                    <a:pt x="36" y="112"/>
                    <a:pt x="40" y="112"/>
                  </a:cubicBezTo>
                  <a:cubicBezTo>
                    <a:pt x="45" y="112"/>
                    <a:pt x="48" y="108"/>
                    <a:pt x="48" y="104"/>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0" name="Freeform 13">
              <a:extLst>
                <a:ext uri="{FF2B5EF4-FFF2-40B4-BE49-F238E27FC236}">
                  <a16:creationId xmlns:a16="http://schemas.microsoft.com/office/drawing/2014/main" id="{F2AAAA9D-389E-44A3-8D0B-E5D218AEDC4A}"/>
                </a:ext>
              </a:extLst>
            </p:cNvPr>
            <p:cNvSpPr>
              <a:spLocks/>
            </p:cNvSpPr>
            <p:nvPr/>
          </p:nvSpPr>
          <p:spPr bwMode="auto">
            <a:xfrm>
              <a:off x="4128" y="2158"/>
              <a:ext cx="38" cy="96"/>
            </a:xfrm>
            <a:custGeom>
              <a:avLst/>
              <a:gdLst>
                <a:gd name="T0" fmla="*/ 8 w 16"/>
                <a:gd name="T1" fmla="*/ 40 h 40"/>
                <a:gd name="T2" fmla="*/ 16 w 16"/>
                <a:gd name="T3" fmla="*/ 32 h 40"/>
                <a:gd name="T4" fmla="*/ 16 w 16"/>
                <a:gd name="T5" fmla="*/ 8 h 40"/>
                <a:gd name="T6" fmla="*/ 8 w 16"/>
                <a:gd name="T7" fmla="*/ 0 h 40"/>
                <a:gd name="T8" fmla="*/ 0 w 16"/>
                <a:gd name="T9" fmla="*/ 8 h 40"/>
                <a:gd name="T10" fmla="*/ 0 w 16"/>
                <a:gd name="T11" fmla="*/ 32 h 40"/>
                <a:gd name="T12" fmla="*/ 8 w 1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8" y="40"/>
                  </a:moveTo>
                  <a:cubicBezTo>
                    <a:pt x="13" y="40"/>
                    <a:pt x="16" y="36"/>
                    <a:pt x="16" y="32"/>
                  </a:cubicBezTo>
                  <a:cubicBezTo>
                    <a:pt x="16" y="8"/>
                    <a:pt x="16" y="8"/>
                    <a:pt x="16" y="8"/>
                  </a:cubicBezTo>
                  <a:cubicBezTo>
                    <a:pt x="16" y="4"/>
                    <a:pt x="13" y="0"/>
                    <a:pt x="8" y="0"/>
                  </a:cubicBezTo>
                  <a:cubicBezTo>
                    <a:pt x="4" y="0"/>
                    <a:pt x="0" y="4"/>
                    <a:pt x="0" y="8"/>
                  </a:cubicBezTo>
                  <a:cubicBezTo>
                    <a:pt x="0" y="32"/>
                    <a:pt x="0" y="32"/>
                    <a:pt x="0" y="32"/>
                  </a:cubicBezTo>
                  <a:cubicBezTo>
                    <a:pt x="0" y="36"/>
                    <a:pt x="4" y="40"/>
                    <a:pt x="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1" name="Freeform 14">
              <a:extLst>
                <a:ext uri="{FF2B5EF4-FFF2-40B4-BE49-F238E27FC236}">
                  <a16:creationId xmlns:a16="http://schemas.microsoft.com/office/drawing/2014/main" id="{8F2A5404-22E9-4651-8D45-3C784B8D7ED2}"/>
                </a:ext>
              </a:extLst>
            </p:cNvPr>
            <p:cNvSpPr>
              <a:spLocks noEditPoints="1"/>
            </p:cNvSpPr>
            <p:nvPr/>
          </p:nvSpPr>
          <p:spPr bwMode="auto">
            <a:xfrm>
              <a:off x="4051" y="2292"/>
              <a:ext cx="192" cy="480"/>
            </a:xfrm>
            <a:custGeom>
              <a:avLst/>
              <a:gdLst>
                <a:gd name="T0" fmla="*/ 72 w 80"/>
                <a:gd name="T1" fmla="*/ 0 h 200"/>
                <a:gd name="T2" fmla="*/ 8 w 80"/>
                <a:gd name="T3" fmla="*/ 0 h 200"/>
                <a:gd name="T4" fmla="*/ 0 w 80"/>
                <a:gd name="T5" fmla="*/ 8 h 200"/>
                <a:gd name="T6" fmla="*/ 0 w 80"/>
                <a:gd name="T7" fmla="*/ 48 h 200"/>
                <a:gd name="T8" fmla="*/ 8 w 80"/>
                <a:gd name="T9" fmla="*/ 56 h 200"/>
                <a:gd name="T10" fmla="*/ 32 w 80"/>
                <a:gd name="T11" fmla="*/ 56 h 200"/>
                <a:gd name="T12" fmla="*/ 32 w 80"/>
                <a:gd name="T13" fmla="*/ 192 h 200"/>
                <a:gd name="T14" fmla="*/ 40 w 80"/>
                <a:gd name="T15" fmla="*/ 200 h 200"/>
                <a:gd name="T16" fmla="*/ 48 w 80"/>
                <a:gd name="T17" fmla="*/ 192 h 200"/>
                <a:gd name="T18" fmla="*/ 48 w 80"/>
                <a:gd name="T19" fmla="*/ 56 h 200"/>
                <a:gd name="T20" fmla="*/ 72 w 80"/>
                <a:gd name="T21" fmla="*/ 56 h 200"/>
                <a:gd name="T22" fmla="*/ 80 w 80"/>
                <a:gd name="T23" fmla="*/ 48 h 200"/>
                <a:gd name="T24" fmla="*/ 80 w 80"/>
                <a:gd name="T25" fmla="*/ 8 h 200"/>
                <a:gd name="T26" fmla="*/ 72 w 80"/>
                <a:gd name="T27" fmla="*/ 0 h 200"/>
                <a:gd name="T28" fmla="*/ 64 w 80"/>
                <a:gd name="T29" fmla="*/ 40 h 200"/>
                <a:gd name="T30" fmla="*/ 16 w 80"/>
                <a:gd name="T31" fmla="*/ 40 h 200"/>
                <a:gd name="T32" fmla="*/ 16 w 80"/>
                <a:gd name="T33" fmla="*/ 16 h 200"/>
                <a:gd name="T34" fmla="*/ 64 w 80"/>
                <a:gd name="T35" fmla="*/ 16 h 200"/>
                <a:gd name="T36" fmla="*/ 64 w 80"/>
                <a:gd name="T37"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200">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92"/>
                    <a:pt x="32" y="192"/>
                    <a:pt x="32" y="192"/>
                  </a:cubicBezTo>
                  <a:cubicBezTo>
                    <a:pt x="32" y="196"/>
                    <a:pt x="36" y="200"/>
                    <a:pt x="40" y="200"/>
                  </a:cubicBezTo>
                  <a:cubicBezTo>
                    <a:pt x="45" y="200"/>
                    <a:pt x="48" y="196"/>
                    <a:pt x="48" y="192"/>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11" name="Group 19">
            <a:extLst>
              <a:ext uri="{FF2B5EF4-FFF2-40B4-BE49-F238E27FC236}">
                <a16:creationId xmlns:a16="http://schemas.microsoft.com/office/drawing/2014/main" id="{557D13FB-78C8-88DA-A6EB-4451B21BE2D3}"/>
              </a:ext>
            </a:extLst>
          </p:cNvPr>
          <p:cNvGrpSpPr>
            <a:grpSpLocks noChangeAspect="1"/>
          </p:cNvGrpSpPr>
          <p:nvPr/>
        </p:nvGrpSpPr>
        <p:grpSpPr bwMode="auto">
          <a:xfrm>
            <a:off x="804652" y="3498895"/>
            <a:ext cx="337157" cy="338328"/>
            <a:chOff x="3838" y="2158"/>
            <a:chExt cx="576" cy="578"/>
          </a:xfrm>
          <a:solidFill>
            <a:schemeClr val="accent4"/>
          </a:solidFill>
        </p:grpSpPr>
        <p:sp>
          <p:nvSpPr>
            <p:cNvPr id="12" name="Freeform 20">
              <a:extLst>
                <a:ext uri="{FF2B5EF4-FFF2-40B4-BE49-F238E27FC236}">
                  <a16:creationId xmlns:a16="http://schemas.microsoft.com/office/drawing/2014/main" id="{11D88546-B168-95F2-CD93-5BC625A874A4}"/>
                </a:ext>
              </a:extLst>
            </p:cNvPr>
            <p:cNvSpPr>
              <a:spLocks/>
            </p:cNvSpPr>
            <p:nvPr/>
          </p:nvSpPr>
          <p:spPr bwMode="auto">
            <a:xfrm>
              <a:off x="3838" y="2330"/>
              <a:ext cx="576" cy="233"/>
            </a:xfrm>
            <a:custGeom>
              <a:avLst/>
              <a:gdLst>
                <a:gd name="T0" fmla="*/ 240 w 240"/>
                <a:gd name="T1" fmla="*/ 52 h 97"/>
                <a:gd name="T2" fmla="*/ 240 w 240"/>
                <a:gd name="T3" fmla="*/ 46 h 97"/>
                <a:gd name="T4" fmla="*/ 238 w 240"/>
                <a:gd name="T5" fmla="*/ 43 h 97"/>
                <a:gd name="T6" fmla="*/ 198 w 240"/>
                <a:gd name="T7" fmla="*/ 3 h 97"/>
                <a:gd name="T8" fmla="*/ 187 w 240"/>
                <a:gd name="T9" fmla="*/ 3 h 97"/>
                <a:gd name="T10" fmla="*/ 187 w 240"/>
                <a:gd name="T11" fmla="*/ 15 h 97"/>
                <a:gd name="T12" fmla="*/ 213 w 240"/>
                <a:gd name="T13" fmla="*/ 41 h 97"/>
                <a:gd name="T14" fmla="*/ 8 w 240"/>
                <a:gd name="T15" fmla="*/ 41 h 97"/>
                <a:gd name="T16" fmla="*/ 0 w 240"/>
                <a:gd name="T17" fmla="*/ 49 h 97"/>
                <a:gd name="T18" fmla="*/ 8 w 240"/>
                <a:gd name="T19" fmla="*/ 57 h 97"/>
                <a:gd name="T20" fmla="*/ 213 w 240"/>
                <a:gd name="T21" fmla="*/ 57 h 97"/>
                <a:gd name="T22" fmla="*/ 187 w 240"/>
                <a:gd name="T23" fmla="*/ 83 h 97"/>
                <a:gd name="T24" fmla="*/ 187 w 240"/>
                <a:gd name="T25" fmla="*/ 95 h 97"/>
                <a:gd name="T26" fmla="*/ 192 w 240"/>
                <a:gd name="T27" fmla="*/ 97 h 97"/>
                <a:gd name="T28" fmla="*/ 198 w 240"/>
                <a:gd name="T29" fmla="*/ 95 h 97"/>
                <a:gd name="T30" fmla="*/ 238 w 240"/>
                <a:gd name="T31" fmla="*/ 55 h 97"/>
                <a:gd name="T32" fmla="*/ 240 w 240"/>
                <a:gd name="T33" fmla="*/ 5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97">
                  <a:moveTo>
                    <a:pt x="240" y="52"/>
                  </a:moveTo>
                  <a:cubicBezTo>
                    <a:pt x="240" y="50"/>
                    <a:pt x="240" y="48"/>
                    <a:pt x="240" y="46"/>
                  </a:cubicBezTo>
                  <a:cubicBezTo>
                    <a:pt x="239" y="45"/>
                    <a:pt x="239" y="44"/>
                    <a:pt x="238" y="43"/>
                  </a:cubicBezTo>
                  <a:cubicBezTo>
                    <a:pt x="198" y="3"/>
                    <a:pt x="198" y="3"/>
                    <a:pt x="198" y="3"/>
                  </a:cubicBezTo>
                  <a:cubicBezTo>
                    <a:pt x="195" y="0"/>
                    <a:pt x="190" y="0"/>
                    <a:pt x="187" y="3"/>
                  </a:cubicBezTo>
                  <a:cubicBezTo>
                    <a:pt x="183" y="7"/>
                    <a:pt x="183" y="12"/>
                    <a:pt x="187" y="15"/>
                  </a:cubicBezTo>
                  <a:cubicBezTo>
                    <a:pt x="213" y="41"/>
                    <a:pt x="213" y="41"/>
                    <a:pt x="213" y="41"/>
                  </a:cubicBezTo>
                  <a:cubicBezTo>
                    <a:pt x="8" y="41"/>
                    <a:pt x="8" y="41"/>
                    <a:pt x="8" y="41"/>
                  </a:cubicBezTo>
                  <a:cubicBezTo>
                    <a:pt x="4" y="41"/>
                    <a:pt x="0" y="45"/>
                    <a:pt x="0" y="49"/>
                  </a:cubicBezTo>
                  <a:cubicBezTo>
                    <a:pt x="0" y="53"/>
                    <a:pt x="4" y="57"/>
                    <a:pt x="8" y="57"/>
                  </a:cubicBezTo>
                  <a:cubicBezTo>
                    <a:pt x="213" y="57"/>
                    <a:pt x="213" y="57"/>
                    <a:pt x="213" y="57"/>
                  </a:cubicBezTo>
                  <a:cubicBezTo>
                    <a:pt x="187" y="83"/>
                    <a:pt x="187" y="83"/>
                    <a:pt x="187" y="83"/>
                  </a:cubicBezTo>
                  <a:cubicBezTo>
                    <a:pt x="183" y="87"/>
                    <a:pt x="183" y="92"/>
                    <a:pt x="187" y="95"/>
                  </a:cubicBezTo>
                  <a:cubicBezTo>
                    <a:pt x="188" y="96"/>
                    <a:pt x="190" y="97"/>
                    <a:pt x="192" y="97"/>
                  </a:cubicBezTo>
                  <a:cubicBezTo>
                    <a:pt x="194" y="97"/>
                    <a:pt x="196" y="96"/>
                    <a:pt x="198" y="95"/>
                  </a:cubicBezTo>
                  <a:cubicBezTo>
                    <a:pt x="238" y="55"/>
                    <a:pt x="238" y="55"/>
                    <a:pt x="238" y="55"/>
                  </a:cubicBezTo>
                  <a:cubicBezTo>
                    <a:pt x="239" y="54"/>
                    <a:pt x="239" y="53"/>
                    <a:pt x="24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
              <a:extLst>
                <a:ext uri="{FF2B5EF4-FFF2-40B4-BE49-F238E27FC236}">
                  <a16:creationId xmlns:a16="http://schemas.microsoft.com/office/drawing/2014/main" id="{6E131D34-7845-5A11-4CFF-7120D0992CF3}"/>
                </a:ext>
              </a:extLst>
            </p:cNvPr>
            <p:cNvSpPr>
              <a:spLocks/>
            </p:cNvSpPr>
            <p:nvPr/>
          </p:nvSpPr>
          <p:spPr bwMode="auto">
            <a:xfrm>
              <a:off x="3838" y="2158"/>
              <a:ext cx="307" cy="232"/>
            </a:xfrm>
            <a:custGeom>
              <a:avLst/>
              <a:gdLst>
                <a:gd name="T0" fmla="*/ 8 w 128"/>
                <a:gd name="T1" fmla="*/ 57 h 97"/>
                <a:gd name="T2" fmla="*/ 101 w 128"/>
                <a:gd name="T3" fmla="*/ 57 h 97"/>
                <a:gd name="T4" fmla="*/ 75 w 128"/>
                <a:gd name="T5" fmla="*/ 83 h 97"/>
                <a:gd name="T6" fmla="*/ 75 w 128"/>
                <a:gd name="T7" fmla="*/ 95 h 97"/>
                <a:gd name="T8" fmla="*/ 80 w 128"/>
                <a:gd name="T9" fmla="*/ 97 h 97"/>
                <a:gd name="T10" fmla="*/ 86 w 128"/>
                <a:gd name="T11" fmla="*/ 95 h 97"/>
                <a:gd name="T12" fmla="*/ 126 w 128"/>
                <a:gd name="T13" fmla="*/ 55 h 97"/>
                <a:gd name="T14" fmla="*/ 128 w 128"/>
                <a:gd name="T15" fmla="*/ 52 h 97"/>
                <a:gd name="T16" fmla="*/ 128 w 128"/>
                <a:gd name="T17" fmla="*/ 46 h 97"/>
                <a:gd name="T18" fmla="*/ 126 w 128"/>
                <a:gd name="T19" fmla="*/ 43 h 97"/>
                <a:gd name="T20" fmla="*/ 86 w 128"/>
                <a:gd name="T21" fmla="*/ 3 h 97"/>
                <a:gd name="T22" fmla="*/ 75 w 128"/>
                <a:gd name="T23" fmla="*/ 3 h 97"/>
                <a:gd name="T24" fmla="*/ 75 w 128"/>
                <a:gd name="T25" fmla="*/ 15 h 97"/>
                <a:gd name="T26" fmla="*/ 101 w 128"/>
                <a:gd name="T27" fmla="*/ 41 h 97"/>
                <a:gd name="T28" fmla="*/ 8 w 128"/>
                <a:gd name="T29" fmla="*/ 41 h 97"/>
                <a:gd name="T30" fmla="*/ 0 w 128"/>
                <a:gd name="T31" fmla="*/ 49 h 97"/>
                <a:gd name="T32" fmla="*/ 8 w 128"/>
                <a:gd name="T33"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97">
                  <a:moveTo>
                    <a:pt x="8" y="57"/>
                  </a:moveTo>
                  <a:cubicBezTo>
                    <a:pt x="101" y="57"/>
                    <a:pt x="101" y="57"/>
                    <a:pt x="101" y="57"/>
                  </a:cubicBezTo>
                  <a:cubicBezTo>
                    <a:pt x="75" y="83"/>
                    <a:pt x="75" y="83"/>
                    <a:pt x="75" y="83"/>
                  </a:cubicBezTo>
                  <a:cubicBezTo>
                    <a:pt x="71" y="87"/>
                    <a:pt x="71" y="92"/>
                    <a:pt x="75" y="95"/>
                  </a:cubicBezTo>
                  <a:cubicBezTo>
                    <a:pt x="76" y="96"/>
                    <a:pt x="78" y="97"/>
                    <a:pt x="80" y="97"/>
                  </a:cubicBezTo>
                  <a:cubicBezTo>
                    <a:pt x="82" y="97"/>
                    <a:pt x="84" y="96"/>
                    <a:pt x="86" y="95"/>
                  </a:cubicBezTo>
                  <a:cubicBezTo>
                    <a:pt x="126" y="55"/>
                    <a:pt x="126" y="55"/>
                    <a:pt x="126" y="55"/>
                  </a:cubicBezTo>
                  <a:cubicBezTo>
                    <a:pt x="127" y="54"/>
                    <a:pt x="127" y="53"/>
                    <a:pt x="128" y="52"/>
                  </a:cubicBezTo>
                  <a:cubicBezTo>
                    <a:pt x="128" y="50"/>
                    <a:pt x="128" y="48"/>
                    <a:pt x="128" y="46"/>
                  </a:cubicBezTo>
                  <a:cubicBezTo>
                    <a:pt x="127" y="45"/>
                    <a:pt x="127" y="44"/>
                    <a:pt x="126" y="43"/>
                  </a:cubicBezTo>
                  <a:cubicBezTo>
                    <a:pt x="86" y="3"/>
                    <a:pt x="86" y="3"/>
                    <a:pt x="86" y="3"/>
                  </a:cubicBezTo>
                  <a:cubicBezTo>
                    <a:pt x="83" y="0"/>
                    <a:pt x="78" y="0"/>
                    <a:pt x="75" y="3"/>
                  </a:cubicBezTo>
                  <a:cubicBezTo>
                    <a:pt x="71" y="7"/>
                    <a:pt x="71" y="12"/>
                    <a:pt x="75" y="15"/>
                  </a:cubicBezTo>
                  <a:cubicBezTo>
                    <a:pt x="101" y="41"/>
                    <a:pt x="101" y="41"/>
                    <a:pt x="101" y="41"/>
                  </a:cubicBezTo>
                  <a:cubicBezTo>
                    <a:pt x="8" y="41"/>
                    <a:pt x="8" y="41"/>
                    <a:pt x="8" y="41"/>
                  </a:cubicBezTo>
                  <a:cubicBezTo>
                    <a:pt x="4" y="41"/>
                    <a:pt x="0" y="45"/>
                    <a:pt x="0" y="49"/>
                  </a:cubicBezTo>
                  <a:cubicBezTo>
                    <a:pt x="0" y="53"/>
                    <a:pt x="4" y="57"/>
                    <a:pt x="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2">
              <a:extLst>
                <a:ext uri="{FF2B5EF4-FFF2-40B4-BE49-F238E27FC236}">
                  <a16:creationId xmlns:a16="http://schemas.microsoft.com/office/drawing/2014/main" id="{60BC3B4D-5F05-02D6-0961-CD9B38122136}"/>
                </a:ext>
              </a:extLst>
            </p:cNvPr>
            <p:cNvSpPr>
              <a:spLocks/>
            </p:cNvSpPr>
            <p:nvPr/>
          </p:nvSpPr>
          <p:spPr bwMode="auto">
            <a:xfrm>
              <a:off x="3838" y="2503"/>
              <a:ext cx="403" cy="233"/>
            </a:xfrm>
            <a:custGeom>
              <a:avLst/>
              <a:gdLst>
                <a:gd name="T0" fmla="*/ 168 w 168"/>
                <a:gd name="T1" fmla="*/ 46 h 97"/>
                <a:gd name="T2" fmla="*/ 166 w 168"/>
                <a:gd name="T3" fmla="*/ 43 h 97"/>
                <a:gd name="T4" fmla="*/ 126 w 168"/>
                <a:gd name="T5" fmla="*/ 3 h 97"/>
                <a:gd name="T6" fmla="*/ 115 w 168"/>
                <a:gd name="T7" fmla="*/ 3 h 97"/>
                <a:gd name="T8" fmla="*/ 115 w 168"/>
                <a:gd name="T9" fmla="*/ 15 h 97"/>
                <a:gd name="T10" fmla="*/ 141 w 168"/>
                <a:gd name="T11" fmla="*/ 41 h 97"/>
                <a:gd name="T12" fmla="*/ 8 w 168"/>
                <a:gd name="T13" fmla="*/ 41 h 97"/>
                <a:gd name="T14" fmla="*/ 0 w 168"/>
                <a:gd name="T15" fmla="*/ 49 h 97"/>
                <a:gd name="T16" fmla="*/ 8 w 168"/>
                <a:gd name="T17" fmla="*/ 57 h 97"/>
                <a:gd name="T18" fmla="*/ 141 w 168"/>
                <a:gd name="T19" fmla="*/ 57 h 97"/>
                <a:gd name="T20" fmla="*/ 115 w 168"/>
                <a:gd name="T21" fmla="*/ 83 h 97"/>
                <a:gd name="T22" fmla="*/ 115 w 168"/>
                <a:gd name="T23" fmla="*/ 95 h 97"/>
                <a:gd name="T24" fmla="*/ 120 w 168"/>
                <a:gd name="T25" fmla="*/ 97 h 97"/>
                <a:gd name="T26" fmla="*/ 126 w 168"/>
                <a:gd name="T27" fmla="*/ 95 h 97"/>
                <a:gd name="T28" fmla="*/ 166 w 168"/>
                <a:gd name="T29" fmla="*/ 55 h 97"/>
                <a:gd name="T30" fmla="*/ 168 w 168"/>
                <a:gd name="T31" fmla="*/ 52 h 97"/>
                <a:gd name="T32" fmla="*/ 168 w 168"/>
                <a:gd name="T33"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97">
                  <a:moveTo>
                    <a:pt x="168" y="46"/>
                  </a:moveTo>
                  <a:cubicBezTo>
                    <a:pt x="167" y="45"/>
                    <a:pt x="167" y="44"/>
                    <a:pt x="166" y="43"/>
                  </a:cubicBezTo>
                  <a:cubicBezTo>
                    <a:pt x="126" y="3"/>
                    <a:pt x="126" y="3"/>
                    <a:pt x="126" y="3"/>
                  </a:cubicBezTo>
                  <a:cubicBezTo>
                    <a:pt x="123" y="0"/>
                    <a:pt x="118" y="0"/>
                    <a:pt x="115" y="3"/>
                  </a:cubicBezTo>
                  <a:cubicBezTo>
                    <a:pt x="111" y="7"/>
                    <a:pt x="111" y="12"/>
                    <a:pt x="115" y="15"/>
                  </a:cubicBezTo>
                  <a:cubicBezTo>
                    <a:pt x="141" y="41"/>
                    <a:pt x="141" y="41"/>
                    <a:pt x="141" y="41"/>
                  </a:cubicBezTo>
                  <a:cubicBezTo>
                    <a:pt x="8" y="41"/>
                    <a:pt x="8" y="41"/>
                    <a:pt x="8" y="41"/>
                  </a:cubicBezTo>
                  <a:cubicBezTo>
                    <a:pt x="4" y="41"/>
                    <a:pt x="0" y="45"/>
                    <a:pt x="0" y="49"/>
                  </a:cubicBezTo>
                  <a:cubicBezTo>
                    <a:pt x="0" y="53"/>
                    <a:pt x="4" y="57"/>
                    <a:pt x="8" y="57"/>
                  </a:cubicBezTo>
                  <a:cubicBezTo>
                    <a:pt x="141" y="57"/>
                    <a:pt x="141" y="57"/>
                    <a:pt x="141" y="57"/>
                  </a:cubicBezTo>
                  <a:cubicBezTo>
                    <a:pt x="115" y="83"/>
                    <a:pt x="115" y="83"/>
                    <a:pt x="115" y="83"/>
                  </a:cubicBezTo>
                  <a:cubicBezTo>
                    <a:pt x="111" y="87"/>
                    <a:pt x="111" y="92"/>
                    <a:pt x="115" y="95"/>
                  </a:cubicBezTo>
                  <a:cubicBezTo>
                    <a:pt x="116" y="96"/>
                    <a:pt x="118" y="97"/>
                    <a:pt x="120" y="97"/>
                  </a:cubicBezTo>
                  <a:cubicBezTo>
                    <a:pt x="122" y="97"/>
                    <a:pt x="124" y="96"/>
                    <a:pt x="126" y="95"/>
                  </a:cubicBezTo>
                  <a:cubicBezTo>
                    <a:pt x="166" y="55"/>
                    <a:pt x="166" y="55"/>
                    <a:pt x="166" y="55"/>
                  </a:cubicBezTo>
                  <a:cubicBezTo>
                    <a:pt x="167" y="54"/>
                    <a:pt x="167" y="53"/>
                    <a:pt x="168" y="52"/>
                  </a:cubicBezTo>
                  <a:cubicBezTo>
                    <a:pt x="168" y="50"/>
                    <a:pt x="168" y="48"/>
                    <a:pt x="16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descr="Geothermal.">
            <a:extLst>
              <a:ext uri="{FF2B5EF4-FFF2-40B4-BE49-F238E27FC236}">
                <a16:creationId xmlns:a16="http://schemas.microsoft.com/office/drawing/2014/main" id="{2B92E49D-77ED-9052-519B-66B1B8E75149}"/>
              </a:ext>
            </a:extLst>
          </p:cNvPr>
          <p:cNvGrpSpPr>
            <a:grpSpLocks noChangeAspect="1"/>
          </p:cNvGrpSpPr>
          <p:nvPr>
            <p:custDataLst>
              <p:custData r:id="rId1"/>
            </p:custDataLst>
          </p:nvPr>
        </p:nvGrpSpPr>
        <p:grpSpPr bwMode="auto">
          <a:xfrm>
            <a:off x="762223" y="2582019"/>
            <a:ext cx="341129" cy="341129"/>
            <a:chOff x="3406" y="1726"/>
            <a:chExt cx="614" cy="614"/>
          </a:xfrm>
          <a:solidFill>
            <a:schemeClr val="accent4"/>
          </a:solidFill>
        </p:grpSpPr>
        <p:sp>
          <p:nvSpPr>
            <p:cNvPr id="23" name="Freeform 5">
              <a:extLst>
                <a:ext uri="{FF2B5EF4-FFF2-40B4-BE49-F238E27FC236}">
                  <a16:creationId xmlns:a16="http://schemas.microsoft.com/office/drawing/2014/main" id="{43FCECAB-0668-AAE0-5C33-508FC51361DE}"/>
                </a:ext>
              </a:extLst>
            </p:cNvPr>
            <p:cNvSpPr>
              <a:spLocks noEditPoints="1"/>
            </p:cNvSpPr>
            <p:nvPr/>
          </p:nvSpPr>
          <p:spPr bwMode="auto">
            <a:xfrm>
              <a:off x="3406" y="1726"/>
              <a:ext cx="614" cy="460"/>
            </a:xfrm>
            <a:custGeom>
              <a:avLst/>
              <a:gdLst>
                <a:gd name="T0" fmla="*/ 248 w 256"/>
                <a:gd name="T1" fmla="*/ 112 h 192"/>
                <a:gd name="T2" fmla="*/ 99 w 256"/>
                <a:gd name="T3" fmla="*/ 112 h 192"/>
                <a:gd name="T4" fmla="*/ 93 w 256"/>
                <a:gd name="T5" fmla="*/ 107 h 192"/>
                <a:gd name="T6" fmla="*/ 93 w 256"/>
                <a:gd name="T7" fmla="*/ 32 h 192"/>
                <a:gd name="T8" fmla="*/ 61 w 256"/>
                <a:gd name="T9" fmla="*/ 0 h 192"/>
                <a:gd name="T10" fmla="*/ 39 w 256"/>
                <a:gd name="T11" fmla="*/ 9 h 192"/>
                <a:gd name="T12" fmla="*/ 30 w 256"/>
                <a:gd name="T13" fmla="*/ 32 h 192"/>
                <a:gd name="T14" fmla="*/ 30 w 256"/>
                <a:gd name="T15" fmla="*/ 107 h 192"/>
                <a:gd name="T16" fmla="*/ 24 w 256"/>
                <a:gd name="T17" fmla="*/ 112 h 192"/>
                <a:gd name="T18" fmla="*/ 8 w 256"/>
                <a:gd name="T19" fmla="*/ 112 h 192"/>
                <a:gd name="T20" fmla="*/ 0 w 256"/>
                <a:gd name="T21" fmla="*/ 120 h 192"/>
                <a:gd name="T22" fmla="*/ 8 w 256"/>
                <a:gd name="T23" fmla="*/ 128 h 192"/>
                <a:gd name="T24" fmla="*/ 15 w 256"/>
                <a:gd name="T25" fmla="*/ 128 h 192"/>
                <a:gd name="T26" fmla="*/ 12 w 256"/>
                <a:gd name="T27" fmla="*/ 145 h 192"/>
                <a:gd name="T28" fmla="*/ 28 w 256"/>
                <a:gd name="T29" fmla="*/ 179 h 192"/>
                <a:gd name="T30" fmla="*/ 60 w 256"/>
                <a:gd name="T31" fmla="*/ 192 h 192"/>
                <a:gd name="T32" fmla="*/ 64 w 256"/>
                <a:gd name="T33" fmla="*/ 192 h 192"/>
                <a:gd name="T34" fmla="*/ 111 w 256"/>
                <a:gd name="T35" fmla="*/ 144 h 192"/>
                <a:gd name="T36" fmla="*/ 108 w 256"/>
                <a:gd name="T37" fmla="*/ 128 h 192"/>
                <a:gd name="T38" fmla="*/ 248 w 256"/>
                <a:gd name="T39" fmla="*/ 128 h 192"/>
                <a:gd name="T40" fmla="*/ 256 w 256"/>
                <a:gd name="T41" fmla="*/ 120 h 192"/>
                <a:gd name="T42" fmla="*/ 248 w 256"/>
                <a:gd name="T43" fmla="*/ 112 h 192"/>
                <a:gd name="T44" fmla="*/ 63 w 256"/>
                <a:gd name="T45" fmla="*/ 176 h 192"/>
                <a:gd name="T46" fmla="*/ 39 w 256"/>
                <a:gd name="T47" fmla="*/ 167 h 192"/>
                <a:gd name="T48" fmla="*/ 28 w 256"/>
                <a:gd name="T49" fmla="*/ 144 h 192"/>
                <a:gd name="T50" fmla="*/ 42 w 256"/>
                <a:gd name="T51" fmla="*/ 118 h 192"/>
                <a:gd name="T52" fmla="*/ 46 w 256"/>
                <a:gd name="T53" fmla="*/ 111 h 192"/>
                <a:gd name="T54" fmla="*/ 46 w 256"/>
                <a:gd name="T55" fmla="*/ 32 h 192"/>
                <a:gd name="T56" fmla="*/ 46 w 256"/>
                <a:gd name="T57" fmla="*/ 32 h 192"/>
                <a:gd name="T58" fmla="*/ 50 w 256"/>
                <a:gd name="T59" fmla="*/ 20 h 192"/>
                <a:gd name="T60" fmla="*/ 61 w 256"/>
                <a:gd name="T61" fmla="*/ 16 h 192"/>
                <a:gd name="T62" fmla="*/ 77 w 256"/>
                <a:gd name="T63" fmla="*/ 32 h 192"/>
                <a:gd name="T64" fmla="*/ 77 w 256"/>
                <a:gd name="T65" fmla="*/ 111 h 192"/>
                <a:gd name="T66" fmla="*/ 81 w 256"/>
                <a:gd name="T67" fmla="*/ 118 h 192"/>
                <a:gd name="T68" fmla="*/ 95 w 256"/>
                <a:gd name="T69" fmla="*/ 144 h 192"/>
                <a:gd name="T70" fmla="*/ 63 w 256"/>
                <a:gd name="T71" fmla="*/ 17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192">
                  <a:moveTo>
                    <a:pt x="248" y="112"/>
                  </a:moveTo>
                  <a:cubicBezTo>
                    <a:pt x="99" y="112"/>
                    <a:pt x="99" y="112"/>
                    <a:pt x="99" y="112"/>
                  </a:cubicBezTo>
                  <a:cubicBezTo>
                    <a:pt x="97" y="110"/>
                    <a:pt x="95" y="108"/>
                    <a:pt x="93" y="107"/>
                  </a:cubicBezTo>
                  <a:cubicBezTo>
                    <a:pt x="93" y="32"/>
                    <a:pt x="93" y="32"/>
                    <a:pt x="93" y="32"/>
                  </a:cubicBezTo>
                  <a:cubicBezTo>
                    <a:pt x="93" y="20"/>
                    <a:pt x="85" y="0"/>
                    <a:pt x="61" y="0"/>
                  </a:cubicBezTo>
                  <a:cubicBezTo>
                    <a:pt x="49" y="0"/>
                    <a:pt x="42" y="5"/>
                    <a:pt x="39" y="9"/>
                  </a:cubicBezTo>
                  <a:cubicBezTo>
                    <a:pt x="30" y="18"/>
                    <a:pt x="30" y="30"/>
                    <a:pt x="30" y="32"/>
                  </a:cubicBezTo>
                  <a:cubicBezTo>
                    <a:pt x="30" y="107"/>
                    <a:pt x="30" y="107"/>
                    <a:pt x="30" y="107"/>
                  </a:cubicBezTo>
                  <a:cubicBezTo>
                    <a:pt x="28" y="108"/>
                    <a:pt x="26" y="110"/>
                    <a:pt x="24" y="112"/>
                  </a:cubicBezTo>
                  <a:cubicBezTo>
                    <a:pt x="8" y="112"/>
                    <a:pt x="8" y="112"/>
                    <a:pt x="8" y="112"/>
                  </a:cubicBezTo>
                  <a:cubicBezTo>
                    <a:pt x="4" y="112"/>
                    <a:pt x="0" y="116"/>
                    <a:pt x="0" y="120"/>
                  </a:cubicBezTo>
                  <a:cubicBezTo>
                    <a:pt x="0" y="125"/>
                    <a:pt x="4" y="128"/>
                    <a:pt x="8" y="128"/>
                  </a:cubicBezTo>
                  <a:cubicBezTo>
                    <a:pt x="15" y="128"/>
                    <a:pt x="15" y="128"/>
                    <a:pt x="15" y="128"/>
                  </a:cubicBezTo>
                  <a:cubicBezTo>
                    <a:pt x="13" y="133"/>
                    <a:pt x="12" y="139"/>
                    <a:pt x="12" y="145"/>
                  </a:cubicBezTo>
                  <a:cubicBezTo>
                    <a:pt x="13" y="158"/>
                    <a:pt x="18" y="170"/>
                    <a:pt x="28" y="179"/>
                  </a:cubicBezTo>
                  <a:cubicBezTo>
                    <a:pt x="37" y="187"/>
                    <a:pt x="48" y="192"/>
                    <a:pt x="60" y="192"/>
                  </a:cubicBezTo>
                  <a:cubicBezTo>
                    <a:pt x="61" y="192"/>
                    <a:pt x="63" y="192"/>
                    <a:pt x="64" y="192"/>
                  </a:cubicBezTo>
                  <a:cubicBezTo>
                    <a:pt x="89" y="191"/>
                    <a:pt x="110" y="170"/>
                    <a:pt x="111" y="144"/>
                  </a:cubicBezTo>
                  <a:cubicBezTo>
                    <a:pt x="111" y="139"/>
                    <a:pt x="110" y="133"/>
                    <a:pt x="108" y="128"/>
                  </a:cubicBezTo>
                  <a:cubicBezTo>
                    <a:pt x="248" y="128"/>
                    <a:pt x="248" y="128"/>
                    <a:pt x="248" y="128"/>
                  </a:cubicBezTo>
                  <a:cubicBezTo>
                    <a:pt x="253" y="128"/>
                    <a:pt x="256" y="125"/>
                    <a:pt x="256" y="120"/>
                  </a:cubicBezTo>
                  <a:cubicBezTo>
                    <a:pt x="256" y="116"/>
                    <a:pt x="253" y="112"/>
                    <a:pt x="248" y="112"/>
                  </a:cubicBezTo>
                  <a:close/>
                  <a:moveTo>
                    <a:pt x="63" y="176"/>
                  </a:moveTo>
                  <a:cubicBezTo>
                    <a:pt x="54" y="176"/>
                    <a:pt x="45" y="173"/>
                    <a:pt x="39" y="167"/>
                  </a:cubicBezTo>
                  <a:cubicBezTo>
                    <a:pt x="32" y="162"/>
                    <a:pt x="29" y="153"/>
                    <a:pt x="28" y="144"/>
                  </a:cubicBezTo>
                  <a:cubicBezTo>
                    <a:pt x="28" y="133"/>
                    <a:pt x="33" y="123"/>
                    <a:pt x="42" y="118"/>
                  </a:cubicBezTo>
                  <a:cubicBezTo>
                    <a:pt x="44" y="116"/>
                    <a:pt x="46" y="114"/>
                    <a:pt x="46" y="111"/>
                  </a:cubicBezTo>
                  <a:cubicBezTo>
                    <a:pt x="46" y="32"/>
                    <a:pt x="46" y="32"/>
                    <a:pt x="46" y="32"/>
                  </a:cubicBezTo>
                  <a:cubicBezTo>
                    <a:pt x="46" y="32"/>
                    <a:pt x="46" y="32"/>
                    <a:pt x="46" y="32"/>
                  </a:cubicBezTo>
                  <a:cubicBezTo>
                    <a:pt x="46" y="32"/>
                    <a:pt x="46" y="25"/>
                    <a:pt x="50" y="20"/>
                  </a:cubicBezTo>
                  <a:cubicBezTo>
                    <a:pt x="53" y="18"/>
                    <a:pt x="56" y="16"/>
                    <a:pt x="61" y="16"/>
                  </a:cubicBezTo>
                  <a:cubicBezTo>
                    <a:pt x="76" y="16"/>
                    <a:pt x="77" y="29"/>
                    <a:pt x="77" y="32"/>
                  </a:cubicBezTo>
                  <a:cubicBezTo>
                    <a:pt x="77" y="111"/>
                    <a:pt x="77" y="111"/>
                    <a:pt x="77" y="111"/>
                  </a:cubicBezTo>
                  <a:cubicBezTo>
                    <a:pt x="77" y="114"/>
                    <a:pt x="78" y="116"/>
                    <a:pt x="81" y="118"/>
                  </a:cubicBezTo>
                  <a:cubicBezTo>
                    <a:pt x="89" y="123"/>
                    <a:pt x="95" y="133"/>
                    <a:pt x="95" y="144"/>
                  </a:cubicBezTo>
                  <a:cubicBezTo>
                    <a:pt x="94" y="161"/>
                    <a:pt x="80" y="175"/>
                    <a:pt x="63"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F98CCCF5-44CD-D75D-4964-F66D9244F411}"/>
                </a:ext>
              </a:extLst>
            </p:cNvPr>
            <p:cNvSpPr>
              <a:spLocks noEditPoints="1"/>
            </p:cNvSpPr>
            <p:nvPr/>
          </p:nvSpPr>
          <p:spPr bwMode="auto">
            <a:xfrm>
              <a:off x="3499" y="1910"/>
              <a:ext cx="111" cy="219"/>
            </a:xfrm>
            <a:custGeom>
              <a:avLst/>
              <a:gdLst>
                <a:gd name="T0" fmla="*/ 31 w 46"/>
                <a:gd name="T1" fmla="*/ 47 h 91"/>
                <a:gd name="T2" fmla="*/ 31 w 46"/>
                <a:gd name="T3" fmla="*/ 8 h 91"/>
                <a:gd name="T4" fmla="*/ 23 w 46"/>
                <a:gd name="T5" fmla="*/ 0 h 91"/>
                <a:gd name="T6" fmla="*/ 15 w 46"/>
                <a:gd name="T7" fmla="*/ 8 h 91"/>
                <a:gd name="T8" fmla="*/ 15 w 46"/>
                <a:gd name="T9" fmla="*/ 47 h 91"/>
                <a:gd name="T10" fmla="*/ 0 w 46"/>
                <a:gd name="T11" fmla="*/ 68 h 91"/>
                <a:gd name="T12" fmla="*/ 23 w 46"/>
                <a:gd name="T13" fmla="*/ 91 h 91"/>
                <a:gd name="T14" fmla="*/ 46 w 46"/>
                <a:gd name="T15" fmla="*/ 68 h 91"/>
                <a:gd name="T16" fmla="*/ 31 w 46"/>
                <a:gd name="T17" fmla="*/ 47 h 91"/>
                <a:gd name="T18" fmla="*/ 23 w 46"/>
                <a:gd name="T19" fmla="*/ 75 h 91"/>
                <a:gd name="T20" fmla="*/ 16 w 46"/>
                <a:gd name="T21" fmla="*/ 68 h 91"/>
                <a:gd name="T22" fmla="*/ 23 w 46"/>
                <a:gd name="T23" fmla="*/ 61 h 91"/>
                <a:gd name="T24" fmla="*/ 30 w 46"/>
                <a:gd name="T25" fmla="*/ 68 h 91"/>
                <a:gd name="T26" fmla="*/ 23 w 46"/>
                <a:gd name="T27" fmla="*/ 7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91">
                  <a:moveTo>
                    <a:pt x="31" y="47"/>
                  </a:moveTo>
                  <a:cubicBezTo>
                    <a:pt x="31" y="8"/>
                    <a:pt x="31" y="8"/>
                    <a:pt x="31" y="8"/>
                  </a:cubicBezTo>
                  <a:cubicBezTo>
                    <a:pt x="31" y="4"/>
                    <a:pt x="27" y="0"/>
                    <a:pt x="23" y="0"/>
                  </a:cubicBezTo>
                  <a:cubicBezTo>
                    <a:pt x="18" y="0"/>
                    <a:pt x="15" y="4"/>
                    <a:pt x="15" y="8"/>
                  </a:cubicBezTo>
                  <a:cubicBezTo>
                    <a:pt x="15" y="47"/>
                    <a:pt x="15" y="47"/>
                    <a:pt x="15" y="47"/>
                  </a:cubicBezTo>
                  <a:cubicBezTo>
                    <a:pt x="6" y="50"/>
                    <a:pt x="0" y="58"/>
                    <a:pt x="0" y="68"/>
                  </a:cubicBezTo>
                  <a:cubicBezTo>
                    <a:pt x="0" y="81"/>
                    <a:pt x="10" y="91"/>
                    <a:pt x="23" y="91"/>
                  </a:cubicBezTo>
                  <a:cubicBezTo>
                    <a:pt x="36" y="91"/>
                    <a:pt x="46" y="81"/>
                    <a:pt x="46" y="68"/>
                  </a:cubicBezTo>
                  <a:cubicBezTo>
                    <a:pt x="46" y="58"/>
                    <a:pt x="40" y="50"/>
                    <a:pt x="31" y="47"/>
                  </a:cubicBezTo>
                  <a:close/>
                  <a:moveTo>
                    <a:pt x="23" y="75"/>
                  </a:moveTo>
                  <a:cubicBezTo>
                    <a:pt x="19" y="75"/>
                    <a:pt x="16" y="72"/>
                    <a:pt x="16" y="68"/>
                  </a:cubicBezTo>
                  <a:cubicBezTo>
                    <a:pt x="16" y="64"/>
                    <a:pt x="19" y="61"/>
                    <a:pt x="23" y="61"/>
                  </a:cubicBezTo>
                  <a:cubicBezTo>
                    <a:pt x="27" y="61"/>
                    <a:pt x="30" y="64"/>
                    <a:pt x="30" y="68"/>
                  </a:cubicBezTo>
                  <a:cubicBezTo>
                    <a:pt x="30" y="72"/>
                    <a:pt x="27" y="75"/>
                    <a:pt x="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27FA356D-D526-1A46-422E-AAE909AB6442}"/>
                </a:ext>
              </a:extLst>
            </p:cNvPr>
            <p:cNvSpPr>
              <a:spLocks/>
            </p:cNvSpPr>
            <p:nvPr/>
          </p:nvSpPr>
          <p:spPr bwMode="auto">
            <a:xfrm>
              <a:off x="3787" y="2054"/>
              <a:ext cx="211" cy="286"/>
            </a:xfrm>
            <a:custGeom>
              <a:avLst/>
              <a:gdLst>
                <a:gd name="T0" fmla="*/ 63 w 88"/>
                <a:gd name="T1" fmla="*/ 3 h 119"/>
                <a:gd name="T2" fmla="*/ 52 w 88"/>
                <a:gd name="T3" fmla="*/ 3 h 119"/>
                <a:gd name="T4" fmla="*/ 29 w 88"/>
                <a:gd name="T5" fmla="*/ 26 h 119"/>
                <a:gd name="T6" fmla="*/ 29 w 88"/>
                <a:gd name="T7" fmla="*/ 37 h 119"/>
                <a:gd name="T8" fmla="*/ 40 w 88"/>
                <a:gd name="T9" fmla="*/ 37 h 119"/>
                <a:gd name="T10" fmla="*/ 49 w 88"/>
                <a:gd name="T11" fmla="*/ 28 h 119"/>
                <a:gd name="T12" fmla="*/ 44 w 88"/>
                <a:gd name="T13" fmla="*/ 58 h 119"/>
                <a:gd name="T14" fmla="*/ 27 w 88"/>
                <a:gd name="T15" fmla="*/ 71 h 119"/>
                <a:gd name="T16" fmla="*/ 12 w 88"/>
                <a:gd name="T17" fmla="*/ 82 h 119"/>
                <a:gd name="T18" fmla="*/ 1 w 88"/>
                <a:gd name="T19" fmla="*/ 112 h 119"/>
                <a:gd name="T20" fmla="*/ 9 w 88"/>
                <a:gd name="T21" fmla="*/ 119 h 119"/>
                <a:gd name="T22" fmla="*/ 10 w 88"/>
                <a:gd name="T23" fmla="*/ 119 h 119"/>
                <a:gd name="T24" fmla="*/ 17 w 88"/>
                <a:gd name="T25" fmla="*/ 111 h 119"/>
                <a:gd name="T26" fmla="*/ 22 w 88"/>
                <a:gd name="T27" fmla="*/ 94 h 119"/>
                <a:gd name="T28" fmla="*/ 36 w 88"/>
                <a:gd name="T29" fmla="*/ 84 h 119"/>
                <a:gd name="T30" fmla="*/ 55 w 88"/>
                <a:gd name="T31" fmla="*/ 69 h 119"/>
                <a:gd name="T32" fmla="*/ 65 w 88"/>
                <a:gd name="T33" fmla="*/ 28 h 119"/>
                <a:gd name="T34" fmla="*/ 74 w 88"/>
                <a:gd name="T35" fmla="*/ 37 h 119"/>
                <a:gd name="T36" fmla="*/ 80 w 88"/>
                <a:gd name="T37" fmla="*/ 39 h 119"/>
                <a:gd name="T38" fmla="*/ 85 w 88"/>
                <a:gd name="T39" fmla="*/ 37 h 119"/>
                <a:gd name="T40" fmla="*/ 85 w 88"/>
                <a:gd name="T41" fmla="*/ 26 h 119"/>
                <a:gd name="T42" fmla="*/ 63 w 88"/>
                <a:gd name="T43"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19">
                  <a:moveTo>
                    <a:pt x="63" y="3"/>
                  </a:moveTo>
                  <a:cubicBezTo>
                    <a:pt x="60" y="0"/>
                    <a:pt x="55" y="0"/>
                    <a:pt x="52" y="3"/>
                  </a:cubicBezTo>
                  <a:cubicBezTo>
                    <a:pt x="29" y="26"/>
                    <a:pt x="29" y="26"/>
                    <a:pt x="29" y="26"/>
                  </a:cubicBezTo>
                  <a:cubicBezTo>
                    <a:pt x="26" y="29"/>
                    <a:pt x="26" y="34"/>
                    <a:pt x="29" y="37"/>
                  </a:cubicBezTo>
                  <a:cubicBezTo>
                    <a:pt x="32" y="40"/>
                    <a:pt x="37" y="40"/>
                    <a:pt x="40" y="37"/>
                  </a:cubicBezTo>
                  <a:cubicBezTo>
                    <a:pt x="49" y="28"/>
                    <a:pt x="49" y="28"/>
                    <a:pt x="49" y="28"/>
                  </a:cubicBezTo>
                  <a:cubicBezTo>
                    <a:pt x="49" y="48"/>
                    <a:pt x="49" y="53"/>
                    <a:pt x="44" y="58"/>
                  </a:cubicBezTo>
                  <a:cubicBezTo>
                    <a:pt x="40" y="62"/>
                    <a:pt x="33" y="66"/>
                    <a:pt x="27" y="71"/>
                  </a:cubicBezTo>
                  <a:cubicBezTo>
                    <a:pt x="22" y="74"/>
                    <a:pt x="17" y="78"/>
                    <a:pt x="12" y="82"/>
                  </a:cubicBezTo>
                  <a:cubicBezTo>
                    <a:pt x="4" y="89"/>
                    <a:pt x="0" y="100"/>
                    <a:pt x="1" y="112"/>
                  </a:cubicBezTo>
                  <a:cubicBezTo>
                    <a:pt x="2" y="116"/>
                    <a:pt x="5" y="119"/>
                    <a:pt x="9" y="119"/>
                  </a:cubicBezTo>
                  <a:cubicBezTo>
                    <a:pt x="9" y="119"/>
                    <a:pt x="10" y="119"/>
                    <a:pt x="10" y="119"/>
                  </a:cubicBezTo>
                  <a:cubicBezTo>
                    <a:pt x="14" y="119"/>
                    <a:pt x="18" y="115"/>
                    <a:pt x="17" y="111"/>
                  </a:cubicBezTo>
                  <a:cubicBezTo>
                    <a:pt x="17" y="104"/>
                    <a:pt x="19" y="97"/>
                    <a:pt x="22" y="94"/>
                  </a:cubicBezTo>
                  <a:cubicBezTo>
                    <a:pt x="26" y="90"/>
                    <a:pt x="31" y="87"/>
                    <a:pt x="36" y="84"/>
                  </a:cubicBezTo>
                  <a:cubicBezTo>
                    <a:pt x="43" y="79"/>
                    <a:pt x="50" y="74"/>
                    <a:pt x="55" y="69"/>
                  </a:cubicBezTo>
                  <a:cubicBezTo>
                    <a:pt x="65" y="59"/>
                    <a:pt x="65" y="50"/>
                    <a:pt x="65" y="28"/>
                  </a:cubicBezTo>
                  <a:cubicBezTo>
                    <a:pt x="74" y="37"/>
                    <a:pt x="74" y="37"/>
                    <a:pt x="74" y="37"/>
                  </a:cubicBezTo>
                  <a:cubicBezTo>
                    <a:pt x="76" y="39"/>
                    <a:pt x="78" y="39"/>
                    <a:pt x="80" y="39"/>
                  </a:cubicBezTo>
                  <a:cubicBezTo>
                    <a:pt x="82" y="39"/>
                    <a:pt x="84" y="39"/>
                    <a:pt x="85" y="37"/>
                  </a:cubicBezTo>
                  <a:cubicBezTo>
                    <a:pt x="88" y="34"/>
                    <a:pt x="88" y="29"/>
                    <a:pt x="85" y="26"/>
                  </a:cubicBezTo>
                  <a:lnTo>
                    <a:pt x="6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D66EB529-760F-3D89-646C-C777069B9071}"/>
                </a:ext>
              </a:extLst>
            </p:cNvPr>
            <p:cNvSpPr>
              <a:spLocks/>
            </p:cNvSpPr>
            <p:nvPr/>
          </p:nvSpPr>
          <p:spPr bwMode="auto">
            <a:xfrm>
              <a:off x="3614" y="2054"/>
              <a:ext cx="212" cy="286"/>
            </a:xfrm>
            <a:custGeom>
              <a:avLst/>
              <a:gdLst>
                <a:gd name="T0" fmla="*/ 74 w 88"/>
                <a:gd name="T1" fmla="*/ 37 h 119"/>
                <a:gd name="T2" fmla="*/ 80 w 88"/>
                <a:gd name="T3" fmla="*/ 39 h 119"/>
                <a:gd name="T4" fmla="*/ 85 w 88"/>
                <a:gd name="T5" fmla="*/ 37 h 119"/>
                <a:gd name="T6" fmla="*/ 85 w 88"/>
                <a:gd name="T7" fmla="*/ 26 h 119"/>
                <a:gd name="T8" fmla="*/ 63 w 88"/>
                <a:gd name="T9" fmla="*/ 3 h 119"/>
                <a:gd name="T10" fmla="*/ 52 w 88"/>
                <a:gd name="T11" fmla="*/ 3 h 119"/>
                <a:gd name="T12" fmla="*/ 29 w 88"/>
                <a:gd name="T13" fmla="*/ 26 h 119"/>
                <a:gd name="T14" fmla="*/ 29 w 88"/>
                <a:gd name="T15" fmla="*/ 37 h 119"/>
                <a:gd name="T16" fmla="*/ 40 w 88"/>
                <a:gd name="T17" fmla="*/ 37 h 119"/>
                <a:gd name="T18" fmla="*/ 49 w 88"/>
                <a:gd name="T19" fmla="*/ 28 h 119"/>
                <a:gd name="T20" fmla="*/ 44 w 88"/>
                <a:gd name="T21" fmla="*/ 58 h 119"/>
                <a:gd name="T22" fmla="*/ 27 w 88"/>
                <a:gd name="T23" fmla="*/ 71 h 119"/>
                <a:gd name="T24" fmla="*/ 12 w 88"/>
                <a:gd name="T25" fmla="*/ 82 h 119"/>
                <a:gd name="T26" fmla="*/ 1 w 88"/>
                <a:gd name="T27" fmla="*/ 112 h 119"/>
                <a:gd name="T28" fmla="*/ 9 w 88"/>
                <a:gd name="T29" fmla="*/ 119 h 119"/>
                <a:gd name="T30" fmla="*/ 10 w 88"/>
                <a:gd name="T31" fmla="*/ 119 h 119"/>
                <a:gd name="T32" fmla="*/ 17 w 88"/>
                <a:gd name="T33" fmla="*/ 111 h 119"/>
                <a:gd name="T34" fmla="*/ 22 w 88"/>
                <a:gd name="T35" fmla="*/ 94 h 119"/>
                <a:gd name="T36" fmla="*/ 36 w 88"/>
                <a:gd name="T37" fmla="*/ 84 h 119"/>
                <a:gd name="T38" fmla="*/ 55 w 88"/>
                <a:gd name="T39" fmla="*/ 69 h 119"/>
                <a:gd name="T40" fmla="*/ 65 w 88"/>
                <a:gd name="T41" fmla="*/ 28 h 119"/>
                <a:gd name="T42" fmla="*/ 74 w 88"/>
                <a:gd name="T43" fmla="*/ 3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19">
                  <a:moveTo>
                    <a:pt x="74" y="37"/>
                  </a:moveTo>
                  <a:cubicBezTo>
                    <a:pt x="76" y="39"/>
                    <a:pt x="78" y="39"/>
                    <a:pt x="80" y="39"/>
                  </a:cubicBezTo>
                  <a:cubicBezTo>
                    <a:pt x="82" y="39"/>
                    <a:pt x="84" y="39"/>
                    <a:pt x="85" y="37"/>
                  </a:cubicBezTo>
                  <a:cubicBezTo>
                    <a:pt x="88" y="34"/>
                    <a:pt x="88" y="29"/>
                    <a:pt x="85" y="26"/>
                  </a:cubicBezTo>
                  <a:cubicBezTo>
                    <a:pt x="63" y="3"/>
                    <a:pt x="63" y="3"/>
                    <a:pt x="63" y="3"/>
                  </a:cubicBezTo>
                  <a:cubicBezTo>
                    <a:pt x="60" y="0"/>
                    <a:pt x="55" y="0"/>
                    <a:pt x="52" y="3"/>
                  </a:cubicBezTo>
                  <a:cubicBezTo>
                    <a:pt x="29" y="26"/>
                    <a:pt x="29" y="26"/>
                    <a:pt x="29" y="26"/>
                  </a:cubicBezTo>
                  <a:cubicBezTo>
                    <a:pt x="26" y="29"/>
                    <a:pt x="26" y="34"/>
                    <a:pt x="29" y="37"/>
                  </a:cubicBezTo>
                  <a:cubicBezTo>
                    <a:pt x="32" y="40"/>
                    <a:pt x="37" y="40"/>
                    <a:pt x="40" y="37"/>
                  </a:cubicBezTo>
                  <a:cubicBezTo>
                    <a:pt x="49" y="28"/>
                    <a:pt x="49" y="28"/>
                    <a:pt x="49" y="28"/>
                  </a:cubicBezTo>
                  <a:cubicBezTo>
                    <a:pt x="49" y="48"/>
                    <a:pt x="49" y="53"/>
                    <a:pt x="44" y="58"/>
                  </a:cubicBezTo>
                  <a:cubicBezTo>
                    <a:pt x="40" y="62"/>
                    <a:pt x="33" y="66"/>
                    <a:pt x="27" y="71"/>
                  </a:cubicBezTo>
                  <a:cubicBezTo>
                    <a:pt x="22" y="74"/>
                    <a:pt x="17" y="78"/>
                    <a:pt x="12" y="82"/>
                  </a:cubicBezTo>
                  <a:cubicBezTo>
                    <a:pt x="4" y="89"/>
                    <a:pt x="0" y="100"/>
                    <a:pt x="1" y="112"/>
                  </a:cubicBezTo>
                  <a:cubicBezTo>
                    <a:pt x="2" y="116"/>
                    <a:pt x="5" y="119"/>
                    <a:pt x="9" y="119"/>
                  </a:cubicBezTo>
                  <a:cubicBezTo>
                    <a:pt x="9" y="119"/>
                    <a:pt x="10" y="119"/>
                    <a:pt x="10" y="119"/>
                  </a:cubicBezTo>
                  <a:cubicBezTo>
                    <a:pt x="14" y="119"/>
                    <a:pt x="18" y="115"/>
                    <a:pt x="17" y="111"/>
                  </a:cubicBezTo>
                  <a:cubicBezTo>
                    <a:pt x="17" y="104"/>
                    <a:pt x="19" y="97"/>
                    <a:pt x="22" y="94"/>
                  </a:cubicBezTo>
                  <a:cubicBezTo>
                    <a:pt x="26" y="90"/>
                    <a:pt x="31" y="87"/>
                    <a:pt x="36" y="84"/>
                  </a:cubicBezTo>
                  <a:cubicBezTo>
                    <a:pt x="43" y="79"/>
                    <a:pt x="50" y="74"/>
                    <a:pt x="55" y="69"/>
                  </a:cubicBezTo>
                  <a:cubicBezTo>
                    <a:pt x="65" y="59"/>
                    <a:pt x="65" y="50"/>
                    <a:pt x="65" y="28"/>
                  </a:cubicBezTo>
                  <a:lnTo>
                    <a:pt x="74"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13267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5775" y="2286000"/>
            <a:ext cx="11223625" cy="3418549"/>
          </a:xfrm>
        </p:spPr>
        <p:txBody>
          <a:bodyPr>
            <a:normAutofit lnSpcReduction="10000"/>
          </a:bodyPr>
          <a:lstStyle/>
          <a:p>
            <a:r>
              <a:rPr lang="en-US" b="1">
                <a:ea typeface="+mn-lt"/>
                <a:cs typeface="+mn-lt"/>
              </a:rPr>
              <a:t>About Guy Carpenter</a:t>
            </a:r>
            <a:endParaRPr lang="en-US" b="1"/>
          </a:p>
          <a:p>
            <a:r>
              <a:rPr lang="en-US">
                <a:ea typeface="+mn-lt"/>
                <a:cs typeface="+mn-lt"/>
              </a:rPr>
              <a:t>Guy Carpenter &amp; Company, LLC is a leading global risk and reinsurance specialist with 3,500 professionals in over 60 offices around the world. Guy Carpenter delivers a powerful combination of broking expertise, trusted strategic advisory services and industry-leading analytics to help clients adapt to emerging opportunities and achieve profitable growth. Guy Carpenter is a business of Marsh McLennan (NYSE: MMC), the world’s leading professional services firm in the areas of risk, strategy and people. The Company’s more than 85,000 colleagues advise clients in 130 countries. With annual revenue of over $20 billion, Marsh McLennan helps clients navigate an increasingly dynamic and complex environment through four market-leading businesses including Marsh, Mercer and Oliver Wyman. For more information, visit www.guycarp.com and follow us on LinkedIn and Twitter</a:t>
            </a:r>
            <a:endParaRPr lang="en-US"/>
          </a:p>
          <a:p>
            <a:r>
              <a:rPr lang="en-US" altLang="en-US">
                <a:cs typeface="Times New Roman"/>
              </a:rPr>
              <a:t>Guy Carpenter &amp; Company, LLC provides this report for general information only. The information contained herein is based on sources we believe reliable, but we do not guarantee its accuracy, and it should be understood to be general insurance/reinsurance information only. Guy Carpenter &amp; Company, LLC makes no representations or warranties, express or implied. The information is not intended to be taken as advice with respect to any individual situation and cannot be relied upon as such. Statements concerning tax, accounting, legal or regulatory matters should be understood to be general observations based solely on our experience as reinsurance brokers and risk consultants, and may not be relied upon as tax, accounting, legal or regulatory advice, which we are not authorized to provide. All such matters should be reviewed with your own qualified advisors in these areas.</a:t>
            </a:r>
            <a:endParaRPr lang="en-US">
              <a:cs typeface="Times New Roman"/>
            </a:endParaRPr>
          </a:p>
          <a:p>
            <a:r>
              <a:rPr lang="en-US" altLang="en-US">
                <a:cs typeface="Times New Roman" pitchFamily="18" charset="0"/>
              </a:rPr>
              <a:t>Readers are cautioned not to place undue reliance on any historical, current or forward-looking statements. Guy Carpenter &amp; Company, LLC undertakes no obligation to update or revise publicly any historical, current or forward-looking statements, whether as a result of new information, research, future events or otherwise. The trademarks and service marks contained herein are the property of their respective owners.</a:t>
            </a:r>
          </a:p>
          <a:p>
            <a:pPr>
              <a:spcAft>
                <a:spcPts val="0"/>
              </a:spcAft>
            </a:pPr>
            <a:r>
              <a:rPr lang="en-US" altLang="en-US" b="1">
                <a:cs typeface="Times New Roman" pitchFamily="18" charset="0"/>
              </a:rPr>
              <a:t>Analytics Disclaimer</a:t>
            </a:r>
          </a:p>
          <a:p>
            <a:r>
              <a:rPr lang="en-US" altLang="en-US">
                <a:cs typeface="Times New Roman" pitchFamily="18" charset="0"/>
              </a:rPr>
              <a:t>The data and analysis provided by Guy Carpenter herein or in connection herewith are provided “as is”, without warranty of any kind whether express or implied.  The analysis is based upon data provided by the company or obtained from external sources, the accuracy of which has not been independently verified by Guy Carpenter. Neither Guy Carpenter, its affiliates nor their officers, directors, agents, modellers, or subcontractors (collectively, “Providers”) guarantee or warrant the correctness, completeness, currentness, merchantability, or fitness for a particular purpose of such data and analysis. The data and analysis is intended to be used solely for the purpose of the company internal evaluation and the company shall not disclose the analysis to any third party, except its reinsurers, auditors, rating agencies and regulators, without Guy Carpenter’s prior written consent. In the event that the company discloses the data and analysis or any portion thereof, to any permissible third party, the company shall adopt the data and analysis as its own. In no event will any Provider be liable for loss of profits or any other indirect, special, incidental and/or consequential damage of any kind howsoever incurred or designated, arising from any use of the data and analysis provided herein or in connection herewith.</a:t>
            </a:r>
          </a:p>
          <a:p>
            <a:r>
              <a:rPr lang="en-US" altLang="en-US">
                <a:cs typeface="Times New Roman" pitchFamily="18" charset="0"/>
              </a:rPr>
              <a:t>Statements or analysis concerning or incorporating tax, accounting or legal matters should be understood to be general observations or applications based solely on our experience as reinsurance brokers and risk consultants and may not be relied upon as tax, accounting or legal advice, which we are not authorised to provide. All such matters should be reviewed with the client’s own qualified advisors in these areas.</a:t>
            </a:r>
          </a:p>
          <a:p>
            <a:r>
              <a:rPr lang="en-US" altLang="en-US">
                <a:cs typeface="Times New Roman" pitchFamily="18" charset="0"/>
              </a:rPr>
              <a:t>This presentation (report, letter) is not intended to be a complete actuarial communication.  Upon request, we can prepare one. We are available to respond to questions regarding our analysis.</a:t>
            </a:r>
          </a:p>
          <a:p>
            <a:r>
              <a:rPr lang="en-US" altLang="en-US">
                <a:cs typeface="Times New Roman" pitchFamily="18" charset="0"/>
              </a:rPr>
              <a:t>There are many limitations on actuarial analyses, including uncertainty in the estimates and reliance on data. We will provide additional information regarding these limitations upon request.</a:t>
            </a:r>
          </a:p>
          <a:p>
            <a:r>
              <a:rPr lang="en-US" altLang="en-US">
                <a:cs typeface="Times New Roman" pitchFamily="18" charset="0"/>
              </a:rPr>
              <a:t>As with any actuarial analysis, the results presented herein are subject to significant variability.  While these estimates represent our best professional judgment, it is probable that the actual results will differ from those projected. The degree of such variability could be substantial and could be in either direction from our estimates.</a:t>
            </a:r>
          </a:p>
          <a:p>
            <a:r>
              <a:rPr lang="en-US" altLang="en-US">
                <a:cs typeface="Times New Roman" pitchFamily="18" charset="0"/>
              </a:rPr>
              <a:t>The estimated cash flows may vary significantly from amounts actually collected, particularly in the event that a reinsurer is unwilling or unable to perform in accordance with the terms of the reinsurance contract. In performing this analysis, we relied on the company for estimates regarding the submission. We did not perform an independent review of these estimates.</a:t>
            </a:r>
          </a:p>
        </p:txBody>
      </p:sp>
    </p:spTree>
    <p:extLst>
      <p:ext uri="{BB962C8B-B14F-4D97-AF65-F5344CB8AC3E}">
        <p14:creationId xmlns:p14="http://schemas.microsoft.com/office/powerpoint/2010/main" val="3658534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s-CO" dirty="0">
                <a:cs typeface="Arial"/>
              </a:rPr>
              <a:t>Indicadores del mercado de reaseguro</a:t>
            </a:r>
            <a:endParaRPr lang="en-US" dirty="0"/>
          </a:p>
        </p:txBody>
      </p:sp>
      <p:sp>
        <p:nvSpPr>
          <p:cNvPr id="15" name="TextBox 14">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8" name="Slide Number Placeholder 17">
            <a:extLst>
              <a:ext uri="{FF2B5EF4-FFF2-40B4-BE49-F238E27FC236}">
                <a16:creationId xmlns:a16="http://schemas.microsoft.com/office/drawing/2014/main" id="{16AE3D2C-7C00-02A9-8771-BD3889C9C6D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DA39BEB-E6F0-9A76-2948-ABAC470D63BA}"/>
              </a:ext>
            </a:extLst>
          </p:cNvPr>
          <p:cNvSpPr/>
          <p:nvPr/>
        </p:nvSpPr>
        <p:spPr>
          <a:xfrm>
            <a:off x="482600" y="5642891"/>
            <a:ext cx="11226799" cy="830997"/>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1" u="none" strike="noStrike" kern="1200" cap="none" spc="0" normalizeH="0" baseline="0" noProof="0" dirty="0">
                <a:ln>
                  <a:noFill/>
                </a:ln>
                <a:solidFill>
                  <a:srgbClr val="FF8C00"/>
                </a:solidFill>
                <a:effectLst/>
                <a:uLnTx/>
                <a:uFillTx/>
                <a:latin typeface="Arial" panose="020B0604020202020204"/>
                <a:ea typeface="+mn-ea"/>
                <a:cs typeface="Arial"/>
              </a:rPr>
              <a:t>Las renovaciones de mitad de año se produjeron en un contexto de aumento continuo del apetito de los reaseguradores a medida que crecía la capacidad general de reaseguro. Si bien las colocaciones se completaron con la capacidad adecuada, los factores de riesgo individuales influyeron en gran medida en los resultados.</a:t>
            </a:r>
            <a:endParaRPr kumimoji="0" lang="en-US" sz="16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665FFDE4-9F0E-EEDD-C93C-5C8EA2FCC288}"/>
              </a:ext>
            </a:extLst>
          </p:cNvPr>
          <p:cNvSpPr/>
          <p:nvPr/>
        </p:nvSpPr>
        <p:spPr>
          <a:xfrm>
            <a:off x="673100" y="1390650"/>
            <a:ext cx="3595416" cy="702551"/>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6783768-FE3E-A4E9-CADA-813C899EEC3B}"/>
              </a:ext>
            </a:extLst>
          </p:cNvPr>
          <p:cNvSpPr/>
          <p:nvPr/>
        </p:nvSpPr>
        <p:spPr>
          <a:xfrm>
            <a:off x="673100" y="2093201"/>
            <a:ext cx="3595416" cy="3002306"/>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94141889-BA61-E741-2DB6-1D18AC2C0379}"/>
              </a:ext>
            </a:extLst>
          </p:cNvPr>
          <p:cNvSpPr/>
          <p:nvPr/>
        </p:nvSpPr>
        <p:spPr>
          <a:xfrm>
            <a:off x="7923484" y="1390650"/>
            <a:ext cx="3595416" cy="7025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A2556968-BFDF-7971-859A-7721A6C07D95}"/>
              </a:ext>
            </a:extLst>
          </p:cNvPr>
          <p:cNvSpPr/>
          <p:nvPr/>
        </p:nvSpPr>
        <p:spPr>
          <a:xfrm>
            <a:off x="7923484" y="2093201"/>
            <a:ext cx="3595416" cy="3002306"/>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4CE2CAB9-C96C-26D2-FADE-06C275ED3B11}"/>
              </a:ext>
            </a:extLst>
          </p:cNvPr>
          <p:cNvSpPr txBox="1"/>
          <p:nvPr/>
        </p:nvSpPr>
        <p:spPr>
          <a:xfrm>
            <a:off x="1451743" y="1603105"/>
            <a:ext cx="2554014" cy="277640"/>
          </a:xfrm>
          <a:prstGeom prst="rect">
            <a:avLst/>
          </a:prstGeom>
          <a:noFill/>
        </p:spPr>
        <p:txBody>
          <a:bodyPr wrap="square">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Motores</a:t>
            </a:r>
            <a:r>
              <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rPr>
              <a:t> de </a:t>
            </a: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confianza</a:t>
            </a:r>
            <a:endParaRPr kumimoji="0" lang="en-US" sz="1400" b="0"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sp>
        <p:nvSpPr>
          <p:cNvPr id="27" name="TextBox 26">
            <a:extLst>
              <a:ext uri="{FF2B5EF4-FFF2-40B4-BE49-F238E27FC236}">
                <a16:creationId xmlns:a16="http://schemas.microsoft.com/office/drawing/2014/main" id="{B2596CF9-E6FE-4BF6-A4D9-709D33506BC6}"/>
              </a:ext>
            </a:extLst>
          </p:cNvPr>
          <p:cNvSpPr txBox="1"/>
          <p:nvPr/>
        </p:nvSpPr>
        <p:spPr>
          <a:xfrm>
            <a:off x="8702127" y="1603105"/>
            <a:ext cx="2627585" cy="277640"/>
          </a:xfrm>
          <a:prstGeom prst="rect">
            <a:avLst/>
          </a:prstGeom>
          <a:noFill/>
        </p:spPr>
        <p:txBody>
          <a:bodyPr wrap="square">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Motores</a:t>
            </a:r>
            <a:r>
              <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rPr>
              <a:t> de </a:t>
            </a: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incertidumbre</a:t>
            </a:r>
            <a:endPar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sp>
        <p:nvSpPr>
          <p:cNvPr id="32" name="Freeform 5" descr="Thumb up.">
            <a:extLst>
              <a:ext uri="{FF2B5EF4-FFF2-40B4-BE49-F238E27FC236}">
                <a16:creationId xmlns:a16="http://schemas.microsoft.com/office/drawing/2014/main" id="{A8F43E19-7AF9-8024-99A3-AE7413084CB1}"/>
              </a:ext>
            </a:extLst>
          </p:cNvPr>
          <p:cNvSpPr>
            <a:spLocks noEditPoints="1"/>
          </p:cNvSpPr>
          <p:nvPr>
            <p:custDataLst>
              <p:custData r:id="rId1"/>
            </p:custDataLst>
          </p:nvPr>
        </p:nvSpPr>
        <p:spPr bwMode="auto">
          <a:xfrm>
            <a:off x="1255081" y="1563830"/>
            <a:ext cx="313577" cy="356190"/>
          </a:xfrm>
          <a:custGeom>
            <a:avLst/>
            <a:gdLst>
              <a:gd name="T0" fmla="*/ 192 w 224"/>
              <a:gd name="T1" fmla="*/ 104 h 248"/>
              <a:gd name="T2" fmla="*/ 128 w 224"/>
              <a:gd name="T3" fmla="*/ 104 h 248"/>
              <a:gd name="T4" fmla="*/ 128 w 224"/>
              <a:gd name="T5" fmla="*/ 32 h 248"/>
              <a:gd name="T6" fmla="*/ 96 w 224"/>
              <a:gd name="T7" fmla="*/ 0 h 248"/>
              <a:gd name="T8" fmla="*/ 88 w 224"/>
              <a:gd name="T9" fmla="*/ 0 h 248"/>
              <a:gd name="T10" fmla="*/ 81 w 224"/>
              <a:gd name="T11" fmla="*/ 6 h 248"/>
              <a:gd name="T12" fmla="*/ 50 w 224"/>
              <a:gd name="T13" fmla="*/ 112 h 248"/>
              <a:gd name="T14" fmla="*/ 8 w 224"/>
              <a:gd name="T15" fmla="*/ 112 h 248"/>
              <a:gd name="T16" fmla="*/ 0 w 224"/>
              <a:gd name="T17" fmla="*/ 120 h 248"/>
              <a:gd name="T18" fmla="*/ 0 w 224"/>
              <a:gd name="T19" fmla="*/ 240 h 248"/>
              <a:gd name="T20" fmla="*/ 8 w 224"/>
              <a:gd name="T21" fmla="*/ 248 h 248"/>
              <a:gd name="T22" fmla="*/ 56 w 224"/>
              <a:gd name="T23" fmla="*/ 248 h 248"/>
              <a:gd name="T24" fmla="*/ 179 w 224"/>
              <a:gd name="T25" fmla="*/ 248 h 248"/>
              <a:gd name="T26" fmla="*/ 210 w 224"/>
              <a:gd name="T27" fmla="*/ 222 h 248"/>
              <a:gd name="T28" fmla="*/ 224 w 224"/>
              <a:gd name="T29" fmla="*/ 146 h 248"/>
              <a:gd name="T30" fmla="*/ 224 w 224"/>
              <a:gd name="T31" fmla="*/ 144 h 248"/>
              <a:gd name="T32" fmla="*/ 224 w 224"/>
              <a:gd name="T33" fmla="*/ 136 h 248"/>
              <a:gd name="T34" fmla="*/ 192 w 224"/>
              <a:gd name="T35" fmla="*/ 104 h 248"/>
              <a:gd name="T36" fmla="*/ 16 w 224"/>
              <a:gd name="T37" fmla="*/ 128 h 248"/>
              <a:gd name="T38" fmla="*/ 48 w 224"/>
              <a:gd name="T39" fmla="*/ 128 h 248"/>
              <a:gd name="T40" fmla="*/ 48 w 224"/>
              <a:gd name="T41" fmla="*/ 232 h 248"/>
              <a:gd name="T42" fmla="*/ 16 w 224"/>
              <a:gd name="T43" fmla="*/ 232 h 248"/>
              <a:gd name="T44" fmla="*/ 16 w 224"/>
              <a:gd name="T45" fmla="*/ 128 h 248"/>
              <a:gd name="T46" fmla="*/ 208 w 224"/>
              <a:gd name="T47" fmla="*/ 143 h 248"/>
              <a:gd name="T48" fmla="*/ 194 w 224"/>
              <a:gd name="T49" fmla="*/ 219 h 248"/>
              <a:gd name="T50" fmla="*/ 179 w 224"/>
              <a:gd name="T51" fmla="*/ 232 h 248"/>
              <a:gd name="T52" fmla="*/ 64 w 224"/>
              <a:gd name="T53" fmla="*/ 232 h 248"/>
              <a:gd name="T54" fmla="*/ 64 w 224"/>
              <a:gd name="T55" fmla="*/ 121 h 248"/>
              <a:gd name="T56" fmla="*/ 94 w 224"/>
              <a:gd name="T57" fmla="*/ 16 h 248"/>
              <a:gd name="T58" fmla="*/ 96 w 224"/>
              <a:gd name="T59" fmla="*/ 16 h 248"/>
              <a:gd name="T60" fmla="*/ 112 w 224"/>
              <a:gd name="T61" fmla="*/ 32 h 248"/>
              <a:gd name="T62" fmla="*/ 112 w 224"/>
              <a:gd name="T63" fmla="*/ 112 h 248"/>
              <a:gd name="T64" fmla="*/ 120 w 224"/>
              <a:gd name="T65" fmla="*/ 120 h 248"/>
              <a:gd name="T66" fmla="*/ 192 w 224"/>
              <a:gd name="T67" fmla="*/ 120 h 248"/>
              <a:gd name="T68" fmla="*/ 208 w 224"/>
              <a:gd name="T69" fmla="*/ 136 h 248"/>
              <a:gd name="T70" fmla="*/ 208 w 224"/>
              <a:gd name="T71" fmla="*/ 1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4" h="248">
                <a:moveTo>
                  <a:pt x="192" y="104"/>
                </a:moveTo>
                <a:cubicBezTo>
                  <a:pt x="128" y="104"/>
                  <a:pt x="128" y="104"/>
                  <a:pt x="128" y="104"/>
                </a:cubicBezTo>
                <a:cubicBezTo>
                  <a:pt x="128" y="32"/>
                  <a:pt x="128" y="32"/>
                  <a:pt x="128" y="32"/>
                </a:cubicBezTo>
                <a:cubicBezTo>
                  <a:pt x="128" y="14"/>
                  <a:pt x="114" y="0"/>
                  <a:pt x="96" y="0"/>
                </a:cubicBezTo>
                <a:cubicBezTo>
                  <a:pt x="88" y="0"/>
                  <a:pt x="88" y="0"/>
                  <a:pt x="88" y="0"/>
                </a:cubicBezTo>
                <a:cubicBezTo>
                  <a:pt x="85" y="0"/>
                  <a:pt x="82" y="2"/>
                  <a:pt x="81" y="6"/>
                </a:cubicBezTo>
                <a:cubicBezTo>
                  <a:pt x="50" y="112"/>
                  <a:pt x="50" y="112"/>
                  <a:pt x="50" y="112"/>
                </a:cubicBezTo>
                <a:cubicBezTo>
                  <a:pt x="8" y="112"/>
                  <a:pt x="8" y="112"/>
                  <a:pt x="8" y="112"/>
                </a:cubicBezTo>
                <a:cubicBezTo>
                  <a:pt x="4" y="112"/>
                  <a:pt x="0" y="116"/>
                  <a:pt x="0" y="120"/>
                </a:cubicBezTo>
                <a:cubicBezTo>
                  <a:pt x="0" y="240"/>
                  <a:pt x="0" y="240"/>
                  <a:pt x="0" y="240"/>
                </a:cubicBezTo>
                <a:cubicBezTo>
                  <a:pt x="0" y="244"/>
                  <a:pt x="4" y="248"/>
                  <a:pt x="8" y="248"/>
                </a:cubicBezTo>
                <a:cubicBezTo>
                  <a:pt x="56" y="248"/>
                  <a:pt x="56" y="248"/>
                  <a:pt x="56" y="248"/>
                </a:cubicBezTo>
                <a:cubicBezTo>
                  <a:pt x="179" y="248"/>
                  <a:pt x="179" y="248"/>
                  <a:pt x="179" y="248"/>
                </a:cubicBezTo>
                <a:cubicBezTo>
                  <a:pt x="194" y="248"/>
                  <a:pt x="208" y="236"/>
                  <a:pt x="210" y="222"/>
                </a:cubicBezTo>
                <a:cubicBezTo>
                  <a:pt x="224" y="146"/>
                  <a:pt x="224" y="146"/>
                  <a:pt x="224" y="146"/>
                </a:cubicBezTo>
                <a:cubicBezTo>
                  <a:pt x="224" y="145"/>
                  <a:pt x="224" y="145"/>
                  <a:pt x="224" y="144"/>
                </a:cubicBezTo>
                <a:cubicBezTo>
                  <a:pt x="224" y="136"/>
                  <a:pt x="224" y="136"/>
                  <a:pt x="224" y="136"/>
                </a:cubicBezTo>
                <a:cubicBezTo>
                  <a:pt x="224" y="118"/>
                  <a:pt x="210" y="104"/>
                  <a:pt x="192" y="104"/>
                </a:cubicBezTo>
                <a:close/>
                <a:moveTo>
                  <a:pt x="16" y="128"/>
                </a:moveTo>
                <a:cubicBezTo>
                  <a:pt x="48" y="128"/>
                  <a:pt x="48" y="128"/>
                  <a:pt x="48" y="128"/>
                </a:cubicBezTo>
                <a:cubicBezTo>
                  <a:pt x="48" y="232"/>
                  <a:pt x="48" y="232"/>
                  <a:pt x="48" y="232"/>
                </a:cubicBezTo>
                <a:cubicBezTo>
                  <a:pt x="16" y="232"/>
                  <a:pt x="16" y="232"/>
                  <a:pt x="16" y="232"/>
                </a:cubicBezTo>
                <a:lnTo>
                  <a:pt x="16" y="128"/>
                </a:lnTo>
                <a:close/>
                <a:moveTo>
                  <a:pt x="208" y="143"/>
                </a:moveTo>
                <a:cubicBezTo>
                  <a:pt x="194" y="219"/>
                  <a:pt x="194" y="219"/>
                  <a:pt x="194" y="219"/>
                </a:cubicBezTo>
                <a:cubicBezTo>
                  <a:pt x="193" y="226"/>
                  <a:pt x="186" y="232"/>
                  <a:pt x="179" y="232"/>
                </a:cubicBezTo>
                <a:cubicBezTo>
                  <a:pt x="64" y="232"/>
                  <a:pt x="64" y="232"/>
                  <a:pt x="64" y="232"/>
                </a:cubicBezTo>
                <a:cubicBezTo>
                  <a:pt x="64" y="121"/>
                  <a:pt x="64" y="121"/>
                  <a:pt x="64" y="121"/>
                </a:cubicBezTo>
                <a:cubicBezTo>
                  <a:pt x="94" y="16"/>
                  <a:pt x="94" y="16"/>
                  <a:pt x="94" y="16"/>
                </a:cubicBezTo>
                <a:cubicBezTo>
                  <a:pt x="96" y="16"/>
                  <a:pt x="96" y="16"/>
                  <a:pt x="96" y="16"/>
                </a:cubicBezTo>
                <a:cubicBezTo>
                  <a:pt x="105" y="16"/>
                  <a:pt x="112" y="23"/>
                  <a:pt x="112" y="32"/>
                </a:cubicBezTo>
                <a:cubicBezTo>
                  <a:pt x="112" y="112"/>
                  <a:pt x="112" y="112"/>
                  <a:pt x="112" y="112"/>
                </a:cubicBezTo>
                <a:cubicBezTo>
                  <a:pt x="112" y="116"/>
                  <a:pt x="116" y="120"/>
                  <a:pt x="120" y="120"/>
                </a:cubicBezTo>
                <a:cubicBezTo>
                  <a:pt x="192" y="120"/>
                  <a:pt x="192" y="120"/>
                  <a:pt x="192" y="120"/>
                </a:cubicBezTo>
                <a:cubicBezTo>
                  <a:pt x="201" y="120"/>
                  <a:pt x="208" y="127"/>
                  <a:pt x="208" y="136"/>
                </a:cubicBezTo>
                <a:lnTo>
                  <a:pt x="208" y="1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nvGrpSpPr>
          <p:cNvPr id="35" name="Group 8" descr="Questioning.">
            <a:extLst>
              <a:ext uri="{FF2B5EF4-FFF2-40B4-BE49-F238E27FC236}">
                <a16:creationId xmlns:a16="http://schemas.microsoft.com/office/drawing/2014/main" id="{0AF7D2BD-BF31-8A2B-85CA-8304F28F89E5}"/>
              </a:ext>
            </a:extLst>
          </p:cNvPr>
          <p:cNvGrpSpPr>
            <a:grpSpLocks noChangeAspect="1"/>
          </p:cNvGrpSpPr>
          <p:nvPr>
            <p:custDataLst>
              <p:custData r:id="rId2"/>
            </p:custDataLst>
          </p:nvPr>
        </p:nvGrpSpPr>
        <p:grpSpPr bwMode="auto">
          <a:xfrm>
            <a:off x="8499071" y="1559045"/>
            <a:ext cx="342048" cy="365760"/>
            <a:chOff x="3405" y="1728"/>
            <a:chExt cx="577" cy="617"/>
          </a:xfrm>
          <a:solidFill>
            <a:schemeClr val="bg1"/>
          </a:solidFill>
        </p:grpSpPr>
        <p:sp>
          <p:nvSpPr>
            <p:cNvPr id="37" name="Freeform 9">
              <a:extLst>
                <a:ext uri="{FF2B5EF4-FFF2-40B4-BE49-F238E27FC236}">
                  <a16:creationId xmlns:a16="http://schemas.microsoft.com/office/drawing/2014/main" id="{7FA2D19B-7D91-FFBE-F2B4-55741DDAF717}"/>
                </a:ext>
              </a:extLst>
            </p:cNvPr>
            <p:cNvSpPr>
              <a:spLocks/>
            </p:cNvSpPr>
            <p:nvPr/>
          </p:nvSpPr>
          <p:spPr bwMode="auto">
            <a:xfrm>
              <a:off x="3405" y="1728"/>
              <a:ext cx="577" cy="617"/>
            </a:xfrm>
            <a:custGeom>
              <a:avLst/>
              <a:gdLst>
                <a:gd name="T0" fmla="*/ 202 w 240"/>
                <a:gd name="T1" fmla="*/ 35 h 257"/>
                <a:gd name="T2" fmla="*/ 130 w 240"/>
                <a:gd name="T3" fmla="*/ 1 h 257"/>
                <a:gd name="T4" fmla="*/ 56 w 240"/>
                <a:gd name="T5" fmla="*/ 28 h 257"/>
                <a:gd name="T6" fmla="*/ 21 w 240"/>
                <a:gd name="T7" fmla="*/ 105 h 257"/>
                <a:gd name="T8" fmla="*/ 21 w 240"/>
                <a:gd name="T9" fmla="*/ 111 h 257"/>
                <a:gd name="T10" fmla="*/ 2 w 240"/>
                <a:gd name="T11" fmla="*/ 154 h 257"/>
                <a:gd name="T12" fmla="*/ 5 w 240"/>
                <a:gd name="T13" fmla="*/ 164 h 257"/>
                <a:gd name="T14" fmla="*/ 21 w 240"/>
                <a:gd name="T15" fmla="*/ 173 h 257"/>
                <a:gd name="T16" fmla="*/ 21 w 240"/>
                <a:gd name="T17" fmla="*/ 201 h 257"/>
                <a:gd name="T18" fmla="*/ 53 w 240"/>
                <a:gd name="T19" fmla="*/ 233 h 257"/>
                <a:gd name="T20" fmla="*/ 85 w 240"/>
                <a:gd name="T21" fmla="*/ 233 h 257"/>
                <a:gd name="T22" fmla="*/ 85 w 240"/>
                <a:gd name="T23" fmla="*/ 249 h 257"/>
                <a:gd name="T24" fmla="*/ 93 w 240"/>
                <a:gd name="T25" fmla="*/ 257 h 257"/>
                <a:gd name="T26" fmla="*/ 101 w 240"/>
                <a:gd name="T27" fmla="*/ 249 h 257"/>
                <a:gd name="T28" fmla="*/ 101 w 240"/>
                <a:gd name="T29" fmla="*/ 225 h 257"/>
                <a:gd name="T30" fmla="*/ 93 w 240"/>
                <a:gd name="T31" fmla="*/ 217 h 257"/>
                <a:gd name="T32" fmla="*/ 53 w 240"/>
                <a:gd name="T33" fmla="*/ 217 h 257"/>
                <a:gd name="T34" fmla="*/ 37 w 240"/>
                <a:gd name="T35" fmla="*/ 201 h 257"/>
                <a:gd name="T36" fmla="*/ 37 w 240"/>
                <a:gd name="T37" fmla="*/ 169 h 257"/>
                <a:gd name="T38" fmla="*/ 33 w 240"/>
                <a:gd name="T39" fmla="*/ 162 h 257"/>
                <a:gd name="T40" fmla="*/ 19 w 240"/>
                <a:gd name="T41" fmla="*/ 154 h 257"/>
                <a:gd name="T42" fmla="*/ 36 w 240"/>
                <a:gd name="T43" fmla="*/ 116 h 257"/>
                <a:gd name="T44" fmla="*/ 37 w 240"/>
                <a:gd name="T45" fmla="*/ 113 h 257"/>
                <a:gd name="T46" fmla="*/ 37 w 240"/>
                <a:gd name="T47" fmla="*/ 105 h 257"/>
                <a:gd name="T48" fmla="*/ 66 w 240"/>
                <a:gd name="T49" fmla="*/ 40 h 257"/>
                <a:gd name="T50" fmla="*/ 129 w 240"/>
                <a:gd name="T51" fmla="*/ 17 h 257"/>
                <a:gd name="T52" fmla="*/ 190 w 240"/>
                <a:gd name="T53" fmla="*/ 46 h 257"/>
                <a:gd name="T54" fmla="*/ 184 w 240"/>
                <a:gd name="T55" fmla="*/ 170 h 257"/>
                <a:gd name="T56" fmla="*/ 181 w 240"/>
                <a:gd name="T57" fmla="*/ 176 h 257"/>
                <a:gd name="T58" fmla="*/ 181 w 240"/>
                <a:gd name="T59" fmla="*/ 249 h 257"/>
                <a:gd name="T60" fmla="*/ 189 w 240"/>
                <a:gd name="T61" fmla="*/ 257 h 257"/>
                <a:gd name="T62" fmla="*/ 197 w 240"/>
                <a:gd name="T63" fmla="*/ 249 h 257"/>
                <a:gd name="T64" fmla="*/ 197 w 240"/>
                <a:gd name="T65" fmla="*/ 180 h 257"/>
                <a:gd name="T66" fmla="*/ 202 w 240"/>
                <a:gd name="T67" fmla="*/ 3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57">
                  <a:moveTo>
                    <a:pt x="202" y="35"/>
                  </a:moveTo>
                  <a:cubicBezTo>
                    <a:pt x="183" y="15"/>
                    <a:pt x="158" y="2"/>
                    <a:pt x="130" y="1"/>
                  </a:cubicBezTo>
                  <a:cubicBezTo>
                    <a:pt x="102" y="0"/>
                    <a:pt x="76" y="9"/>
                    <a:pt x="56" y="28"/>
                  </a:cubicBezTo>
                  <a:cubicBezTo>
                    <a:pt x="34" y="46"/>
                    <a:pt x="21" y="74"/>
                    <a:pt x="21" y="105"/>
                  </a:cubicBezTo>
                  <a:cubicBezTo>
                    <a:pt x="21" y="111"/>
                    <a:pt x="21" y="111"/>
                    <a:pt x="21" y="111"/>
                  </a:cubicBezTo>
                  <a:cubicBezTo>
                    <a:pt x="2" y="154"/>
                    <a:pt x="2" y="154"/>
                    <a:pt x="2" y="154"/>
                  </a:cubicBezTo>
                  <a:cubicBezTo>
                    <a:pt x="0" y="157"/>
                    <a:pt x="1" y="162"/>
                    <a:pt x="5" y="164"/>
                  </a:cubicBezTo>
                  <a:cubicBezTo>
                    <a:pt x="21" y="173"/>
                    <a:pt x="21" y="173"/>
                    <a:pt x="21" y="173"/>
                  </a:cubicBezTo>
                  <a:cubicBezTo>
                    <a:pt x="21" y="201"/>
                    <a:pt x="21" y="201"/>
                    <a:pt x="21" y="201"/>
                  </a:cubicBezTo>
                  <a:cubicBezTo>
                    <a:pt x="21" y="219"/>
                    <a:pt x="35" y="233"/>
                    <a:pt x="53" y="233"/>
                  </a:cubicBezTo>
                  <a:cubicBezTo>
                    <a:pt x="85" y="233"/>
                    <a:pt x="85" y="233"/>
                    <a:pt x="85" y="233"/>
                  </a:cubicBezTo>
                  <a:cubicBezTo>
                    <a:pt x="85" y="249"/>
                    <a:pt x="85" y="249"/>
                    <a:pt x="85" y="249"/>
                  </a:cubicBezTo>
                  <a:cubicBezTo>
                    <a:pt x="85" y="253"/>
                    <a:pt x="89" y="257"/>
                    <a:pt x="93" y="257"/>
                  </a:cubicBezTo>
                  <a:cubicBezTo>
                    <a:pt x="97" y="257"/>
                    <a:pt x="101" y="253"/>
                    <a:pt x="101" y="249"/>
                  </a:cubicBezTo>
                  <a:cubicBezTo>
                    <a:pt x="101" y="225"/>
                    <a:pt x="101" y="225"/>
                    <a:pt x="101" y="225"/>
                  </a:cubicBezTo>
                  <a:cubicBezTo>
                    <a:pt x="101" y="220"/>
                    <a:pt x="97" y="217"/>
                    <a:pt x="93" y="217"/>
                  </a:cubicBezTo>
                  <a:cubicBezTo>
                    <a:pt x="53" y="217"/>
                    <a:pt x="53" y="217"/>
                    <a:pt x="53" y="217"/>
                  </a:cubicBezTo>
                  <a:cubicBezTo>
                    <a:pt x="44" y="217"/>
                    <a:pt x="37" y="210"/>
                    <a:pt x="37" y="201"/>
                  </a:cubicBezTo>
                  <a:cubicBezTo>
                    <a:pt x="37" y="169"/>
                    <a:pt x="37" y="169"/>
                    <a:pt x="37" y="169"/>
                  </a:cubicBezTo>
                  <a:cubicBezTo>
                    <a:pt x="37" y="166"/>
                    <a:pt x="36" y="163"/>
                    <a:pt x="33" y="162"/>
                  </a:cubicBezTo>
                  <a:cubicBezTo>
                    <a:pt x="19" y="154"/>
                    <a:pt x="19" y="154"/>
                    <a:pt x="19" y="154"/>
                  </a:cubicBezTo>
                  <a:cubicBezTo>
                    <a:pt x="36" y="116"/>
                    <a:pt x="36" y="116"/>
                    <a:pt x="36" y="116"/>
                  </a:cubicBezTo>
                  <a:cubicBezTo>
                    <a:pt x="37" y="115"/>
                    <a:pt x="37" y="114"/>
                    <a:pt x="37" y="113"/>
                  </a:cubicBezTo>
                  <a:cubicBezTo>
                    <a:pt x="37" y="105"/>
                    <a:pt x="37" y="105"/>
                    <a:pt x="37" y="105"/>
                  </a:cubicBezTo>
                  <a:cubicBezTo>
                    <a:pt x="37" y="79"/>
                    <a:pt x="48" y="55"/>
                    <a:pt x="66" y="40"/>
                  </a:cubicBezTo>
                  <a:cubicBezTo>
                    <a:pt x="83" y="24"/>
                    <a:pt x="106" y="16"/>
                    <a:pt x="129" y="17"/>
                  </a:cubicBezTo>
                  <a:cubicBezTo>
                    <a:pt x="153" y="18"/>
                    <a:pt x="174" y="28"/>
                    <a:pt x="190" y="46"/>
                  </a:cubicBezTo>
                  <a:cubicBezTo>
                    <a:pt x="223" y="82"/>
                    <a:pt x="220" y="138"/>
                    <a:pt x="184" y="170"/>
                  </a:cubicBezTo>
                  <a:cubicBezTo>
                    <a:pt x="182" y="172"/>
                    <a:pt x="181" y="174"/>
                    <a:pt x="181" y="176"/>
                  </a:cubicBezTo>
                  <a:cubicBezTo>
                    <a:pt x="181" y="249"/>
                    <a:pt x="181" y="249"/>
                    <a:pt x="181" y="249"/>
                  </a:cubicBezTo>
                  <a:cubicBezTo>
                    <a:pt x="181" y="253"/>
                    <a:pt x="185" y="257"/>
                    <a:pt x="189" y="257"/>
                  </a:cubicBezTo>
                  <a:cubicBezTo>
                    <a:pt x="193" y="257"/>
                    <a:pt x="197" y="253"/>
                    <a:pt x="197" y="249"/>
                  </a:cubicBezTo>
                  <a:cubicBezTo>
                    <a:pt x="197" y="180"/>
                    <a:pt x="197" y="180"/>
                    <a:pt x="197" y="180"/>
                  </a:cubicBezTo>
                  <a:cubicBezTo>
                    <a:pt x="237" y="141"/>
                    <a:pt x="240" y="77"/>
                    <a:pt x="20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8" name="Oval 10">
              <a:extLst>
                <a:ext uri="{FF2B5EF4-FFF2-40B4-BE49-F238E27FC236}">
                  <a16:creationId xmlns:a16="http://schemas.microsoft.com/office/drawing/2014/main" id="{24ED79DB-601A-21FD-0D4A-AE13C9B57621}"/>
                </a:ext>
              </a:extLst>
            </p:cNvPr>
            <p:cNvSpPr>
              <a:spLocks noChangeArrowheads="1"/>
            </p:cNvSpPr>
            <p:nvPr/>
          </p:nvSpPr>
          <p:spPr bwMode="auto">
            <a:xfrm>
              <a:off x="3672" y="2119"/>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9" name="Freeform 11">
              <a:extLst>
                <a:ext uri="{FF2B5EF4-FFF2-40B4-BE49-F238E27FC236}">
                  <a16:creationId xmlns:a16="http://schemas.microsoft.com/office/drawing/2014/main" id="{6FEB0275-5A52-0C39-AF2B-4ECA9505FA09}"/>
                </a:ext>
              </a:extLst>
            </p:cNvPr>
            <p:cNvSpPr>
              <a:spLocks/>
            </p:cNvSpPr>
            <p:nvPr/>
          </p:nvSpPr>
          <p:spPr bwMode="auto">
            <a:xfrm>
              <a:off x="3624" y="1843"/>
              <a:ext cx="180" cy="233"/>
            </a:xfrm>
            <a:custGeom>
              <a:avLst/>
              <a:gdLst>
                <a:gd name="T0" fmla="*/ 6 w 75"/>
                <a:gd name="T1" fmla="*/ 10 h 97"/>
                <a:gd name="T2" fmla="*/ 2 w 75"/>
                <a:gd name="T3" fmla="*/ 20 h 97"/>
                <a:gd name="T4" fmla="*/ 13 w 75"/>
                <a:gd name="T5" fmla="*/ 24 h 97"/>
                <a:gd name="T6" fmla="*/ 51 w 75"/>
                <a:gd name="T7" fmla="*/ 27 h 97"/>
                <a:gd name="T8" fmla="*/ 42 w 75"/>
                <a:gd name="T9" fmla="*/ 55 h 97"/>
                <a:gd name="T10" fmla="*/ 20 w 75"/>
                <a:gd name="T11" fmla="*/ 89 h 97"/>
                <a:gd name="T12" fmla="*/ 28 w 75"/>
                <a:gd name="T13" fmla="*/ 97 h 97"/>
                <a:gd name="T14" fmla="*/ 36 w 75"/>
                <a:gd name="T15" fmla="*/ 89 h 97"/>
                <a:gd name="T16" fmla="*/ 52 w 75"/>
                <a:gd name="T17" fmla="*/ 68 h 97"/>
                <a:gd name="T18" fmla="*/ 65 w 75"/>
                <a:gd name="T19" fmla="*/ 18 h 97"/>
                <a:gd name="T20" fmla="*/ 6 w 75"/>
                <a:gd name="T21"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7">
                  <a:moveTo>
                    <a:pt x="6" y="10"/>
                  </a:moveTo>
                  <a:cubicBezTo>
                    <a:pt x="2" y="11"/>
                    <a:pt x="0" y="16"/>
                    <a:pt x="2" y="20"/>
                  </a:cubicBezTo>
                  <a:cubicBezTo>
                    <a:pt x="4" y="24"/>
                    <a:pt x="9" y="26"/>
                    <a:pt x="13" y="24"/>
                  </a:cubicBezTo>
                  <a:cubicBezTo>
                    <a:pt x="28" y="17"/>
                    <a:pt x="46" y="18"/>
                    <a:pt x="51" y="27"/>
                  </a:cubicBezTo>
                  <a:cubicBezTo>
                    <a:pt x="58" y="37"/>
                    <a:pt x="51" y="48"/>
                    <a:pt x="42" y="55"/>
                  </a:cubicBezTo>
                  <a:cubicBezTo>
                    <a:pt x="28" y="67"/>
                    <a:pt x="20" y="75"/>
                    <a:pt x="20" y="89"/>
                  </a:cubicBezTo>
                  <a:cubicBezTo>
                    <a:pt x="20" y="93"/>
                    <a:pt x="24" y="97"/>
                    <a:pt x="28" y="97"/>
                  </a:cubicBezTo>
                  <a:cubicBezTo>
                    <a:pt x="33" y="97"/>
                    <a:pt x="36" y="93"/>
                    <a:pt x="36" y="89"/>
                  </a:cubicBezTo>
                  <a:cubicBezTo>
                    <a:pt x="36" y="83"/>
                    <a:pt x="39" y="79"/>
                    <a:pt x="52" y="68"/>
                  </a:cubicBezTo>
                  <a:cubicBezTo>
                    <a:pt x="70" y="53"/>
                    <a:pt x="75" y="34"/>
                    <a:pt x="65" y="18"/>
                  </a:cubicBezTo>
                  <a:cubicBezTo>
                    <a:pt x="54" y="1"/>
                    <a:pt x="26" y="0"/>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aphicFrame>
        <p:nvGraphicFramePr>
          <p:cNvPr id="40" name="Table 39">
            <a:extLst>
              <a:ext uri="{FF2B5EF4-FFF2-40B4-BE49-F238E27FC236}">
                <a16:creationId xmlns:a16="http://schemas.microsoft.com/office/drawing/2014/main" id="{219757B3-C8DA-80BA-554F-A181E7F580EC}"/>
              </a:ext>
            </a:extLst>
          </p:cNvPr>
          <p:cNvGraphicFramePr>
            <a:graphicFrameLocks noGrp="1"/>
          </p:cNvGraphicFramePr>
          <p:nvPr>
            <p:extLst>
              <p:ext uri="{D42A27DB-BD31-4B8C-83A1-F6EECF244321}">
                <p14:modId xmlns:p14="http://schemas.microsoft.com/office/powerpoint/2010/main" val="3270694247"/>
              </p:ext>
            </p:extLst>
          </p:nvPr>
        </p:nvGraphicFramePr>
        <p:xfrm>
          <a:off x="978510" y="2343516"/>
          <a:ext cx="2984596" cy="2562420"/>
        </p:xfrm>
        <a:graphic>
          <a:graphicData uri="http://schemas.openxmlformats.org/drawingml/2006/table">
            <a:tbl>
              <a:tblPr firstRow="1" bandRow="1"/>
              <a:tblGrid>
                <a:gridCol w="2984596">
                  <a:extLst>
                    <a:ext uri="{9D8B030D-6E8A-4147-A177-3AD203B41FA5}">
                      <a16:colId xmlns:a16="http://schemas.microsoft.com/office/drawing/2014/main" val="3680838928"/>
                    </a:ext>
                  </a:extLst>
                </a:gridCol>
              </a:tblGrid>
              <a:tr h="5087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202020"/>
                          </a:solidFill>
                          <a:effectLst/>
                          <a:uLnTx/>
                          <a:uFillTx/>
                          <a:latin typeface="+mn-lt"/>
                          <a:ea typeface="+mn-ea"/>
                          <a:cs typeface="+mn-cs"/>
                        </a:rPr>
                        <a:t>Rentabilidad saludable del capital de las reaseguradoras</a:t>
                      </a:r>
                      <a:endParaRPr kumimoji="0" lang="en-US" sz="1400" b="0" i="0" u="none" strike="noStrike" kern="1200" cap="none" spc="0" normalizeH="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321276076"/>
                  </a:ext>
                </a:extLst>
              </a:tr>
              <a:tr h="508700">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aseline="0" dirty="0" err="1">
                          <a:solidFill>
                            <a:srgbClr val="202020"/>
                          </a:solidFill>
                          <a:latin typeface="+mn-lt"/>
                        </a:rPr>
                        <a:t>Capacidad</a:t>
                      </a:r>
                      <a:r>
                        <a:rPr lang="en-US" sz="1400" baseline="0" dirty="0">
                          <a:solidFill>
                            <a:srgbClr val="202020"/>
                          </a:solidFill>
                          <a:latin typeface="+mn-lt"/>
                        </a:rPr>
                        <a:t> </a:t>
                      </a:r>
                      <a:r>
                        <a:rPr lang="en-US" sz="1400" baseline="0" dirty="0" err="1">
                          <a:solidFill>
                            <a:srgbClr val="202020"/>
                          </a:solidFill>
                          <a:latin typeface="+mn-lt"/>
                        </a:rPr>
                        <a:t>adecuada</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1630612337"/>
                  </a:ext>
                </a:extLst>
              </a:tr>
              <a:tr h="5087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02020"/>
                          </a:solidFill>
                          <a:effectLst/>
                          <a:uLnTx/>
                          <a:uFillTx/>
                          <a:latin typeface="+mn-lt"/>
                          <a:ea typeface="+mn-ea"/>
                          <a:cs typeface="+mn-cs"/>
                        </a:rPr>
                        <a:t>Correcciones</a:t>
                      </a:r>
                      <a:r>
                        <a:rPr kumimoji="0" lang="en-US" sz="1400" b="0" i="0" u="none" strike="noStrike" kern="1200" cap="none" spc="0" normalizeH="0" baseline="0" noProof="0" dirty="0">
                          <a:ln>
                            <a:noFill/>
                          </a:ln>
                          <a:solidFill>
                            <a:srgbClr val="202020"/>
                          </a:solidFill>
                          <a:effectLst/>
                          <a:uLnTx/>
                          <a:uFillTx/>
                          <a:latin typeface="+mn-lt"/>
                          <a:ea typeface="+mn-ea"/>
                          <a:cs typeface="+mn-cs"/>
                        </a:rPr>
                        <a:t> de mercado </a:t>
                      </a:r>
                      <a:r>
                        <a:rPr kumimoji="0" lang="en-US" sz="1400" b="0" i="0" u="none" strike="noStrike" kern="1200" cap="none" spc="0" normalizeH="0" baseline="0" noProof="0" dirty="0" err="1">
                          <a:ln>
                            <a:noFill/>
                          </a:ln>
                          <a:solidFill>
                            <a:srgbClr val="202020"/>
                          </a:solidFill>
                          <a:effectLst/>
                          <a:uLnTx/>
                          <a:uFillTx/>
                          <a:latin typeface="+mn-lt"/>
                          <a:ea typeface="+mn-ea"/>
                          <a:cs typeface="+mn-cs"/>
                        </a:rPr>
                        <a:t>verificables</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1488711502"/>
                  </a:ext>
                </a:extLst>
              </a:tr>
              <a:tr h="508700">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0" i="0" u="none" strike="noStrike" kern="1200" cap="none" spc="0" normalizeH="0" baseline="0" noProof="0" dirty="0">
                          <a:ln>
                            <a:noFill/>
                          </a:ln>
                          <a:solidFill>
                            <a:srgbClr val="202020"/>
                          </a:solidFill>
                          <a:effectLst/>
                          <a:uLnTx/>
                          <a:uFillTx/>
                          <a:latin typeface="+mn-lt"/>
                          <a:ea typeface="+mn-ea"/>
                          <a:cs typeface="+mn-cs"/>
                        </a:rPr>
                        <a:t>Rigor de </a:t>
                      </a:r>
                      <a:r>
                        <a:rPr kumimoji="0" lang="en-US" sz="1400" b="0" i="0" u="none" strike="noStrike" kern="1200" cap="none" spc="0" normalizeH="0" baseline="0" noProof="0" dirty="0" err="1">
                          <a:ln>
                            <a:noFill/>
                          </a:ln>
                          <a:solidFill>
                            <a:srgbClr val="202020"/>
                          </a:solidFill>
                          <a:effectLst/>
                          <a:uLnTx/>
                          <a:uFillTx/>
                          <a:latin typeface="+mn-lt"/>
                          <a:ea typeface="+mn-ea"/>
                          <a:cs typeface="+mn-cs"/>
                        </a:rPr>
                        <a:t>suscripción</a:t>
                      </a:r>
                      <a:r>
                        <a:rPr kumimoji="0" lang="en-US" sz="1400" b="0" i="0" u="none" strike="noStrike" kern="1200" cap="none" spc="0" normalizeH="0" baseline="0" noProof="0" dirty="0">
                          <a:ln>
                            <a:noFill/>
                          </a:ln>
                          <a:solidFill>
                            <a:srgbClr val="202020"/>
                          </a:solidFill>
                          <a:effectLst/>
                          <a:uLnTx/>
                          <a:uFillTx/>
                          <a:latin typeface="+mn-lt"/>
                          <a:ea typeface="+mn-ea"/>
                          <a:cs typeface="+mn-cs"/>
                        </a:rPr>
                        <a:t> </a:t>
                      </a:r>
                      <a:r>
                        <a:rPr kumimoji="0" lang="en-US" sz="1400" b="0" i="0" u="none" strike="noStrike" kern="1200" cap="none" spc="0" normalizeH="0" baseline="0" noProof="0" dirty="0" err="1">
                          <a:ln>
                            <a:noFill/>
                          </a:ln>
                          <a:solidFill>
                            <a:srgbClr val="202020"/>
                          </a:solidFill>
                          <a:effectLst/>
                          <a:uLnTx/>
                          <a:uFillTx/>
                          <a:latin typeface="+mn-lt"/>
                          <a:ea typeface="+mn-ea"/>
                          <a:cs typeface="+mn-cs"/>
                        </a:rPr>
                        <a:t>sostenido</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3078637641"/>
                  </a:ext>
                </a:extLst>
              </a:tr>
              <a:tr h="5087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err="1">
                          <a:solidFill>
                            <a:srgbClr val="202020"/>
                          </a:solidFill>
                        </a:rPr>
                        <a:t>Ofertas</a:t>
                      </a:r>
                      <a:r>
                        <a:rPr lang="en-US" sz="1400" dirty="0">
                          <a:solidFill>
                            <a:srgbClr val="202020"/>
                          </a:solidFill>
                        </a:rPr>
                        <a:t> de </a:t>
                      </a:r>
                      <a:r>
                        <a:rPr lang="en-US" sz="1400" dirty="0" err="1">
                          <a:solidFill>
                            <a:srgbClr val="202020"/>
                          </a:solidFill>
                        </a:rPr>
                        <a:t>productos</a:t>
                      </a:r>
                      <a:r>
                        <a:rPr lang="en-US" sz="1400" dirty="0">
                          <a:solidFill>
                            <a:srgbClr val="202020"/>
                          </a:solidFill>
                        </a:rPr>
                        <a:t> </a:t>
                      </a:r>
                      <a:r>
                        <a:rPr lang="en-US" sz="1400" dirty="0" err="1">
                          <a:solidFill>
                            <a:srgbClr val="202020"/>
                          </a:solidFill>
                        </a:rPr>
                        <a:t>modificadas</a:t>
                      </a:r>
                      <a:endParaRPr lang="en-US" sz="1400" dirty="0">
                        <a:solidFill>
                          <a:srgbClr val="20202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04487299"/>
                  </a:ext>
                </a:extLst>
              </a:tr>
            </a:tbl>
          </a:graphicData>
        </a:graphic>
      </p:graphicFrame>
      <p:graphicFrame>
        <p:nvGraphicFramePr>
          <p:cNvPr id="41" name="Table 40">
            <a:extLst>
              <a:ext uri="{FF2B5EF4-FFF2-40B4-BE49-F238E27FC236}">
                <a16:creationId xmlns:a16="http://schemas.microsoft.com/office/drawing/2014/main" id="{80AB579C-5422-60D2-47C9-9AB22B9BB345}"/>
              </a:ext>
            </a:extLst>
          </p:cNvPr>
          <p:cNvGraphicFramePr>
            <a:graphicFrameLocks noGrp="1"/>
          </p:cNvGraphicFramePr>
          <p:nvPr>
            <p:extLst>
              <p:ext uri="{D42A27DB-BD31-4B8C-83A1-F6EECF244321}">
                <p14:modId xmlns:p14="http://schemas.microsoft.com/office/powerpoint/2010/main" val="3559656616"/>
              </p:ext>
            </p:extLst>
          </p:nvPr>
        </p:nvGraphicFramePr>
        <p:xfrm>
          <a:off x="8222763" y="2343516"/>
          <a:ext cx="2984596" cy="2571880"/>
        </p:xfrm>
        <a:graphic>
          <a:graphicData uri="http://schemas.openxmlformats.org/drawingml/2006/table">
            <a:tbl>
              <a:tblPr firstRow="1" bandRow="1"/>
              <a:tblGrid>
                <a:gridCol w="2984596">
                  <a:extLst>
                    <a:ext uri="{9D8B030D-6E8A-4147-A177-3AD203B41FA5}">
                      <a16:colId xmlns:a16="http://schemas.microsoft.com/office/drawing/2014/main" val="3680838928"/>
                    </a:ext>
                  </a:extLst>
                </a:gridCol>
              </a:tblGrid>
              <a:tr h="508700">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0" i="0" u="none" strike="noStrike" kern="1200" cap="none" spc="0" normalizeH="0" baseline="0" noProof="0" dirty="0" err="1">
                          <a:ln>
                            <a:noFill/>
                          </a:ln>
                          <a:solidFill>
                            <a:srgbClr val="202020"/>
                          </a:solidFill>
                          <a:effectLst/>
                          <a:uLnTx/>
                          <a:uFillTx/>
                          <a:latin typeface="+mn-lt"/>
                          <a:ea typeface="+mn-ea"/>
                          <a:cs typeface="+mn-cs"/>
                        </a:rPr>
                        <a:t>Creciente</a:t>
                      </a:r>
                      <a:r>
                        <a:rPr kumimoji="0" lang="en-US" sz="1400" b="0" i="0" u="none" strike="noStrike" kern="1200" cap="none" spc="0" normalizeH="0" baseline="0" noProof="0" dirty="0">
                          <a:ln>
                            <a:noFill/>
                          </a:ln>
                          <a:solidFill>
                            <a:srgbClr val="202020"/>
                          </a:solidFill>
                          <a:effectLst/>
                          <a:uLnTx/>
                          <a:uFillTx/>
                          <a:latin typeface="+mn-lt"/>
                          <a:ea typeface="+mn-ea"/>
                          <a:cs typeface="+mn-cs"/>
                        </a:rPr>
                        <a:t> </a:t>
                      </a:r>
                      <a:r>
                        <a:rPr kumimoji="0" lang="en-US" sz="1400" b="0" i="0" u="none" strike="noStrike" kern="1200" cap="none" spc="0" normalizeH="0" baseline="0" noProof="0" dirty="0" err="1">
                          <a:ln>
                            <a:noFill/>
                          </a:ln>
                          <a:solidFill>
                            <a:srgbClr val="202020"/>
                          </a:solidFill>
                          <a:effectLst/>
                          <a:uLnTx/>
                          <a:uFillTx/>
                          <a:latin typeface="+mn-lt"/>
                          <a:ea typeface="+mn-ea"/>
                          <a:cs typeface="+mn-cs"/>
                        </a:rPr>
                        <a:t>volatilidad</a:t>
                      </a:r>
                      <a:r>
                        <a:rPr kumimoji="0" lang="en-US" sz="1400" b="0" i="0" u="none" strike="noStrike" kern="1200" cap="none" spc="0" normalizeH="0" baseline="0" noProof="0" dirty="0">
                          <a:ln>
                            <a:noFill/>
                          </a:ln>
                          <a:solidFill>
                            <a:srgbClr val="202020"/>
                          </a:solidFill>
                          <a:effectLst/>
                          <a:uLnTx/>
                          <a:uFillTx/>
                          <a:latin typeface="+mn-lt"/>
                          <a:ea typeface="+mn-ea"/>
                          <a:cs typeface="+mn-cs"/>
                        </a:rPr>
                        <a:t> </a:t>
                      </a:r>
                      <a:r>
                        <a:rPr kumimoji="0" lang="en-US" sz="1400" b="0" i="0" u="none" strike="noStrike" kern="1200" cap="none" spc="0" normalizeH="0" baseline="0" noProof="0" dirty="0" err="1">
                          <a:ln>
                            <a:noFill/>
                          </a:ln>
                          <a:solidFill>
                            <a:srgbClr val="202020"/>
                          </a:solidFill>
                          <a:effectLst/>
                          <a:uLnTx/>
                          <a:uFillTx/>
                          <a:latin typeface="+mn-lt"/>
                          <a:ea typeface="+mn-ea"/>
                          <a:cs typeface="+mn-cs"/>
                        </a:rPr>
                        <a:t>geopolítica</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321276076"/>
                  </a:ext>
                </a:extLst>
              </a:tr>
              <a:tr h="508700">
                <a:tc>
                  <a:txBody>
                    <a:bodyPr/>
                    <a:lstStyle/>
                    <a:p>
                      <a:pPr marL="0" marR="0" lvl="0" indent="0" algn="ctr" rtl="0" eaLnBrk="1" fontAlgn="auto" latinLnBrk="0" hangingPunct="1">
                        <a:lnSpc>
                          <a:spcPct val="100000"/>
                        </a:lnSpc>
                        <a:spcBef>
                          <a:spcPts val="0"/>
                        </a:spcBef>
                        <a:spcAft>
                          <a:spcPts val="0"/>
                        </a:spcAft>
                        <a:buClrTx/>
                        <a:buSzTx/>
                        <a:buFontTx/>
                        <a:buNone/>
                      </a:pPr>
                      <a:r>
                        <a:rPr lang="es-ES" sz="1400" baseline="0" dirty="0">
                          <a:solidFill>
                            <a:srgbClr val="202020"/>
                          </a:solidFill>
                          <a:latin typeface="+mn-lt"/>
                        </a:rPr>
                        <a:t>Inflación económica y social continua</a:t>
                      </a:r>
                      <a:endParaRPr lang="en-US" sz="1400" baseline="0" dirty="0">
                        <a:solidFill>
                          <a:srgbClr val="20202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1630612337"/>
                  </a:ext>
                </a:extLst>
              </a:tr>
              <a:tr h="508700">
                <a:tc>
                  <a:txBody>
                    <a:bodyPr/>
                    <a:lstStyle/>
                    <a:p>
                      <a:pPr marL="0" marR="0" lvl="0" indent="0" algn="ctr" rtl="0" eaLnBrk="1" fontAlgn="auto" latinLnBrk="0" hangingPunct="1">
                        <a:lnSpc>
                          <a:spcPct val="100000"/>
                        </a:lnSpc>
                        <a:spcBef>
                          <a:spcPts val="0"/>
                        </a:spcBef>
                        <a:spcAft>
                          <a:spcPts val="0"/>
                        </a:spcAft>
                        <a:buSzTx/>
                        <a:buFont typeface="Arial" panose="020B0604020202020204" pitchFamily="34" charset="0"/>
                        <a:buNone/>
                      </a:pPr>
                      <a:r>
                        <a:rPr kumimoji="0" lang="en-US" sz="1400" b="0" i="0" u="none" strike="noStrike" kern="1200" cap="none" spc="0" normalizeH="0" baseline="0" noProof="0" dirty="0" err="1">
                          <a:ln>
                            <a:noFill/>
                          </a:ln>
                          <a:solidFill>
                            <a:srgbClr val="202020"/>
                          </a:solidFill>
                          <a:effectLst/>
                          <a:uLnTx/>
                          <a:uFillTx/>
                          <a:latin typeface="+mn-lt"/>
                          <a:ea typeface="+mn-ea"/>
                          <a:cs typeface="+mn-cs"/>
                        </a:rPr>
                        <a:t>Incertidumbre</a:t>
                      </a:r>
                      <a:r>
                        <a:rPr kumimoji="0" lang="en-US" sz="1400" b="0" i="0" u="none" strike="noStrike" kern="1200" cap="none" spc="0" normalizeH="0" baseline="0" noProof="0" dirty="0">
                          <a:ln>
                            <a:noFill/>
                          </a:ln>
                          <a:solidFill>
                            <a:srgbClr val="202020"/>
                          </a:solidFill>
                          <a:effectLst/>
                          <a:uLnTx/>
                          <a:uFillTx/>
                          <a:latin typeface="+mn-lt"/>
                          <a:ea typeface="+mn-ea"/>
                          <a:cs typeface="+mn-cs"/>
                        </a:rPr>
                        <a:t> </a:t>
                      </a:r>
                      <a:r>
                        <a:rPr kumimoji="0" lang="en-US" sz="1400" b="0" i="0" u="none" strike="noStrike" kern="1200" cap="none" spc="0" normalizeH="0" baseline="0" noProof="0" dirty="0" err="1">
                          <a:ln>
                            <a:noFill/>
                          </a:ln>
                          <a:solidFill>
                            <a:srgbClr val="202020"/>
                          </a:solidFill>
                          <a:effectLst/>
                          <a:uLnTx/>
                          <a:uFillTx/>
                          <a:latin typeface="+mn-lt"/>
                          <a:ea typeface="+mn-ea"/>
                          <a:cs typeface="+mn-cs"/>
                        </a:rPr>
                        <a:t>macroeconómica</a:t>
                      </a:r>
                      <a:r>
                        <a:rPr kumimoji="0" lang="en-US" sz="1400" b="0" i="0" u="none" strike="noStrike" kern="1200" cap="none" spc="0" normalizeH="0" baseline="0" noProof="0" dirty="0">
                          <a:ln>
                            <a:noFill/>
                          </a:ln>
                          <a:solidFill>
                            <a:srgbClr val="202020"/>
                          </a:solidFill>
                          <a:effectLst/>
                          <a:uLnTx/>
                          <a:uFillTx/>
                          <a:latin typeface="+mn-lt"/>
                          <a:ea typeface="+mn-ea"/>
                          <a:cs typeface="+mn-cs"/>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1488711502"/>
                  </a:ext>
                </a:extLst>
              </a:tr>
              <a:tr h="5087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202020"/>
                          </a:solidFill>
                          <a:effectLst/>
                          <a:uLnTx/>
                          <a:uFillTx/>
                          <a:latin typeface="+mn-lt"/>
                          <a:ea typeface="+mn-ea"/>
                          <a:cs typeface="+mn-cs"/>
                        </a:rPr>
                        <a:t>Actividad de pérdidas por catástrofes globales</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DADADA"/>
                      </a:solidFill>
                      <a:prstDash val="solid"/>
                      <a:round/>
                      <a:headEnd type="none" w="med" len="med"/>
                      <a:tailEnd type="none" w="med" len="med"/>
                    </a:lnB>
                    <a:noFill/>
                  </a:tcPr>
                </a:tc>
                <a:extLst>
                  <a:ext uri="{0D108BD9-81ED-4DB2-BD59-A6C34878D82A}">
                    <a16:rowId xmlns:a16="http://schemas.microsoft.com/office/drawing/2014/main" val="3078637641"/>
                  </a:ext>
                </a:extLst>
              </a:tr>
              <a:tr h="508700">
                <a:tc>
                  <a:txBody>
                    <a:bodyPr/>
                    <a:lstStyle/>
                    <a:p>
                      <a:pPr marL="0" marR="0" lvl="0" indent="0" algn="ctr" defTabSz="457200" rtl="0" eaLnBrk="1" fontAlgn="auto" latinLnBrk="0" hangingPunct="1">
                        <a:lnSpc>
                          <a:spcPct val="100000"/>
                        </a:lnSpc>
                        <a:spcBef>
                          <a:spcPts val="0"/>
                        </a:spcBef>
                        <a:spcAft>
                          <a:spcPts val="0"/>
                        </a:spcAft>
                        <a:buSzTx/>
                        <a:buFont typeface="Arial" panose="020B0604020202020204" pitchFamily="34" charset="0"/>
                        <a:buNone/>
                        <a:tabLst/>
                        <a:defRPr/>
                      </a:pPr>
                      <a:r>
                        <a:rPr kumimoji="0" lang="es-ES" sz="1400" b="0" i="0" u="none" strike="noStrike" kern="1200" cap="none" spc="0" normalizeH="0" baseline="0" noProof="0" dirty="0">
                          <a:ln>
                            <a:noFill/>
                          </a:ln>
                          <a:solidFill>
                            <a:srgbClr val="202020"/>
                          </a:solidFill>
                          <a:effectLst/>
                          <a:uLnTx/>
                          <a:uFillTx/>
                          <a:latin typeface="+mn-lt"/>
                          <a:ea typeface="+mn-ea"/>
                          <a:cs typeface="+mn-cs"/>
                        </a:rPr>
                        <a:t>Preocupaciones por el cambio climático</a:t>
                      </a:r>
                      <a:endParaRPr kumimoji="0" lang="en-US" sz="1400" b="0" i="0" u="none" strike="noStrike" kern="1200" cap="none" spc="0" normalizeH="0" baseline="0" noProof="0" dirty="0">
                        <a:ln>
                          <a:noFill/>
                        </a:ln>
                        <a:solidFill>
                          <a:srgbClr val="20202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04487299"/>
                  </a:ext>
                </a:extLst>
              </a:tr>
            </a:tbl>
          </a:graphicData>
        </a:graphic>
      </p:graphicFrame>
      <p:sp>
        <p:nvSpPr>
          <p:cNvPr id="42" name="Oval 41">
            <a:extLst>
              <a:ext uri="{FF2B5EF4-FFF2-40B4-BE49-F238E27FC236}">
                <a16:creationId xmlns:a16="http://schemas.microsoft.com/office/drawing/2014/main" id="{17954FCE-203F-AACA-1AC6-8AF139751603}"/>
              </a:ext>
            </a:extLst>
          </p:cNvPr>
          <p:cNvSpPr/>
          <p:nvPr/>
        </p:nvSpPr>
        <p:spPr>
          <a:xfrm>
            <a:off x="5150069" y="2297147"/>
            <a:ext cx="1891862" cy="1891862"/>
          </a:xfrm>
          <a:prstGeom prst="ellipse">
            <a:avLst/>
          </a:prstGeom>
          <a:solidFill>
            <a:schemeClr val="accent2"/>
          </a:solidFill>
          <a:ln w="571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3F50FB1B-680F-4FFD-9628-2AEBDCA0208B}"/>
              </a:ext>
            </a:extLst>
          </p:cNvPr>
          <p:cNvSpPr txBox="1"/>
          <p:nvPr/>
        </p:nvSpPr>
        <p:spPr>
          <a:xfrm>
            <a:off x="5150069" y="3392697"/>
            <a:ext cx="1891862" cy="462947"/>
          </a:xfrm>
          <a:prstGeom prst="rect">
            <a:avLst/>
          </a:prstGeom>
          <a:noFill/>
        </p:spPr>
        <p:txBody>
          <a:bodyPr wrap="square">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rPr>
              <a:t>Un mercado </a:t>
            </a: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en</a:t>
            </a:r>
            <a:r>
              <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rPr>
              <a:t> </a:t>
            </a:r>
            <a:r>
              <a:rPr kumimoji="0" lang="en-US" sz="1400" b="1" i="0" u="none" strike="noStrike" kern="1200" cap="none" spc="0" normalizeH="0" baseline="0" noProof="0" dirty="0" err="1">
                <a:ln>
                  <a:noFill/>
                </a:ln>
                <a:solidFill>
                  <a:srgbClr val="FFFFFF"/>
                </a:solidFill>
                <a:effectLst/>
                <a:uLnTx/>
                <a:uFillTx/>
                <a:latin typeface="Arial" panose="020B0604020202020204"/>
                <a:ea typeface="MS PGothic"/>
                <a:cs typeface="+mn-cs"/>
              </a:rPr>
              <a:t>transición</a:t>
            </a:r>
            <a:endParaRPr kumimoji="0" lang="en-US" sz="1400"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pic>
        <p:nvPicPr>
          <p:cNvPr id="61" name="Picture 60">
            <a:extLst>
              <a:ext uri="{FF2B5EF4-FFF2-40B4-BE49-F238E27FC236}">
                <a16:creationId xmlns:a16="http://schemas.microsoft.com/office/drawing/2014/main" id="{B1BE75E2-67C5-74AF-FFD4-7D7B01EC4F4A}"/>
              </a:ext>
            </a:extLst>
          </p:cNvPr>
          <p:cNvPicPr>
            <a:picLocks noChangeAspect="1"/>
          </p:cNvPicPr>
          <p:nvPr/>
        </p:nvPicPr>
        <p:blipFill>
          <a:blip r:embed="rId5"/>
          <a:stretch>
            <a:fillRect/>
          </a:stretch>
        </p:blipFill>
        <p:spPr>
          <a:xfrm>
            <a:off x="4071452" y="1100484"/>
            <a:ext cx="1085182" cy="4286649"/>
          </a:xfrm>
          <a:prstGeom prst="rect">
            <a:avLst/>
          </a:prstGeom>
        </p:spPr>
      </p:pic>
      <p:pic>
        <p:nvPicPr>
          <p:cNvPr id="64" name="Picture 63">
            <a:extLst>
              <a:ext uri="{FF2B5EF4-FFF2-40B4-BE49-F238E27FC236}">
                <a16:creationId xmlns:a16="http://schemas.microsoft.com/office/drawing/2014/main" id="{1EB69BD4-57C6-DCE0-6F97-C43139BD80F5}"/>
              </a:ext>
            </a:extLst>
          </p:cNvPr>
          <p:cNvPicPr>
            <a:picLocks noChangeAspect="1"/>
          </p:cNvPicPr>
          <p:nvPr/>
        </p:nvPicPr>
        <p:blipFill>
          <a:blip r:embed="rId6"/>
          <a:stretch>
            <a:fillRect/>
          </a:stretch>
        </p:blipFill>
        <p:spPr>
          <a:xfrm>
            <a:off x="7042805" y="1100484"/>
            <a:ext cx="1085182" cy="4289697"/>
          </a:xfrm>
          <a:prstGeom prst="rect">
            <a:avLst/>
          </a:prstGeom>
        </p:spPr>
      </p:pic>
      <p:grpSp>
        <p:nvGrpSpPr>
          <p:cNvPr id="9" name="Group 14" descr="Currency exchange.">
            <a:extLst>
              <a:ext uri="{FF2B5EF4-FFF2-40B4-BE49-F238E27FC236}">
                <a16:creationId xmlns:a16="http://schemas.microsoft.com/office/drawing/2014/main" id="{1D02DCA6-4A59-27E1-0BE2-E2D148227178}"/>
              </a:ext>
            </a:extLst>
          </p:cNvPr>
          <p:cNvGrpSpPr>
            <a:grpSpLocks noChangeAspect="1"/>
          </p:cNvGrpSpPr>
          <p:nvPr/>
        </p:nvGrpSpPr>
        <p:grpSpPr bwMode="auto">
          <a:xfrm>
            <a:off x="5808037" y="2755716"/>
            <a:ext cx="575927" cy="576867"/>
            <a:chOff x="3577" y="1667"/>
            <a:chExt cx="613" cy="614"/>
          </a:xfrm>
          <a:solidFill>
            <a:schemeClr val="bg1"/>
          </a:solidFill>
        </p:grpSpPr>
        <p:sp>
          <p:nvSpPr>
            <p:cNvPr id="12" name="Freeform 5">
              <a:extLst>
                <a:ext uri="{FF2B5EF4-FFF2-40B4-BE49-F238E27FC236}">
                  <a16:creationId xmlns:a16="http://schemas.microsoft.com/office/drawing/2014/main" id="{D39BF406-7AE6-2E2F-B058-E9707F83C218}"/>
                </a:ext>
              </a:extLst>
            </p:cNvPr>
            <p:cNvSpPr>
              <a:spLocks noEditPoints="1"/>
            </p:cNvSpPr>
            <p:nvPr/>
          </p:nvSpPr>
          <p:spPr bwMode="auto">
            <a:xfrm>
              <a:off x="3577" y="1667"/>
              <a:ext cx="268" cy="268"/>
            </a:xfrm>
            <a:custGeom>
              <a:avLst/>
              <a:gdLst>
                <a:gd name="T0" fmla="*/ 112 w 112"/>
                <a:gd name="T1" fmla="*/ 56 h 112"/>
                <a:gd name="T2" fmla="*/ 56 w 112"/>
                <a:gd name="T3" fmla="*/ 0 h 112"/>
                <a:gd name="T4" fmla="*/ 0 w 112"/>
                <a:gd name="T5" fmla="*/ 56 h 112"/>
                <a:gd name="T6" fmla="*/ 56 w 112"/>
                <a:gd name="T7" fmla="*/ 112 h 112"/>
                <a:gd name="T8" fmla="*/ 112 w 112"/>
                <a:gd name="T9" fmla="*/ 56 h 112"/>
                <a:gd name="T10" fmla="*/ 16 w 112"/>
                <a:gd name="T11" fmla="*/ 56 h 112"/>
                <a:gd name="T12" fmla="*/ 56 w 112"/>
                <a:gd name="T13" fmla="*/ 16 h 112"/>
                <a:gd name="T14" fmla="*/ 96 w 112"/>
                <a:gd name="T15" fmla="*/ 56 h 112"/>
                <a:gd name="T16" fmla="*/ 56 w 112"/>
                <a:gd name="T17" fmla="*/ 96 h 112"/>
                <a:gd name="T18" fmla="*/ 16 w 112"/>
                <a:gd name="T19"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112" y="56"/>
                  </a:moveTo>
                  <a:cubicBezTo>
                    <a:pt x="112" y="25"/>
                    <a:pt x="87" y="0"/>
                    <a:pt x="56" y="0"/>
                  </a:cubicBezTo>
                  <a:cubicBezTo>
                    <a:pt x="25" y="0"/>
                    <a:pt x="0" y="25"/>
                    <a:pt x="0" y="56"/>
                  </a:cubicBezTo>
                  <a:cubicBezTo>
                    <a:pt x="0" y="87"/>
                    <a:pt x="25" y="112"/>
                    <a:pt x="56" y="112"/>
                  </a:cubicBezTo>
                  <a:cubicBezTo>
                    <a:pt x="87" y="112"/>
                    <a:pt x="112" y="87"/>
                    <a:pt x="112" y="56"/>
                  </a:cubicBezTo>
                  <a:close/>
                  <a:moveTo>
                    <a:pt x="16" y="56"/>
                  </a:moveTo>
                  <a:cubicBezTo>
                    <a:pt x="16" y="34"/>
                    <a:pt x="34" y="16"/>
                    <a:pt x="56" y="16"/>
                  </a:cubicBezTo>
                  <a:cubicBezTo>
                    <a:pt x="78" y="16"/>
                    <a:pt x="96" y="34"/>
                    <a:pt x="96" y="56"/>
                  </a:cubicBezTo>
                  <a:cubicBezTo>
                    <a:pt x="96" y="78"/>
                    <a:pt x="78" y="96"/>
                    <a:pt x="56" y="96"/>
                  </a:cubicBezTo>
                  <a:cubicBezTo>
                    <a:pt x="34" y="96"/>
                    <a:pt x="16" y="78"/>
                    <a:pt x="1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A22FE4B2-6890-DB4A-F61E-88D9BC884CCC}"/>
                </a:ext>
              </a:extLst>
            </p:cNvPr>
            <p:cNvSpPr>
              <a:spLocks noEditPoints="1"/>
            </p:cNvSpPr>
            <p:nvPr/>
          </p:nvSpPr>
          <p:spPr bwMode="auto">
            <a:xfrm>
              <a:off x="3922" y="2012"/>
              <a:ext cx="268" cy="269"/>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96 h 112"/>
                <a:gd name="T12" fmla="*/ 16 w 112"/>
                <a:gd name="T13" fmla="*/ 56 h 112"/>
                <a:gd name="T14" fmla="*/ 56 w 112"/>
                <a:gd name="T15" fmla="*/ 16 h 112"/>
                <a:gd name="T16" fmla="*/ 96 w 112"/>
                <a:gd name="T17" fmla="*/ 56 h 112"/>
                <a:gd name="T18" fmla="*/ 56 w 112"/>
                <a:gd name="T19"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96"/>
                  </a:moveTo>
                  <a:cubicBezTo>
                    <a:pt x="34" y="96"/>
                    <a:pt x="16" y="78"/>
                    <a:pt x="16" y="56"/>
                  </a:cubicBezTo>
                  <a:cubicBezTo>
                    <a:pt x="16" y="34"/>
                    <a:pt x="34" y="16"/>
                    <a:pt x="56" y="16"/>
                  </a:cubicBezTo>
                  <a:cubicBezTo>
                    <a:pt x="78" y="16"/>
                    <a:pt x="96" y="34"/>
                    <a:pt x="96" y="56"/>
                  </a:cubicBezTo>
                  <a:cubicBezTo>
                    <a:pt x="96" y="78"/>
                    <a:pt x="78" y="96"/>
                    <a:pt x="5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EDD6F209-C51C-48FA-5141-83009C5336AF}"/>
                </a:ext>
              </a:extLst>
            </p:cNvPr>
            <p:cNvSpPr>
              <a:spLocks/>
            </p:cNvSpPr>
            <p:nvPr/>
          </p:nvSpPr>
          <p:spPr bwMode="auto">
            <a:xfrm>
              <a:off x="3902" y="1722"/>
              <a:ext cx="231" cy="252"/>
            </a:xfrm>
            <a:custGeom>
              <a:avLst/>
              <a:gdLst>
                <a:gd name="T0" fmla="*/ 3 w 96"/>
                <a:gd name="T1" fmla="*/ 47 h 105"/>
                <a:gd name="T2" fmla="*/ 35 w 96"/>
                <a:gd name="T3" fmla="*/ 79 h 105"/>
                <a:gd name="T4" fmla="*/ 40 w 96"/>
                <a:gd name="T5" fmla="*/ 81 h 105"/>
                <a:gd name="T6" fmla="*/ 46 w 96"/>
                <a:gd name="T7" fmla="*/ 79 h 105"/>
                <a:gd name="T8" fmla="*/ 46 w 96"/>
                <a:gd name="T9" fmla="*/ 67 h 105"/>
                <a:gd name="T10" fmla="*/ 28 w 96"/>
                <a:gd name="T11" fmla="*/ 49 h 105"/>
                <a:gd name="T12" fmla="*/ 80 w 96"/>
                <a:gd name="T13" fmla="*/ 49 h 105"/>
                <a:gd name="T14" fmla="*/ 80 w 96"/>
                <a:gd name="T15" fmla="*/ 97 h 105"/>
                <a:gd name="T16" fmla="*/ 88 w 96"/>
                <a:gd name="T17" fmla="*/ 105 h 105"/>
                <a:gd name="T18" fmla="*/ 96 w 96"/>
                <a:gd name="T19" fmla="*/ 97 h 105"/>
                <a:gd name="T20" fmla="*/ 96 w 96"/>
                <a:gd name="T21" fmla="*/ 41 h 105"/>
                <a:gd name="T22" fmla="*/ 88 w 96"/>
                <a:gd name="T23" fmla="*/ 33 h 105"/>
                <a:gd name="T24" fmla="*/ 28 w 96"/>
                <a:gd name="T25" fmla="*/ 33 h 105"/>
                <a:gd name="T26" fmla="*/ 46 w 96"/>
                <a:gd name="T27" fmla="*/ 15 h 105"/>
                <a:gd name="T28" fmla="*/ 46 w 96"/>
                <a:gd name="T29" fmla="*/ 3 h 105"/>
                <a:gd name="T30" fmla="*/ 35 w 96"/>
                <a:gd name="T31" fmla="*/ 3 h 105"/>
                <a:gd name="T32" fmla="*/ 3 w 96"/>
                <a:gd name="T33" fmla="*/ 35 h 105"/>
                <a:gd name="T34" fmla="*/ 1 w 96"/>
                <a:gd name="T35" fmla="*/ 38 h 105"/>
                <a:gd name="T36" fmla="*/ 1 w 96"/>
                <a:gd name="T37" fmla="*/ 44 h 105"/>
                <a:gd name="T38" fmla="*/ 3 w 96"/>
                <a:gd name="T39" fmla="*/ 4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05">
                  <a:moveTo>
                    <a:pt x="3" y="47"/>
                  </a:moveTo>
                  <a:cubicBezTo>
                    <a:pt x="35" y="79"/>
                    <a:pt x="35" y="79"/>
                    <a:pt x="35" y="79"/>
                  </a:cubicBezTo>
                  <a:cubicBezTo>
                    <a:pt x="36" y="80"/>
                    <a:pt x="38" y="81"/>
                    <a:pt x="40" y="81"/>
                  </a:cubicBezTo>
                  <a:cubicBezTo>
                    <a:pt x="42" y="81"/>
                    <a:pt x="44" y="80"/>
                    <a:pt x="46" y="79"/>
                  </a:cubicBezTo>
                  <a:cubicBezTo>
                    <a:pt x="49" y="76"/>
                    <a:pt x="49" y="71"/>
                    <a:pt x="46" y="67"/>
                  </a:cubicBezTo>
                  <a:cubicBezTo>
                    <a:pt x="28" y="49"/>
                    <a:pt x="28" y="49"/>
                    <a:pt x="28" y="49"/>
                  </a:cubicBezTo>
                  <a:cubicBezTo>
                    <a:pt x="80" y="49"/>
                    <a:pt x="80" y="49"/>
                    <a:pt x="80" y="49"/>
                  </a:cubicBezTo>
                  <a:cubicBezTo>
                    <a:pt x="80" y="97"/>
                    <a:pt x="80" y="97"/>
                    <a:pt x="80" y="97"/>
                  </a:cubicBezTo>
                  <a:cubicBezTo>
                    <a:pt x="80" y="101"/>
                    <a:pt x="84" y="105"/>
                    <a:pt x="88" y="105"/>
                  </a:cubicBezTo>
                  <a:cubicBezTo>
                    <a:pt x="93" y="105"/>
                    <a:pt x="96" y="101"/>
                    <a:pt x="96" y="97"/>
                  </a:cubicBezTo>
                  <a:cubicBezTo>
                    <a:pt x="96" y="41"/>
                    <a:pt x="96" y="41"/>
                    <a:pt x="96" y="41"/>
                  </a:cubicBezTo>
                  <a:cubicBezTo>
                    <a:pt x="96" y="37"/>
                    <a:pt x="93" y="33"/>
                    <a:pt x="88" y="33"/>
                  </a:cubicBezTo>
                  <a:cubicBezTo>
                    <a:pt x="28" y="33"/>
                    <a:pt x="28" y="33"/>
                    <a:pt x="28" y="33"/>
                  </a:cubicBezTo>
                  <a:cubicBezTo>
                    <a:pt x="46" y="15"/>
                    <a:pt x="46" y="15"/>
                    <a:pt x="46" y="15"/>
                  </a:cubicBezTo>
                  <a:cubicBezTo>
                    <a:pt x="49" y="12"/>
                    <a:pt x="49" y="7"/>
                    <a:pt x="46" y="3"/>
                  </a:cubicBezTo>
                  <a:cubicBezTo>
                    <a:pt x="43" y="0"/>
                    <a:pt x="38" y="0"/>
                    <a:pt x="35" y="3"/>
                  </a:cubicBezTo>
                  <a:cubicBezTo>
                    <a:pt x="3" y="35"/>
                    <a:pt x="3" y="35"/>
                    <a:pt x="3" y="35"/>
                  </a:cubicBezTo>
                  <a:cubicBezTo>
                    <a:pt x="2" y="36"/>
                    <a:pt x="1" y="37"/>
                    <a:pt x="1" y="38"/>
                  </a:cubicBezTo>
                  <a:cubicBezTo>
                    <a:pt x="0" y="40"/>
                    <a:pt x="0" y="42"/>
                    <a:pt x="1" y="44"/>
                  </a:cubicBezTo>
                  <a:cubicBezTo>
                    <a:pt x="1" y="45"/>
                    <a:pt x="2" y="46"/>
                    <a:pt x="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7265D880-FD21-FB97-2B34-F0A2622EB84F}"/>
                </a:ext>
              </a:extLst>
            </p:cNvPr>
            <p:cNvSpPr>
              <a:spLocks/>
            </p:cNvSpPr>
            <p:nvPr/>
          </p:nvSpPr>
          <p:spPr bwMode="auto">
            <a:xfrm>
              <a:off x="3634" y="1974"/>
              <a:ext cx="230" cy="249"/>
            </a:xfrm>
            <a:custGeom>
              <a:avLst/>
              <a:gdLst>
                <a:gd name="T0" fmla="*/ 96 w 96"/>
                <a:gd name="T1" fmla="*/ 61 h 104"/>
                <a:gd name="T2" fmla="*/ 94 w 96"/>
                <a:gd name="T3" fmla="*/ 58 h 104"/>
                <a:gd name="T4" fmla="*/ 62 w 96"/>
                <a:gd name="T5" fmla="*/ 26 h 104"/>
                <a:gd name="T6" fmla="*/ 51 w 96"/>
                <a:gd name="T7" fmla="*/ 26 h 104"/>
                <a:gd name="T8" fmla="*/ 51 w 96"/>
                <a:gd name="T9" fmla="*/ 38 h 104"/>
                <a:gd name="T10" fmla="*/ 69 w 96"/>
                <a:gd name="T11" fmla="*/ 56 h 104"/>
                <a:gd name="T12" fmla="*/ 16 w 96"/>
                <a:gd name="T13" fmla="*/ 56 h 104"/>
                <a:gd name="T14" fmla="*/ 16 w 96"/>
                <a:gd name="T15" fmla="*/ 8 h 104"/>
                <a:gd name="T16" fmla="*/ 8 w 96"/>
                <a:gd name="T17" fmla="*/ 0 h 104"/>
                <a:gd name="T18" fmla="*/ 0 w 96"/>
                <a:gd name="T19" fmla="*/ 8 h 104"/>
                <a:gd name="T20" fmla="*/ 0 w 96"/>
                <a:gd name="T21" fmla="*/ 64 h 104"/>
                <a:gd name="T22" fmla="*/ 8 w 96"/>
                <a:gd name="T23" fmla="*/ 72 h 104"/>
                <a:gd name="T24" fmla="*/ 69 w 96"/>
                <a:gd name="T25" fmla="*/ 72 h 104"/>
                <a:gd name="T26" fmla="*/ 51 w 96"/>
                <a:gd name="T27" fmla="*/ 90 h 104"/>
                <a:gd name="T28" fmla="*/ 51 w 96"/>
                <a:gd name="T29" fmla="*/ 102 h 104"/>
                <a:gd name="T30" fmla="*/ 56 w 96"/>
                <a:gd name="T31" fmla="*/ 104 h 104"/>
                <a:gd name="T32" fmla="*/ 62 w 96"/>
                <a:gd name="T33" fmla="*/ 102 h 104"/>
                <a:gd name="T34" fmla="*/ 94 w 96"/>
                <a:gd name="T35" fmla="*/ 70 h 104"/>
                <a:gd name="T36" fmla="*/ 96 w 96"/>
                <a:gd name="T37" fmla="*/ 67 h 104"/>
                <a:gd name="T38" fmla="*/ 96 w 96"/>
                <a:gd name="T39"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04">
                  <a:moveTo>
                    <a:pt x="96" y="61"/>
                  </a:moveTo>
                  <a:cubicBezTo>
                    <a:pt x="95" y="60"/>
                    <a:pt x="95" y="59"/>
                    <a:pt x="94" y="58"/>
                  </a:cubicBezTo>
                  <a:cubicBezTo>
                    <a:pt x="62" y="26"/>
                    <a:pt x="62" y="26"/>
                    <a:pt x="62" y="26"/>
                  </a:cubicBezTo>
                  <a:cubicBezTo>
                    <a:pt x="59" y="23"/>
                    <a:pt x="54" y="23"/>
                    <a:pt x="51" y="26"/>
                  </a:cubicBezTo>
                  <a:cubicBezTo>
                    <a:pt x="47" y="30"/>
                    <a:pt x="47" y="35"/>
                    <a:pt x="51" y="38"/>
                  </a:cubicBezTo>
                  <a:cubicBezTo>
                    <a:pt x="69" y="56"/>
                    <a:pt x="69" y="56"/>
                    <a:pt x="69" y="56"/>
                  </a:cubicBezTo>
                  <a:cubicBezTo>
                    <a:pt x="16" y="56"/>
                    <a:pt x="16" y="56"/>
                    <a:pt x="16" y="56"/>
                  </a:cubicBezTo>
                  <a:cubicBezTo>
                    <a:pt x="16" y="8"/>
                    <a:pt x="16" y="8"/>
                    <a:pt x="16" y="8"/>
                  </a:cubicBezTo>
                  <a:cubicBezTo>
                    <a:pt x="16" y="4"/>
                    <a:pt x="13" y="0"/>
                    <a:pt x="8" y="0"/>
                  </a:cubicBezTo>
                  <a:cubicBezTo>
                    <a:pt x="4" y="0"/>
                    <a:pt x="0" y="4"/>
                    <a:pt x="0" y="8"/>
                  </a:cubicBezTo>
                  <a:cubicBezTo>
                    <a:pt x="0" y="64"/>
                    <a:pt x="0" y="64"/>
                    <a:pt x="0" y="64"/>
                  </a:cubicBezTo>
                  <a:cubicBezTo>
                    <a:pt x="0" y="68"/>
                    <a:pt x="4" y="72"/>
                    <a:pt x="8" y="72"/>
                  </a:cubicBezTo>
                  <a:cubicBezTo>
                    <a:pt x="69" y="72"/>
                    <a:pt x="69" y="72"/>
                    <a:pt x="69" y="72"/>
                  </a:cubicBezTo>
                  <a:cubicBezTo>
                    <a:pt x="51" y="90"/>
                    <a:pt x="51" y="90"/>
                    <a:pt x="51" y="90"/>
                  </a:cubicBezTo>
                  <a:cubicBezTo>
                    <a:pt x="47" y="94"/>
                    <a:pt x="47" y="99"/>
                    <a:pt x="51" y="102"/>
                  </a:cubicBezTo>
                  <a:cubicBezTo>
                    <a:pt x="52" y="103"/>
                    <a:pt x="54" y="104"/>
                    <a:pt x="56" y="104"/>
                  </a:cubicBezTo>
                  <a:cubicBezTo>
                    <a:pt x="58" y="104"/>
                    <a:pt x="60" y="103"/>
                    <a:pt x="62" y="102"/>
                  </a:cubicBezTo>
                  <a:cubicBezTo>
                    <a:pt x="94" y="70"/>
                    <a:pt x="94" y="70"/>
                    <a:pt x="94" y="70"/>
                  </a:cubicBezTo>
                  <a:cubicBezTo>
                    <a:pt x="95" y="69"/>
                    <a:pt x="95" y="68"/>
                    <a:pt x="96" y="67"/>
                  </a:cubicBezTo>
                  <a:cubicBezTo>
                    <a:pt x="96" y="65"/>
                    <a:pt x="96" y="63"/>
                    <a:pt x="9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25881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76" y="361951"/>
            <a:ext cx="11223623" cy="495299"/>
          </a:xfrm>
        </p:spPr>
        <p:txBody>
          <a:bodyPr/>
          <a:lstStyle/>
          <a:p>
            <a:r>
              <a:rPr lang="es-CO" dirty="0"/>
              <a:t>Latinoamérica y Caribe, resumen de renovación</a:t>
            </a:r>
            <a:endParaRPr lang="en-US" dirty="0"/>
          </a:p>
        </p:txBody>
      </p:sp>
      <p:sp>
        <p:nvSpPr>
          <p:cNvPr id="3" name="TextBox 2"/>
          <p:cNvSpPr txBox="1"/>
          <p:nvPr/>
        </p:nvSpPr>
        <p:spPr>
          <a:xfrm>
            <a:off x="680579" y="2280305"/>
            <a:ext cx="2038398" cy="4031873"/>
          </a:xfrm>
          <a:prstGeom prst="rect">
            <a:avLst/>
          </a:prstGeom>
          <a:noFill/>
        </p:spPr>
        <p:txBody>
          <a:bodyPr wrap="square" lIns="0" tIns="0" rIns="0" bIns="0" rtlCol="0">
            <a:spAutoFit/>
          </a:bodyPr>
          <a:lstStyle/>
          <a:p>
            <a:r>
              <a:rPr lang="en-US" sz="1050" u="sng" dirty="0" err="1"/>
              <a:t>Disponibilidad</a:t>
            </a:r>
            <a:r>
              <a:rPr lang="en-US" sz="1050" u="sng" dirty="0"/>
              <a:t> de </a:t>
            </a:r>
            <a:r>
              <a:rPr lang="en-US" sz="1050" u="sng" dirty="0" err="1"/>
              <a:t>capacidad</a:t>
            </a:r>
            <a:endParaRPr lang="en-US" sz="1050" u="sng" dirty="0"/>
          </a:p>
          <a:p>
            <a:r>
              <a:rPr lang="es-ES" sz="1000" dirty="0"/>
              <a:t>Más capacidad disponible que el año pasado, adecuada para colocaciones, aunque el apetito se centró en XL más que en el negocio prorrateado.</a:t>
            </a:r>
          </a:p>
          <a:p>
            <a:endParaRPr lang="en-US" sz="1000" dirty="0"/>
          </a:p>
          <a:p>
            <a:r>
              <a:rPr lang="en-US" sz="1050" u="sng" dirty="0" err="1"/>
              <a:t>Nuevas</a:t>
            </a:r>
            <a:r>
              <a:rPr lang="en-US" sz="1050" u="sng" dirty="0"/>
              <a:t> entradas</a:t>
            </a:r>
          </a:p>
          <a:p>
            <a:r>
              <a:rPr lang="es-ES" sz="1000" dirty="0"/>
              <a:t>Un número cada vez mayor de pequeños mercados que muestran interés y/o participan en colocaciones.</a:t>
            </a:r>
          </a:p>
          <a:p>
            <a:endParaRPr lang="en-US" sz="1000" dirty="0"/>
          </a:p>
          <a:p>
            <a:r>
              <a:rPr lang="en-US" sz="1050" u="sng" dirty="0"/>
              <a:t>Salida de </a:t>
            </a:r>
            <a:r>
              <a:rPr lang="en-US" sz="1050" u="sng" dirty="0" err="1"/>
              <a:t>reaseguradoras</a:t>
            </a:r>
            <a:endParaRPr lang="en-US" sz="1000" dirty="0"/>
          </a:p>
          <a:p>
            <a:r>
              <a:rPr lang="es-ES" sz="1000" dirty="0"/>
              <a:t>Tras algunas salidas el año pasado, ninguna salida destacable.</a:t>
            </a:r>
          </a:p>
          <a:p>
            <a:endParaRPr lang="en-US" sz="1000" dirty="0"/>
          </a:p>
          <a:p>
            <a:r>
              <a:rPr lang="en-US" sz="1050" u="sng" dirty="0" err="1"/>
              <a:t>Aumentos</a:t>
            </a:r>
            <a:r>
              <a:rPr lang="en-US" sz="1050" u="sng" dirty="0"/>
              <a:t> / </a:t>
            </a:r>
            <a:r>
              <a:rPr lang="en-US" sz="1050" u="sng" dirty="0" err="1"/>
              <a:t>reducciones</a:t>
            </a:r>
            <a:endParaRPr lang="en-US" sz="1000" dirty="0"/>
          </a:p>
          <a:p>
            <a:r>
              <a:rPr lang="es-ES" sz="1000" dirty="0"/>
              <a:t>En general, los mercados están dispuestos a acompañar el crecimiento de los clientes existentes con los correspondientes aumentos de capacidad; aquellos que restringen las autorizaciones a líneas monetarias que vencen ahora son una pequeña minoría.</a:t>
            </a:r>
          </a:p>
        </p:txBody>
      </p:sp>
      <p:sp>
        <p:nvSpPr>
          <p:cNvPr id="7" name="Isosceles Triangle 6">
            <a:extLst>
              <a:ext uri="{FF2B5EF4-FFF2-40B4-BE49-F238E27FC236}">
                <a16:creationId xmlns:a16="http://schemas.microsoft.com/office/drawing/2014/main" id="{DD2C449F-2545-4DC1-B4FC-2917444D09C2}"/>
              </a:ext>
            </a:extLst>
          </p:cNvPr>
          <p:cNvSpPr/>
          <p:nvPr/>
        </p:nvSpPr>
        <p:spPr>
          <a:xfrm rot="10800000">
            <a:off x="1572057" y="2045456"/>
            <a:ext cx="249560" cy="127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FE18897-DC13-4875-A280-7CA10130E05A}"/>
              </a:ext>
            </a:extLst>
          </p:cNvPr>
          <p:cNvSpPr/>
          <p:nvPr/>
        </p:nvSpPr>
        <p:spPr>
          <a:xfrm>
            <a:off x="603635" y="1036971"/>
            <a:ext cx="2186403" cy="10298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Content Placeholder 4">
            <a:extLst>
              <a:ext uri="{FF2B5EF4-FFF2-40B4-BE49-F238E27FC236}">
                <a16:creationId xmlns:a16="http://schemas.microsoft.com/office/drawing/2014/main" id="{73826A76-2931-48CB-9E3A-97E33FC91622}"/>
              </a:ext>
            </a:extLst>
          </p:cNvPr>
          <p:cNvSpPr txBox="1">
            <a:spLocks/>
          </p:cNvSpPr>
          <p:nvPr/>
        </p:nvSpPr>
        <p:spPr>
          <a:xfrm>
            <a:off x="798610" y="1737198"/>
            <a:ext cx="1793905"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Capacidad</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0E04EDFC-869A-4167-86FF-C0781B127928}"/>
              </a:ext>
            </a:extLst>
          </p:cNvPr>
          <p:cNvGrpSpPr/>
          <p:nvPr/>
        </p:nvGrpSpPr>
        <p:grpSpPr>
          <a:xfrm>
            <a:off x="2845455" y="1036971"/>
            <a:ext cx="2185416" cy="1136172"/>
            <a:chOff x="3310122" y="1609725"/>
            <a:chExt cx="2185416" cy="1136172"/>
          </a:xfrm>
          <a:solidFill>
            <a:schemeClr val="accent2"/>
          </a:solidFill>
        </p:grpSpPr>
        <p:sp>
          <p:nvSpPr>
            <p:cNvPr id="12" name="Rectangle 11">
              <a:extLst>
                <a:ext uri="{FF2B5EF4-FFF2-40B4-BE49-F238E27FC236}">
                  <a16:creationId xmlns:a16="http://schemas.microsoft.com/office/drawing/2014/main" id="{84F833A9-27FC-4A53-9A94-08AD554B9A2F}"/>
                </a:ext>
              </a:extLst>
            </p:cNvPr>
            <p:cNvSpPr/>
            <p:nvPr/>
          </p:nvSpPr>
          <p:spPr>
            <a:xfrm>
              <a:off x="3310122" y="1609725"/>
              <a:ext cx="2185416" cy="10298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Isosceles Triangle 12">
              <a:extLst>
                <a:ext uri="{FF2B5EF4-FFF2-40B4-BE49-F238E27FC236}">
                  <a16:creationId xmlns:a16="http://schemas.microsoft.com/office/drawing/2014/main" id="{86B1500F-84DD-47D6-BCF7-6AE5A29505B2}"/>
                </a:ext>
              </a:extLst>
            </p:cNvPr>
            <p:cNvSpPr/>
            <p:nvPr/>
          </p:nvSpPr>
          <p:spPr>
            <a:xfrm rot="10800000">
              <a:off x="4278051" y="2618210"/>
              <a:ext cx="249560" cy="127687"/>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4" name="Content Placeholder 5">
            <a:extLst>
              <a:ext uri="{FF2B5EF4-FFF2-40B4-BE49-F238E27FC236}">
                <a16:creationId xmlns:a16="http://schemas.microsoft.com/office/drawing/2014/main" id="{2E6FF558-BBEF-4590-AC19-5A39359476FF}"/>
              </a:ext>
            </a:extLst>
          </p:cNvPr>
          <p:cNvSpPr txBox="1">
            <a:spLocks/>
          </p:cNvSpPr>
          <p:nvPr/>
        </p:nvSpPr>
        <p:spPr>
          <a:xfrm>
            <a:off x="2662539" y="1737198"/>
            <a:ext cx="2628900"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Negocio</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 Original​</a:t>
            </a:r>
          </a:p>
        </p:txBody>
      </p:sp>
      <p:cxnSp>
        <p:nvCxnSpPr>
          <p:cNvPr id="15" name="Straight Connector 14">
            <a:extLst>
              <a:ext uri="{FF2B5EF4-FFF2-40B4-BE49-F238E27FC236}">
                <a16:creationId xmlns:a16="http://schemas.microsoft.com/office/drawing/2014/main" id="{8861B477-666E-4995-A948-F6477EC765ED}"/>
              </a:ext>
            </a:extLst>
          </p:cNvPr>
          <p:cNvCxnSpPr>
            <a:cxnSpLocks/>
          </p:cNvCxnSpPr>
          <p:nvPr/>
        </p:nvCxnSpPr>
        <p:spPr>
          <a:xfrm>
            <a:off x="7289250"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72AB69-3B71-4BA3-9DEE-C95F5861166E}"/>
              </a:ext>
            </a:extLst>
          </p:cNvPr>
          <p:cNvCxnSpPr>
            <a:cxnSpLocks/>
          </p:cNvCxnSpPr>
          <p:nvPr/>
        </p:nvCxnSpPr>
        <p:spPr>
          <a:xfrm>
            <a:off x="9532849"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D6321EF-364E-436E-8E5D-474575219211}"/>
              </a:ext>
            </a:extLst>
          </p:cNvPr>
          <p:cNvSpPr/>
          <p:nvPr/>
        </p:nvSpPr>
        <p:spPr>
          <a:xfrm>
            <a:off x="7319530" y="1036972"/>
            <a:ext cx="2185416" cy="102983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Isosceles Triangle 18">
            <a:extLst>
              <a:ext uri="{FF2B5EF4-FFF2-40B4-BE49-F238E27FC236}">
                <a16:creationId xmlns:a16="http://schemas.microsoft.com/office/drawing/2014/main" id="{58A4DBC8-DE74-4FAC-91AB-6D5160B7F633}"/>
              </a:ext>
            </a:extLst>
          </p:cNvPr>
          <p:cNvSpPr/>
          <p:nvPr/>
        </p:nvSpPr>
        <p:spPr>
          <a:xfrm rot="10800000">
            <a:off x="8346491" y="2045457"/>
            <a:ext cx="249560" cy="127687"/>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Content Placeholder 7">
            <a:extLst>
              <a:ext uri="{FF2B5EF4-FFF2-40B4-BE49-F238E27FC236}">
                <a16:creationId xmlns:a16="http://schemas.microsoft.com/office/drawing/2014/main" id="{2DC4D5AF-0EEF-40B8-975F-F1E979AA1442}"/>
              </a:ext>
            </a:extLst>
          </p:cNvPr>
          <p:cNvSpPr txBox="1">
            <a:spLocks/>
          </p:cNvSpPr>
          <p:nvPr/>
        </p:nvSpPr>
        <p:spPr>
          <a:xfrm>
            <a:off x="7165458" y="1737198"/>
            <a:ext cx="2619377"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Precios</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9E3EB259-F40E-4E3B-9E03-12FC8C4B9733}"/>
              </a:ext>
            </a:extLst>
          </p:cNvPr>
          <p:cNvGrpSpPr/>
          <p:nvPr/>
        </p:nvGrpSpPr>
        <p:grpSpPr>
          <a:xfrm>
            <a:off x="5079488" y="1036971"/>
            <a:ext cx="2185416" cy="1136172"/>
            <a:chOff x="3310121" y="1609725"/>
            <a:chExt cx="2677853" cy="1136172"/>
          </a:xfrm>
          <a:solidFill>
            <a:schemeClr val="accent2"/>
          </a:solidFill>
        </p:grpSpPr>
        <p:sp>
          <p:nvSpPr>
            <p:cNvPr id="22" name="Rectangle 21">
              <a:extLst>
                <a:ext uri="{FF2B5EF4-FFF2-40B4-BE49-F238E27FC236}">
                  <a16:creationId xmlns:a16="http://schemas.microsoft.com/office/drawing/2014/main" id="{0E751285-3AA1-4791-B108-B8C22B319827}"/>
                </a:ext>
              </a:extLst>
            </p:cNvPr>
            <p:cNvSpPr/>
            <p:nvPr/>
          </p:nvSpPr>
          <p:spPr>
            <a:xfrm>
              <a:off x="3310121" y="1609725"/>
              <a:ext cx="2677853" cy="102983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Isosceles Triangle 22">
              <a:extLst>
                <a:ext uri="{FF2B5EF4-FFF2-40B4-BE49-F238E27FC236}">
                  <a16:creationId xmlns:a16="http://schemas.microsoft.com/office/drawing/2014/main" id="{7A31D98C-2A10-4ECD-8C55-D8ADBD4455BF}"/>
                </a:ext>
              </a:extLst>
            </p:cNvPr>
            <p:cNvSpPr/>
            <p:nvPr/>
          </p:nvSpPr>
          <p:spPr>
            <a:xfrm rot="10800000">
              <a:off x="4524267" y="2618210"/>
              <a:ext cx="249560" cy="127687"/>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4" name="Content Placeholder 5">
            <a:extLst>
              <a:ext uri="{FF2B5EF4-FFF2-40B4-BE49-F238E27FC236}">
                <a16:creationId xmlns:a16="http://schemas.microsoft.com/office/drawing/2014/main" id="{79691E4C-AD34-4441-AB35-901681116178}"/>
              </a:ext>
            </a:extLst>
          </p:cNvPr>
          <p:cNvSpPr txBox="1">
            <a:spLocks/>
          </p:cNvSpPr>
          <p:nvPr/>
        </p:nvSpPr>
        <p:spPr>
          <a:xfrm>
            <a:off x="5522431" y="1737198"/>
            <a:ext cx="1297419"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Estructuras</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6" name="Group 98">
            <a:extLst>
              <a:ext uri="{FF2B5EF4-FFF2-40B4-BE49-F238E27FC236}">
                <a16:creationId xmlns:a16="http://schemas.microsoft.com/office/drawing/2014/main" id="{BA0D4422-250B-48C6-AFF1-EB7D2CEB26ED}"/>
              </a:ext>
            </a:extLst>
          </p:cNvPr>
          <p:cNvGrpSpPr>
            <a:grpSpLocks noChangeAspect="1"/>
          </p:cNvGrpSpPr>
          <p:nvPr/>
        </p:nvGrpSpPr>
        <p:grpSpPr bwMode="auto">
          <a:xfrm>
            <a:off x="8245833" y="1211195"/>
            <a:ext cx="450875" cy="453422"/>
            <a:chOff x="3812" y="2037"/>
            <a:chExt cx="177" cy="178"/>
          </a:xfrm>
          <a:solidFill>
            <a:schemeClr val="bg1"/>
          </a:solidFill>
        </p:grpSpPr>
        <p:sp>
          <p:nvSpPr>
            <p:cNvPr id="27" name="Freeform 99">
              <a:extLst>
                <a:ext uri="{FF2B5EF4-FFF2-40B4-BE49-F238E27FC236}">
                  <a16:creationId xmlns:a16="http://schemas.microsoft.com/office/drawing/2014/main" id="{D49AAAB3-F4F9-418B-A296-B89CA353D16C}"/>
                </a:ext>
              </a:extLst>
            </p:cNvPr>
            <p:cNvSpPr>
              <a:spLocks/>
            </p:cNvSpPr>
            <p:nvPr/>
          </p:nvSpPr>
          <p:spPr bwMode="auto">
            <a:xfrm>
              <a:off x="3812" y="2037"/>
              <a:ext cx="177" cy="134"/>
            </a:xfrm>
            <a:custGeom>
              <a:avLst/>
              <a:gdLst>
                <a:gd name="T0" fmla="*/ 124 w 128"/>
                <a:gd name="T1" fmla="*/ 0 h 96"/>
                <a:gd name="T2" fmla="*/ 4 w 128"/>
                <a:gd name="T3" fmla="*/ 0 h 96"/>
                <a:gd name="T4" fmla="*/ 0 w 128"/>
                <a:gd name="T5" fmla="*/ 4 h 96"/>
                <a:gd name="T6" fmla="*/ 0 w 128"/>
                <a:gd name="T7" fmla="*/ 92 h 96"/>
                <a:gd name="T8" fmla="*/ 4 w 128"/>
                <a:gd name="T9" fmla="*/ 96 h 96"/>
                <a:gd name="T10" fmla="*/ 60 w 128"/>
                <a:gd name="T11" fmla="*/ 96 h 96"/>
                <a:gd name="T12" fmla="*/ 64 w 128"/>
                <a:gd name="T13" fmla="*/ 92 h 96"/>
                <a:gd name="T14" fmla="*/ 60 w 128"/>
                <a:gd name="T15" fmla="*/ 88 h 96"/>
                <a:gd name="T16" fmla="*/ 8 w 128"/>
                <a:gd name="T17" fmla="*/ 88 h 96"/>
                <a:gd name="T18" fmla="*/ 8 w 128"/>
                <a:gd name="T19" fmla="*/ 8 h 96"/>
                <a:gd name="T20" fmla="*/ 120 w 128"/>
                <a:gd name="T21" fmla="*/ 8 h 96"/>
                <a:gd name="T22" fmla="*/ 120 w 128"/>
                <a:gd name="T23" fmla="*/ 60 h 96"/>
                <a:gd name="T24" fmla="*/ 124 w 128"/>
                <a:gd name="T25" fmla="*/ 64 h 96"/>
                <a:gd name="T26" fmla="*/ 128 w 128"/>
                <a:gd name="T27" fmla="*/ 60 h 96"/>
                <a:gd name="T28" fmla="*/ 128 w 128"/>
                <a:gd name="T29" fmla="*/ 4 h 96"/>
                <a:gd name="T30" fmla="*/ 124 w 128"/>
                <a:gd name="T3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96">
                  <a:moveTo>
                    <a:pt x="124" y="0"/>
                  </a:moveTo>
                  <a:cubicBezTo>
                    <a:pt x="4" y="0"/>
                    <a:pt x="4" y="0"/>
                    <a:pt x="4" y="0"/>
                  </a:cubicBezTo>
                  <a:cubicBezTo>
                    <a:pt x="2" y="0"/>
                    <a:pt x="0" y="2"/>
                    <a:pt x="0" y="4"/>
                  </a:cubicBezTo>
                  <a:cubicBezTo>
                    <a:pt x="0" y="92"/>
                    <a:pt x="0" y="92"/>
                    <a:pt x="0" y="92"/>
                  </a:cubicBezTo>
                  <a:cubicBezTo>
                    <a:pt x="0" y="94"/>
                    <a:pt x="2" y="96"/>
                    <a:pt x="4" y="96"/>
                  </a:cubicBezTo>
                  <a:cubicBezTo>
                    <a:pt x="60" y="96"/>
                    <a:pt x="60" y="96"/>
                    <a:pt x="60" y="96"/>
                  </a:cubicBezTo>
                  <a:cubicBezTo>
                    <a:pt x="62" y="96"/>
                    <a:pt x="64" y="94"/>
                    <a:pt x="64" y="92"/>
                  </a:cubicBezTo>
                  <a:cubicBezTo>
                    <a:pt x="64" y="90"/>
                    <a:pt x="62" y="88"/>
                    <a:pt x="60" y="88"/>
                  </a:cubicBezTo>
                  <a:cubicBezTo>
                    <a:pt x="8" y="88"/>
                    <a:pt x="8" y="88"/>
                    <a:pt x="8" y="88"/>
                  </a:cubicBezTo>
                  <a:cubicBezTo>
                    <a:pt x="8" y="8"/>
                    <a:pt x="8" y="8"/>
                    <a:pt x="8" y="8"/>
                  </a:cubicBezTo>
                  <a:cubicBezTo>
                    <a:pt x="120" y="8"/>
                    <a:pt x="120" y="8"/>
                    <a:pt x="120" y="8"/>
                  </a:cubicBezTo>
                  <a:cubicBezTo>
                    <a:pt x="120" y="60"/>
                    <a:pt x="120" y="60"/>
                    <a:pt x="120" y="60"/>
                  </a:cubicBezTo>
                  <a:cubicBezTo>
                    <a:pt x="120" y="62"/>
                    <a:pt x="122" y="64"/>
                    <a:pt x="124" y="64"/>
                  </a:cubicBezTo>
                  <a:cubicBezTo>
                    <a:pt x="126" y="64"/>
                    <a:pt x="128" y="62"/>
                    <a:pt x="128" y="60"/>
                  </a:cubicBezTo>
                  <a:cubicBezTo>
                    <a:pt x="128" y="4"/>
                    <a:pt x="128" y="4"/>
                    <a:pt x="128" y="4"/>
                  </a:cubicBezTo>
                  <a:cubicBezTo>
                    <a:pt x="128" y="2"/>
                    <a:pt x="126" y="0"/>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8" name="Freeform 100">
              <a:extLst>
                <a:ext uri="{FF2B5EF4-FFF2-40B4-BE49-F238E27FC236}">
                  <a16:creationId xmlns:a16="http://schemas.microsoft.com/office/drawing/2014/main" id="{846BDE52-B8C0-4164-BC36-10658936D2C3}"/>
                </a:ext>
              </a:extLst>
            </p:cNvPr>
            <p:cNvSpPr>
              <a:spLocks noEditPoints="1"/>
            </p:cNvSpPr>
            <p:nvPr/>
          </p:nvSpPr>
          <p:spPr bwMode="auto">
            <a:xfrm>
              <a:off x="3878" y="2082"/>
              <a:ext cx="44" cy="44"/>
            </a:xfrm>
            <a:custGeom>
              <a:avLst/>
              <a:gdLst>
                <a:gd name="T0" fmla="*/ 32 w 32"/>
                <a:gd name="T1" fmla="*/ 16 h 32"/>
                <a:gd name="T2" fmla="*/ 16 w 32"/>
                <a:gd name="T3" fmla="*/ 0 h 32"/>
                <a:gd name="T4" fmla="*/ 0 w 32"/>
                <a:gd name="T5" fmla="*/ 16 h 32"/>
                <a:gd name="T6" fmla="*/ 16 w 32"/>
                <a:gd name="T7" fmla="*/ 32 h 32"/>
                <a:gd name="T8" fmla="*/ 32 w 32"/>
                <a:gd name="T9" fmla="*/ 16 h 32"/>
                <a:gd name="T10" fmla="*/ 16 w 32"/>
                <a:gd name="T11" fmla="*/ 24 h 32"/>
                <a:gd name="T12" fmla="*/ 8 w 32"/>
                <a:gd name="T13" fmla="*/ 16 h 32"/>
                <a:gd name="T14" fmla="*/ 16 w 32"/>
                <a:gd name="T15" fmla="*/ 8 h 32"/>
                <a:gd name="T16" fmla="*/ 24 w 32"/>
                <a:gd name="T17" fmla="*/ 16 h 32"/>
                <a:gd name="T18" fmla="*/ 16 w 32"/>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cubicBezTo>
                    <a:pt x="32" y="7"/>
                    <a:pt x="25" y="0"/>
                    <a:pt x="16" y="0"/>
                  </a:cubicBezTo>
                  <a:cubicBezTo>
                    <a:pt x="7" y="0"/>
                    <a:pt x="0" y="7"/>
                    <a:pt x="0" y="16"/>
                  </a:cubicBezTo>
                  <a:cubicBezTo>
                    <a:pt x="0" y="25"/>
                    <a:pt x="7" y="32"/>
                    <a:pt x="16" y="32"/>
                  </a:cubicBezTo>
                  <a:cubicBezTo>
                    <a:pt x="25" y="32"/>
                    <a:pt x="32" y="25"/>
                    <a:pt x="32" y="16"/>
                  </a:cubicBezTo>
                  <a:close/>
                  <a:moveTo>
                    <a:pt x="16" y="24"/>
                  </a:moveTo>
                  <a:cubicBezTo>
                    <a:pt x="12" y="24"/>
                    <a:pt x="8" y="20"/>
                    <a:pt x="8" y="16"/>
                  </a:cubicBezTo>
                  <a:cubicBezTo>
                    <a:pt x="8" y="12"/>
                    <a:pt x="12" y="8"/>
                    <a:pt x="16" y="8"/>
                  </a:cubicBezTo>
                  <a:cubicBezTo>
                    <a:pt x="20" y="8"/>
                    <a:pt x="24" y="12"/>
                    <a:pt x="24" y="16"/>
                  </a:cubicBezTo>
                  <a:cubicBezTo>
                    <a:pt x="24" y="20"/>
                    <a:pt x="20" y="24"/>
                    <a:pt x="1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9" name="Freeform 101">
              <a:extLst>
                <a:ext uri="{FF2B5EF4-FFF2-40B4-BE49-F238E27FC236}">
                  <a16:creationId xmlns:a16="http://schemas.microsoft.com/office/drawing/2014/main" id="{1193D7D1-0263-431A-A057-0FC9CB8AD0B2}"/>
                </a:ext>
              </a:extLst>
            </p:cNvPr>
            <p:cNvSpPr>
              <a:spLocks/>
            </p:cNvSpPr>
            <p:nvPr/>
          </p:nvSpPr>
          <p:spPr bwMode="auto">
            <a:xfrm>
              <a:off x="3834" y="2060"/>
              <a:ext cx="133" cy="88"/>
            </a:xfrm>
            <a:custGeom>
              <a:avLst/>
              <a:gdLst>
                <a:gd name="T0" fmla="*/ 92 w 96"/>
                <a:gd name="T1" fmla="*/ 40 h 64"/>
                <a:gd name="T2" fmla="*/ 96 w 96"/>
                <a:gd name="T3" fmla="*/ 36 h 64"/>
                <a:gd name="T4" fmla="*/ 96 w 96"/>
                <a:gd name="T5" fmla="*/ 20 h 64"/>
                <a:gd name="T6" fmla="*/ 92 w 96"/>
                <a:gd name="T7" fmla="*/ 16 h 64"/>
                <a:gd name="T8" fmla="*/ 80 w 96"/>
                <a:gd name="T9" fmla="*/ 4 h 64"/>
                <a:gd name="T10" fmla="*/ 76 w 96"/>
                <a:gd name="T11" fmla="*/ 0 h 64"/>
                <a:gd name="T12" fmla="*/ 20 w 96"/>
                <a:gd name="T13" fmla="*/ 0 h 64"/>
                <a:gd name="T14" fmla="*/ 16 w 96"/>
                <a:gd name="T15" fmla="*/ 4 h 64"/>
                <a:gd name="T16" fmla="*/ 4 w 96"/>
                <a:gd name="T17" fmla="*/ 16 h 64"/>
                <a:gd name="T18" fmla="*/ 0 w 96"/>
                <a:gd name="T19" fmla="*/ 20 h 64"/>
                <a:gd name="T20" fmla="*/ 0 w 96"/>
                <a:gd name="T21" fmla="*/ 44 h 64"/>
                <a:gd name="T22" fmla="*/ 4 w 96"/>
                <a:gd name="T23" fmla="*/ 48 h 64"/>
                <a:gd name="T24" fmla="*/ 16 w 96"/>
                <a:gd name="T25" fmla="*/ 60 h 64"/>
                <a:gd name="T26" fmla="*/ 20 w 96"/>
                <a:gd name="T27" fmla="*/ 64 h 64"/>
                <a:gd name="T28" fmla="*/ 44 w 96"/>
                <a:gd name="T29" fmla="*/ 64 h 64"/>
                <a:gd name="T30" fmla="*/ 48 w 96"/>
                <a:gd name="T31" fmla="*/ 60 h 64"/>
                <a:gd name="T32" fmla="*/ 44 w 96"/>
                <a:gd name="T33" fmla="*/ 56 h 64"/>
                <a:gd name="T34" fmla="*/ 24 w 96"/>
                <a:gd name="T35" fmla="*/ 56 h 64"/>
                <a:gd name="T36" fmla="*/ 8 w 96"/>
                <a:gd name="T37" fmla="*/ 40 h 64"/>
                <a:gd name="T38" fmla="*/ 8 w 96"/>
                <a:gd name="T39" fmla="*/ 24 h 64"/>
                <a:gd name="T40" fmla="*/ 24 w 96"/>
                <a:gd name="T41" fmla="*/ 8 h 64"/>
                <a:gd name="T42" fmla="*/ 72 w 96"/>
                <a:gd name="T43" fmla="*/ 8 h 64"/>
                <a:gd name="T44" fmla="*/ 88 w 96"/>
                <a:gd name="T45" fmla="*/ 24 h 64"/>
                <a:gd name="T46" fmla="*/ 88 w 96"/>
                <a:gd name="T47" fmla="*/ 36 h 64"/>
                <a:gd name="T48" fmla="*/ 92 w 96"/>
                <a:gd name="T4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64">
                  <a:moveTo>
                    <a:pt x="92" y="40"/>
                  </a:moveTo>
                  <a:cubicBezTo>
                    <a:pt x="94" y="40"/>
                    <a:pt x="96" y="38"/>
                    <a:pt x="96" y="36"/>
                  </a:cubicBezTo>
                  <a:cubicBezTo>
                    <a:pt x="96" y="20"/>
                    <a:pt x="96" y="20"/>
                    <a:pt x="96" y="20"/>
                  </a:cubicBezTo>
                  <a:cubicBezTo>
                    <a:pt x="96" y="18"/>
                    <a:pt x="94" y="16"/>
                    <a:pt x="92" y="16"/>
                  </a:cubicBezTo>
                  <a:cubicBezTo>
                    <a:pt x="85" y="16"/>
                    <a:pt x="80" y="11"/>
                    <a:pt x="80" y="4"/>
                  </a:cubicBezTo>
                  <a:cubicBezTo>
                    <a:pt x="80" y="2"/>
                    <a:pt x="78" y="0"/>
                    <a:pt x="76" y="0"/>
                  </a:cubicBezTo>
                  <a:cubicBezTo>
                    <a:pt x="20" y="0"/>
                    <a:pt x="20" y="0"/>
                    <a:pt x="20" y="0"/>
                  </a:cubicBezTo>
                  <a:cubicBezTo>
                    <a:pt x="18" y="0"/>
                    <a:pt x="16" y="2"/>
                    <a:pt x="16" y="4"/>
                  </a:cubicBezTo>
                  <a:cubicBezTo>
                    <a:pt x="16" y="11"/>
                    <a:pt x="11" y="16"/>
                    <a:pt x="4" y="16"/>
                  </a:cubicBezTo>
                  <a:cubicBezTo>
                    <a:pt x="2" y="16"/>
                    <a:pt x="0" y="18"/>
                    <a:pt x="0" y="20"/>
                  </a:cubicBezTo>
                  <a:cubicBezTo>
                    <a:pt x="0" y="44"/>
                    <a:pt x="0" y="44"/>
                    <a:pt x="0" y="44"/>
                  </a:cubicBezTo>
                  <a:cubicBezTo>
                    <a:pt x="0" y="46"/>
                    <a:pt x="2" y="48"/>
                    <a:pt x="4" y="48"/>
                  </a:cubicBezTo>
                  <a:cubicBezTo>
                    <a:pt x="11" y="48"/>
                    <a:pt x="16" y="53"/>
                    <a:pt x="16" y="60"/>
                  </a:cubicBezTo>
                  <a:cubicBezTo>
                    <a:pt x="16" y="62"/>
                    <a:pt x="18" y="64"/>
                    <a:pt x="20" y="64"/>
                  </a:cubicBezTo>
                  <a:cubicBezTo>
                    <a:pt x="44" y="64"/>
                    <a:pt x="44" y="64"/>
                    <a:pt x="44" y="64"/>
                  </a:cubicBezTo>
                  <a:cubicBezTo>
                    <a:pt x="46" y="64"/>
                    <a:pt x="48" y="62"/>
                    <a:pt x="48" y="60"/>
                  </a:cubicBezTo>
                  <a:cubicBezTo>
                    <a:pt x="48" y="58"/>
                    <a:pt x="46" y="56"/>
                    <a:pt x="44" y="56"/>
                  </a:cubicBezTo>
                  <a:cubicBezTo>
                    <a:pt x="24" y="56"/>
                    <a:pt x="24" y="56"/>
                    <a:pt x="24" y="56"/>
                  </a:cubicBezTo>
                  <a:cubicBezTo>
                    <a:pt x="22" y="48"/>
                    <a:pt x="16" y="42"/>
                    <a:pt x="8" y="40"/>
                  </a:cubicBezTo>
                  <a:cubicBezTo>
                    <a:pt x="8" y="24"/>
                    <a:pt x="8" y="24"/>
                    <a:pt x="8" y="24"/>
                  </a:cubicBezTo>
                  <a:cubicBezTo>
                    <a:pt x="16" y="22"/>
                    <a:pt x="22" y="16"/>
                    <a:pt x="24" y="8"/>
                  </a:cubicBezTo>
                  <a:cubicBezTo>
                    <a:pt x="72" y="8"/>
                    <a:pt x="72" y="8"/>
                    <a:pt x="72" y="8"/>
                  </a:cubicBezTo>
                  <a:cubicBezTo>
                    <a:pt x="74" y="16"/>
                    <a:pt x="80" y="22"/>
                    <a:pt x="88" y="24"/>
                  </a:cubicBezTo>
                  <a:cubicBezTo>
                    <a:pt x="88" y="36"/>
                    <a:pt x="88" y="36"/>
                    <a:pt x="88" y="36"/>
                  </a:cubicBezTo>
                  <a:cubicBezTo>
                    <a:pt x="88" y="38"/>
                    <a:pt x="90"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0" name="Freeform 102">
              <a:extLst>
                <a:ext uri="{FF2B5EF4-FFF2-40B4-BE49-F238E27FC236}">
                  <a16:creationId xmlns:a16="http://schemas.microsoft.com/office/drawing/2014/main" id="{F1D374A3-66B0-49C3-97B1-E983805FA492}"/>
                </a:ext>
              </a:extLst>
            </p:cNvPr>
            <p:cNvSpPr>
              <a:spLocks noEditPoints="1"/>
            </p:cNvSpPr>
            <p:nvPr/>
          </p:nvSpPr>
          <p:spPr bwMode="auto">
            <a:xfrm>
              <a:off x="3911" y="2126"/>
              <a:ext cx="78" cy="89"/>
            </a:xfrm>
            <a:custGeom>
              <a:avLst/>
              <a:gdLst>
                <a:gd name="T0" fmla="*/ 28 w 56"/>
                <a:gd name="T1" fmla="*/ 0 h 64"/>
                <a:gd name="T2" fmla="*/ 0 w 56"/>
                <a:gd name="T3" fmla="*/ 16 h 64"/>
                <a:gd name="T4" fmla="*/ 0 w 56"/>
                <a:gd name="T5" fmla="*/ 32 h 64"/>
                <a:gd name="T6" fmla="*/ 0 w 56"/>
                <a:gd name="T7" fmla="*/ 48 h 64"/>
                <a:gd name="T8" fmla="*/ 28 w 56"/>
                <a:gd name="T9" fmla="*/ 64 h 64"/>
                <a:gd name="T10" fmla="*/ 56 w 56"/>
                <a:gd name="T11" fmla="*/ 48 h 64"/>
                <a:gd name="T12" fmla="*/ 56 w 56"/>
                <a:gd name="T13" fmla="*/ 32 h 64"/>
                <a:gd name="T14" fmla="*/ 56 w 56"/>
                <a:gd name="T15" fmla="*/ 16 h 64"/>
                <a:gd name="T16" fmla="*/ 28 w 56"/>
                <a:gd name="T17" fmla="*/ 0 h 64"/>
                <a:gd name="T18" fmla="*/ 48 w 56"/>
                <a:gd name="T19" fmla="*/ 32 h 64"/>
                <a:gd name="T20" fmla="*/ 28 w 56"/>
                <a:gd name="T21" fmla="*/ 40 h 64"/>
                <a:gd name="T22" fmla="*/ 8 w 56"/>
                <a:gd name="T23" fmla="*/ 32 h 64"/>
                <a:gd name="T24" fmla="*/ 8 w 56"/>
                <a:gd name="T25" fmla="*/ 27 h 64"/>
                <a:gd name="T26" fmla="*/ 28 w 56"/>
                <a:gd name="T27" fmla="*/ 32 h 64"/>
                <a:gd name="T28" fmla="*/ 48 w 56"/>
                <a:gd name="T29" fmla="*/ 27 h 64"/>
                <a:gd name="T30" fmla="*/ 48 w 56"/>
                <a:gd name="T31" fmla="*/ 32 h 64"/>
                <a:gd name="T32" fmla="*/ 28 w 56"/>
                <a:gd name="T33" fmla="*/ 8 h 64"/>
                <a:gd name="T34" fmla="*/ 48 w 56"/>
                <a:gd name="T35" fmla="*/ 16 h 64"/>
                <a:gd name="T36" fmla="*/ 28 w 56"/>
                <a:gd name="T37" fmla="*/ 24 h 64"/>
                <a:gd name="T38" fmla="*/ 8 w 56"/>
                <a:gd name="T39" fmla="*/ 16 h 64"/>
                <a:gd name="T40" fmla="*/ 28 w 56"/>
                <a:gd name="T41" fmla="*/ 8 h 64"/>
                <a:gd name="T42" fmla="*/ 28 w 56"/>
                <a:gd name="T43" fmla="*/ 56 h 64"/>
                <a:gd name="T44" fmla="*/ 8 w 56"/>
                <a:gd name="T45" fmla="*/ 48 h 64"/>
                <a:gd name="T46" fmla="*/ 8 w 56"/>
                <a:gd name="T47" fmla="*/ 43 h 64"/>
                <a:gd name="T48" fmla="*/ 28 w 56"/>
                <a:gd name="T49" fmla="*/ 48 h 64"/>
                <a:gd name="T50" fmla="*/ 48 w 56"/>
                <a:gd name="T51" fmla="*/ 43 h 64"/>
                <a:gd name="T52" fmla="*/ 48 w 56"/>
                <a:gd name="T53" fmla="*/ 48 h 64"/>
                <a:gd name="T54" fmla="*/ 28 w 56"/>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64">
                  <a:moveTo>
                    <a:pt x="28" y="0"/>
                  </a:moveTo>
                  <a:cubicBezTo>
                    <a:pt x="12" y="0"/>
                    <a:pt x="0" y="7"/>
                    <a:pt x="0" y="16"/>
                  </a:cubicBezTo>
                  <a:cubicBezTo>
                    <a:pt x="0" y="32"/>
                    <a:pt x="0" y="32"/>
                    <a:pt x="0" y="32"/>
                  </a:cubicBezTo>
                  <a:cubicBezTo>
                    <a:pt x="0" y="48"/>
                    <a:pt x="0" y="48"/>
                    <a:pt x="0" y="48"/>
                  </a:cubicBezTo>
                  <a:cubicBezTo>
                    <a:pt x="0" y="57"/>
                    <a:pt x="12" y="64"/>
                    <a:pt x="28" y="64"/>
                  </a:cubicBezTo>
                  <a:cubicBezTo>
                    <a:pt x="44" y="64"/>
                    <a:pt x="56" y="57"/>
                    <a:pt x="56" y="48"/>
                  </a:cubicBezTo>
                  <a:cubicBezTo>
                    <a:pt x="56" y="32"/>
                    <a:pt x="56" y="32"/>
                    <a:pt x="56" y="32"/>
                  </a:cubicBezTo>
                  <a:cubicBezTo>
                    <a:pt x="56" y="16"/>
                    <a:pt x="56" y="16"/>
                    <a:pt x="56" y="16"/>
                  </a:cubicBezTo>
                  <a:cubicBezTo>
                    <a:pt x="56" y="7"/>
                    <a:pt x="44" y="0"/>
                    <a:pt x="28" y="0"/>
                  </a:cubicBezTo>
                  <a:close/>
                  <a:moveTo>
                    <a:pt x="48" y="32"/>
                  </a:moveTo>
                  <a:cubicBezTo>
                    <a:pt x="48" y="35"/>
                    <a:pt x="40" y="40"/>
                    <a:pt x="28" y="40"/>
                  </a:cubicBezTo>
                  <a:cubicBezTo>
                    <a:pt x="16" y="40"/>
                    <a:pt x="8" y="35"/>
                    <a:pt x="8" y="32"/>
                  </a:cubicBezTo>
                  <a:cubicBezTo>
                    <a:pt x="8" y="27"/>
                    <a:pt x="8" y="27"/>
                    <a:pt x="8" y="27"/>
                  </a:cubicBezTo>
                  <a:cubicBezTo>
                    <a:pt x="13" y="30"/>
                    <a:pt x="20" y="32"/>
                    <a:pt x="28" y="32"/>
                  </a:cubicBezTo>
                  <a:cubicBezTo>
                    <a:pt x="36" y="32"/>
                    <a:pt x="43" y="30"/>
                    <a:pt x="48" y="27"/>
                  </a:cubicBezTo>
                  <a:lnTo>
                    <a:pt x="48" y="32"/>
                  </a:lnTo>
                  <a:close/>
                  <a:moveTo>
                    <a:pt x="28" y="8"/>
                  </a:moveTo>
                  <a:cubicBezTo>
                    <a:pt x="40" y="8"/>
                    <a:pt x="48" y="13"/>
                    <a:pt x="48" y="16"/>
                  </a:cubicBezTo>
                  <a:cubicBezTo>
                    <a:pt x="48" y="19"/>
                    <a:pt x="40" y="24"/>
                    <a:pt x="28" y="24"/>
                  </a:cubicBezTo>
                  <a:cubicBezTo>
                    <a:pt x="16" y="24"/>
                    <a:pt x="8" y="19"/>
                    <a:pt x="8" y="16"/>
                  </a:cubicBezTo>
                  <a:cubicBezTo>
                    <a:pt x="8" y="13"/>
                    <a:pt x="16" y="8"/>
                    <a:pt x="28" y="8"/>
                  </a:cubicBezTo>
                  <a:close/>
                  <a:moveTo>
                    <a:pt x="28" y="56"/>
                  </a:moveTo>
                  <a:cubicBezTo>
                    <a:pt x="16" y="56"/>
                    <a:pt x="8" y="51"/>
                    <a:pt x="8" y="48"/>
                  </a:cubicBezTo>
                  <a:cubicBezTo>
                    <a:pt x="8" y="43"/>
                    <a:pt x="8" y="43"/>
                    <a:pt x="8" y="43"/>
                  </a:cubicBezTo>
                  <a:cubicBezTo>
                    <a:pt x="13" y="46"/>
                    <a:pt x="20" y="48"/>
                    <a:pt x="28" y="48"/>
                  </a:cubicBezTo>
                  <a:cubicBezTo>
                    <a:pt x="36" y="48"/>
                    <a:pt x="43" y="46"/>
                    <a:pt x="48" y="43"/>
                  </a:cubicBezTo>
                  <a:cubicBezTo>
                    <a:pt x="48" y="48"/>
                    <a:pt x="48" y="48"/>
                    <a:pt x="48" y="48"/>
                  </a:cubicBezTo>
                  <a:cubicBezTo>
                    <a:pt x="48" y="51"/>
                    <a:pt x="40"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31" name="Group 4">
            <a:extLst>
              <a:ext uri="{FF2B5EF4-FFF2-40B4-BE49-F238E27FC236}">
                <a16:creationId xmlns:a16="http://schemas.microsoft.com/office/drawing/2014/main" id="{EFBBA4E2-F424-435C-A671-ABE7C5521001}"/>
              </a:ext>
            </a:extLst>
          </p:cNvPr>
          <p:cNvGrpSpPr>
            <a:grpSpLocks noChangeAspect="1"/>
          </p:cNvGrpSpPr>
          <p:nvPr/>
        </p:nvGrpSpPr>
        <p:grpSpPr bwMode="auto">
          <a:xfrm>
            <a:off x="5976569" y="1213918"/>
            <a:ext cx="389141" cy="389141"/>
            <a:chOff x="3550" y="1872"/>
            <a:chExt cx="578" cy="578"/>
          </a:xfrm>
          <a:solidFill>
            <a:schemeClr val="bg1"/>
          </a:solidFill>
        </p:grpSpPr>
        <p:sp>
          <p:nvSpPr>
            <p:cNvPr id="32" name="Freeform 5">
              <a:extLst>
                <a:ext uri="{FF2B5EF4-FFF2-40B4-BE49-F238E27FC236}">
                  <a16:creationId xmlns:a16="http://schemas.microsoft.com/office/drawing/2014/main" id="{97EDE0DF-90D9-46AF-92DB-3D6A5C986D45}"/>
                </a:ext>
              </a:extLst>
            </p:cNvPr>
            <p:cNvSpPr>
              <a:spLocks noEditPoints="1"/>
            </p:cNvSpPr>
            <p:nvPr/>
          </p:nvSpPr>
          <p:spPr bwMode="auto">
            <a:xfrm>
              <a:off x="3767" y="1872"/>
              <a:ext cx="144" cy="145"/>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3" name="Freeform 6">
              <a:extLst>
                <a:ext uri="{FF2B5EF4-FFF2-40B4-BE49-F238E27FC236}">
                  <a16:creationId xmlns:a16="http://schemas.microsoft.com/office/drawing/2014/main" id="{455DA546-A016-42EB-880A-FC39054FC8B2}"/>
                </a:ext>
              </a:extLst>
            </p:cNvPr>
            <p:cNvSpPr>
              <a:spLocks noEditPoints="1"/>
            </p:cNvSpPr>
            <p:nvPr/>
          </p:nvSpPr>
          <p:spPr bwMode="auto">
            <a:xfrm>
              <a:off x="3658" y="2089"/>
              <a:ext cx="145" cy="144"/>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4" name="Freeform 7">
              <a:extLst>
                <a:ext uri="{FF2B5EF4-FFF2-40B4-BE49-F238E27FC236}">
                  <a16:creationId xmlns:a16="http://schemas.microsoft.com/office/drawing/2014/main" id="{305EC06D-4C07-4A51-8577-66224D38BC9C}"/>
                </a:ext>
              </a:extLst>
            </p:cNvPr>
            <p:cNvSpPr>
              <a:spLocks noEditPoints="1"/>
            </p:cNvSpPr>
            <p:nvPr/>
          </p:nvSpPr>
          <p:spPr bwMode="auto">
            <a:xfrm>
              <a:off x="3875" y="2089"/>
              <a:ext cx="145" cy="144"/>
            </a:xfrm>
            <a:custGeom>
              <a:avLst/>
              <a:gdLst>
                <a:gd name="T0" fmla="*/ 0 w 64"/>
                <a:gd name="T1" fmla="*/ 8 h 64"/>
                <a:gd name="T2" fmla="*/ 0 w 64"/>
                <a:gd name="T3" fmla="*/ 56 h 64"/>
                <a:gd name="T4" fmla="*/ 8 w 64"/>
                <a:gd name="T5" fmla="*/ 64 h 64"/>
                <a:gd name="T6" fmla="*/ 56 w 64"/>
                <a:gd name="T7" fmla="*/ 64 h 64"/>
                <a:gd name="T8" fmla="*/ 64 w 64"/>
                <a:gd name="T9" fmla="*/ 56 h 64"/>
                <a:gd name="T10" fmla="*/ 64 w 64"/>
                <a:gd name="T11" fmla="*/ 8 h 64"/>
                <a:gd name="T12" fmla="*/ 56 w 64"/>
                <a:gd name="T13" fmla="*/ 0 h 64"/>
                <a:gd name="T14" fmla="*/ 8 w 64"/>
                <a:gd name="T15" fmla="*/ 0 h 64"/>
                <a:gd name="T16" fmla="*/ 0 w 64"/>
                <a:gd name="T17" fmla="*/ 8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0" y="8"/>
                  </a:move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5" name="Freeform 8">
              <a:extLst>
                <a:ext uri="{FF2B5EF4-FFF2-40B4-BE49-F238E27FC236}">
                  <a16:creationId xmlns:a16="http://schemas.microsoft.com/office/drawing/2014/main" id="{0B7D6D6C-155C-4F23-8E5F-223F51FC5E7E}"/>
                </a:ext>
              </a:extLst>
            </p:cNvPr>
            <p:cNvSpPr>
              <a:spLocks noEditPoints="1"/>
            </p:cNvSpPr>
            <p:nvPr/>
          </p:nvSpPr>
          <p:spPr bwMode="auto">
            <a:xfrm>
              <a:off x="3550"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6" name="Freeform 9">
              <a:extLst>
                <a:ext uri="{FF2B5EF4-FFF2-40B4-BE49-F238E27FC236}">
                  <a16:creationId xmlns:a16="http://schemas.microsoft.com/office/drawing/2014/main" id="{5AAC7267-6FDD-4D2F-AB37-9547D9FA8CB9}"/>
                </a:ext>
              </a:extLst>
            </p:cNvPr>
            <p:cNvSpPr>
              <a:spLocks noEditPoints="1"/>
            </p:cNvSpPr>
            <p:nvPr/>
          </p:nvSpPr>
          <p:spPr bwMode="auto">
            <a:xfrm>
              <a:off x="3767"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7" name="Freeform 10">
              <a:extLst>
                <a:ext uri="{FF2B5EF4-FFF2-40B4-BE49-F238E27FC236}">
                  <a16:creationId xmlns:a16="http://schemas.microsoft.com/office/drawing/2014/main" id="{7267AF45-9752-4F21-9372-9088982C0AD8}"/>
                </a:ext>
              </a:extLst>
            </p:cNvPr>
            <p:cNvSpPr>
              <a:spLocks noEditPoints="1"/>
            </p:cNvSpPr>
            <p:nvPr/>
          </p:nvSpPr>
          <p:spPr bwMode="auto">
            <a:xfrm>
              <a:off x="3983" y="2306"/>
              <a:ext cx="145"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38" name="Group 37">
            <a:extLst>
              <a:ext uri="{FF2B5EF4-FFF2-40B4-BE49-F238E27FC236}">
                <a16:creationId xmlns:a16="http://schemas.microsoft.com/office/drawing/2014/main" id="{87ADE15F-0D9C-40CF-9FF5-0198DD59BB4C}"/>
              </a:ext>
            </a:extLst>
          </p:cNvPr>
          <p:cNvGrpSpPr/>
          <p:nvPr/>
        </p:nvGrpSpPr>
        <p:grpSpPr>
          <a:xfrm>
            <a:off x="1408256" y="1174330"/>
            <a:ext cx="574611" cy="454188"/>
            <a:chOff x="5946230" y="31072"/>
            <a:chExt cx="574611" cy="454188"/>
          </a:xfrm>
          <a:solidFill>
            <a:schemeClr val="bg1"/>
          </a:solidFill>
        </p:grpSpPr>
        <p:sp>
          <p:nvSpPr>
            <p:cNvPr id="39" name="Freeform 77">
              <a:extLst>
                <a:ext uri="{FF2B5EF4-FFF2-40B4-BE49-F238E27FC236}">
                  <a16:creationId xmlns:a16="http://schemas.microsoft.com/office/drawing/2014/main" id="{3BC1928E-8992-4922-9EB5-36F8C18D71BE}"/>
                </a:ext>
              </a:extLst>
            </p:cNvPr>
            <p:cNvSpPr>
              <a:spLocks/>
            </p:cNvSpPr>
            <p:nvPr/>
          </p:nvSpPr>
          <p:spPr bwMode="auto">
            <a:xfrm>
              <a:off x="5946230" y="31072"/>
              <a:ext cx="574611" cy="165566"/>
            </a:xfrm>
            <a:custGeom>
              <a:avLst/>
              <a:gdLst>
                <a:gd name="T0" fmla="*/ 115 w 127"/>
                <a:gd name="T1" fmla="*/ 0 h 37"/>
                <a:gd name="T2" fmla="*/ 12 w 127"/>
                <a:gd name="T3" fmla="*/ 0 h 37"/>
                <a:gd name="T4" fmla="*/ 0 w 127"/>
                <a:gd name="T5" fmla="*/ 12 h 37"/>
                <a:gd name="T6" fmla="*/ 0 w 127"/>
                <a:gd name="T7" fmla="*/ 33 h 37"/>
                <a:gd name="T8" fmla="*/ 4 w 127"/>
                <a:gd name="T9" fmla="*/ 37 h 37"/>
                <a:gd name="T10" fmla="*/ 8 w 127"/>
                <a:gd name="T11" fmla="*/ 33 h 37"/>
                <a:gd name="T12" fmla="*/ 8 w 127"/>
                <a:gd name="T13" fmla="*/ 12 h 37"/>
                <a:gd name="T14" fmla="*/ 12 w 127"/>
                <a:gd name="T15" fmla="*/ 8 h 37"/>
                <a:gd name="T16" fmla="*/ 115 w 127"/>
                <a:gd name="T17" fmla="*/ 8 h 37"/>
                <a:gd name="T18" fmla="*/ 119 w 127"/>
                <a:gd name="T19" fmla="*/ 12 h 37"/>
                <a:gd name="T20" fmla="*/ 119 w 127"/>
                <a:gd name="T21" fmla="*/ 32 h 37"/>
                <a:gd name="T22" fmla="*/ 123 w 127"/>
                <a:gd name="T23" fmla="*/ 36 h 37"/>
                <a:gd name="T24" fmla="*/ 127 w 127"/>
                <a:gd name="T25" fmla="*/ 32 h 37"/>
                <a:gd name="T26" fmla="*/ 127 w 127"/>
                <a:gd name="T27" fmla="*/ 12 h 37"/>
                <a:gd name="T28" fmla="*/ 115 w 127"/>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37">
                  <a:moveTo>
                    <a:pt x="115" y="0"/>
                  </a:moveTo>
                  <a:cubicBezTo>
                    <a:pt x="12" y="0"/>
                    <a:pt x="12" y="0"/>
                    <a:pt x="12" y="0"/>
                  </a:cubicBezTo>
                  <a:cubicBezTo>
                    <a:pt x="5" y="0"/>
                    <a:pt x="0" y="6"/>
                    <a:pt x="0" y="12"/>
                  </a:cubicBezTo>
                  <a:cubicBezTo>
                    <a:pt x="0" y="33"/>
                    <a:pt x="0" y="33"/>
                    <a:pt x="0" y="33"/>
                  </a:cubicBezTo>
                  <a:cubicBezTo>
                    <a:pt x="0" y="36"/>
                    <a:pt x="1" y="37"/>
                    <a:pt x="4" y="37"/>
                  </a:cubicBezTo>
                  <a:cubicBezTo>
                    <a:pt x="6" y="37"/>
                    <a:pt x="8" y="36"/>
                    <a:pt x="8" y="33"/>
                  </a:cubicBezTo>
                  <a:cubicBezTo>
                    <a:pt x="8" y="12"/>
                    <a:pt x="8" y="12"/>
                    <a:pt x="8" y="12"/>
                  </a:cubicBezTo>
                  <a:cubicBezTo>
                    <a:pt x="8" y="10"/>
                    <a:pt x="9" y="8"/>
                    <a:pt x="12" y="8"/>
                  </a:cubicBezTo>
                  <a:cubicBezTo>
                    <a:pt x="115" y="8"/>
                    <a:pt x="115" y="8"/>
                    <a:pt x="115" y="8"/>
                  </a:cubicBezTo>
                  <a:cubicBezTo>
                    <a:pt x="117" y="8"/>
                    <a:pt x="119" y="10"/>
                    <a:pt x="119" y="12"/>
                  </a:cubicBezTo>
                  <a:cubicBezTo>
                    <a:pt x="119" y="32"/>
                    <a:pt x="119" y="32"/>
                    <a:pt x="119" y="32"/>
                  </a:cubicBezTo>
                  <a:cubicBezTo>
                    <a:pt x="119" y="34"/>
                    <a:pt x="120" y="36"/>
                    <a:pt x="123" y="36"/>
                  </a:cubicBezTo>
                  <a:cubicBezTo>
                    <a:pt x="125" y="36"/>
                    <a:pt x="127" y="34"/>
                    <a:pt x="127" y="32"/>
                  </a:cubicBezTo>
                  <a:cubicBezTo>
                    <a:pt x="127" y="12"/>
                    <a:pt x="127" y="12"/>
                    <a:pt x="127" y="12"/>
                  </a:cubicBezTo>
                  <a:cubicBezTo>
                    <a:pt x="127" y="6"/>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40" name="Freeform 80">
              <a:extLst>
                <a:ext uri="{FF2B5EF4-FFF2-40B4-BE49-F238E27FC236}">
                  <a16:creationId xmlns:a16="http://schemas.microsoft.com/office/drawing/2014/main" id="{E0F0EB90-4607-4AB2-B4EC-53D5E92574F0}"/>
                </a:ext>
              </a:extLst>
            </p:cNvPr>
            <p:cNvSpPr>
              <a:spLocks noEditPoints="1"/>
            </p:cNvSpPr>
            <p:nvPr/>
          </p:nvSpPr>
          <p:spPr bwMode="auto">
            <a:xfrm>
              <a:off x="6145691" y="195529"/>
              <a:ext cx="175688" cy="289731"/>
            </a:xfrm>
            <a:custGeom>
              <a:avLst/>
              <a:gdLst>
                <a:gd name="T0" fmla="*/ 25 w 41"/>
                <a:gd name="T1" fmla="*/ 30 h 68"/>
                <a:gd name="T2" fmla="*/ 25 w 41"/>
                <a:gd name="T3" fmla="*/ 14 h 68"/>
                <a:gd name="T4" fmla="*/ 33 w 41"/>
                <a:gd name="T5" fmla="*/ 16 h 68"/>
                <a:gd name="T6" fmla="*/ 38 w 41"/>
                <a:gd name="T7" fmla="*/ 13 h 68"/>
                <a:gd name="T8" fmla="*/ 35 w 41"/>
                <a:gd name="T9" fmla="*/ 8 h 68"/>
                <a:gd name="T10" fmla="*/ 25 w 41"/>
                <a:gd name="T11" fmla="*/ 6 h 68"/>
                <a:gd name="T12" fmla="*/ 25 w 41"/>
                <a:gd name="T13" fmla="*/ 4 h 68"/>
                <a:gd name="T14" fmla="*/ 21 w 41"/>
                <a:gd name="T15" fmla="*/ 0 h 68"/>
                <a:gd name="T16" fmla="*/ 17 w 41"/>
                <a:gd name="T17" fmla="*/ 4 h 68"/>
                <a:gd name="T18" fmla="*/ 17 w 41"/>
                <a:gd name="T19" fmla="*/ 6 h 68"/>
                <a:gd name="T20" fmla="*/ 1 w 41"/>
                <a:gd name="T21" fmla="*/ 21 h 68"/>
                <a:gd name="T22" fmla="*/ 17 w 41"/>
                <a:gd name="T23" fmla="*/ 36 h 68"/>
                <a:gd name="T24" fmla="*/ 17 w 41"/>
                <a:gd name="T25" fmla="*/ 52 h 68"/>
                <a:gd name="T26" fmla="*/ 7 w 41"/>
                <a:gd name="T27" fmla="*/ 49 h 68"/>
                <a:gd name="T28" fmla="*/ 1 w 41"/>
                <a:gd name="T29" fmla="*/ 51 h 68"/>
                <a:gd name="T30" fmla="*/ 3 w 41"/>
                <a:gd name="T31" fmla="*/ 57 h 68"/>
                <a:gd name="T32" fmla="*/ 17 w 41"/>
                <a:gd name="T33" fmla="*/ 60 h 68"/>
                <a:gd name="T34" fmla="*/ 17 w 41"/>
                <a:gd name="T35" fmla="*/ 64 h 68"/>
                <a:gd name="T36" fmla="*/ 21 w 41"/>
                <a:gd name="T37" fmla="*/ 68 h 68"/>
                <a:gd name="T38" fmla="*/ 25 w 41"/>
                <a:gd name="T39" fmla="*/ 64 h 68"/>
                <a:gd name="T40" fmla="*/ 25 w 41"/>
                <a:gd name="T41" fmla="*/ 60 h 68"/>
                <a:gd name="T42" fmla="*/ 41 w 41"/>
                <a:gd name="T43" fmla="*/ 45 h 68"/>
                <a:gd name="T44" fmla="*/ 25 w 41"/>
                <a:gd name="T45" fmla="*/ 30 h 68"/>
                <a:gd name="T46" fmla="*/ 9 w 41"/>
                <a:gd name="T47" fmla="*/ 21 h 68"/>
                <a:gd name="T48" fmla="*/ 17 w 41"/>
                <a:gd name="T49" fmla="*/ 14 h 68"/>
                <a:gd name="T50" fmla="*/ 17 w 41"/>
                <a:gd name="T51" fmla="*/ 27 h 68"/>
                <a:gd name="T52" fmla="*/ 9 w 41"/>
                <a:gd name="T53" fmla="*/ 21 h 68"/>
                <a:gd name="T54" fmla="*/ 25 w 41"/>
                <a:gd name="T55" fmla="*/ 52 h 68"/>
                <a:gd name="T56" fmla="*/ 25 w 41"/>
                <a:gd name="T57" fmla="*/ 38 h 68"/>
                <a:gd name="T58" fmla="*/ 33 w 41"/>
                <a:gd name="T59" fmla="*/ 45 h 68"/>
                <a:gd name="T60" fmla="*/ 25 w 41"/>
                <a:gd name="T61"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68">
                  <a:moveTo>
                    <a:pt x="25" y="30"/>
                  </a:moveTo>
                  <a:cubicBezTo>
                    <a:pt x="25" y="14"/>
                    <a:pt x="25" y="14"/>
                    <a:pt x="25" y="14"/>
                  </a:cubicBezTo>
                  <a:cubicBezTo>
                    <a:pt x="28" y="15"/>
                    <a:pt x="30" y="15"/>
                    <a:pt x="33" y="16"/>
                  </a:cubicBezTo>
                  <a:cubicBezTo>
                    <a:pt x="35" y="16"/>
                    <a:pt x="37" y="15"/>
                    <a:pt x="38" y="13"/>
                  </a:cubicBezTo>
                  <a:cubicBezTo>
                    <a:pt x="38" y="11"/>
                    <a:pt x="37" y="9"/>
                    <a:pt x="35" y="8"/>
                  </a:cubicBezTo>
                  <a:cubicBezTo>
                    <a:pt x="32" y="7"/>
                    <a:pt x="29" y="6"/>
                    <a:pt x="25" y="6"/>
                  </a:cubicBezTo>
                  <a:cubicBezTo>
                    <a:pt x="25" y="4"/>
                    <a:pt x="25" y="4"/>
                    <a:pt x="25" y="4"/>
                  </a:cubicBezTo>
                  <a:cubicBezTo>
                    <a:pt x="25" y="2"/>
                    <a:pt x="23" y="0"/>
                    <a:pt x="21" y="0"/>
                  </a:cubicBezTo>
                  <a:cubicBezTo>
                    <a:pt x="19" y="0"/>
                    <a:pt x="17" y="2"/>
                    <a:pt x="17" y="4"/>
                  </a:cubicBezTo>
                  <a:cubicBezTo>
                    <a:pt x="17" y="6"/>
                    <a:pt x="17" y="6"/>
                    <a:pt x="17" y="6"/>
                  </a:cubicBezTo>
                  <a:cubicBezTo>
                    <a:pt x="9" y="7"/>
                    <a:pt x="1" y="12"/>
                    <a:pt x="1" y="21"/>
                  </a:cubicBezTo>
                  <a:cubicBezTo>
                    <a:pt x="1" y="30"/>
                    <a:pt x="9" y="34"/>
                    <a:pt x="17" y="36"/>
                  </a:cubicBezTo>
                  <a:cubicBezTo>
                    <a:pt x="17" y="52"/>
                    <a:pt x="17" y="52"/>
                    <a:pt x="17" y="52"/>
                  </a:cubicBezTo>
                  <a:cubicBezTo>
                    <a:pt x="13" y="52"/>
                    <a:pt x="10" y="51"/>
                    <a:pt x="7" y="49"/>
                  </a:cubicBezTo>
                  <a:cubicBezTo>
                    <a:pt x="5" y="48"/>
                    <a:pt x="2" y="49"/>
                    <a:pt x="1" y="51"/>
                  </a:cubicBezTo>
                  <a:cubicBezTo>
                    <a:pt x="0" y="53"/>
                    <a:pt x="1" y="56"/>
                    <a:pt x="3" y="57"/>
                  </a:cubicBezTo>
                  <a:cubicBezTo>
                    <a:pt x="8" y="59"/>
                    <a:pt x="12" y="60"/>
                    <a:pt x="17" y="60"/>
                  </a:cubicBezTo>
                  <a:cubicBezTo>
                    <a:pt x="17" y="64"/>
                    <a:pt x="17" y="64"/>
                    <a:pt x="17" y="64"/>
                  </a:cubicBezTo>
                  <a:cubicBezTo>
                    <a:pt x="17" y="66"/>
                    <a:pt x="19" y="68"/>
                    <a:pt x="21" y="68"/>
                  </a:cubicBezTo>
                  <a:cubicBezTo>
                    <a:pt x="23" y="68"/>
                    <a:pt x="25" y="66"/>
                    <a:pt x="25" y="64"/>
                  </a:cubicBezTo>
                  <a:cubicBezTo>
                    <a:pt x="25" y="60"/>
                    <a:pt x="25" y="60"/>
                    <a:pt x="25" y="60"/>
                  </a:cubicBezTo>
                  <a:cubicBezTo>
                    <a:pt x="35" y="59"/>
                    <a:pt x="41" y="53"/>
                    <a:pt x="41" y="45"/>
                  </a:cubicBezTo>
                  <a:cubicBezTo>
                    <a:pt x="41" y="35"/>
                    <a:pt x="33" y="32"/>
                    <a:pt x="25" y="30"/>
                  </a:cubicBezTo>
                  <a:close/>
                  <a:moveTo>
                    <a:pt x="9" y="21"/>
                  </a:moveTo>
                  <a:cubicBezTo>
                    <a:pt x="9" y="17"/>
                    <a:pt x="13" y="15"/>
                    <a:pt x="17" y="14"/>
                  </a:cubicBezTo>
                  <a:cubicBezTo>
                    <a:pt x="17" y="27"/>
                    <a:pt x="17" y="27"/>
                    <a:pt x="17" y="27"/>
                  </a:cubicBezTo>
                  <a:cubicBezTo>
                    <a:pt x="12" y="26"/>
                    <a:pt x="9" y="24"/>
                    <a:pt x="9" y="21"/>
                  </a:cubicBezTo>
                  <a:close/>
                  <a:moveTo>
                    <a:pt x="25" y="52"/>
                  </a:moveTo>
                  <a:cubicBezTo>
                    <a:pt x="25" y="38"/>
                    <a:pt x="25" y="38"/>
                    <a:pt x="25" y="38"/>
                  </a:cubicBezTo>
                  <a:cubicBezTo>
                    <a:pt x="30" y="40"/>
                    <a:pt x="33" y="41"/>
                    <a:pt x="33" y="45"/>
                  </a:cubicBezTo>
                  <a:cubicBezTo>
                    <a:pt x="33" y="49"/>
                    <a:pt x="29" y="51"/>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44" name="Isosceles Triangle 43">
            <a:extLst>
              <a:ext uri="{FF2B5EF4-FFF2-40B4-BE49-F238E27FC236}">
                <a16:creationId xmlns:a16="http://schemas.microsoft.com/office/drawing/2014/main" id="{DD2C449F-2545-4DC1-B4FC-2917444D09C2}"/>
              </a:ext>
            </a:extLst>
          </p:cNvPr>
          <p:cNvSpPr/>
          <p:nvPr/>
        </p:nvSpPr>
        <p:spPr>
          <a:xfrm rot="10800000">
            <a:off x="10536880" y="2053652"/>
            <a:ext cx="249560" cy="127687"/>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8FE18897-DC13-4875-A280-7CA10130E05A}"/>
              </a:ext>
            </a:extLst>
          </p:cNvPr>
          <p:cNvSpPr/>
          <p:nvPr/>
        </p:nvSpPr>
        <p:spPr>
          <a:xfrm>
            <a:off x="9564794" y="1036972"/>
            <a:ext cx="2186403" cy="102983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Content Placeholder 4">
            <a:extLst>
              <a:ext uri="{FF2B5EF4-FFF2-40B4-BE49-F238E27FC236}">
                <a16:creationId xmlns:a16="http://schemas.microsoft.com/office/drawing/2014/main" id="{73826A76-2931-48CB-9E3A-97E33FC91622}"/>
              </a:ext>
            </a:extLst>
          </p:cNvPr>
          <p:cNvSpPr txBox="1">
            <a:spLocks/>
          </p:cNvSpPr>
          <p:nvPr/>
        </p:nvSpPr>
        <p:spPr>
          <a:xfrm>
            <a:off x="9765823" y="1737199"/>
            <a:ext cx="1793905"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lvl="0" algn="ctr" fontAlgn="base">
              <a:defRPr/>
            </a:pPr>
            <a:r>
              <a:rPr lang="en-US" sz="1400" b="1" dirty="0" err="1">
                <a:solidFill>
                  <a:srgbClr val="FFFFFF"/>
                </a:solidFill>
              </a:rPr>
              <a:t>Condiciones</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52" name="Straight Connector 51">
            <a:extLst>
              <a:ext uri="{FF2B5EF4-FFF2-40B4-BE49-F238E27FC236}">
                <a16:creationId xmlns:a16="http://schemas.microsoft.com/office/drawing/2014/main" id="{AA72AB69-3B71-4BA3-9DEE-C95F5861166E}"/>
              </a:ext>
            </a:extLst>
          </p:cNvPr>
          <p:cNvCxnSpPr>
            <a:cxnSpLocks/>
          </p:cNvCxnSpPr>
          <p:nvPr/>
        </p:nvCxnSpPr>
        <p:spPr>
          <a:xfrm>
            <a:off x="5057561"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A72AB69-3B71-4BA3-9DEE-C95F5861166E}"/>
              </a:ext>
            </a:extLst>
          </p:cNvPr>
          <p:cNvCxnSpPr>
            <a:cxnSpLocks/>
          </p:cNvCxnSpPr>
          <p:nvPr/>
        </p:nvCxnSpPr>
        <p:spPr>
          <a:xfrm>
            <a:off x="2815175"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1871B485-E964-40CE-821A-A4F38DDE330D}"/>
              </a:ext>
            </a:extLst>
          </p:cNvPr>
          <p:cNvGrpSpPr>
            <a:grpSpLocks noChangeAspect="1"/>
          </p:cNvGrpSpPr>
          <p:nvPr/>
        </p:nvGrpSpPr>
        <p:grpSpPr bwMode="auto">
          <a:xfrm>
            <a:off x="10475812" y="1209243"/>
            <a:ext cx="364365" cy="426575"/>
            <a:chOff x="3550" y="1872"/>
            <a:chExt cx="492" cy="576"/>
          </a:xfrm>
          <a:solidFill>
            <a:schemeClr val="bg1"/>
          </a:solidFill>
        </p:grpSpPr>
        <p:sp>
          <p:nvSpPr>
            <p:cNvPr id="58" name="Freeform 5">
              <a:extLst>
                <a:ext uri="{FF2B5EF4-FFF2-40B4-BE49-F238E27FC236}">
                  <a16:creationId xmlns:a16="http://schemas.microsoft.com/office/drawing/2014/main" id="{87E88684-D35B-431E-A8FC-2DF82F90FAC1}"/>
                </a:ext>
              </a:extLst>
            </p:cNvPr>
            <p:cNvSpPr>
              <a:spLocks/>
            </p:cNvSpPr>
            <p:nvPr/>
          </p:nvSpPr>
          <p:spPr bwMode="auto">
            <a:xfrm>
              <a:off x="3550" y="1872"/>
              <a:ext cx="476" cy="576"/>
            </a:xfrm>
            <a:custGeom>
              <a:avLst/>
              <a:gdLst>
                <a:gd name="T0" fmla="*/ 200 w 208"/>
                <a:gd name="T1" fmla="*/ 128 h 252"/>
                <a:gd name="T2" fmla="*/ 192 w 208"/>
                <a:gd name="T3" fmla="*/ 136 h 252"/>
                <a:gd name="T4" fmla="*/ 192 w 208"/>
                <a:gd name="T5" fmla="*/ 236 h 252"/>
                <a:gd name="T6" fmla="*/ 16 w 208"/>
                <a:gd name="T7" fmla="*/ 236 h 252"/>
                <a:gd name="T8" fmla="*/ 16 w 208"/>
                <a:gd name="T9" fmla="*/ 16 h 252"/>
                <a:gd name="T10" fmla="*/ 193 w 208"/>
                <a:gd name="T11" fmla="*/ 16 h 252"/>
                <a:gd name="T12" fmla="*/ 201 w 208"/>
                <a:gd name="T13" fmla="*/ 8 h 252"/>
                <a:gd name="T14" fmla="*/ 193 w 208"/>
                <a:gd name="T15" fmla="*/ 0 h 252"/>
                <a:gd name="T16" fmla="*/ 8 w 208"/>
                <a:gd name="T17" fmla="*/ 0 h 252"/>
                <a:gd name="T18" fmla="*/ 0 w 208"/>
                <a:gd name="T19" fmla="*/ 8 h 252"/>
                <a:gd name="T20" fmla="*/ 0 w 208"/>
                <a:gd name="T21" fmla="*/ 244 h 252"/>
                <a:gd name="T22" fmla="*/ 8 w 208"/>
                <a:gd name="T23" fmla="*/ 252 h 252"/>
                <a:gd name="T24" fmla="*/ 200 w 208"/>
                <a:gd name="T25" fmla="*/ 252 h 252"/>
                <a:gd name="T26" fmla="*/ 208 w 208"/>
                <a:gd name="T27" fmla="*/ 244 h 252"/>
                <a:gd name="T28" fmla="*/ 208 w 208"/>
                <a:gd name="T29" fmla="*/ 136 h 252"/>
                <a:gd name="T30" fmla="*/ 200 w 208"/>
                <a:gd name="T31" fmla="*/ 1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52">
                  <a:moveTo>
                    <a:pt x="200" y="128"/>
                  </a:moveTo>
                  <a:cubicBezTo>
                    <a:pt x="195" y="128"/>
                    <a:pt x="192" y="131"/>
                    <a:pt x="192" y="136"/>
                  </a:cubicBezTo>
                  <a:cubicBezTo>
                    <a:pt x="192" y="236"/>
                    <a:pt x="192" y="236"/>
                    <a:pt x="192" y="236"/>
                  </a:cubicBezTo>
                  <a:cubicBezTo>
                    <a:pt x="16" y="236"/>
                    <a:pt x="16" y="236"/>
                    <a:pt x="16" y="236"/>
                  </a:cubicBezTo>
                  <a:cubicBezTo>
                    <a:pt x="16" y="16"/>
                    <a:pt x="16" y="16"/>
                    <a:pt x="16" y="16"/>
                  </a:cubicBezTo>
                  <a:cubicBezTo>
                    <a:pt x="193" y="16"/>
                    <a:pt x="193" y="16"/>
                    <a:pt x="193" y="16"/>
                  </a:cubicBezTo>
                  <a:cubicBezTo>
                    <a:pt x="198" y="16"/>
                    <a:pt x="201" y="13"/>
                    <a:pt x="201" y="8"/>
                  </a:cubicBezTo>
                  <a:cubicBezTo>
                    <a:pt x="201" y="4"/>
                    <a:pt x="198" y="0"/>
                    <a:pt x="193" y="0"/>
                  </a:cubicBezTo>
                  <a:cubicBezTo>
                    <a:pt x="8" y="0"/>
                    <a:pt x="8" y="0"/>
                    <a:pt x="8" y="0"/>
                  </a:cubicBezTo>
                  <a:cubicBezTo>
                    <a:pt x="3" y="0"/>
                    <a:pt x="0" y="4"/>
                    <a:pt x="0" y="8"/>
                  </a:cubicBezTo>
                  <a:cubicBezTo>
                    <a:pt x="0" y="244"/>
                    <a:pt x="0" y="244"/>
                    <a:pt x="0" y="244"/>
                  </a:cubicBezTo>
                  <a:cubicBezTo>
                    <a:pt x="0" y="249"/>
                    <a:pt x="3" y="252"/>
                    <a:pt x="8" y="252"/>
                  </a:cubicBezTo>
                  <a:cubicBezTo>
                    <a:pt x="200" y="252"/>
                    <a:pt x="200" y="252"/>
                    <a:pt x="200" y="252"/>
                  </a:cubicBezTo>
                  <a:cubicBezTo>
                    <a:pt x="204" y="252"/>
                    <a:pt x="208" y="249"/>
                    <a:pt x="208" y="244"/>
                  </a:cubicBezTo>
                  <a:cubicBezTo>
                    <a:pt x="208" y="136"/>
                    <a:pt x="208" y="136"/>
                    <a:pt x="208" y="136"/>
                  </a:cubicBezTo>
                  <a:cubicBezTo>
                    <a:pt x="208" y="131"/>
                    <a:pt x="204" y="128"/>
                    <a:pt x="20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9" name="Freeform 6">
              <a:extLst>
                <a:ext uri="{FF2B5EF4-FFF2-40B4-BE49-F238E27FC236}">
                  <a16:creationId xmlns:a16="http://schemas.microsoft.com/office/drawing/2014/main" id="{BE503976-2555-4E63-977E-55E802CC2A15}"/>
                </a:ext>
              </a:extLst>
            </p:cNvPr>
            <p:cNvSpPr>
              <a:spLocks noEditPoints="1"/>
            </p:cNvSpPr>
            <p:nvPr/>
          </p:nvSpPr>
          <p:spPr bwMode="auto">
            <a:xfrm>
              <a:off x="3634" y="1975"/>
              <a:ext cx="408" cy="313"/>
            </a:xfrm>
            <a:custGeom>
              <a:avLst/>
              <a:gdLst>
                <a:gd name="T0" fmla="*/ 175 w 178"/>
                <a:gd name="T1" fmla="*/ 26 h 137"/>
                <a:gd name="T2" fmla="*/ 152 w 178"/>
                <a:gd name="T3" fmla="*/ 3 h 137"/>
                <a:gd name="T4" fmla="*/ 141 w 178"/>
                <a:gd name="T5" fmla="*/ 3 h 137"/>
                <a:gd name="T6" fmla="*/ 61 w 178"/>
                <a:gd name="T7" fmla="*/ 83 h 137"/>
                <a:gd name="T8" fmla="*/ 59 w 178"/>
                <a:gd name="T9" fmla="*/ 87 h 137"/>
                <a:gd name="T10" fmla="*/ 48 w 178"/>
                <a:gd name="T11" fmla="*/ 120 h 137"/>
                <a:gd name="T12" fmla="*/ 48 w 178"/>
                <a:gd name="T13" fmla="*/ 122 h 137"/>
                <a:gd name="T14" fmla="*/ 45 w 178"/>
                <a:gd name="T15" fmla="*/ 121 h 137"/>
                <a:gd name="T16" fmla="*/ 8 w 178"/>
                <a:gd name="T17" fmla="*/ 121 h 137"/>
                <a:gd name="T18" fmla="*/ 0 w 178"/>
                <a:gd name="T19" fmla="*/ 129 h 137"/>
                <a:gd name="T20" fmla="*/ 8 w 178"/>
                <a:gd name="T21" fmla="*/ 137 h 137"/>
                <a:gd name="T22" fmla="*/ 45 w 178"/>
                <a:gd name="T23" fmla="*/ 137 h 137"/>
                <a:gd name="T24" fmla="*/ 53 w 178"/>
                <a:gd name="T25" fmla="*/ 130 h 137"/>
                <a:gd name="T26" fmla="*/ 56 w 178"/>
                <a:gd name="T27" fmla="*/ 131 h 137"/>
                <a:gd name="T28" fmla="*/ 58 w 178"/>
                <a:gd name="T29" fmla="*/ 130 h 137"/>
                <a:gd name="T30" fmla="*/ 92 w 178"/>
                <a:gd name="T31" fmla="*/ 119 h 137"/>
                <a:gd name="T32" fmla="*/ 95 w 178"/>
                <a:gd name="T33" fmla="*/ 117 h 137"/>
                <a:gd name="T34" fmla="*/ 175 w 178"/>
                <a:gd name="T35" fmla="*/ 37 h 137"/>
                <a:gd name="T36" fmla="*/ 175 w 178"/>
                <a:gd name="T37" fmla="*/ 26 h 137"/>
                <a:gd name="T38" fmla="*/ 85 w 178"/>
                <a:gd name="T39" fmla="*/ 104 h 137"/>
                <a:gd name="T40" fmla="*/ 68 w 178"/>
                <a:gd name="T41" fmla="*/ 110 h 137"/>
                <a:gd name="T42" fmla="*/ 74 w 178"/>
                <a:gd name="T43" fmla="*/ 93 h 137"/>
                <a:gd name="T44" fmla="*/ 147 w 178"/>
                <a:gd name="T45" fmla="*/ 20 h 137"/>
                <a:gd name="T46" fmla="*/ 158 w 178"/>
                <a:gd name="T47" fmla="*/ 31 h 137"/>
                <a:gd name="T48" fmla="*/ 85 w 178"/>
                <a:gd name="T49" fmla="*/ 10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37">
                  <a:moveTo>
                    <a:pt x="175" y="26"/>
                  </a:moveTo>
                  <a:cubicBezTo>
                    <a:pt x="152" y="3"/>
                    <a:pt x="152" y="3"/>
                    <a:pt x="152" y="3"/>
                  </a:cubicBezTo>
                  <a:cubicBezTo>
                    <a:pt x="149" y="0"/>
                    <a:pt x="144" y="0"/>
                    <a:pt x="141" y="3"/>
                  </a:cubicBezTo>
                  <a:cubicBezTo>
                    <a:pt x="61" y="83"/>
                    <a:pt x="61" y="83"/>
                    <a:pt x="61" y="83"/>
                  </a:cubicBezTo>
                  <a:cubicBezTo>
                    <a:pt x="60" y="84"/>
                    <a:pt x="60" y="85"/>
                    <a:pt x="59" y="87"/>
                  </a:cubicBezTo>
                  <a:cubicBezTo>
                    <a:pt x="48" y="120"/>
                    <a:pt x="48" y="120"/>
                    <a:pt x="48" y="120"/>
                  </a:cubicBezTo>
                  <a:cubicBezTo>
                    <a:pt x="48" y="121"/>
                    <a:pt x="48" y="121"/>
                    <a:pt x="48" y="122"/>
                  </a:cubicBezTo>
                  <a:cubicBezTo>
                    <a:pt x="47" y="121"/>
                    <a:pt x="46" y="121"/>
                    <a:pt x="45" y="121"/>
                  </a:cubicBezTo>
                  <a:cubicBezTo>
                    <a:pt x="8" y="121"/>
                    <a:pt x="8" y="121"/>
                    <a:pt x="8" y="121"/>
                  </a:cubicBezTo>
                  <a:cubicBezTo>
                    <a:pt x="3" y="121"/>
                    <a:pt x="0" y="125"/>
                    <a:pt x="0" y="129"/>
                  </a:cubicBezTo>
                  <a:cubicBezTo>
                    <a:pt x="0" y="133"/>
                    <a:pt x="3" y="137"/>
                    <a:pt x="8" y="137"/>
                  </a:cubicBezTo>
                  <a:cubicBezTo>
                    <a:pt x="45" y="137"/>
                    <a:pt x="45" y="137"/>
                    <a:pt x="45" y="137"/>
                  </a:cubicBezTo>
                  <a:cubicBezTo>
                    <a:pt x="49" y="137"/>
                    <a:pt x="52" y="134"/>
                    <a:pt x="53" y="130"/>
                  </a:cubicBezTo>
                  <a:cubicBezTo>
                    <a:pt x="54" y="130"/>
                    <a:pt x="55" y="131"/>
                    <a:pt x="56" y="131"/>
                  </a:cubicBezTo>
                  <a:cubicBezTo>
                    <a:pt x="56" y="131"/>
                    <a:pt x="57" y="131"/>
                    <a:pt x="58" y="130"/>
                  </a:cubicBezTo>
                  <a:cubicBezTo>
                    <a:pt x="92" y="119"/>
                    <a:pt x="92" y="119"/>
                    <a:pt x="92" y="119"/>
                  </a:cubicBezTo>
                  <a:cubicBezTo>
                    <a:pt x="93" y="119"/>
                    <a:pt x="94" y="118"/>
                    <a:pt x="95" y="117"/>
                  </a:cubicBezTo>
                  <a:cubicBezTo>
                    <a:pt x="175" y="37"/>
                    <a:pt x="175" y="37"/>
                    <a:pt x="175" y="37"/>
                  </a:cubicBezTo>
                  <a:cubicBezTo>
                    <a:pt x="178" y="34"/>
                    <a:pt x="178" y="29"/>
                    <a:pt x="175" y="26"/>
                  </a:cubicBezTo>
                  <a:close/>
                  <a:moveTo>
                    <a:pt x="85" y="104"/>
                  </a:moveTo>
                  <a:cubicBezTo>
                    <a:pt x="68" y="110"/>
                    <a:pt x="68" y="110"/>
                    <a:pt x="68" y="110"/>
                  </a:cubicBezTo>
                  <a:cubicBezTo>
                    <a:pt x="74" y="93"/>
                    <a:pt x="74" y="93"/>
                    <a:pt x="74" y="93"/>
                  </a:cubicBezTo>
                  <a:cubicBezTo>
                    <a:pt x="147" y="20"/>
                    <a:pt x="147" y="20"/>
                    <a:pt x="147" y="20"/>
                  </a:cubicBezTo>
                  <a:cubicBezTo>
                    <a:pt x="158" y="31"/>
                    <a:pt x="158" y="31"/>
                    <a:pt x="158" y="31"/>
                  </a:cubicBezTo>
                  <a:lnTo>
                    <a:pt x="85"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0" name="Freeform 7">
              <a:extLst>
                <a:ext uri="{FF2B5EF4-FFF2-40B4-BE49-F238E27FC236}">
                  <a16:creationId xmlns:a16="http://schemas.microsoft.com/office/drawing/2014/main" id="{2451C234-7E3C-46E4-A5F6-83CDC6FC8A9A}"/>
                </a:ext>
              </a:extLst>
            </p:cNvPr>
            <p:cNvSpPr>
              <a:spLocks/>
            </p:cNvSpPr>
            <p:nvPr/>
          </p:nvSpPr>
          <p:spPr bwMode="auto">
            <a:xfrm>
              <a:off x="3634" y="2002"/>
              <a:ext cx="209" cy="37"/>
            </a:xfrm>
            <a:custGeom>
              <a:avLst/>
              <a:gdLst>
                <a:gd name="T0" fmla="*/ 91 w 91"/>
                <a:gd name="T1" fmla="*/ 8 h 16"/>
                <a:gd name="T2" fmla="*/ 83 w 91"/>
                <a:gd name="T3" fmla="*/ 0 h 16"/>
                <a:gd name="T4" fmla="*/ 8 w 91"/>
                <a:gd name="T5" fmla="*/ 0 h 16"/>
                <a:gd name="T6" fmla="*/ 0 w 91"/>
                <a:gd name="T7" fmla="*/ 8 h 16"/>
                <a:gd name="T8" fmla="*/ 8 w 91"/>
                <a:gd name="T9" fmla="*/ 16 h 16"/>
                <a:gd name="T10" fmla="*/ 83 w 91"/>
                <a:gd name="T11" fmla="*/ 16 h 16"/>
                <a:gd name="T12" fmla="*/ 91 w 91"/>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91" h="16">
                  <a:moveTo>
                    <a:pt x="91" y="8"/>
                  </a:moveTo>
                  <a:cubicBezTo>
                    <a:pt x="91" y="4"/>
                    <a:pt x="87" y="0"/>
                    <a:pt x="83" y="0"/>
                  </a:cubicBezTo>
                  <a:cubicBezTo>
                    <a:pt x="8" y="0"/>
                    <a:pt x="8" y="0"/>
                    <a:pt x="8" y="0"/>
                  </a:cubicBezTo>
                  <a:cubicBezTo>
                    <a:pt x="3" y="0"/>
                    <a:pt x="0" y="4"/>
                    <a:pt x="0" y="8"/>
                  </a:cubicBezTo>
                  <a:cubicBezTo>
                    <a:pt x="0" y="13"/>
                    <a:pt x="3" y="16"/>
                    <a:pt x="8" y="16"/>
                  </a:cubicBezTo>
                  <a:cubicBezTo>
                    <a:pt x="83" y="16"/>
                    <a:pt x="83" y="16"/>
                    <a:pt x="83" y="16"/>
                  </a:cubicBezTo>
                  <a:cubicBezTo>
                    <a:pt x="87" y="16"/>
                    <a:pt x="91" y="13"/>
                    <a:pt x="9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1" name="Freeform 8">
              <a:extLst>
                <a:ext uri="{FF2B5EF4-FFF2-40B4-BE49-F238E27FC236}">
                  <a16:creationId xmlns:a16="http://schemas.microsoft.com/office/drawing/2014/main" id="{0F3AC4D3-8E92-4F5E-9971-FC6738CA19EA}"/>
                </a:ext>
              </a:extLst>
            </p:cNvPr>
            <p:cNvSpPr>
              <a:spLocks/>
            </p:cNvSpPr>
            <p:nvPr/>
          </p:nvSpPr>
          <p:spPr bwMode="auto">
            <a:xfrm>
              <a:off x="3634" y="2075"/>
              <a:ext cx="145" cy="37"/>
            </a:xfrm>
            <a:custGeom>
              <a:avLst/>
              <a:gdLst>
                <a:gd name="T0" fmla="*/ 8 w 63"/>
                <a:gd name="T1" fmla="*/ 0 h 16"/>
                <a:gd name="T2" fmla="*/ 0 w 63"/>
                <a:gd name="T3" fmla="*/ 8 h 16"/>
                <a:gd name="T4" fmla="*/ 8 w 63"/>
                <a:gd name="T5" fmla="*/ 16 h 16"/>
                <a:gd name="T6" fmla="*/ 55 w 63"/>
                <a:gd name="T7" fmla="*/ 16 h 16"/>
                <a:gd name="T8" fmla="*/ 63 w 63"/>
                <a:gd name="T9" fmla="*/ 8 h 16"/>
                <a:gd name="T10" fmla="*/ 55 w 63"/>
                <a:gd name="T11" fmla="*/ 0 h 16"/>
                <a:gd name="T12" fmla="*/ 8 w 63"/>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3" h="16">
                  <a:moveTo>
                    <a:pt x="8" y="0"/>
                  </a:moveTo>
                  <a:cubicBezTo>
                    <a:pt x="3" y="0"/>
                    <a:pt x="0" y="4"/>
                    <a:pt x="0" y="8"/>
                  </a:cubicBezTo>
                  <a:cubicBezTo>
                    <a:pt x="0" y="13"/>
                    <a:pt x="3" y="16"/>
                    <a:pt x="8" y="16"/>
                  </a:cubicBezTo>
                  <a:cubicBezTo>
                    <a:pt x="55" y="16"/>
                    <a:pt x="55" y="16"/>
                    <a:pt x="55" y="16"/>
                  </a:cubicBezTo>
                  <a:cubicBezTo>
                    <a:pt x="59" y="16"/>
                    <a:pt x="63" y="13"/>
                    <a:pt x="63" y="8"/>
                  </a:cubicBezTo>
                  <a:cubicBezTo>
                    <a:pt x="63" y="4"/>
                    <a:pt x="59" y="0"/>
                    <a:pt x="5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62" name="Group 4">
            <a:extLst>
              <a:ext uri="{FF2B5EF4-FFF2-40B4-BE49-F238E27FC236}">
                <a16:creationId xmlns:a16="http://schemas.microsoft.com/office/drawing/2014/main" id="{CECA7678-3E94-47BB-9C16-DDA681788A73}"/>
              </a:ext>
            </a:extLst>
          </p:cNvPr>
          <p:cNvGrpSpPr>
            <a:grpSpLocks noChangeAspect="1"/>
          </p:cNvGrpSpPr>
          <p:nvPr/>
        </p:nvGrpSpPr>
        <p:grpSpPr bwMode="auto">
          <a:xfrm>
            <a:off x="3699782" y="1158383"/>
            <a:ext cx="475642" cy="457200"/>
            <a:chOff x="3838" y="2160"/>
            <a:chExt cx="619" cy="595"/>
          </a:xfrm>
          <a:solidFill>
            <a:schemeClr val="bg1"/>
          </a:solidFill>
        </p:grpSpPr>
        <p:sp>
          <p:nvSpPr>
            <p:cNvPr id="63" name="Freeform 5">
              <a:extLst>
                <a:ext uri="{FF2B5EF4-FFF2-40B4-BE49-F238E27FC236}">
                  <a16:creationId xmlns:a16="http://schemas.microsoft.com/office/drawing/2014/main" id="{83F7CDC1-A401-49C5-B4C8-5FD0F8A2B72C}"/>
                </a:ext>
              </a:extLst>
            </p:cNvPr>
            <p:cNvSpPr>
              <a:spLocks/>
            </p:cNvSpPr>
            <p:nvPr/>
          </p:nvSpPr>
          <p:spPr bwMode="auto">
            <a:xfrm>
              <a:off x="3838" y="2160"/>
              <a:ext cx="619" cy="194"/>
            </a:xfrm>
            <a:custGeom>
              <a:avLst/>
              <a:gdLst>
                <a:gd name="T0" fmla="*/ 253 w 258"/>
                <a:gd name="T1" fmla="*/ 65 h 81"/>
                <a:gd name="T2" fmla="*/ 133 w 258"/>
                <a:gd name="T3" fmla="*/ 1 h 81"/>
                <a:gd name="T4" fmla="*/ 125 w 258"/>
                <a:gd name="T5" fmla="*/ 1 h 81"/>
                <a:gd name="T6" fmla="*/ 5 w 258"/>
                <a:gd name="T7" fmla="*/ 65 h 81"/>
                <a:gd name="T8" fmla="*/ 2 w 258"/>
                <a:gd name="T9" fmla="*/ 76 h 81"/>
                <a:gd name="T10" fmla="*/ 13 w 258"/>
                <a:gd name="T11" fmla="*/ 79 h 81"/>
                <a:gd name="T12" fmla="*/ 129 w 258"/>
                <a:gd name="T13" fmla="*/ 17 h 81"/>
                <a:gd name="T14" fmla="*/ 245 w 258"/>
                <a:gd name="T15" fmla="*/ 79 h 81"/>
                <a:gd name="T16" fmla="*/ 249 w 258"/>
                <a:gd name="T17" fmla="*/ 80 h 81"/>
                <a:gd name="T18" fmla="*/ 256 w 258"/>
                <a:gd name="T19" fmla="*/ 76 h 81"/>
                <a:gd name="T20" fmla="*/ 253 w 258"/>
                <a:gd name="T21"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81">
                  <a:moveTo>
                    <a:pt x="253" y="65"/>
                  </a:moveTo>
                  <a:cubicBezTo>
                    <a:pt x="133" y="1"/>
                    <a:pt x="133" y="1"/>
                    <a:pt x="133" y="1"/>
                  </a:cubicBezTo>
                  <a:cubicBezTo>
                    <a:pt x="131" y="0"/>
                    <a:pt x="128" y="0"/>
                    <a:pt x="125" y="1"/>
                  </a:cubicBezTo>
                  <a:cubicBezTo>
                    <a:pt x="5" y="65"/>
                    <a:pt x="5" y="65"/>
                    <a:pt x="5" y="65"/>
                  </a:cubicBezTo>
                  <a:cubicBezTo>
                    <a:pt x="2" y="67"/>
                    <a:pt x="0" y="72"/>
                    <a:pt x="2" y="76"/>
                  </a:cubicBezTo>
                  <a:cubicBezTo>
                    <a:pt x="4" y="80"/>
                    <a:pt x="9" y="81"/>
                    <a:pt x="13" y="79"/>
                  </a:cubicBezTo>
                  <a:cubicBezTo>
                    <a:pt x="129" y="17"/>
                    <a:pt x="129" y="17"/>
                    <a:pt x="129" y="17"/>
                  </a:cubicBezTo>
                  <a:cubicBezTo>
                    <a:pt x="245" y="79"/>
                    <a:pt x="245" y="79"/>
                    <a:pt x="245" y="79"/>
                  </a:cubicBezTo>
                  <a:cubicBezTo>
                    <a:pt x="247" y="80"/>
                    <a:pt x="248" y="80"/>
                    <a:pt x="249" y="80"/>
                  </a:cubicBezTo>
                  <a:cubicBezTo>
                    <a:pt x="252" y="80"/>
                    <a:pt x="255" y="78"/>
                    <a:pt x="256" y="76"/>
                  </a:cubicBezTo>
                  <a:cubicBezTo>
                    <a:pt x="258" y="72"/>
                    <a:pt x="257" y="67"/>
                    <a:pt x="25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
              <a:extLst>
                <a:ext uri="{FF2B5EF4-FFF2-40B4-BE49-F238E27FC236}">
                  <a16:creationId xmlns:a16="http://schemas.microsoft.com/office/drawing/2014/main" id="{D0771218-EA47-4E05-B0D0-99CCDC5CD008}"/>
                </a:ext>
              </a:extLst>
            </p:cNvPr>
            <p:cNvSpPr>
              <a:spLocks noEditPoints="1"/>
            </p:cNvSpPr>
            <p:nvPr/>
          </p:nvSpPr>
          <p:spPr bwMode="auto">
            <a:xfrm>
              <a:off x="3955" y="2584"/>
              <a:ext cx="384" cy="171"/>
            </a:xfrm>
            <a:custGeom>
              <a:avLst/>
              <a:gdLst>
                <a:gd name="T0" fmla="*/ 131 w 160"/>
                <a:gd name="T1" fmla="*/ 7 h 71"/>
                <a:gd name="T2" fmla="*/ 80 w 160"/>
                <a:gd name="T3" fmla="*/ 0 h 71"/>
                <a:gd name="T4" fmla="*/ 29 w 160"/>
                <a:gd name="T5" fmla="*/ 7 h 71"/>
                <a:gd name="T6" fmla="*/ 0 w 160"/>
                <a:gd name="T7" fmla="*/ 45 h 71"/>
                <a:gd name="T8" fmla="*/ 0 w 160"/>
                <a:gd name="T9" fmla="*/ 63 h 71"/>
                <a:gd name="T10" fmla="*/ 8 w 160"/>
                <a:gd name="T11" fmla="*/ 71 h 71"/>
                <a:gd name="T12" fmla="*/ 152 w 160"/>
                <a:gd name="T13" fmla="*/ 71 h 71"/>
                <a:gd name="T14" fmla="*/ 160 w 160"/>
                <a:gd name="T15" fmla="*/ 63 h 71"/>
                <a:gd name="T16" fmla="*/ 160 w 160"/>
                <a:gd name="T17" fmla="*/ 45 h 71"/>
                <a:gd name="T18" fmla="*/ 131 w 160"/>
                <a:gd name="T19" fmla="*/ 7 h 71"/>
                <a:gd name="T20" fmla="*/ 144 w 160"/>
                <a:gd name="T21" fmla="*/ 55 h 71"/>
                <a:gd name="T22" fmla="*/ 16 w 160"/>
                <a:gd name="T23" fmla="*/ 55 h 71"/>
                <a:gd name="T24" fmla="*/ 16 w 160"/>
                <a:gd name="T25" fmla="*/ 45 h 71"/>
                <a:gd name="T26" fmla="*/ 34 w 160"/>
                <a:gd name="T27" fmla="*/ 23 h 71"/>
                <a:gd name="T28" fmla="*/ 80 w 160"/>
                <a:gd name="T29" fmla="*/ 16 h 71"/>
                <a:gd name="T30" fmla="*/ 127 w 160"/>
                <a:gd name="T31" fmla="*/ 23 h 71"/>
                <a:gd name="T32" fmla="*/ 144 w 160"/>
                <a:gd name="T33" fmla="*/ 45 h 71"/>
                <a:gd name="T34" fmla="*/ 144 w 160"/>
                <a:gd name="T35"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71">
                  <a:moveTo>
                    <a:pt x="131" y="7"/>
                  </a:moveTo>
                  <a:cubicBezTo>
                    <a:pt x="120" y="4"/>
                    <a:pt x="101" y="0"/>
                    <a:pt x="80" y="0"/>
                  </a:cubicBezTo>
                  <a:cubicBezTo>
                    <a:pt x="58" y="0"/>
                    <a:pt x="40" y="4"/>
                    <a:pt x="29" y="7"/>
                  </a:cubicBezTo>
                  <a:cubicBezTo>
                    <a:pt x="12" y="12"/>
                    <a:pt x="0" y="28"/>
                    <a:pt x="0" y="45"/>
                  </a:cubicBezTo>
                  <a:cubicBezTo>
                    <a:pt x="0" y="63"/>
                    <a:pt x="0" y="63"/>
                    <a:pt x="0" y="63"/>
                  </a:cubicBezTo>
                  <a:cubicBezTo>
                    <a:pt x="0" y="67"/>
                    <a:pt x="4" y="71"/>
                    <a:pt x="8" y="71"/>
                  </a:cubicBezTo>
                  <a:cubicBezTo>
                    <a:pt x="152" y="71"/>
                    <a:pt x="152" y="71"/>
                    <a:pt x="152" y="71"/>
                  </a:cubicBezTo>
                  <a:cubicBezTo>
                    <a:pt x="157" y="71"/>
                    <a:pt x="160" y="67"/>
                    <a:pt x="160" y="63"/>
                  </a:cubicBezTo>
                  <a:cubicBezTo>
                    <a:pt x="160" y="45"/>
                    <a:pt x="160" y="45"/>
                    <a:pt x="160" y="45"/>
                  </a:cubicBezTo>
                  <a:cubicBezTo>
                    <a:pt x="160" y="28"/>
                    <a:pt x="148" y="12"/>
                    <a:pt x="131" y="7"/>
                  </a:cubicBezTo>
                  <a:close/>
                  <a:moveTo>
                    <a:pt x="144" y="55"/>
                  </a:moveTo>
                  <a:cubicBezTo>
                    <a:pt x="16" y="55"/>
                    <a:pt x="16" y="55"/>
                    <a:pt x="16" y="55"/>
                  </a:cubicBezTo>
                  <a:cubicBezTo>
                    <a:pt x="16" y="45"/>
                    <a:pt x="16" y="45"/>
                    <a:pt x="16" y="45"/>
                  </a:cubicBezTo>
                  <a:cubicBezTo>
                    <a:pt x="16" y="35"/>
                    <a:pt x="23" y="26"/>
                    <a:pt x="34" y="23"/>
                  </a:cubicBezTo>
                  <a:cubicBezTo>
                    <a:pt x="44" y="20"/>
                    <a:pt x="60" y="16"/>
                    <a:pt x="80" y="16"/>
                  </a:cubicBezTo>
                  <a:cubicBezTo>
                    <a:pt x="98" y="16"/>
                    <a:pt x="113" y="19"/>
                    <a:pt x="127" y="23"/>
                  </a:cubicBezTo>
                  <a:cubicBezTo>
                    <a:pt x="137" y="26"/>
                    <a:pt x="144" y="35"/>
                    <a:pt x="144" y="45"/>
                  </a:cubicBezTo>
                  <a:lnTo>
                    <a:pt x="144"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88616614-4A7E-4022-8C31-08CF636ED0C2}"/>
                </a:ext>
              </a:extLst>
            </p:cNvPr>
            <p:cNvSpPr>
              <a:spLocks noEditPoints="1"/>
            </p:cNvSpPr>
            <p:nvPr/>
          </p:nvSpPr>
          <p:spPr bwMode="auto">
            <a:xfrm>
              <a:off x="4032" y="2294"/>
              <a:ext cx="230" cy="250"/>
            </a:xfrm>
            <a:custGeom>
              <a:avLst/>
              <a:gdLst>
                <a:gd name="T0" fmla="*/ 96 w 96"/>
                <a:gd name="T1" fmla="*/ 48 h 104"/>
                <a:gd name="T2" fmla="*/ 48 w 96"/>
                <a:gd name="T3" fmla="*/ 0 h 104"/>
                <a:gd name="T4" fmla="*/ 0 w 96"/>
                <a:gd name="T5" fmla="*/ 48 h 104"/>
                <a:gd name="T6" fmla="*/ 48 w 96"/>
                <a:gd name="T7" fmla="*/ 104 h 104"/>
                <a:gd name="T8" fmla="*/ 96 w 96"/>
                <a:gd name="T9" fmla="*/ 48 h 104"/>
                <a:gd name="T10" fmla="*/ 16 w 96"/>
                <a:gd name="T11" fmla="*/ 48 h 104"/>
                <a:gd name="T12" fmla="*/ 48 w 96"/>
                <a:gd name="T13" fmla="*/ 16 h 104"/>
                <a:gd name="T14" fmla="*/ 80 w 96"/>
                <a:gd name="T15" fmla="*/ 48 h 104"/>
                <a:gd name="T16" fmla="*/ 48 w 96"/>
                <a:gd name="T17" fmla="*/ 88 h 104"/>
                <a:gd name="T18" fmla="*/ 16 w 96"/>
                <a:gd name="T19"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4">
                  <a:moveTo>
                    <a:pt x="96" y="48"/>
                  </a:moveTo>
                  <a:cubicBezTo>
                    <a:pt x="96" y="21"/>
                    <a:pt x="75" y="0"/>
                    <a:pt x="48" y="0"/>
                  </a:cubicBezTo>
                  <a:cubicBezTo>
                    <a:pt x="21" y="0"/>
                    <a:pt x="0" y="21"/>
                    <a:pt x="0" y="48"/>
                  </a:cubicBezTo>
                  <a:cubicBezTo>
                    <a:pt x="0" y="74"/>
                    <a:pt x="21" y="104"/>
                    <a:pt x="48" y="104"/>
                  </a:cubicBezTo>
                  <a:cubicBezTo>
                    <a:pt x="76" y="104"/>
                    <a:pt x="96" y="74"/>
                    <a:pt x="96" y="48"/>
                  </a:cubicBezTo>
                  <a:close/>
                  <a:moveTo>
                    <a:pt x="16" y="48"/>
                  </a:moveTo>
                  <a:cubicBezTo>
                    <a:pt x="16" y="30"/>
                    <a:pt x="30" y="16"/>
                    <a:pt x="48" y="16"/>
                  </a:cubicBezTo>
                  <a:cubicBezTo>
                    <a:pt x="66" y="16"/>
                    <a:pt x="80" y="30"/>
                    <a:pt x="80" y="48"/>
                  </a:cubicBezTo>
                  <a:cubicBezTo>
                    <a:pt x="80" y="66"/>
                    <a:pt x="66" y="88"/>
                    <a:pt x="48" y="88"/>
                  </a:cubicBezTo>
                  <a:cubicBezTo>
                    <a:pt x="31" y="88"/>
                    <a:pt x="16" y="66"/>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 name="TextBox 65"/>
          <p:cNvSpPr txBox="1"/>
          <p:nvPr/>
        </p:nvSpPr>
        <p:spPr>
          <a:xfrm>
            <a:off x="2917518" y="2280305"/>
            <a:ext cx="2038398" cy="3262432"/>
          </a:xfrm>
          <a:prstGeom prst="rect">
            <a:avLst/>
          </a:prstGeom>
          <a:noFill/>
        </p:spPr>
        <p:txBody>
          <a:bodyPr wrap="square" lIns="0" tIns="0" rIns="0" bIns="0" rtlCol="0">
            <a:spAutoFit/>
          </a:bodyPr>
          <a:lstStyle/>
          <a:p>
            <a:r>
              <a:rPr lang="en-US" sz="1050" u="sng" dirty="0"/>
              <a:t>Cambio de </a:t>
            </a:r>
            <a:r>
              <a:rPr lang="en-US" sz="1050" u="sng" dirty="0" err="1"/>
              <a:t>tasas</a:t>
            </a:r>
            <a:r>
              <a:rPr lang="en-US" sz="1050" u="sng" dirty="0"/>
              <a:t> </a:t>
            </a:r>
            <a:r>
              <a:rPr lang="en-US" sz="1050" u="sng" dirty="0" err="1"/>
              <a:t>originales</a:t>
            </a:r>
            <a:endParaRPr lang="en-US" sz="1050" u="sng" dirty="0"/>
          </a:p>
          <a:p>
            <a:r>
              <a:rPr lang="es-ES" sz="1000" dirty="0"/>
              <a:t>Se espera que los aumentos de las tasas originales continúen en gran parte del Caribe, aunque en menor medida que en los últimos 12 meses. En otros lugares, las tasas se mantienen estables.</a:t>
            </a:r>
          </a:p>
          <a:p>
            <a:endParaRPr lang="en-US" sz="1000" dirty="0"/>
          </a:p>
          <a:p>
            <a:r>
              <a:rPr lang="es-ES" sz="1050" u="sng" dirty="0"/>
              <a:t>Previsiones de crecimiento</a:t>
            </a:r>
          </a:p>
          <a:p>
            <a:r>
              <a:rPr lang="es-ES" sz="1000" dirty="0"/>
              <a:t>Las cedentes volverán a niveles de crecimiento más típicos en 2024-25 a medida que mejore la disponibilidad de capacidad de reaseguro.</a:t>
            </a:r>
          </a:p>
          <a:p>
            <a:endParaRPr lang="en-US" sz="1000" dirty="0"/>
          </a:p>
          <a:p>
            <a:r>
              <a:rPr lang="es-ES" sz="1050" u="sng" dirty="0"/>
              <a:t>Cambio en la composición de la cartera</a:t>
            </a:r>
          </a:p>
          <a:p>
            <a:r>
              <a:rPr lang="es-ES" sz="1000" dirty="0"/>
              <a:t>En general consistente: las condiciones del mercado de reaseguros ya no influyen en el apetito de los cedentes.</a:t>
            </a:r>
            <a:endParaRPr lang="en-US" sz="1000" dirty="0"/>
          </a:p>
        </p:txBody>
      </p:sp>
      <p:sp>
        <p:nvSpPr>
          <p:cNvPr id="67" name="TextBox 66"/>
          <p:cNvSpPr txBox="1"/>
          <p:nvPr/>
        </p:nvSpPr>
        <p:spPr>
          <a:xfrm>
            <a:off x="5151954" y="2284703"/>
            <a:ext cx="2038398" cy="3116238"/>
          </a:xfrm>
          <a:prstGeom prst="rect">
            <a:avLst/>
          </a:prstGeom>
          <a:noFill/>
        </p:spPr>
        <p:txBody>
          <a:bodyPr wrap="square" lIns="0" tIns="0" rIns="0" bIns="0" rtlCol="0">
            <a:spAutoFit/>
          </a:bodyPr>
          <a:lstStyle/>
          <a:p>
            <a:r>
              <a:rPr lang="en-US" sz="1050" u="sng" dirty="0" err="1"/>
              <a:t>Deducibles</a:t>
            </a:r>
            <a:r>
              <a:rPr lang="en-US" sz="1050" u="sng" dirty="0"/>
              <a:t> XL</a:t>
            </a:r>
          </a:p>
          <a:p>
            <a:r>
              <a:rPr lang="es-ES" sz="1000" dirty="0"/>
              <a:t>En general estable tras los incrementos impuestos en renovaciones anteriores.</a:t>
            </a:r>
          </a:p>
          <a:p>
            <a:endParaRPr lang="en-US" sz="1000" dirty="0"/>
          </a:p>
          <a:p>
            <a:r>
              <a:rPr lang="en-US" sz="1050" u="sng" dirty="0" err="1"/>
              <a:t>Limites</a:t>
            </a:r>
            <a:r>
              <a:rPr lang="en-US" sz="1050" u="sng" dirty="0"/>
              <a:t> </a:t>
            </a:r>
            <a:r>
              <a:rPr lang="en-US" sz="1050" u="sng" dirty="0" err="1"/>
              <a:t>por</a:t>
            </a:r>
            <a:r>
              <a:rPr lang="en-US" sz="1050" u="sng" dirty="0"/>
              <a:t> </a:t>
            </a:r>
            <a:r>
              <a:rPr lang="en-US" sz="1050" u="sng" dirty="0" err="1"/>
              <a:t>Evento</a:t>
            </a:r>
            <a:endParaRPr lang="en-US" sz="1050" u="sng" dirty="0"/>
          </a:p>
          <a:p>
            <a:r>
              <a:rPr lang="es-ES" sz="1000" dirty="0"/>
              <a:t>Generalmente mantenido gracias a una disponibilidad de capacidad más cómoda.</a:t>
            </a:r>
          </a:p>
          <a:p>
            <a:endParaRPr lang="en-US" sz="1000" dirty="0"/>
          </a:p>
          <a:p>
            <a:r>
              <a:rPr lang="en-US" sz="1050" u="sng" dirty="0" err="1"/>
              <a:t>Cesiones</a:t>
            </a:r>
            <a:r>
              <a:rPr lang="en-US" sz="1050" u="sng" dirty="0"/>
              <a:t> </a:t>
            </a:r>
            <a:r>
              <a:rPr lang="en-US" sz="1050" u="sng" dirty="0" err="1"/>
              <a:t>proporcionales</a:t>
            </a:r>
            <a:endParaRPr lang="en-US" sz="1050" u="sng" dirty="0"/>
          </a:p>
          <a:p>
            <a:r>
              <a:rPr lang="en-US" sz="1000" dirty="0" err="1"/>
              <a:t>Generalmente</a:t>
            </a:r>
            <a:r>
              <a:rPr lang="en-US" sz="1000" dirty="0"/>
              <a:t> </a:t>
            </a:r>
            <a:r>
              <a:rPr lang="en-US" sz="1000" dirty="0" err="1"/>
              <a:t>mantenido</a:t>
            </a:r>
            <a:r>
              <a:rPr lang="en-US" sz="1000" dirty="0"/>
              <a:t>.</a:t>
            </a:r>
          </a:p>
          <a:p>
            <a:endParaRPr lang="en-US" sz="1000" dirty="0"/>
          </a:p>
          <a:p>
            <a:r>
              <a:rPr lang="es-ES" sz="1050" u="sng" dirty="0"/>
              <a:t>Elementos estructurados / paramétricos</a:t>
            </a:r>
          </a:p>
          <a:p>
            <a:r>
              <a:rPr lang="es-ES" sz="1000" dirty="0"/>
              <a:t>Sigue habiendo interés en alternativas plurianuales y/o paramétricas a las capas tradicionales (normalmente inferiores).</a:t>
            </a:r>
            <a:endParaRPr lang="en-US" sz="1000" dirty="0"/>
          </a:p>
        </p:txBody>
      </p:sp>
      <p:sp>
        <p:nvSpPr>
          <p:cNvPr id="68" name="TextBox 67"/>
          <p:cNvSpPr txBox="1"/>
          <p:nvPr/>
        </p:nvSpPr>
        <p:spPr>
          <a:xfrm>
            <a:off x="7458614" y="2280305"/>
            <a:ext cx="2038398" cy="4532010"/>
          </a:xfrm>
          <a:prstGeom prst="rect">
            <a:avLst/>
          </a:prstGeom>
          <a:noFill/>
        </p:spPr>
        <p:txBody>
          <a:bodyPr wrap="square" lIns="0" tIns="0" rIns="0" bIns="0" rtlCol="0">
            <a:spAutoFit/>
          </a:bodyPr>
          <a:lstStyle/>
          <a:p>
            <a:r>
              <a:rPr lang="es-ES" sz="1050" u="sng" dirty="0"/>
              <a:t>Cambio de comisión de cesión prorrateada</a:t>
            </a:r>
          </a:p>
          <a:p>
            <a:r>
              <a:rPr lang="en-US" sz="1000" dirty="0" err="1"/>
              <a:t>Generalmente</a:t>
            </a:r>
            <a:r>
              <a:rPr lang="en-US" sz="1000" dirty="0"/>
              <a:t> sin </a:t>
            </a:r>
            <a:r>
              <a:rPr lang="en-US" sz="1000" dirty="0" err="1"/>
              <a:t>cambios</a:t>
            </a:r>
            <a:r>
              <a:rPr lang="en-US" sz="1000" dirty="0"/>
              <a:t>.</a:t>
            </a:r>
          </a:p>
          <a:p>
            <a:endParaRPr lang="en-US" sz="1000" dirty="0"/>
          </a:p>
          <a:p>
            <a:r>
              <a:rPr lang="es-ES" sz="1050" u="sng" dirty="0"/>
              <a:t>Cambio de comisión de ganancias prorrateadas</a:t>
            </a:r>
          </a:p>
          <a:p>
            <a:r>
              <a:rPr lang="en-US" sz="1000" dirty="0" err="1"/>
              <a:t>Generalmente</a:t>
            </a:r>
            <a:r>
              <a:rPr lang="en-US" sz="1000" dirty="0"/>
              <a:t> sin </a:t>
            </a:r>
            <a:r>
              <a:rPr lang="en-US" sz="1000" dirty="0" err="1"/>
              <a:t>cambios</a:t>
            </a:r>
            <a:r>
              <a:rPr lang="en-US" sz="1000" dirty="0"/>
              <a:t>.</a:t>
            </a:r>
          </a:p>
          <a:p>
            <a:endParaRPr lang="en-US" sz="1000" dirty="0"/>
          </a:p>
          <a:p>
            <a:r>
              <a:rPr lang="es-ES" sz="1050" u="sng" dirty="0"/>
              <a:t>Cambio de traspaso de déficit</a:t>
            </a:r>
          </a:p>
          <a:p>
            <a:r>
              <a:rPr lang="en-US" sz="1000" dirty="0" err="1"/>
              <a:t>Generalmente</a:t>
            </a:r>
            <a:r>
              <a:rPr lang="en-US" sz="1000" dirty="0"/>
              <a:t> sin </a:t>
            </a:r>
            <a:r>
              <a:rPr lang="en-US" sz="1000" dirty="0" err="1"/>
              <a:t>cambios</a:t>
            </a:r>
            <a:r>
              <a:rPr lang="en-US" sz="1000" dirty="0"/>
              <a:t>.</a:t>
            </a:r>
          </a:p>
          <a:p>
            <a:endParaRPr lang="en-US" sz="1000" dirty="0"/>
          </a:p>
          <a:p>
            <a:r>
              <a:rPr lang="es-ES" sz="1050" u="sng" dirty="0"/>
              <a:t>Cambio de tasa Cat XL ajustado </a:t>
            </a:r>
            <a:endParaRPr lang="es-ES" sz="1000" dirty="0"/>
          </a:p>
          <a:p>
            <a:r>
              <a:rPr lang="es-ES" sz="1000" dirty="0"/>
              <a:t>Reducciones muy modestas hasta aumentos combinados de +5-10%. Aparte de las capas afectadas por pérdidas/ciertos territorios desafiantes, las tasas se mantuvieron relativamente estables.</a:t>
            </a:r>
          </a:p>
          <a:p>
            <a:endParaRPr lang="en-US" sz="1000" dirty="0"/>
          </a:p>
          <a:p>
            <a:r>
              <a:rPr lang="es-ES" sz="1050" u="sng" dirty="0"/>
              <a:t>Cambio de tasa XL Por Riesgo</a:t>
            </a:r>
          </a:p>
          <a:p>
            <a:r>
              <a:rPr lang="en-US" sz="1000" dirty="0"/>
              <a:t>-7.5% a 0%</a:t>
            </a:r>
          </a:p>
          <a:p>
            <a:endParaRPr lang="en-US" sz="1000" dirty="0"/>
          </a:p>
          <a:p>
            <a:r>
              <a:rPr lang="es-ES" sz="1050" u="sng" dirty="0"/>
              <a:t>Cambio de tasa XL </a:t>
            </a:r>
            <a:r>
              <a:rPr lang="es-ES" sz="1050" u="sng" dirty="0" err="1"/>
              <a:t>Casualty</a:t>
            </a:r>
            <a:endParaRPr lang="es-ES" sz="1050" u="sng" dirty="0"/>
          </a:p>
          <a:p>
            <a:r>
              <a:rPr lang="en-US" sz="1000" dirty="0" err="1"/>
              <a:t>Estables</a:t>
            </a:r>
            <a:r>
              <a:rPr lang="en-US" sz="1000" dirty="0"/>
              <a:t> </a:t>
            </a:r>
            <a:r>
              <a:rPr lang="en-US" sz="1000" dirty="0" err="1"/>
              <a:t>en</a:t>
            </a:r>
            <a:r>
              <a:rPr lang="en-US" sz="1000" dirty="0"/>
              <a:t> general - a</a:t>
            </a:r>
            <a:r>
              <a:rPr lang="es-ES" sz="1000" dirty="0" err="1"/>
              <a:t>lgunos</a:t>
            </a:r>
            <a:r>
              <a:rPr lang="es-ES" sz="1000" dirty="0"/>
              <a:t> descuentos disponibles con resultados favorables.</a:t>
            </a:r>
          </a:p>
          <a:p>
            <a:endParaRPr lang="en-US" sz="1000" dirty="0"/>
          </a:p>
          <a:p>
            <a:r>
              <a:rPr lang="es-ES" sz="1050" u="sng" dirty="0"/>
              <a:t>‘</a:t>
            </a:r>
            <a:r>
              <a:rPr lang="es-ES" sz="1050" u="sng" dirty="0" err="1"/>
              <a:t>Loadings</a:t>
            </a:r>
            <a:r>
              <a:rPr lang="es-ES" sz="1050" u="sng" dirty="0"/>
              <a:t>’ de los RPP</a:t>
            </a:r>
          </a:p>
          <a:p>
            <a:r>
              <a:rPr lang="en-US" sz="1000" dirty="0"/>
              <a:t>25% a 35%</a:t>
            </a:r>
          </a:p>
        </p:txBody>
      </p:sp>
      <p:sp>
        <p:nvSpPr>
          <p:cNvPr id="74" name="TextBox 73"/>
          <p:cNvSpPr txBox="1"/>
          <p:nvPr/>
        </p:nvSpPr>
        <p:spPr>
          <a:xfrm>
            <a:off x="9644084" y="2285258"/>
            <a:ext cx="2038398" cy="4308872"/>
          </a:xfrm>
          <a:prstGeom prst="rect">
            <a:avLst/>
          </a:prstGeom>
          <a:noFill/>
        </p:spPr>
        <p:txBody>
          <a:bodyPr wrap="square" lIns="0" tIns="0" rIns="0" bIns="0" rtlCol="0">
            <a:spAutoFit/>
          </a:bodyPr>
          <a:lstStyle/>
          <a:p>
            <a:r>
              <a:rPr lang="es-ES" sz="1000" u="sng" dirty="0"/>
              <a:t>Cambio climático</a:t>
            </a:r>
          </a:p>
          <a:p>
            <a:r>
              <a:rPr lang="es-ES" sz="1000" dirty="0"/>
              <a:t>Se hace referencia en algunas discusiones con las reaseguradoras, pero no afecta las negociaciones de manera material.</a:t>
            </a:r>
          </a:p>
          <a:p>
            <a:endParaRPr lang="es-ES" sz="1000" dirty="0"/>
          </a:p>
          <a:p>
            <a:r>
              <a:rPr lang="es-ES" sz="1000" u="sng" dirty="0"/>
              <a:t>ESG</a:t>
            </a:r>
          </a:p>
          <a:p>
            <a:r>
              <a:rPr lang="es-ES" sz="1000" dirty="0"/>
              <a:t>Se hace referencia en algunas discusiones con las reaseguradoras, pero no afecta las negociaciones de manera material.</a:t>
            </a:r>
          </a:p>
          <a:p>
            <a:endParaRPr lang="es-ES" sz="1000" dirty="0"/>
          </a:p>
          <a:p>
            <a:r>
              <a:rPr lang="es-ES" sz="1000" u="sng" dirty="0"/>
              <a:t>SRCC</a:t>
            </a:r>
          </a:p>
          <a:p>
            <a:r>
              <a:rPr lang="es-ES" sz="1000" dirty="0"/>
              <a:t>En algunos territorios, un impulso para restringir los límites de eventos y la definición de pérdida en términos de límites territoriales.</a:t>
            </a:r>
          </a:p>
          <a:p>
            <a:endParaRPr lang="es-ES" sz="1000" dirty="0"/>
          </a:p>
          <a:p>
            <a:r>
              <a:rPr lang="es-ES" sz="1000" u="sng" dirty="0" err="1"/>
              <a:t>Cyber</a:t>
            </a:r>
            <a:endParaRPr lang="es-ES" sz="1000" u="sng" dirty="0"/>
          </a:p>
          <a:p>
            <a:r>
              <a:rPr lang="es-ES" sz="1000" dirty="0"/>
              <a:t>La mayoría de los programas ya tienen exclusiones estándar (LMA 5510/11).</a:t>
            </a:r>
          </a:p>
          <a:p>
            <a:endParaRPr lang="es-ES" sz="1000" dirty="0"/>
          </a:p>
          <a:p>
            <a:r>
              <a:rPr lang="es-ES" sz="1000" u="sng" dirty="0"/>
              <a:t>Cambio en las provisiones de cobertura/horas</a:t>
            </a:r>
          </a:p>
          <a:p>
            <a:r>
              <a:rPr lang="es-ES" sz="1000" dirty="0"/>
              <a:t>Introducción de la condición de solo peligros </a:t>
            </a:r>
            <a:r>
              <a:rPr lang="es-ES" sz="1000" dirty="0" err="1"/>
              <a:t>Nat</a:t>
            </a:r>
            <a:r>
              <a:rPr lang="es-ES" sz="1000" dirty="0"/>
              <a:t> Cat en algunos Cat XL.</a:t>
            </a:r>
            <a:endParaRPr lang="es-CO" sz="1000" dirty="0"/>
          </a:p>
          <a:p>
            <a:endParaRPr lang="en-US" sz="900" dirty="0"/>
          </a:p>
        </p:txBody>
      </p:sp>
    </p:spTree>
    <p:custDataLst>
      <p:custData r:id="rId1"/>
    </p:custDataLst>
    <p:extLst>
      <p:ext uri="{BB962C8B-B14F-4D97-AF65-F5344CB8AC3E}">
        <p14:creationId xmlns:p14="http://schemas.microsoft.com/office/powerpoint/2010/main" val="2862101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9112A9B6-D920-28C8-72C3-E1E11981AADA}"/>
              </a:ext>
            </a:extLst>
          </p:cNvPr>
          <p:cNvGraphicFramePr>
            <a:graphicFrameLocks/>
          </p:cNvGraphicFramePr>
          <p:nvPr>
            <p:extLst>
              <p:ext uri="{D42A27DB-BD31-4B8C-83A1-F6EECF244321}">
                <p14:modId xmlns:p14="http://schemas.microsoft.com/office/powerpoint/2010/main" val="499405947"/>
              </p:ext>
            </p:extLst>
          </p:nvPr>
        </p:nvGraphicFramePr>
        <p:xfrm>
          <a:off x="473361" y="1289050"/>
          <a:ext cx="11245278" cy="4279899"/>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8"/>
          <p:cNvSpPr>
            <a:spLocks noGrp="1"/>
          </p:cNvSpPr>
          <p:nvPr>
            <p:ph type="title"/>
          </p:nvPr>
        </p:nvSpPr>
        <p:spPr/>
        <p:txBody>
          <a:bodyPr/>
          <a:lstStyle/>
          <a:p>
            <a:r>
              <a:rPr lang="es-CO" dirty="0" err="1"/>
              <a:t>Property</a:t>
            </a:r>
            <a:r>
              <a:rPr lang="es-CO" dirty="0"/>
              <a:t> : cambios típicos de precio ajustado</a:t>
            </a:r>
          </a:p>
        </p:txBody>
      </p:sp>
      <p:sp>
        <p:nvSpPr>
          <p:cNvPr id="6" name="Slide Number Placeholder 5">
            <a:extLst>
              <a:ext uri="{FF2B5EF4-FFF2-40B4-BE49-F238E27FC236}">
                <a16:creationId xmlns:a16="http://schemas.microsoft.com/office/drawing/2014/main" id="{6975219C-1354-406C-A8B7-E3C29950AAF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Text Placeholder 9"/>
          <p:cNvSpPr>
            <a:spLocks noGrp="1"/>
          </p:cNvSpPr>
          <p:nvPr>
            <p:ph type="body" sz="quarter" idx="12"/>
          </p:nvPr>
        </p:nvSpPr>
        <p:spPr/>
        <p:txBody>
          <a:bodyPr/>
          <a:lstStyle/>
          <a:p>
            <a:r>
              <a:rPr lang="en-US" dirty="0"/>
              <a:t>Julio 1, 2024***</a:t>
            </a:r>
          </a:p>
          <a:p>
            <a:endParaRPr lang="en-US" dirty="0"/>
          </a:p>
        </p:txBody>
      </p:sp>
      <p:sp>
        <p:nvSpPr>
          <p:cNvPr id="19" name="Rectangle 18">
            <a:extLst>
              <a:ext uri="{FF2B5EF4-FFF2-40B4-BE49-F238E27FC236}">
                <a16:creationId xmlns:a16="http://schemas.microsoft.com/office/drawing/2014/main" id="{0089AA55-7602-4382-B47F-8FEF72D86413}"/>
              </a:ext>
            </a:extLst>
          </p:cNvPr>
          <p:cNvSpPr/>
          <p:nvPr/>
        </p:nvSpPr>
        <p:spPr>
          <a:xfrm>
            <a:off x="4652267" y="5985295"/>
            <a:ext cx="137160" cy="13716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339BFD02-3865-49AB-A30A-1ED650DFCA63}"/>
              </a:ext>
            </a:extLst>
          </p:cNvPr>
          <p:cNvSpPr txBox="1"/>
          <p:nvPr/>
        </p:nvSpPr>
        <p:spPr>
          <a:xfrm>
            <a:off x="4855971" y="5961542"/>
            <a:ext cx="827150" cy="184666"/>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rPr>
              <a:t>No </a:t>
            </a:r>
            <a:r>
              <a:rPr kumimoji="0" lang="en-US" sz="1200" b="0" i="0" u="none" strike="noStrike" kern="1200" cap="none" spc="0" normalizeH="0" baseline="0" noProof="0" dirty="0" err="1">
                <a:ln>
                  <a:noFill/>
                </a:ln>
                <a:solidFill>
                  <a:srgbClr val="202020"/>
                </a:solidFill>
                <a:effectLst/>
                <a:uLnTx/>
                <a:uFillTx/>
                <a:latin typeface="Arial" panose="020B0604020202020204"/>
                <a:ea typeface="+mn-ea"/>
                <a:cs typeface="+mn-cs"/>
              </a:rPr>
              <a:t>afectado</a:t>
            </a:r>
            <a:endPar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61533DF7-4743-4F3A-BDAB-0214043DED21}"/>
              </a:ext>
            </a:extLst>
          </p:cNvPr>
          <p:cNvSpPr/>
          <p:nvPr/>
        </p:nvSpPr>
        <p:spPr>
          <a:xfrm>
            <a:off x="6307442" y="5985295"/>
            <a:ext cx="137160" cy="1371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AB902BE-74BB-4E57-9E67-2A71D739980A}"/>
              </a:ext>
            </a:extLst>
          </p:cNvPr>
          <p:cNvSpPr txBox="1"/>
          <p:nvPr/>
        </p:nvSpPr>
        <p:spPr>
          <a:xfrm>
            <a:off x="6511146" y="5961542"/>
            <a:ext cx="605935" cy="184666"/>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02020"/>
                </a:solidFill>
                <a:effectLst/>
                <a:uLnTx/>
                <a:uFillTx/>
                <a:latin typeface="Arial" panose="020B0604020202020204"/>
                <a:ea typeface="+mn-ea"/>
                <a:cs typeface="+mn-cs"/>
              </a:rPr>
              <a:t>Afectado</a:t>
            </a:r>
            <a:endPar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7" name="TextBox 36"/>
          <p:cNvSpPr txBox="1"/>
          <p:nvPr/>
        </p:nvSpPr>
        <p:spPr>
          <a:xfrm>
            <a:off x="6026959" y="4983970"/>
            <a:ext cx="48418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Mexico</a:t>
            </a:r>
          </a:p>
        </p:txBody>
      </p:sp>
      <p:sp>
        <p:nvSpPr>
          <p:cNvPr id="2" name="Footer Placeholder 1">
            <a:extLst>
              <a:ext uri="{FF2B5EF4-FFF2-40B4-BE49-F238E27FC236}">
                <a16:creationId xmlns:a16="http://schemas.microsoft.com/office/drawing/2014/main" id="{EBA8A4E2-C6F6-7B29-B06B-3BE058262118}"/>
              </a:ext>
            </a:extLst>
          </p:cNvPr>
          <p:cNvSpPr>
            <a:spLocks noGrp="1"/>
          </p:cNvSpPr>
          <p:nvPr>
            <p:ph type="ftr" sz="quarter" idx="11"/>
          </p:nvPr>
        </p:nvSpPr>
        <p:spPr>
          <a:xfrm>
            <a:off x="665825" y="6228760"/>
            <a:ext cx="10580995" cy="388507"/>
          </a:xfrm>
        </p:spPr>
        <p:txBody>
          <a:bodyPr/>
          <a:lstStyle/>
          <a:p>
            <a:pPr algn="r">
              <a:buFont typeface="Arial" panose="020B0604020202020204" pitchFamily="34" charset="0"/>
              <a:buNone/>
            </a:pPr>
            <a:r>
              <a:rPr lang="es-ES" sz="700" dirty="0"/>
              <a:t>Fuente: Guy </a:t>
            </a:r>
            <a:r>
              <a:rPr lang="es-ES" sz="700" dirty="0" err="1"/>
              <a:t>Carpenter</a:t>
            </a:r>
            <a:r>
              <a:rPr lang="es-ES" sz="700" dirty="0"/>
              <a:t>; *Estas tasas representan promedios. Los resultados reales fueron muy variados y dependieron de las características de las cuentas, particularmente en el caso de los programas impactados por pérdidas.</a:t>
            </a:r>
          </a:p>
          <a:p>
            <a:pPr algn="r">
              <a:buFont typeface="Arial" panose="020B0604020202020204" pitchFamily="34" charset="0"/>
              <a:buNone/>
            </a:pPr>
            <a:r>
              <a:rPr lang="es-ES" sz="700" dirty="0"/>
              <a:t>**Tenga en cuenta que, para muchos programas de Medio Oriente que se vieron afectados por las inundaciones de los EAU, los aumentos de las tasas ajustadas al riesgo por catástrofe excedieron significativamente el 100 %.</a:t>
            </a:r>
            <a:endParaRPr lang="en-US" sz="700" dirty="0"/>
          </a:p>
        </p:txBody>
      </p:sp>
      <p:sp>
        <p:nvSpPr>
          <p:cNvPr id="11" name="TextBox 2">
            <a:extLst>
              <a:ext uri="{FF2B5EF4-FFF2-40B4-BE49-F238E27FC236}">
                <a16:creationId xmlns:a16="http://schemas.microsoft.com/office/drawing/2014/main" id="{EF0B09B1-2AEF-D3F8-9DFC-AA4A9DDD5645}"/>
              </a:ext>
            </a:extLst>
          </p:cNvPr>
          <p:cNvSpPr txBox="1"/>
          <p:nvPr/>
        </p:nvSpPr>
        <p:spPr>
          <a:xfrm>
            <a:off x="1362072" y="2990149"/>
            <a:ext cx="2186817" cy="27699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Australia y Nueva </a:t>
            </a:r>
            <a:r>
              <a:rPr kumimoji="0" lang="en-US" sz="1200" b="1" i="0" u="none" strike="noStrike" kern="1200" cap="none" spc="0" normalizeH="0" baseline="0" noProof="0" dirty="0" err="1">
                <a:ln>
                  <a:noFill/>
                </a:ln>
                <a:solidFill>
                  <a:srgbClr val="202020"/>
                </a:solidFill>
                <a:effectLst/>
                <a:uLnTx/>
                <a:uFillTx/>
                <a:latin typeface="Arial" panose="020B0604020202020204"/>
                <a:ea typeface="+mn-ea"/>
                <a:cs typeface="+mn-cs"/>
              </a:rPr>
              <a:t>Zelanda</a:t>
            </a:r>
            <a:endPar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00E8142B-3B2B-5581-61EB-6D8CAF30706A}"/>
              </a:ext>
            </a:extLst>
          </p:cNvPr>
          <p:cNvSpPr/>
          <p:nvPr/>
        </p:nvSpPr>
        <p:spPr>
          <a:xfrm>
            <a:off x="5045530" y="4753093"/>
            <a:ext cx="1330492"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C77"/>
                </a:solidFill>
                <a:effectLst/>
                <a:uLnTx/>
                <a:uFillTx/>
                <a:latin typeface="Arial" panose="020B0604020202020204"/>
                <a:ea typeface="+mn-ea"/>
                <a:cs typeface="+mn-cs"/>
              </a:rPr>
              <a:t>Sin Cambio</a:t>
            </a:r>
            <a:endParaRPr kumimoji="0" lang="en-US" sz="12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5" name="TextBox 1">
            <a:extLst>
              <a:ext uri="{FF2B5EF4-FFF2-40B4-BE49-F238E27FC236}">
                <a16:creationId xmlns:a16="http://schemas.microsoft.com/office/drawing/2014/main" id="{85CFF981-1C30-CC87-4A06-897F84A16212}"/>
              </a:ext>
            </a:extLst>
          </p:cNvPr>
          <p:cNvSpPr txBox="1"/>
          <p:nvPr/>
        </p:nvSpPr>
        <p:spPr>
          <a:xfrm>
            <a:off x="998128" y="1845981"/>
            <a:ext cx="2550761" cy="27699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02020"/>
                </a:solidFill>
                <a:effectLst/>
                <a:uLnTx/>
                <a:uFillTx/>
                <a:latin typeface="Arial" panose="020B0604020202020204"/>
                <a:ea typeface="+mn-ea"/>
                <a:cs typeface="+mn-cs"/>
              </a:rPr>
              <a:t>Latinoamerica</a:t>
            </a: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 y Caribe</a:t>
            </a:r>
          </a:p>
        </p:txBody>
      </p:sp>
      <p:sp>
        <p:nvSpPr>
          <p:cNvPr id="14" name="TextBox 2">
            <a:extLst>
              <a:ext uri="{FF2B5EF4-FFF2-40B4-BE49-F238E27FC236}">
                <a16:creationId xmlns:a16="http://schemas.microsoft.com/office/drawing/2014/main" id="{E0015C21-554A-84DD-8E09-4DFC6E57767E}"/>
              </a:ext>
            </a:extLst>
          </p:cNvPr>
          <p:cNvSpPr txBox="1"/>
          <p:nvPr/>
        </p:nvSpPr>
        <p:spPr>
          <a:xfrm>
            <a:off x="2192142" y="1205021"/>
            <a:ext cx="1348446" cy="27699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02020"/>
                </a:solidFill>
                <a:effectLst/>
                <a:uLnTx/>
                <a:uFillTx/>
                <a:latin typeface="Arial" panose="020B0604020202020204"/>
                <a:ea typeface="+mn-ea"/>
                <a:cs typeface="+mn-cs"/>
              </a:rPr>
              <a:t>Estados</a:t>
            </a: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 Unidos</a:t>
            </a:r>
          </a:p>
        </p:txBody>
      </p:sp>
      <p:sp>
        <p:nvSpPr>
          <p:cNvPr id="15" name="TextBox 1">
            <a:extLst>
              <a:ext uri="{FF2B5EF4-FFF2-40B4-BE49-F238E27FC236}">
                <a16:creationId xmlns:a16="http://schemas.microsoft.com/office/drawing/2014/main" id="{1D1FA8BE-B049-6F1A-FC07-1E1B52B035F2}"/>
              </a:ext>
            </a:extLst>
          </p:cNvPr>
          <p:cNvSpPr txBox="1"/>
          <p:nvPr/>
        </p:nvSpPr>
        <p:spPr>
          <a:xfrm>
            <a:off x="473361" y="3695033"/>
            <a:ext cx="2989252" cy="127744"/>
          </a:xfrm>
          <a:prstGeom prst="rect">
            <a:avLst/>
          </a:prstGeom>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China continental (</a:t>
            </a:r>
            <a:r>
              <a:rPr kumimoji="0" lang="en-US" sz="1200" b="1" i="0" u="none" strike="noStrike" kern="1200" cap="none" spc="0" normalizeH="0" baseline="0" noProof="0" dirty="0" err="1">
                <a:ln>
                  <a:noFill/>
                </a:ln>
                <a:solidFill>
                  <a:srgbClr val="202020"/>
                </a:solidFill>
                <a:effectLst/>
                <a:uLnTx/>
                <a:uFillTx/>
                <a:latin typeface="Arial" panose="020B0604020202020204"/>
                <a:ea typeface="+mn-ea"/>
                <a:cs typeface="+mn-cs"/>
              </a:rPr>
              <a:t>excluido</a:t>
            </a: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 Hong Kong))</a:t>
            </a:r>
          </a:p>
        </p:txBody>
      </p:sp>
      <p:sp>
        <p:nvSpPr>
          <p:cNvPr id="16" name="TextBox 1">
            <a:extLst>
              <a:ext uri="{FF2B5EF4-FFF2-40B4-BE49-F238E27FC236}">
                <a16:creationId xmlns:a16="http://schemas.microsoft.com/office/drawing/2014/main" id="{1141FE2B-A6B4-992C-359E-9B312BDFD2B7}"/>
              </a:ext>
            </a:extLst>
          </p:cNvPr>
          <p:cNvSpPr txBox="1"/>
          <p:nvPr/>
        </p:nvSpPr>
        <p:spPr>
          <a:xfrm>
            <a:off x="2590711" y="4363518"/>
            <a:ext cx="871902" cy="127744"/>
          </a:xfrm>
          <a:prstGeom prst="rect">
            <a:avLst/>
          </a:prstGeom>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2020"/>
                </a:solidFill>
                <a:effectLst/>
                <a:uLnTx/>
                <a:uFillTx/>
                <a:latin typeface="Arial" panose="020B0604020202020204"/>
                <a:ea typeface="+mn-ea"/>
                <a:cs typeface="+mn-cs"/>
              </a:rPr>
              <a:t>Hong Kong</a:t>
            </a:r>
          </a:p>
        </p:txBody>
      </p:sp>
      <p:sp>
        <p:nvSpPr>
          <p:cNvPr id="5" name="TextBox 1">
            <a:extLst>
              <a:ext uri="{FF2B5EF4-FFF2-40B4-BE49-F238E27FC236}">
                <a16:creationId xmlns:a16="http://schemas.microsoft.com/office/drawing/2014/main" id="{A7A88902-F326-2D81-001B-EC4FBBD669CE}"/>
              </a:ext>
            </a:extLst>
          </p:cNvPr>
          <p:cNvSpPr txBox="1"/>
          <p:nvPr/>
        </p:nvSpPr>
        <p:spPr>
          <a:xfrm>
            <a:off x="1260858" y="2530776"/>
            <a:ext cx="2278553" cy="500137"/>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rPr>
              <a:t>Oriente Medio**</a:t>
            </a:r>
          </a:p>
          <a:p>
            <a:pPr marL="0" marR="0" lvl="0" indent="0" algn="r" defTabSz="914400" rtl="0" eaLnBrk="1" fontAlgn="auto" latinLnBrk="0" hangingPunct="1">
              <a:lnSpc>
                <a:spcPct val="100000"/>
              </a:lnSpc>
              <a:spcBef>
                <a:spcPts val="0"/>
              </a:spcBef>
              <a:spcAft>
                <a:spcPts val="300"/>
              </a:spcAft>
              <a:buClrTx/>
              <a:buSzTx/>
              <a:buFontTx/>
              <a:buNone/>
              <a:tabLst/>
              <a:defRPr/>
            </a:pPr>
            <a:r>
              <a:rPr lang="en-US" sz="1200" b="1" dirty="0" err="1">
                <a:solidFill>
                  <a:srgbClr val="202020"/>
                </a:solidFill>
                <a:latin typeface="Arial" panose="020B0604020202020204"/>
              </a:rPr>
              <a:t>Sudáfrica</a:t>
            </a:r>
            <a:endParaRPr kumimoji="0" lang="en-US" sz="1200" b="1"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23C0E03-5BDE-8003-3394-DBAFD360EC1D}"/>
              </a:ext>
            </a:extLst>
          </p:cNvPr>
          <p:cNvSpPr txBox="1"/>
          <p:nvPr/>
        </p:nvSpPr>
        <p:spPr>
          <a:xfrm>
            <a:off x="2300747" y="1445888"/>
            <a:ext cx="1131235" cy="430887"/>
          </a:xfrm>
          <a:prstGeom prst="rect">
            <a:avLst/>
          </a:prstGeom>
          <a:solidFill>
            <a:schemeClr val="bg1"/>
          </a:solidFill>
        </p:spPr>
        <p:txBody>
          <a:bodyPr wrap="square" lIns="0" tIns="0" rIns="0" bIns="0" rtlCol="0">
            <a:spAutoFit/>
          </a:bodyPr>
          <a:lstStyle/>
          <a:p>
            <a:pPr algn="r"/>
            <a:r>
              <a:rPr lang="es-CO" sz="1200" dirty="0"/>
              <a:t>Catastrófico</a:t>
            </a:r>
          </a:p>
          <a:p>
            <a:pPr algn="r"/>
            <a:endParaRPr lang="es-CO" sz="300" dirty="0"/>
          </a:p>
          <a:p>
            <a:pPr algn="r"/>
            <a:r>
              <a:rPr lang="es-CO" sz="1200" dirty="0"/>
              <a:t>Por Riesgo</a:t>
            </a:r>
          </a:p>
        </p:txBody>
      </p:sp>
      <p:sp>
        <p:nvSpPr>
          <p:cNvPr id="4" name="TextBox 3">
            <a:extLst>
              <a:ext uri="{FF2B5EF4-FFF2-40B4-BE49-F238E27FC236}">
                <a16:creationId xmlns:a16="http://schemas.microsoft.com/office/drawing/2014/main" id="{605E7996-0726-6D12-C2C1-31D6F073F505}"/>
              </a:ext>
            </a:extLst>
          </p:cNvPr>
          <p:cNvSpPr txBox="1"/>
          <p:nvPr/>
        </p:nvSpPr>
        <p:spPr>
          <a:xfrm>
            <a:off x="2300746" y="2104869"/>
            <a:ext cx="1131235" cy="430887"/>
          </a:xfrm>
          <a:prstGeom prst="rect">
            <a:avLst/>
          </a:prstGeom>
          <a:solidFill>
            <a:schemeClr val="bg1"/>
          </a:solidFill>
        </p:spPr>
        <p:txBody>
          <a:bodyPr wrap="square" lIns="0" tIns="0" rIns="0" bIns="0" rtlCol="0">
            <a:spAutoFit/>
          </a:bodyPr>
          <a:lstStyle/>
          <a:p>
            <a:pPr algn="r"/>
            <a:r>
              <a:rPr lang="es-CO" sz="1200" dirty="0"/>
              <a:t>Catastrófico</a:t>
            </a:r>
          </a:p>
          <a:p>
            <a:pPr algn="r"/>
            <a:endParaRPr lang="es-CO" sz="300" dirty="0"/>
          </a:p>
          <a:p>
            <a:pPr algn="r"/>
            <a:r>
              <a:rPr lang="es-CO" sz="1200" dirty="0"/>
              <a:t>Por Riesgo</a:t>
            </a:r>
          </a:p>
        </p:txBody>
      </p:sp>
      <p:sp>
        <p:nvSpPr>
          <p:cNvPr id="8" name="TextBox 7">
            <a:extLst>
              <a:ext uri="{FF2B5EF4-FFF2-40B4-BE49-F238E27FC236}">
                <a16:creationId xmlns:a16="http://schemas.microsoft.com/office/drawing/2014/main" id="{9B371D98-D0EB-772E-7430-A9842533C540}"/>
              </a:ext>
            </a:extLst>
          </p:cNvPr>
          <p:cNvSpPr txBox="1"/>
          <p:nvPr/>
        </p:nvSpPr>
        <p:spPr>
          <a:xfrm>
            <a:off x="2306036" y="3237493"/>
            <a:ext cx="1131235" cy="430887"/>
          </a:xfrm>
          <a:prstGeom prst="rect">
            <a:avLst/>
          </a:prstGeom>
          <a:solidFill>
            <a:schemeClr val="bg1"/>
          </a:solidFill>
        </p:spPr>
        <p:txBody>
          <a:bodyPr wrap="square" lIns="0" tIns="0" rIns="0" bIns="0" rtlCol="0">
            <a:spAutoFit/>
          </a:bodyPr>
          <a:lstStyle/>
          <a:p>
            <a:pPr algn="r"/>
            <a:r>
              <a:rPr lang="es-CO" sz="1200" dirty="0"/>
              <a:t>Catastrófico</a:t>
            </a:r>
          </a:p>
          <a:p>
            <a:pPr algn="r"/>
            <a:endParaRPr lang="es-CO" sz="300" dirty="0"/>
          </a:p>
          <a:p>
            <a:pPr algn="r"/>
            <a:r>
              <a:rPr lang="es-CO" sz="1200" dirty="0"/>
              <a:t>Por Riesgo</a:t>
            </a:r>
          </a:p>
        </p:txBody>
      </p:sp>
      <p:sp>
        <p:nvSpPr>
          <p:cNvPr id="17" name="TextBox 16">
            <a:extLst>
              <a:ext uri="{FF2B5EF4-FFF2-40B4-BE49-F238E27FC236}">
                <a16:creationId xmlns:a16="http://schemas.microsoft.com/office/drawing/2014/main" id="{50FA23D7-1302-C9E1-2574-BCBCE57EE1F3}"/>
              </a:ext>
            </a:extLst>
          </p:cNvPr>
          <p:cNvSpPr txBox="1"/>
          <p:nvPr/>
        </p:nvSpPr>
        <p:spPr>
          <a:xfrm>
            <a:off x="2300744" y="4575394"/>
            <a:ext cx="1131235" cy="430887"/>
          </a:xfrm>
          <a:prstGeom prst="rect">
            <a:avLst/>
          </a:prstGeom>
          <a:solidFill>
            <a:schemeClr val="bg1"/>
          </a:solidFill>
        </p:spPr>
        <p:txBody>
          <a:bodyPr wrap="square" lIns="0" tIns="0" rIns="0" bIns="0" rtlCol="0">
            <a:spAutoFit/>
          </a:bodyPr>
          <a:lstStyle/>
          <a:p>
            <a:pPr algn="r"/>
            <a:r>
              <a:rPr lang="es-CO" sz="1200" dirty="0"/>
              <a:t>Catastrófico</a:t>
            </a:r>
          </a:p>
          <a:p>
            <a:pPr algn="r"/>
            <a:endParaRPr lang="es-CO" sz="300" dirty="0"/>
          </a:p>
          <a:p>
            <a:pPr algn="r"/>
            <a:r>
              <a:rPr lang="es-CO" sz="1200" dirty="0"/>
              <a:t>Por Riesgo</a:t>
            </a:r>
          </a:p>
        </p:txBody>
      </p:sp>
    </p:spTree>
    <p:extLst>
      <p:ext uri="{BB962C8B-B14F-4D97-AF65-F5344CB8AC3E}">
        <p14:creationId xmlns:p14="http://schemas.microsoft.com/office/powerpoint/2010/main" val="2533681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DB0CB-268F-4218-9A99-BA9C96147D95}"/>
              </a:ext>
            </a:extLst>
          </p:cNvPr>
          <p:cNvSpPr>
            <a:spLocks noGrp="1"/>
          </p:cNvSpPr>
          <p:nvPr>
            <p:ph type="title"/>
          </p:nvPr>
        </p:nvSpPr>
        <p:spPr/>
        <p:txBody>
          <a:bodyPr/>
          <a:lstStyle/>
          <a:p>
            <a:r>
              <a:rPr lang="en-US" dirty="0" err="1"/>
              <a:t>Indicadores</a:t>
            </a:r>
            <a:r>
              <a:rPr lang="en-US" dirty="0"/>
              <a:t> del mercado</a:t>
            </a:r>
          </a:p>
        </p:txBody>
      </p:sp>
      <p:grpSp>
        <p:nvGrpSpPr>
          <p:cNvPr id="4" name="Group 8">
            <a:extLst>
              <a:ext uri="{FF2B5EF4-FFF2-40B4-BE49-F238E27FC236}">
                <a16:creationId xmlns:a16="http://schemas.microsoft.com/office/drawing/2014/main" id="{91870BCC-5679-4A5E-87B4-26B9A2246A88}"/>
              </a:ext>
            </a:extLst>
          </p:cNvPr>
          <p:cNvGrpSpPr>
            <a:grpSpLocks noChangeAspect="1"/>
          </p:cNvGrpSpPr>
          <p:nvPr/>
        </p:nvGrpSpPr>
        <p:grpSpPr bwMode="auto">
          <a:xfrm>
            <a:off x="7389551" y="2561301"/>
            <a:ext cx="4296699" cy="4296699"/>
            <a:chOff x="3840" y="2158"/>
            <a:chExt cx="614" cy="614"/>
          </a:xfrm>
          <a:solidFill>
            <a:schemeClr val="accent4"/>
          </a:solidFill>
        </p:grpSpPr>
        <p:sp>
          <p:nvSpPr>
            <p:cNvPr id="5" name="Freeform 9">
              <a:extLst>
                <a:ext uri="{FF2B5EF4-FFF2-40B4-BE49-F238E27FC236}">
                  <a16:creationId xmlns:a16="http://schemas.microsoft.com/office/drawing/2014/main" id="{89653BB2-D66D-43D6-8BA3-53EC78565654}"/>
                </a:ext>
              </a:extLst>
            </p:cNvPr>
            <p:cNvSpPr>
              <a:spLocks/>
            </p:cNvSpPr>
            <p:nvPr/>
          </p:nvSpPr>
          <p:spPr bwMode="auto">
            <a:xfrm>
              <a:off x="3917" y="2158"/>
              <a:ext cx="38" cy="307"/>
            </a:xfrm>
            <a:custGeom>
              <a:avLst/>
              <a:gdLst>
                <a:gd name="T0" fmla="*/ 8 w 16"/>
                <a:gd name="T1" fmla="*/ 128 h 128"/>
                <a:gd name="T2" fmla="*/ 16 w 16"/>
                <a:gd name="T3" fmla="*/ 120 h 128"/>
                <a:gd name="T4" fmla="*/ 16 w 16"/>
                <a:gd name="T5" fmla="*/ 8 h 128"/>
                <a:gd name="T6" fmla="*/ 8 w 16"/>
                <a:gd name="T7" fmla="*/ 0 h 128"/>
                <a:gd name="T8" fmla="*/ 0 w 16"/>
                <a:gd name="T9" fmla="*/ 8 h 128"/>
                <a:gd name="T10" fmla="*/ 0 w 16"/>
                <a:gd name="T11" fmla="*/ 120 h 128"/>
                <a:gd name="T12" fmla="*/ 8 w 16"/>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6" h="128">
                  <a:moveTo>
                    <a:pt x="8" y="128"/>
                  </a:moveTo>
                  <a:cubicBezTo>
                    <a:pt x="13" y="128"/>
                    <a:pt x="16" y="124"/>
                    <a:pt x="16" y="120"/>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 name="Freeform 10">
              <a:extLst>
                <a:ext uri="{FF2B5EF4-FFF2-40B4-BE49-F238E27FC236}">
                  <a16:creationId xmlns:a16="http://schemas.microsoft.com/office/drawing/2014/main" id="{FD70FBC8-F327-4AFB-BD93-4B17E5DE609D}"/>
                </a:ext>
              </a:extLst>
            </p:cNvPr>
            <p:cNvSpPr>
              <a:spLocks noEditPoints="1"/>
            </p:cNvSpPr>
            <p:nvPr/>
          </p:nvSpPr>
          <p:spPr bwMode="auto">
            <a:xfrm>
              <a:off x="3840" y="2503"/>
              <a:ext cx="192" cy="269"/>
            </a:xfrm>
            <a:custGeom>
              <a:avLst/>
              <a:gdLst>
                <a:gd name="T0" fmla="*/ 72 w 80"/>
                <a:gd name="T1" fmla="*/ 0 h 112"/>
                <a:gd name="T2" fmla="*/ 8 w 80"/>
                <a:gd name="T3" fmla="*/ 0 h 112"/>
                <a:gd name="T4" fmla="*/ 0 w 80"/>
                <a:gd name="T5" fmla="*/ 8 h 112"/>
                <a:gd name="T6" fmla="*/ 0 w 80"/>
                <a:gd name="T7" fmla="*/ 48 h 112"/>
                <a:gd name="T8" fmla="*/ 8 w 80"/>
                <a:gd name="T9" fmla="*/ 56 h 112"/>
                <a:gd name="T10" fmla="*/ 32 w 80"/>
                <a:gd name="T11" fmla="*/ 56 h 112"/>
                <a:gd name="T12" fmla="*/ 32 w 80"/>
                <a:gd name="T13" fmla="*/ 104 h 112"/>
                <a:gd name="T14" fmla="*/ 40 w 80"/>
                <a:gd name="T15" fmla="*/ 112 h 112"/>
                <a:gd name="T16" fmla="*/ 48 w 80"/>
                <a:gd name="T17" fmla="*/ 104 h 112"/>
                <a:gd name="T18" fmla="*/ 48 w 80"/>
                <a:gd name="T19" fmla="*/ 56 h 112"/>
                <a:gd name="T20" fmla="*/ 72 w 80"/>
                <a:gd name="T21" fmla="*/ 56 h 112"/>
                <a:gd name="T22" fmla="*/ 80 w 80"/>
                <a:gd name="T23" fmla="*/ 48 h 112"/>
                <a:gd name="T24" fmla="*/ 80 w 80"/>
                <a:gd name="T25" fmla="*/ 8 h 112"/>
                <a:gd name="T26" fmla="*/ 72 w 80"/>
                <a:gd name="T27" fmla="*/ 0 h 112"/>
                <a:gd name="T28" fmla="*/ 64 w 80"/>
                <a:gd name="T29" fmla="*/ 40 h 112"/>
                <a:gd name="T30" fmla="*/ 16 w 80"/>
                <a:gd name="T31" fmla="*/ 40 h 112"/>
                <a:gd name="T32" fmla="*/ 16 w 80"/>
                <a:gd name="T33" fmla="*/ 16 h 112"/>
                <a:gd name="T34" fmla="*/ 64 w 80"/>
                <a:gd name="T35" fmla="*/ 16 h 112"/>
                <a:gd name="T36" fmla="*/ 64 w 80"/>
                <a:gd name="T37" fmla="*/ 4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12">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04"/>
                    <a:pt x="32" y="104"/>
                    <a:pt x="32" y="104"/>
                  </a:cubicBezTo>
                  <a:cubicBezTo>
                    <a:pt x="32" y="108"/>
                    <a:pt x="36" y="112"/>
                    <a:pt x="40" y="112"/>
                  </a:cubicBezTo>
                  <a:cubicBezTo>
                    <a:pt x="45" y="112"/>
                    <a:pt x="48" y="108"/>
                    <a:pt x="48" y="104"/>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 name="Freeform 11">
              <a:extLst>
                <a:ext uri="{FF2B5EF4-FFF2-40B4-BE49-F238E27FC236}">
                  <a16:creationId xmlns:a16="http://schemas.microsoft.com/office/drawing/2014/main" id="{B4E19715-FACC-4632-B985-37B5C5DF7EB4}"/>
                </a:ext>
              </a:extLst>
            </p:cNvPr>
            <p:cNvSpPr>
              <a:spLocks/>
            </p:cNvSpPr>
            <p:nvPr/>
          </p:nvSpPr>
          <p:spPr bwMode="auto">
            <a:xfrm>
              <a:off x="4339" y="2158"/>
              <a:ext cx="39" cy="307"/>
            </a:xfrm>
            <a:custGeom>
              <a:avLst/>
              <a:gdLst>
                <a:gd name="T0" fmla="*/ 8 w 16"/>
                <a:gd name="T1" fmla="*/ 128 h 128"/>
                <a:gd name="T2" fmla="*/ 16 w 16"/>
                <a:gd name="T3" fmla="*/ 120 h 128"/>
                <a:gd name="T4" fmla="*/ 16 w 16"/>
                <a:gd name="T5" fmla="*/ 8 h 128"/>
                <a:gd name="T6" fmla="*/ 8 w 16"/>
                <a:gd name="T7" fmla="*/ 0 h 128"/>
                <a:gd name="T8" fmla="*/ 0 w 16"/>
                <a:gd name="T9" fmla="*/ 8 h 128"/>
                <a:gd name="T10" fmla="*/ 0 w 16"/>
                <a:gd name="T11" fmla="*/ 120 h 128"/>
                <a:gd name="T12" fmla="*/ 8 w 16"/>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6" h="128">
                  <a:moveTo>
                    <a:pt x="8" y="128"/>
                  </a:moveTo>
                  <a:cubicBezTo>
                    <a:pt x="13" y="128"/>
                    <a:pt x="16" y="124"/>
                    <a:pt x="16" y="120"/>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 name="Freeform 12">
              <a:extLst>
                <a:ext uri="{FF2B5EF4-FFF2-40B4-BE49-F238E27FC236}">
                  <a16:creationId xmlns:a16="http://schemas.microsoft.com/office/drawing/2014/main" id="{D857818C-BAFD-4759-BE5C-CBE8788A77F3}"/>
                </a:ext>
              </a:extLst>
            </p:cNvPr>
            <p:cNvSpPr>
              <a:spLocks noEditPoints="1"/>
            </p:cNvSpPr>
            <p:nvPr/>
          </p:nvSpPr>
          <p:spPr bwMode="auto">
            <a:xfrm>
              <a:off x="4262" y="2503"/>
              <a:ext cx="192" cy="269"/>
            </a:xfrm>
            <a:custGeom>
              <a:avLst/>
              <a:gdLst>
                <a:gd name="T0" fmla="*/ 72 w 80"/>
                <a:gd name="T1" fmla="*/ 0 h 112"/>
                <a:gd name="T2" fmla="*/ 8 w 80"/>
                <a:gd name="T3" fmla="*/ 0 h 112"/>
                <a:gd name="T4" fmla="*/ 0 w 80"/>
                <a:gd name="T5" fmla="*/ 8 h 112"/>
                <a:gd name="T6" fmla="*/ 0 w 80"/>
                <a:gd name="T7" fmla="*/ 48 h 112"/>
                <a:gd name="T8" fmla="*/ 8 w 80"/>
                <a:gd name="T9" fmla="*/ 56 h 112"/>
                <a:gd name="T10" fmla="*/ 32 w 80"/>
                <a:gd name="T11" fmla="*/ 56 h 112"/>
                <a:gd name="T12" fmla="*/ 32 w 80"/>
                <a:gd name="T13" fmla="*/ 104 h 112"/>
                <a:gd name="T14" fmla="*/ 40 w 80"/>
                <a:gd name="T15" fmla="*/ 112 h 112"/>
                <a:gd name="T16" fmla="*/ 48 w 80"/>
                <a:gd name="T17" fmla="*/ 104 h 112"/>
                <a:gd name="T18" fmla="*/ 48 w 80"/>
                <a:gd name="T19" fmla="*/ 56 h 112"/>
                <a:gd name="T20" fmla="*/ 72 w 80"/>
                <a:gd name="T21" fmla="*/ 56 h 112"/>
                <a:gd name="T22" fmla="*/ 80 w 80"/>
                <a:gd name="T23" fmla="*/ 48 h 112"/>
                <a:gd name="T24" fmla="*/ 80 w 80"/>
                <a:gd name="T25" fmla="*/ 8 h 112"/>
                <a:gd name="T26" fmla="*/ 72 w 80"/>
                <a:gd name="T27" fmla="*/ 0 h 112"/>
                <a:gd name="T28" fmla="*/ 64 w 80"/>
                <a:gd name="T29" fmla="*/ 40 h 112"/>
                <a:gd name="T30" fmla="*/ 16 w 80"/>
                <a:gd name="T31" fmla="*/ 40 h 112"/>
                <a:gd name="T32" fmla="*/ 16 w 80"/>
                <a:gd name="T33" fmla="*/ 16 h 112"/>
                <a:gd name="T34" fmla="*/ 64 w 80"/>
                <a:gd name="T35" fmla="*/ 16 h 112"/>
                <a:gd name="T36" fmla="*/ 64 w 80"/>
                <a:gd name="T37" fmla="*/ 4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12">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04"/>
                    <a:pt x="32" y="104"/>
                    <a:pt x="32" y="104"/>
                  </a:cubicBezTo>
                  <a:cubicBezTo>
                    <a:pt x="32" y="108"/>
                    <a:pt x="36" y="112"/>
                    <a:pt x="40" y="112"/>
                  </a:cubicBezTo>
                  <a:cubicBezTo>
                    <a:pt x="45" y="112"/>
                    <a:pt x="48" y="108"/>
                    <a:pt x="48" y="104"/>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 name="Freeform 13">
              <a:extLst>
                <a:ext uri="{FF2B5EF4-FFF2-40B4-BE49-F238E27FC236}">
                  <a16:creationId xmlns:a16="http://schemas.microsoft.com/office/drawing/2014/main" id="{91105B30-C22B-4900-A499-3DA0F35B1B10}"/>
                </a:ext>
              </a:extLst>
            </p:cNvPr>
            <p:cNvSpPr>
              <a:spLocks/>
            </p:cNvSpPr>
            <p:nvPr/>
          </p:nvSpPr>
          <p:spPr bwMode="auto">
            <a:xfrm>
              <a:off x="4128" y="2158"/>
              <a:ext cx="38" cy="96"/>
            </a:xfrm>
            <a:custGeom>
              <a:avLst/>
              <a:gdLst>
                <a:gd name="T0" fmla="*/ 8 w 16"/>
                <a:gd name="T1" fmla="*/ 40 h 40"/>
                <a:gd name="T2" fmla="*/ 16 w 16"/>
                <a:gd name="T3" fmla="*/ 32 h 40"/>
                <a:gd name="T4" fmla="*/ 16 w 16"/>
                <a:gd name="T5" fmla="*/ 8 h 40"/>
                <a:gd name="T6" fmla="*/ 8 w 16"/>
                <a:gd name="T7" fmla="*/ 0 h 40"/>
                <a:gd name="T8" fmla="*/ 0 w 16"/>
                <a:gd name="T9" fmla="*/ 8 h 40"/>
                <a:gd name="T10" fmla="*/ 0 w 16"/>
                <a:gd name="T11" fmla="*/ 32 h 40"/>
                <a:gd name="T12" fmla="*/ 8 w 1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8" y="40"/>
                  </a:moveTo>
                  <a:cubicBezTo>
                    <a:pt x="13" y="40"/>
                    <a:pt x="16" y="36"/>
                    <a:pt x="16" y="32"/>
                  </a:cubicBezTo>
                  <a:cubicBezTo>
                    <a:pt x="16" y="8"/>
                    <a:pt x="16" y="8"/>
                    <a:pt x="16" y="8"/>
                  </a:cubicBezTo>
                  <a:cubicBezTo>
                    <a:pt x="16" y="4"/>
                    <a:pt x="13" y="0"/>
                    <a:pt x="8" y="0"/>
                  </a:cubicBezTo>
                  <a:cubicBezTo>
                    <a:pt x="4" y="0"/>
                    <a:pt x="0" y="4"/>
                    <a:pt x="0" y="8"/>
                  </a:cubicBezTo>
                  <a:cubicBezTo>
                    <a:pt x="0" y="32"/>
                    <a:pt x="0" y="32"/>
                    <a:pt x="0" y="32"/>
                  </a:cubicBezTo>
                  <a:cubicBezTo>
                    <a:pt x="0" y="36"/>
                    <a:pt x="4" y="40"/>
                    <a:pt x="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Freeform 14">
              <a:extLst>
                <a:ext uri="{FF2B5EF4-FFF2-40B4-BE49-F238E27FC236}">
                  <a16:creationId xmlns:a16="http://schemas.microsoft.com/office/drawing/2014/main" id="{9A071423-FEFD-407E-B566-F828CFBA9662}"/>
                </a:ext>
              </a:extLst>
            </p:cNvPr>
            <p:cNvSpPr>
              <a:spLocks noEditPoints="1"/>
            </p:cNvSpPr>
            <p:nvPr/>
          </p:nvSpPr>
          <p:spPr bwMode="auto">
            <a:xfrm>
              <a:off x="4051" y="2292"/>
              <a:ext cx="192" cy="480"/>
            </a:xfrm>
            <a:custGeom>
              <a:avLst/>
              <a:gdLst>
                <a:gd name="T0" fmla="*/ 72 w 80"/>
                <a:gd name="T1" fmla="*/ 0 h 200"/>
                <a:gd name="T2" fmla="*/ 8 w 80"/>
                <a:gd name="T3" fmla="*/ 0 h 200"/>
                <a:gd name="T4" fmla="*/ 0 w 80"/>
                <a:gd name="T5" fmla="*/ 8 h 200"/>
                <a:gd name="T6" fmla="*/ 0 w 80"/>
                <a:gd name="T7" fmla="*/ 48 h 200"/>
                <a:gd name="T8" fmla="*/ 8 w 80"/>
                <a:gd name="T9" fmla="*/ 56 h 200"/>
                <a:gd name="T10" fmla="*/ 32 w 80"/>
                <a:gd name="T11" fmla="*/ 56 h 200"/>
                <a:gd name="T12" fmla="*/ 32 w 80"/>
                <a:gd name="T13" fmla="*/ 192 h 200"/>
                <a:gd name="T14" fmla="*/ 40 w 80"/>
                <a:gd name="T15" fmla="*/ 200 h 200"/>
                <a:gd name="T16" fmla="*/ 48 w 80"/>
                <a:gd name="T17" fmla="*/ 192 h 200"/>
                <a:gd name="T18" fmla="*/ 48 w 80"/>
                <a:gd name="T19" fmla="*/ 56 h 200"/>
                <a:gd name="T20" fmla="*/ 72 w 80"/>
                <a:gd name="T21" fmla="*/ 56 h 200"/>
                <a:gd name="T22" fmla="*/ 80 w 80"/>
                <a:gd name="T23" fmla="*/ 48 h 200"/>
                <a:gd name="T24" fmla="*/ 80 w 80"/>
                <a:gd name="T25" fmla="*/ 8 h 200"/>
                <a:gd name="T26" fmla="*/ 72 w 80"/>
                <a:gd name="T27" fmla="*/ 0 h 200"/>
                <a:gd name="T28" fmla="*/ 64 w 80"/>
                <a:gd name="T29" fmla="*/ 40 h 200"/>
                <a:gd name="T30" fmla="*/ 16 w 80"/>
                <a:gd name="T31" fmla="*/ 40 h 200"/>
                <a:gd name="T32" fmla="*/ 16 w 80"/>
                <a:gd name="T33" fmla="*/ 16 h 200"/>
                <a:gd name="T34" fmla="*/ 64 w 80"/>
                <a:gd name="T35" fmla="*/ 16 h 200"/>
                <a:gd name="T36" fmla="*/ 64 w 80"/>
                <a:gd name="T37"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200">
                  <a:moveTo>
                    <a:pt x="72" y="0"/>
                  </a:moveTo>
                  <a:cubicBezTo>
                    <a:pt x="8" y="0"/>
                    <a:pt x="8" y="0"/>
                    <a:pt x="8" y="0"/>
                  </a:cubicBezTo>
                  <a:cubicBezTo>
                    <a:pt x="4" y="0"/>
                    <a:pt x="0" y="4"/>
                    <a:pt x="0" y="8"/>
                  </a:cubicBezTo>
                  <a:cubicBezTo>
                    <a:pt x="0" y="48"/>
                    <a:pt x="0" y="48"/>
                    <a:pt x="0" y="48"/>
                  </a:cubicBezTo>
                  <a:cubicBezTo>
                    <a:pt x="0" y="52"/>
                    <a:pt x="4" y="56"/>
                    <a:pt x="8" y="56"/>
                  </a:cubicBezTo>
                  <a:cubicBezTo>
                    <a:pt x="32" y="56"/>
                    <a:pt x="32" y="56"/>
                    <a:pt x="32" y="56"/>
                  </a:cubicBezTo>
                  <a:cubicBezTo>
                    <a:pt x="32" y="192"/>
                    <a:pt x="32" y="192"/>
                    <a:pt x="32" y="192"/>
                  </a:cubicBezTo>
                  <a:cubicBezTo>
                    <a:pt x="32" y="196"/>
                    <a:pt x="36" y="200"/>
                    <a:pt x="40" y="200"/>
                  </a:cubicBezTo>
                  <a:cubicBezTo>
                    <a:pt x="45" y="200"/>
                    <a:pt x="48" y="196"/>
                    <a:pt x="48" y="192"/>
                  </a:cubicBezTo>
                  <a:cubicBezTo>
                    <a:pt x="48" y="56"/>
                    <a:pt x="48" y="56"/>
                    <a:pt x="48" y="56"/>
                  </a:cubicBezTo>
                  <a:cubicBezTo>
                    <a:pt x="72" y="56"/>
                    <a:pt x="72" y="56"/>
                    <a:pt x="72" y="56"/>
                  </a:cubicBezTo>
                  <a:cubicBezTo>
                    <a:pt x="77" y="56"/>
                    <a:pt x="80" y="52"/>
                    <a:pt x="80" y="48"/>
                  </a:cubicBezTo>
                  <a:cubicBezTo>
                    <a:pt x="80" y="8"/>
                    <a:pt x="80" y="8"/>
                    <a:pt x="80" y="8"/>
                  </a:cubicBezTo>
                  <a:cubicBezTo>
                    <a:pt x="80" y="4"/>
                    <a:pt x="77" y="0"/>
                    <a:pt x="72" y="0"/>
                  </a:cubicBezTo>
                  <a:close/>
                  <a:moveTo>
                    <a:pt x="64" y="40"/>
                  </a:moveTo>
                  <a:cubicBezTo>
                    <a:pt x="16" y="40"/>
                    <a:pt x="16" y="40"/>
                    <a:pt x="16" y="40"/>
                  </a:cubicBezTo>
                  <a:cubicBezTo>
                    <a:pt x="16" y="16"/>
                    <a:pt x="16" y="16"/>
                    <a:pt x="16" y="16"/>
                  </a:cubicBezTo>
                  <a:cubicBezTo>
                    <a:pt x="64" y="16"/>
                    <a:pt x="64" y="16"/>
                    <a:pt x="64" y="16"/>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94086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err="1"/>
              <a:t>Pérdidas</a:t>
            </a:r>
            <a:r>
              <a:rPr lang="en-US" dirty="0"/>
              <a:t> a </a:t>
            </a:r>
            <a:r>
              <a:rPr lang="en-US" dirty="0" err="1"/>
              <a:t>nivel</a:t>
            </a:r>
            <a:r>
              <a:rPr lang="en-US" dirty="0"/>
              <a:t> global*</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2" name="Rectangle 1"/>
          <p:cNvSpPr/>
          <p:nvPr/>
        </p:nvSpPr>
        <p:spPr>
          <a:xfrm>
            <a:off x="8650014" y="0"/>
            <a:ext cx="3541986"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1A511E01-946F-46AB-A8D8-910558285341}"/>
              </a:ext>
            </a:extLst>
          </p:cNvPr>
          <p:cNvSpPr txBox="1"/>
          <p:nvPr/>
        </p:nvSpPr>
        <p:spPr>
          <a:xfrm>
            <a:off x="8960093" y="1761472"/>
            <a:ext cx="2921828" cy="4735518"/>
          </a:xfrm>
          <a:prstGeom prst="rect">
            <a:avLst/>
          </a:prstGeom>
          <a:noFill/>
        </p:spPr>
        <p:txBody>
          <a:bodyPr wrap="square" lIns="36000" tIns="36000" rIns="36000" bIns="36000" rtlCol="0" anchor="t">
            <a:spAutoFit/>
          </a:bodyPr>
          <a:lstStyle/>
          <a:p>
            <a:pPr marL="182880" marR="0" lvl="0" indent="-182880" algn="l" defTabSz="457200"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t>Las pérdidas totales aseguradas de la industria para el primer semestre de 2024 ascienden actualmente a 52.500 millones de dólares, un 14% por encima del promedio de cinco años ajustado por inflación para el primer semestre del año.</a:t>
            </a:r>
          </a:p>
          <a:p>
            <a:pPr marL="182880" marR="0" lvl="0" indent="-182880" algn="l" defTabSz="457200"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t>Durante la primera mitad del año, hubo pérdidas significativas por tormentas convectivas severas (SCS) en los </a:t>
            </a:r>
            <a:b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br>
            <a: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t>EE. UU., terremotos en Japón y Taiwán, inundaciones en Alemania y los Emiratos Árabes Unidos, tormentas de granizo en Japón y el colapso del puente de Baltimore.</a:t>
            </a:r>
          </a:p>
          <a:p>
            <a:pPr marL="182880" marR="0" lvl="0" indent="-182880" algn="l" defTabSz="457200"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t>Al igual que el año pasado, el SCS de EE. UU. es el principal impulsor de las pérdidas durante el primer semestre de 2024 y representa casi el 62 % de las pérdidas totales.</a:t>
            </a:r>
          </a:p>
          <a:p>
            <a:pPr marL="182880" marR="0" lvl="0" indent="-182880" algn="l" defTabSz="457200"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FFFFFF"/>
                </a:solidFill>
                <a:effectLst/>
                <a:uLnTx/>
                <a:uFillTx/>
                <a:latin typeface="Arial" panose="020B0604020202020204"/>
                <a:ea typeface="+mn-ea"/>
                <a:cs typeface="Arial"/>
              </a:rPr>
              <a:t>Se espera que esta estimación preliminar de pérdidas aumente a medida que haya más información disponible.</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17" name="Freeform 5">
            <a:extLst>
              <a:ext uri="{FF2B5EF4-FFF2-40B4-BE49-F238E27FC236}">
                <a16:creationId xmlns:a16="http://schemas.microsoft.com/office/drawing/2014/main" id="{05F67750-EF40-4F43-9717-C0C8CFD53ADB}"/>
              </a:ext>
            </a:extLst>
          </p:cNvPr>
          <p:cNvSpPr>
            <a:spLocks noEditPoints="1"/>
          </p:cNvSpPr>
          <p:nvPr/>
        </p:nvSpPr>
        <p:spPr bwMode="auto">
          <a:xfrm>
            <a:off x="10078107" y="867021"/>
            <a:ext cx="685800" cy="685800"/>
          </a:xfrm>
          <a:custGeom>
            <a:avLst/>
            <a:gdLst>
              <a:gd name="T0" fmla="*/ 230 w 233"/>
              <a:gd name="T1" fmla="*/ 218 h 232"/>
              <a:gd name="T2" fmla="*/ 169 w 233"/>
              <a:gd name="T3" fmla="*/ 158 h 232"/>
              <a:gd name="T4" fmla="*/ 192 w 233"/>
              <a:gd name="T5" fmla="*/ 96 h 232"/>
              <a:gd name="T6" fmla="*/ 96 w 233"/>
              <a:gd name="T7" fmla="*/ 0 h 232"/>
              <a:gd name="T8" fmla="*/ 0 w 233"/>
              <a:gd name="T9" fmla="*/ 96 h 232"/>
              <a:gd name="T10" fmla="*/ 96 w 233"/>
              <a:gd name="T11" fmla="*/ 192 h 232"/>
              <a:gd name="T12" fmla="*/ 158 w 233"/>
              <a:gd name="T13" fmla="*/ 169 h 232"/>
              <a:gd name="T14" fmla="*/ 219 w 233"/>
              <a:gd name="T15" fmla="*/ 230 h 232"/>
              <a:gd name="T16" fmla="*/ 224 w 233"/>
              <a:gd name="T17" fmla="*/ 232 h 232"/>
              <a:gd name="T18" fmla="*/ 230 w 233"/>
              <a:gd name="T19" fmla="*/ 230 h 232"/>
              <a:gd name="T20" fmla="*/ 230 w 233"/>
              <a:gd name="T21" fmla="*/ 218 h 232"/>
              <a:gd name="T22" fmla="*/ 16 w 233"/>
              <a:gd name="T23" fmla="*/ 96 h 232"/>
              <a:gd name="T24" fmla="*/ 96 w 233"/>
              <a:gd name="T25" fmla="*/ 16 h 232"/>
              <a:gd name="T26" fmla="*/ 176 w 233"/>
              <a:gd name="T27" fmla="*/ 96 h 232"/>
              <a:gd name="T28" fmla="*/ 96 w 233"/>
              <a:gd name="T29" fmla="*/ 176 h 232"/>
              <a:gd name="T30" fmla="*/ 16 w 233"/>
              <a:gd name="T3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232">
                <a:moveTo>
                  <a:pt x="230" y="218"/>
                </a:moveTo>
                <a:cubicBezTo>
                  <a:pt x="169" y="158"/>
                  <a:pt x="169" y="158"/>
                  <a:pt x="169" y="158"/>
                </a:cubicBezTo>
                <a:cubicBezTo>
                  <a:pt x="184" y="141"/>
                  <a:pt x="192" y="120"/>
                  <a:pt x="192" y="96"/>
                </a:cubicBezTo>
                <a:cubicBezTo>
                  <a:pt x="192" y="43"/>
                  <a:pt x="149" y="0"/>
                  <a:pt x="96" y="0"/>
                </a:cubicBezTo>
                <a:cubicBezTo>
                  <a:pt x="43" y="0"/>
                  <a:pt x="0" y="43"/>
                  <a:pt x="0" y="96"/>
                </a:cubicBezTo>
                <a:cubicBezTo>
                  <a:pt x="0" y="149"/>
                  <a:pt x="43" y="192"/>
                  <a:pt x="96" y="192"/>
                </a:cubicBezTo>
                <a:cubicBezTo>
                  <a:pt x="120" y="192"/>
                  <a:pt x="141" y="183"/>
                  <a:pt x="158" y="169"/>
                </a:cubicBezTo>
                <a:cubicBezTo>
                  <a:pt x="219" y="230"/>
                  <a:pt x="219" y="230"/>
                  <a:pt x="219" y="230"/>
                </a:cubicBezTo>
                <a:cubicBezTo>
                  <a:pt x="220" y="231"/>
                  <a:pt x="222" y="232"/>
                  <a:pt x="224" y="232"/>
                </a:cubicBezTo>
                <a:cubicBezTo>
                  <a:pt x="226" y="232"/>
                  <a:pt x="228" y="231"/>
                  <a:pt x="230" y="230"/>
                </a:cubicBezTo>
                <a:cubicBezTo>
                  <a:pt x="233" y="227"/>
                  <a:pt x="233" y="222"/>
                  <a:pt x="230" y="218"/>
                </a:cubicBezTo>
                <a:close/>
                <a:moveTo>
                  <a:pt x="16" y="96"/>
                </a:moveTo>
                <a:cubicBezTo>
                  <a:pt x="16" y="52"/>
                  <a:pt x="52" y="16"/>
                  <a:pt x="96" y="16"/>
                </a:cubicBezTo>
                <a:cubicBezTo>
                  <a:pt x="140" y="16"/>
                  <a:pt x="176" y="52"/>
                  <a:pt x="176" y="96"/>
                </a:cubicBezTo>
                <a:cubicBezTo>
                  <a:pt x="176" y="140"/>
                  <a:pt x="140" y="176"/>
                  <a:pt x="96" y="176"/>
                </a:cubicBezTo>
                <a:cubicBezTo>
                  <a:pt x="52" y="176"/>
                  <a:pt x="16" y="140"/>
                  <a:pt x="16" y="9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 name="Footer Placeholder 11">
            <a:extLst>
              <a:ext uri="{FF2B5EF4-FFF2-40B4-BE49-F238E27FC236}">
                <a16:creationId xmlns:a16="http://schemas.microsoft.com/office/drawing/2014/main" id="{DBAE1035-3E34-3A62-0FDD-4CCEF7782B40}"/>
              </a:ext>
            </a:extLst>
          </p:cNvPr>
          <p:cNvSpPr>
            <a:spLocks noGrp="1"/>
          </p:cNvSpPr>
          <p:nvPr>
            <p:ph type="ftr" sz="quarter" idx="11"/>
          </p:nvPr>
        </p:nvSpPr>
        <p:spPr>
          <a:xfrm>
            <a:off x="2732442" y="6447150"/>
            <a:ext cx="5409023" cy="226700"/>
          </a:xfrm>
        </p:spPr>
        <p:txBody>
          <a:bodyPr/>
          <a:lstStyle/>
          <a:p>
            <a:pPr marL="0" marR="0" lvl="0" indent="0" algn="r"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rPr>
              <a:t>*</a:t>
            </a: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Pérdidas aseguradas significativas (pérdidas estimadas &gt; $100 millones): no ajustadas por inflación; Fuente: PCS, PERILS, </a:t>
            </a:r>
            <a:r>
              <a:rPr kumimoji="0" lang="es-ES" sz="800" b="0" i="0" u="none" strike="noStrike" kern="1200" cap="none" spc="0" normalizeH="0" baseline="0" noProof="0" dirty="0" err="1">
                <a:ln>
                  <a:noFill/>
                </a:ln>
                <a:solidFill>
                  <a:srgbClr val="202020"/>
                </a:solidFill>
                <a:effectLst/>
                <a:uLnTx/>
                <a:uFillTx/>
                <a:latin typeface="Arial" panose="020B0604020202020204"/>
                <a:ea typeface="+mn-ea"/>
                <a:cs typeface="+mn-cs"/>
              </a:rPr>
              <a:t>Verisk</a:t>
            </a:r>
            <a:r>
              <a:rPr kumimoji="0" lang="es-ES" sz="800" b="0" i="0" u="none" strike="noStrike" kern="1200" cap="none" spc="0" normalizeH="0" baseline="0" noProof="0" dirty="0">
                <a:ln>
                  <a:noFill/>
                </a:ln>
                <a:solidFill>
                  <a:srgbClr val="202020"/>
                </a:solidFill>
                <a:effectLst/>
                <a:uLnTx/>
                <a:uFillTx/>
                <a:latin typeface="Arial" panose="020B0604020202020204"/>
                <a:ea typeface="+mn-ea"/>
                <a:cs typeface="+mn-cs"/>
              </a:rPr>
              <a:t>, ICA, GC; Pérdidas derivadas del conflicto entre Rusia y Ucrania, 2024 La estimación de pérdidas aseguradas significativas se actualiza al 09/07/2024</a:t>
            </a:r>
            <a:r>
              <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rPr>
              <a:t>. </a:t>
            </a:r>
          </a:p>
        </p:txBody>
      </p:sp>
      <p:graphicFrame>
        <p:nvGraphicFramePr>
          <p:cNvPr id="3" name="Chart 2">
            <a:extLst>
              <a:ext uri="{FF2B5EF4-FFF2-40B4-BE49-F238E27FC236}">
                <a16:creationId xmlns:a16="http://schemas.microsoft.com/office/drawing/2014/main" id="{00000000-0008-0000-2B00-000004000000}"/>
              </a:ext>
            </a:extLst>
          </p:cNvPr>
          <p:cNvGraphicFramePr>
            <a:graphicFrameLocks/>
          </p:cNvGraphicFramePr>
          <p:nvPr>
            <p:extLst>
              <p:ext uri="{D42A27DB-BD31-4B8C-83A1-F6EECF244321}">
                <p14:modId xmlns:p14="http://schemas.microsoft.com/office/powerpoint/2010/main" val="3836145312"/>
              </p:ext>
            </p:extLst>
          </p:nvPr>
        </p:nvGraphicFramePr>
        <p:xfrm>
          <a:off x="482601" y="1108074"/>
          <a:ext cx="7658864" cy="5013325"/>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a:extLst>
              <a:ext uri="{FF2B5EF4-FFF2-40B4-BE49-F238E27FC236}">
                <a16:creationId xmlns:a16="http://schemas.microsoft.com/office/drawing/2014/main" id="{27C46711-AB84-FC2A-4399-FEDB4CEC953C}"/>
              </a:ext>
            </a:extLst>
          </p:cNvPr>
          <p:cNvSpPr/>
          <p:nvPr/>
        </p:nvSpPr>
        <p:spPr>
          <a:xfrm>
            <a:off x="7828353" y="1523302"/>
            <a:ext cx="417694" cy="41828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14773272-09E4-93BC-33E8-2981CBD6F87A}"/>
              </a:ext>
            </a:extLst>
          </p:cNvPr>
          <p:cNvSpPr txBox="1"/>
          <p:nvPr/>
        </p:nvSpPr>
        <p:spPr>
          <a:xfrm>
            <a:off x="3074753" y="5933071"/>
            <a:ext cx="1983022" cy="188327"/>
          </a:xfrm>
          <a:prstGeom prst="rect">
            <a:avLst/>
          </a:prstGeom>
          <a:solidFill>
            <a:schemeClr val="bg1"/>
          </a:solidFill>
        </p:spPr>
        <p:txBody>
          <a:bodyPr wrap="square" lIns="0" tIns="0" rIns="0" bIns="0" rtlCol="0">
            <a:spAutoFit/>
          </a:bodyPr>
          <a:lstStyle/>
          <a:p>
            <a:pPr algn="l"/>
            <a:r>
              <a:rPr lang="es-CO" sz="1200" dirty="0"/>
              <a:t>Pérdidas COVID-19</a:t>
            </a:r>
          </a:p>
        </p:txBody>
      </p:sp>
      <p:sp>
        <p:nvSpPr>
          <p:cNvPr id="7" name="TextBox 6">
            <a:extLst>
              <a:ext uri="{FF2B5EF4-FFF2-40B4-BE49-F238E27FC236}">
                <a16:creationId xmlns:a16="http://schemas.microsoft.com/office/drawing/2014/main" id="{292C00E5-C112-F7E0-0D25-7DC50573B6C4}"/>
              </a:ext>
            </a:extLst>
          </p:cNvPr>
          <p:cNvSpPr txBox="1"/>
          <p:nvPr/>
        </p:nvSpPr>
        <p:spPr>
          <a:xfrm>
            <a:off x="5208354" y="5933071"/>
            <a:ext cx="3243189" cy="184666"/>
          </a:xfrm>
          <a:prstGeom prst="rect">
            <a:avLst/>
          </a:prstGeom>
          <a:solidFill>
            <a:schemeClr val="bg1"/>
          </a:solidFill>
        </p:spPr>
        <p:txBody>
          <a:bodyPr wrap="square" lIns="0" tIns="0" rIns="0" bIns="0" rtlCol="0">
            <a:spAutoFit/>
          </a:bodyPr>
          <a:lstStyle/>
          <a:p>
            <a:pPr algn="l"/>
            <a:r>
              <a:rPr lang="es-ES" sz="1200" dirty="0"/>
              <a:t>Pérdidas por el conflicto Ucrania - Rusia</a:t>
            </a:r>
            <a:endParaRPr lang="en-US" sz="1200" dirty="0"/>
          </a:p>
        </p:txBody>
      </p:sp>
    </p:spTree>
    <p:custDataLst>
      <p:custData r:id="rId1"/>
    </p:custDataLst>
    <p:extLst>
      <p:ext uri="{BB962C8B-B14F-4D97-AF65-F5344CB8AC3E}">
        <p14:creationId xmlns:p14="http://schemas.microsoft.com/office/powerpoint/2010/main" val="316543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s-CO" dirty="0"/>
              <a:t>Pérdidas grandes por tipo de riesgo</a:t>
            </a:r>
          </a:p>
        </p:txBody>
      </p:sp>
      <p:sp>
        <p:nvSpPr>
          <p:cNvPr id="12" name="Slide Number Placeholder 11">
            <a:extLst>
              <a:ext uri="{FF2B5EF4-FFF2-40B4-BE49-F238E27FC236}">
                <a16:creationId xmlns:a16="http://schemas.microsoft.com/office/drawing/2014/main" id="{FAC7ACC9-9360-22E0-F890-346B2BDE2F4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Slide Number Placeholder 3">
            <a:extLst>
              <a:ext uri="{FF2B5EF4-FFF2-40B4-BE49-F238E27FC236}">
                <a16:creationId xmlns:a16="http://schemas.microsoft.com/office/drawing/2014/main" id="{59833F2E-A5C1-1B14-85B7-78BC307BB880}"/>
              </a:ext>
            </a:extLst>
          </p:cNvPr>
          <p:cNvSpPr txBox="1">
            <a:spLocks/>
          </p:cNvSpPr>
          <p:nvPr/>
        </p:nvSpPr>
        <p:spPr>
          <a:xfrm>
            <a:off x="11524074" y="6473259"/>
            <a:ext cx="280800" cy="123111"/>
          </a:xfrm>
        </p:spPr>
        <p:txBody>
          <a:bodyPr/>
          <a:ls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aphicFrame>
        <p:nvGraphicFramePr>
          <p:cNvPr id="2" name="Chart 1">
            <a:extLst>
              <a:ext uri="{FF2B5EF4-FFF2-40B4-BE49-F238E27FC236}">
                <a16:creationId xmlns:a16="http://schemas.microsoft.com/office/drawing/2014/main" id="{993CA0C1-302A-D3CB-A77C-08DD96159A16}"/>
              </a:ext>
            </a:extLst>
          </p:cNvPr>
          <p:cNvGraphicFramePr>
            <a:graphicFrameLocks/>
          </p:cNvGraphicFramePr>
          <p:nvPr>
            <p:extLst>
              <p:ext uri="{D42A27DB-BD31-4B8C-83A1-F6EECF244321}">
                <p14:modId xmlns:p14="http://schemas.microsoft.com/office/powerpoint/2010/main" val="2133780146"/>
              </p:ext>
            </p:extLst>
          </p:nvPr>
        </p:nvGraphicFramePr>
        <p:xfrm>
          <a:off x="485776" y="1609724"/>
          <a:ext cx="11223623" cy="451167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FE4F1AC-A742-E4B8-1C7A-F830CC971995}"/>
              </a:ext>
            </a:extLst>
          </p:cNvPr>
          <p:cNvSpPr txBox="1"/>
          <p:nvPr/>
        </p:nvSpPr>
        <p:spPr>
          <a:xfrm>
            <a:off x="836379" y="5917683"/>
            <a:ext cx="859072" cy="184666"/>
          </a:xfrm>
          <a:prstGeom prst="rect">
            <a:avLst/>
          </a:prstGeom>
          <a:solidFill>
            <a:schemeClr val="bg1"/>
          </a:solidFill>
        </p:spPr>
        <p:txBody>
          <a:bodyPr wrap="square" lIns="0" tIns="0" rIns="0" bIns="0" rtlCol="0">
            <a:spAutoFit/>
          </a:bodyPr>
          <a:lstStyle/>
          <a:p>
            <a:pPr algn="l"/>
            <a:r>
              <a:rPr lang="es-CO" sz="1200" dirty="0"/>
              <a:t>Terremoto</a:t>
            </a:r>
          </a:p>
        </p:txBody>
      </p:sp>
      <p:sp>
        <p:nvSpPr>
          <p:cNvPr id="5" name="TextBox 4">
            <a:extLst>
              <a:ext uri="{FF2B5EF4-FFF2-40B4-BE49-F238E27FC236}">
                <a16:creationId xmlns:a16="http://schemas.microsoft.com/office/drawing/2014/main" id="{E6360BEB-2DB1-BF15-6A7E-4037CEE04F40}"/>
              </a:ext>
            </a:extLst>
          </p:cNvPr>
          <p:cNvSpPr txBox="1"/>
          <p:nvPr/>
        </p:nvSpPr>
        <p:spPr>
          <a:xfrm>
            <a:off x="1960328" y="5914766"/>
            <a:ext cx="792397" cy="184666"/>
          </a:xfrm>
          <a:prstGeom prst="rect">
            <a:avLst/>
          </a:prstGeom>
          <a:solidFill>
            <a:schemeClr val="bg1"/>
          </a:solidFill>
        </p:spPr>
        <p:txBody>
          <a:bodyPr wrap="square" lIns="0" tIns="0" rIns="0" bIns="0" rtlCol="0">
            <a:spAutoFit/>
          </a:bodyPr>
          <a:lstStyle/>
          <a:p>
            <a:pPr algn="l"/>
            <a:r>
              <a:rPr lang="es-CO" sz="1200" dirty="0"/>
              <a:t>Inundación</a:t>
            </a:r>
          </a:p>
        </p:txBody>
      </p:sp>
      <p:sp>
        <p:nvSpPr>
          <p:cNvPr id="6" name="TextBox 5">
            <a:extLst>
              <a:ext uri="{FF2B5EF4-FFF2-40B4-BE49-F238E27FC236}">
                <a16:creationId xmlns:a16="http://schemas.microsoft.com/office/drawing/2014/main" id="{36A17A31-99AA-0DB1-0C74-C1771476E46B}"/>
              </a:ext>
            </a:extLst>
          </p:cNvPr>
          <p:cNvSpPr txBox="1"/>
          <p:nvPr/>
        </p:nvSpPr>
        <p:spPr>
          <a:xfrm>
            <a:off x="2884252" y="5924158"/>
            <a:ext cx="1154347" cy="184666"/>
          </a:xfrm>
          <a:prstGeom prst="rect">
            <a:avLst/>
          </a:prstGeom>
          <a:solidFill>
            <a:schemeClr val="bg1"/>
          </a:solidFill>
        </p:spPr>
        <p:txBody>
          <a:bodyPr wrap="square" lIns="0" tIns="0" rIns="0" bIns="0" rtlCol="0">
            <a:spAutoFit/>
          </a:bodyPr>
          <a:lstStyle/>
          <a:p>
            <a:pPr algn="l"/>
            <a:r>
              <a:rPr lang="es-CO" sz="1200" dirty="0"/>
              <a:t>Ciclón tropical</a:t>
            </a:r>
          </a:p>
        </p:txBody>
      </p:sp>
      <p:sp>
        <p:nvSpPr>
          <p:cNvPr id="7" name="TextBox 6">
            <a:extLst>
              <a:ext uri="{FF2B5EF4-FFF2-40B4-BE49-F238E27FC236}">
                <a16:creationId xmlns:a16="http://schemas.microsoft.com/office/drawing/2014/main" id="{1EB4A782-75EF-C0B9-B8FE-E6068AF30919}"/>
              </a:ext>
            </a:extLst>
          </p:cNvPr>
          <p:cNvSpPr txBox="1"/>
          <p:nvPr/>
        </p:nvSpPr>
        <p:spPr>
          <a:xfrm>
            <a:off x="4375076" y="5911334"/>
            <a:ext cx="492199" cy="184666"/>
          </a:xfrm>
          <a:prstGeom prst="rect">
            <a:avLst/>
          </a:prstGeom>
          <a:solidFill>
            <a:schemeClr val="bg1"/>
          </a:solidFill>
        </p:spPr>
        <p:txBody>
          <a:bodyPr wrap="square" lIns="0" tIns="0" rIns="0" bIns="0" rtlCol="0">
            <a:spAutoFit/>
          </a:bodyPr>
          <a:lstStyle/>
          <a:p>
            <a:pPr algn="l"/>
            <a:r>
              <a:rPr lang="es-CO" sz="1200" dirty="0"/>
              <a:t>Motín</a:t>
            </a:r>
          </a:p>
        </p:txBody>
      </p:sp>
      <p:sp>
        <p:nvSpPr>
          <p:cNvPr id="9" name="TextBox 8">
            <a:extLst>
              <a:ext uri="{FF2B5EF4-FFF2-40B4-BE49-F238E27FC236}">
                <a16:creationId xmlns:a16="http://schemas.microsoft.com/office/drawing/2014/main" id="{539AFCA7-1891-884C-DDFC-BDF5C1B62C71}"/>
              </a:ext>
            </a:extLst>
          </p:cNvPr>
          <p:cNvSpPr txBox="1"/>
          <p:nvPr/>
        </p:nvSpPr>
        <p:spPr>
          <a:xfrm>
            <a:off x="5059053" y="5919325"/>
            <a:ext cx="401873" cy="184666"/>
          </a:xfrm>
          <a:prstGeom prst="rect">
            <a:avLst/>
          </a:prstGeom>
          <a:solidFill>
            <a:schemeClr val="bg1"/>
          </a:solidFill>
        </p:spPr>
        <p:txBody>
          <a:bodyPr wrap="square" lIns="0" tIns="0" rIns="0" bIns="0" rtlCol="0">
            <a:spAutoFit/>
          </a:bodyPr>
          <a:lstStyle/>
          <a:p>
            <a:pPr algn="l"/>
            <a:r>
              <a:rPr lang="es-CO" sz="1200" dirty="0"/>
              <a:t>Otros</a:t>
            </a:r>
          </a:p>
        </p:txBody>
      </p:sp>
      <p:sp>
        <p:nvSpPr>
          <p:cNvPr id="11" name="TextBox 10">
            <a:extLst>
              <a:ext uri="{FF2B5EF4-FFF2-40B4-BE49-F238E27FC236}">
                <a16:creationId xmlns:a16="http://schemas.microsoft.com/office/drawing/2014/main" id="{CD7D012A-D746-45FA-235C-68EADB1C4844}"/>
              </a:ext>
            </a:extLst>
          </p:cNvPr>
          <p:cNvSpPr txBox="1"/>
          <p:nvPr/>
        </p:nvSpPr>
        <p:spPr>
          <a:xfrm>
            <a:off x="5778838" y="5917683"/>
            <a:ext cx="577174" cy="184666"/>
          </a:xfrm>
          <a:prstGeom prst="rect">
            <a:avLst/>
          </a:prstGeom>
          <a:solidFill>
            <a:schemeClr val="bg1"/>
          </a:solidFill>
        </p:spPr>
        <p:txBody>
          <a:bodyPr wrap="square" lIns="0" tIns="0" rIns="0" bIns="0" rtlCol="0">
            <a:spAutoFit/>
          </a:bodyPr>
          <a:lstStyle/>
          <a:p>
            <a:pPr algn="l"/>
            <a:r>
              <a:rPr lang="es-CO" sz="1200" dirty="0"/>
              <a:t>Sequía</a:t>
            </a:r>
          </a:p>
        </p:txBody>
      </p:sp>
      <p:sp>
        <p:nvSpPr>
          <p:cNvPr id="13" name="TextBox 12">
            <a:extLst>
              <a:ext uri="{FF2B5EF4-FFF2-40B4-BE49-F238E27FC236}">
                <a16:creationId xmlns:a16="http://schemas.microsoft.com/office/drawing/2014/main" id="{7DF38DF7-71F2-5F71-D56A-EFFBCAADDCCA}"/>
              </a:ext>
            </a:extLst>
          </p:cNvPr>
          <p:cNvSpPr txBox="1"/>
          <p:nvPr/>
        </p:nvSpPr>
        <p:spPr>
          <a:xfrm>
            <a:off x="6661074" y="5916533"/>
            <a:ext cx="1930476" cy="184666"/>
          </a:xfrm>
          <a:prstGeom prst="rect">
            <a:avLst/>
          </a:prstGeom>
          <a:solidFill>
            <a:schemeClr val="bg1"/>
          </a:solidFill>
        </p:spPr>
        <p:txBody>
          <a:bodyPr wrap="square" lIns="0" tIns="0" rIns="0" bIns="0" rtlCol="0">
            <a:spAutoFit/>
          </a:bodyPr>
          <a:lstStyle/>
          <a:p>
            <a:pPr algn="l"/>
            <a:r>
              <a:rPr lang="es-CO" sz="1200" dirty="0"/>
              <a:t>Tormenta convectiva severa</a:t>
            </a:r>
          </a:p>
        </p:txBody>
      </p:sp>
      <p:sp>
        <p:nvSpPr>
          <p:cNvPr id="14" name="TextBox 13">
            <a:extLst>
              <a:ext uri="{FF2B5EF4-FFF2-40B4-BE49-F238E27FC236}">
                <a16:creationId xmlns:a16="http://schemas.microsoft.com/office/drawing/2014/main" id="{EA401330-F52B-C7E6-61EF-B08D86D3DA87}"/>
              </a:ext>
            </a:extLst>
          </p:cNvPr>
          <p:cNvSpPr txBox="1"/>
          <p:nvPr/>
        </p:nvSpPr>
        <p:spPr>
          <a:xfrm>
            <a:off x="8737525" y="5919324"/>
            <a:ext cx="1054173" cy="369332"/>
          </a:xfrm>
          <a:prstGeom prst="rect">
            <a:avLst/>
          </a:prstGeom>
          <a:solidFill>
            <a:schemeClr val="bg1"/>
          </a:solidFill>
        </p:spPr>
        <p:txBody>
          <a:bodyPr wrap="square" lIns="0" tIns="0" rIns="0" bIns="0" rtlCol="0">
            <a:spAutoFit/>
          </a:bodyPr>
          <a:lstStyle/>
          <a:p>
            <a:pPr algn="l"/>
            <a:r>
              <a:rPr lang="es-CO" sz="1200" dirty="0"/>
              <a:t>Tormenta Invernal</a:t>
            </a:r>
          </a:p>
        </p:txBody>
      </p:sp>
      <p:sp>
        <p:nvSpPr>
          <p:cNvPr id="15" name="TextBox 14">
            <a:extLst>
              <a:ext uri="{FF2B5EF4-FFF2-40B4-BE49-F238E27FC236}">
                <a16:creationId xmlns:a16="http://schemas.microsoft.com/office/drawing/2014/main" id="{F6956DB0-88B5-67AE-AC4A-95BBD61DD724}"/>
              </a:ext>
            </a:extLst>
          </p:cNvPr>
          <p:cNvSpPr txBox="1"/>
          <p:nvPr/>
        </p:nvSpPr>
        <p:spPr>
          <a:xfrm>
            <a:off x="9948393" y="5919323"/>
            <a:ext cx="662457" cy="369332"/>
          </a:xfrm>
          <a:prstGeom prst="rect">
            <a:avLst/>
          </a:prstGeom>
          <a:solidFill>
            <a:schemeClr val="bg1"/>
          </a:solidFill>
        </p:spPr>
        <p:txBody>
          <a:bodyPr wrap="square" lIns="0" tIns="0" rIns="0" bIns="0" rtlCol="0">
            <a:spAutoFit/>
          </a:bodyPr>
          <a:lstStyle/>
          <a:p>
            <a:pPr algn="l"/>
            <a:r>
              <a:rPr lang="es-CO" sz="1200" dirty="0"/>
              <a:t>Incendio forestal</a:t>
            </a:r>
          </a:p>
        </p:txBody>
      </p:sp>
      <p:sp>
        <p:nvSpPr>
          <p:cNvPr id="16" name="TextBox 15">
            <a:extLst>
              <a:ext uri="{FF2B5EF4-FFF2-40B4-BE49-F238E27FC236}">
                <a16:creationId xmlns:a16="http://schemas.microsoft.com/office/drawing/2014/main" id="{E03F2D49-9346-6F53-5859-9B21782F208C}"/>
              </a:ext>
            </a:extLst>
          </p:cNvPr>
          <p:cNvSpPr txBox="1"/>
          <p:nvPr/>
        </p:nvSpPr>
        <p:spPr>
          <a:xfrm>
            <a:off x="10862550" y="5917683"/>
            <a:ext cx="796049" cy="184666"/>
          </a:xfrm>
          <a:prstGeom prst="rect">
            <a:avLst/>
          </a:prstGeom>
          <a:solidFill>
            <a:schemeClr val="bg1"/>
          </a:solidFill>
        </p:spPr>
        <p:txBody>
          <a:bodyPr wrap="square" lIns="0" tIns="0" rIns="0" bIns="0" rtlCol="0">
            <a:spAutoFit/>
          </a:bodyPr>
          <a:lstStyle/>
          <a:p>
            <a:pPr algn="l"/>
            <a:r>
              <a:rPr lang="es-CO" sz="1200" dirty="0"/>
              <a:t>Pandemia</a:t>
            </a:r>
          </a:p>
        </p:txBody>
      </p:sp>
      <p:sp>
        <p:nvSpPr>
          <p:cNvPr id="19" name="TextBox 18">
            <a:extLst>
              <a:ext uri="{FF2B5EF4-FFF2-40B4-BE49-F238E27FC236}">
                <a16:creationId xmlns:a16="http://schemas.microsoft.com/office/drawing/2014/main" id="{CE2B9869-072F-7B7C-E7E0-965876F4492E}"/>
              </a:ext>
            </a:extLst>
          </p:cNvPr>
          <p:cNvSpPr txBox="1"/>
          <p:nvPr/>
        </p:nvSpPr>
        <p:spPr>
          <a:xfrm>
            <a:off x="5734087" y="5481849"/>
            <a:ext cx="1186699" cy="369332"/>
          </a:xfrm>
          <a:prstGeom prst="rect">
            <a:avLst/>
          </a:prstGeom>
          <a:solidFill>
            <a:schemeClr val="bg1"/>
          </a:solidFill>
        </p:spPr>
        <p:txBody>
          <a:bodyPr wrap="square" lIns="0" tIns="0" rIns="0" bIns="0" rtlCol="0">
            <a:spAutoFit/>
          </a:bodyPr>
          <a:lstStyle/>
          <a:p>
            <a:pPr algn="ctr"/>
            <a:r>
              <a:rPr lang="es-CO" sz="1200" dirty="0"/>
              <a:t>Promedio de 5 años</a:t>
            </a:r>
          </a:p>
        </p:txBody>
      </p:sp>
      <p:sp>
        <p:nvSpPr>
          <p:cNvPr id="20" name="TextBox 19">
            <a:extLst>
              <a:ext uri="{FF2B5EF4-FFF2-40B4-BE49-F238E27FC236}">
                <a16:creationId xmlns:a16="http://schemas.microsoft.com/office/drawing/2014/main" id="{51895A08-7248-9E4F-572C-69A10293F627}"/>
              </a:ext>
            </a:extLst>
          </p:cNvPr>
          <p:cNvSpPr txBox="1"/>
          <p:nvPr/>
        </p:nvSpPr>
        <p:spPr>
          <a:xfrm>
            <a:off x="9235361" y="5481849"/>
            <a:ext cx="1186699" cy="369332"/>
          </a:xfrm>
          <a:prstGeom prst="rect">
            <a:avLst/>
          </a:prstGeom>
          <a:solidFill>
            <a:schemeClr val="bg1"/>
          </a:solidFill>
        </p:spPr>
        <p:txBody>
          <a:bodyPr wrap="square" lIns="0" tIns="0" rIns="0" bIns="0" rtlCol="0">
            <a:spAutoFit/>
          </a:bodyPr>
          <a:lstStyle/>
          <a:p>
            <a:pPr algn="ctr"/>
            <a:r>
              <a:rPr lang="es-CO" sz="1200" dirty="0"/>
              <a:t>Promedio de 10 años</a:t>
            </a:r>
          </a:p>
        </p:txBody>
      </p:sp>
      <p:sp>
        <p:nvSpPr>
          <p:cNvPr id="21" name="TextBox 20">
            <a:extLst>
              <a:ext uri="{FF2B5EF4-FFF2-40B4-BE49-F238E27FC236}">
                <a16:creationId xmlns:a16="http://schemas.microsoft.com/office/drawing/2014/main" id="{566EA7CB-3DE3-A70B-F2EA-E52CB15299F3}"/>
              </a:ext>
            </a:extLst>
          </p:cNvPr>
          <p:cNvSpPr txBox="1"/>
          <p:nvPr/>
        </p:nvSpPr>
        <p:spPr>
          <a:xfrm>
            <a:off x="2238719" y="5487828"/>
            <a:ext cx="1186699" cy="369332"/>
          </a:xfrm>
          <a:prstGeom prst="rect">
            <a:avLst/>
          </a:prstGeom>
          <a:solidFill>
            <a:schemeClr val="bg1"/>
          </a:solidFill>
        </p:spPr>
        <p:txBody>
          <a:bodyPr wrap="square" lIns="0" tIns="0" rIns="0" bIns="0" rtlCol="0">
            <a:spAutoFit/>
          </a:bodyPr>
          <a:lstStyle/>
          <a:p>
            <a:pPr algn="ctr"/>
            <a:r>
              <a:rPr lang="es-CO" sz="1200" dirty="0"/>
              <a:t>1er semestre 2024</a:t>
            </a:r>
          </a:p>
        </p:txBody>
      </p:sp>
    </p:spTree>
    <p:extLst>
      <p:ext uri="{BB962C8B-B14F-4D97-AF65-F5344CB8AC3E}">
        <p14:creationId xmlns:p14="http://schemas.microsoft.com/office/powerpoint/2010/main" val="1263852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s-CO" dirty="0"/>
              <a:t>Pérdidas grandes por región geográfica</a:t>
            </a:r>
            <a:endParaRPr lang="en-US" dirty="0"/>
          </a:p>
        </p:txBody>
      </p:sp>
      <p:sp>
        <p:nvSpPr>
          <p:cNvPr id="5" name="Slide Number Placeholder 4">
            <a:extLst>
              <a:ext uri="{FF2B5EF4-FFF2-40B4-BE49-F238E27FC236}">
                <a16:creationId xmlns:a16="http://schemas.microsoft.com/office/drawing/2014/main" id="{62A7A70F-1C9D-283E-2FC2-0074C16A0E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Slide Number Placeholder 3">
            <a:extLst>
              <a:ext uri="{FF2B5EF4-FFF2-40B4-BE49-F238E27FC236}">
                <a16:creationId xmlns:a16="http://schemas.microsoft.com/office/drawing/2014/main" id="{5043EF9A-B390-2B6E-9C9F-2EF559479D08}"/>
              </a:ext>
            </a:extLst>
          </p:cNvPr>
          <p:cNvSpPr txBox="1">
            <a:spLocks/>
          </p:cNvSpPr>
          <p:nvPr/>
        </p:nvSpPr>
        <p:spPr>
          <a:xfrm>
            <a:off x="11524074" y="6473259"/>
            <a:ext cx="280800" cy="123111"/>
          </a:xfrm>
        </p:spPr>
        <p:txBody>
          <a:bodyPr/>
          <a:ls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aphicFrame>
        <p:nvGraphicFramePr>
          <p:cNvPr id="2" name="Chart 1">
            <a:extLst>
              <a:ext uri="{FF2B5EF4-FFF2-40B4-BE49-F238E27FC236}">
                <a16:creationId xmlns:a16="http://schemas.microsoft.com/office/drawing/2014/main" id="{E6BDCF9C-1257-4D99-8CE6-B14D84905253}"/>
              </a:ext>
            </a:extLst>
          </p:cNvPr>
          <p:cNvGraphicFramePr>
            <a:graphicFrameLocks/>
          </p:cNvGraphicFramePr>
          <p:nvPr>
            <p:extLst>
              <p:ext uri="{D42A27DB-BD31-4B8C-83A1-F6EECF244321}">
                <p14:modId xmlns:p14="http://schemas.microsoft.com/office/powerpoint/2010/main" val="3622854772"/>
              </p:ext>
            </p:extLst>
          </p:nvPr>
        </p:nvGraphicFramePr>
        <p:xfrm>
          <a:off x="485775" y="1182308"/>
          <a:ext cx="11223623" cy="493909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0D4B5AB-3BF7-3A52-64BE-715912B163A7}"/>
              </a:ext>
            </a:extLst>
          </p:cNvPr>
          <p:cNvSpPr txBox="1"/>
          <p:nvPr/>
        </p:nvSpPr>
        <p:spPr>
          <a:xfrm>
            <a:off x="5143537" y="5672349"/>
            <a:ext cx="2465483" cy="184666"/>
          </a:xfrm>
          <a:prstGeom prst="rect">
            <a:avLst/>
          </a:prstGeom>
          <a:solidFill>
            <a:schemeClr val="bg1"/>
          </a:solidFill>
        </p:spPr>
        <p:txBody>
          <a:bodyPr wrap="square" lIns="0" tIns="0" rIns="0" bIns="0" rtlCol="0">
            <a:spAutoFit/>
          </a:bodyPr>
          <a:lstStyle/>
          <a:p>
            <a:pPr algn="ctr"/>
            <a:r>
              <a:rPr lang="es-CO" sz="1200" dirty="0"/>
              <a:t>Promedio de 5 años</a:t>
            </a:r>
          </a:p>
        </p:txBody>
      </p:sp>
      <p:sp>
        <p:nvSpPr>
          <p:cNvPr id="6" name="TextBox 5">
            <a:extLst>
              <a:ext uri="{FF2B5EF4-FFF2-40B4-BE49-F238E27FC236}">
                <a16:creationId xmlns:a16="http://schemas.microsoft.com/office/drawing/2014/main" id="{E725290D-C80B-14F5-4891-4F3B0730CA8A}"/>
              </a:ext>
            </a:extLst>
          </p:cNvPr>
          <p:cNvSpPr txBox="1"/>
          <p:nvPr/>
        </p:nvSpPr>
        <p:spPr>
          <a:xfrm>
            <a:off x="8701961" y="5672349"/>
            <a:ext cx="2465483" cy="184666"/>
          </a:xfrm>
          <a:prstGeom prst="rect">
            <a:avLst/>
          </a:prstGeom>
          <a:solidFill>
            <a:schemeClr val="bg1"/>
          </a:solidFill>
        </p:spPr>
        <p:txBody>
          <a:bodyPr wrap="square" lIns="0" tIns="0" rIns="0" bIns="0" rtlCol="0">
            <a:spAutoFit/>
          </a:bodyPr>
          <a:lstStyle/>
          <a:p>
            <a:pPr algn="ctr"/>
            <a:r>
              <a:rPr lang="es-CO" sz="1200" dirty="0"/>
              <a:t>Promedio de 10 años</a:t>
            </a:r>
          </a:p>
        </p:txBody>
      </p:sp>
      <p:sp>
        <p:nvSpPr>
          <p:cNvPr id="8" name="TextBox 7">
            <a:extLst>
              <a:ext uri="{FF2B5EF4-FFF2-40B4-BE49-F238E27FC236}">
                <a16:creationId xmlns:a16="http://schemas.microsoft.com/office/drawing/2014/main" id="{CF7F34C9-AEF5-2A6E-EC28-4BA46DD2CD01}"/>
              </a:ext>
            </a:extLst>
          </p:cNvPr>
          <p:cNvSpPr txBox="1"/>
          <p:nvPr/>
        </p:nvSpPr>
        <p:spPr>
          <a:xfrm>
            <a:off x="1562444" y="5678328"/>
            <a:ext cx="2465483" cy="184666"/>
          </a:xfrm>
          <a:prstGeom prst="rect">
            <a:avLst/>
          </a:prstGeom>
          <a:solidFill>
            <a:schemeClr val="bg1"/>
          </a:solidFill>
        </p:spPr>
        <p:txBody>
          <a:bodyPr wrap="square" lIns="0" tIns="0" rIns="0" bIns="0" rtlCol="0">
            <a:spAutoFit/>
          </a:bodyPr>
          <a:lstStyle/>
          <a:p>
            <a:pPr algn="ctr"/>
            <a:r>
              <a:rPr lang="es-CO" sz="1200" dirty="0"/>
              <a:t>1er semestre 2024</a:t>
            </a:r>
          </a:p>
        </p:txBody>
      </p:sp>
      <p:sp>
        <p:nvSpPr>
          <p:cNvPr id="9" name="TextBox 8">
            <a:extLst>
              <a:ext uri="{FF2B5EF4-FFF2-40B4-BE49-F238E27FC236}">
                <a16:creationId xmlns:a16="http://schemas.microsoft.com/office/drawing/2014/main" id="{E76549B1-F3C6-4E7B-1CC3-9E96209BA369}"/>
              </a:ext>
            </a:extLst>
          </p:cNvPr>
          <p:cNvSpPr txBox="1"/>
          <p:nvPr/>
        </p:nvSpPr>
        <p:spPr>
          <a:xfrm>
            <a:off x="6115393" y="5931076"/>
            <a:ext cx="1018831" cy="184665"/>
          </a:xfrm>
          <a:prstGeom prst="rect">
            <a:avLst/>
          </a:prstGeom>
          <a:solidFill>
            <a:schemeClr val="bg1"/>
          </a:solidFill>
        </p:spPr>
        <p:txBody>
          <a:bodyPr wrap="square" lIns="0" tIns="0" rIns="0" bIns="0" rtlCol="0">
            <a:spAutoFit/>
          </a:bodyPr>
          <a:lstStyle/>
          <a:p>
            <a:pPr algn="l"/>
            <a:r>
              <a:rPr lang="es-CO" sz="1200" dirty="0"/>
              <a:t>Latinoamérica</a:t>
            </a:r>
          </a:p>
        </p:txBody>
      </p:sp>
      <p:sp>
        <p:nvSpPr>
          <p:cNvPr id="11" name="TextBox 10">
            <a:extLst>
              <a:ext uri="{FF2B5EF4-FFF2-40B4-BE49-F238E27FC236}">
                <a16:creationId xmlns:a16="http://schemas.microsoft.com/office/drawing/2014/main" id="{36AC973F-9BD4-F6AE-8BE9-A2C1DE80137D}"/>
              </a:ext>
            </a:extLst>
          </p:cNvPr>
          <p:cNvSpPr txBox="1"/>
          <p:nvPr/>
        </p:nvSpPr>
        <p:spPr>
          <a:xfrm>
            <a:off x="7456619" y="5931076"/>
            <a:ext cx="2935155" cy="184666"/>
          </a:xfrm>
          <a:prstGeom prst="rect">
            <a:avLst/>
          </a:prstGeom>
          <a:solidFill>
            <a:schemeClr val="bg1"/>
          </a:solidFill>
        </p:spPr>
        <p:txBody>
          <a:bodyPr wrap="square" lIns="0" tIns="0" rIns="0" bIns="0" rtlCol="0">
            <a:spAutoFit/>
          </a:bodyPr>
          <a:lstStyle/>
          <a:p>
            <a:pPr algn="l"/>
            <a:r>
              <a:rPr lang="es-CO" sz="1200" dirty="0"/>
              <a:t>Global (COVID / Conflicto Ucrania – Rusia)</a:t>
            </a:r>
          </a:p>
        </p:txBody>
      </p:sp>
    </p:spTree>
    <p:extLst>
      <p:ext uri="{BB962C8B-B14F-4D97-AF65-F5344CB8AC3E}">
        <p14:creationId xmlns:p14="http://schemas.microsoft.com/office/powerpoint/2010/main" val="2014641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D5855B8F-EC1C-485D-BF87-B296BCFB543C}" vid="{B474B1E0-4F63-49B9-920A-8BAB2903DA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O P U L A T E T E X T " > { S u b T i t l e } < / P r e s e n t a t i o n O b j e c t T a g >  
 < / M M C O A _ O b j e c t T a g s > 
</file>

<file path=customXml/item1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1.xml>��< ? x m l   v e r s i o n = " 1 . 0 "   e n c o d i n g = " u t f - 1 6 " ? > < M M C O A _ O b j e c t T a g s   x m l n s : x s i = " h t t p : / / w w w . w 3 . o r g / 2 0 0 1 / X M L S c h e m a - i n s t a n c e "   x m l n s : x s d = " h t t p : / / w w w . w 3 . o r g / 2 0 0 1 / X M L S c h e m a " >  
     < P r e s e n t a t i o n O b j e c t T a g   T a g N a m e = " M M C 0 9 _ P O P U L A T E T E X T " > { T i t l e } < / P r e s e n t a t i o n O b j e c t T a g >  
 < / M M C O A _ O b j e c t T a g s > 
</file>

<file path=customXml/item12.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s o l i d ; B l u e < / P r e s e n t a t i o n O b j e c t T a g >  
     < P r e s e n t a t i o n O b j e c t T a g   T a g N a m e = " M M C O A _ F U L L I M A G E _ I D " / >  
     < P r e s e n t a t i o n O b j e c t T a g   T a g N a m e = " M M C O A _ S I L H O U E T T E _ I D " / >  
 < / M M C O A _ O b j e c t T a g s > 
</file>

<file path=customXml/item13.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14.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15.xml>��< ? x m l   v e r s i o n = " 1 . 0 "   e n c o d i n g = " u t f - 1 6 " ? > < M M C O A _ O b j e c t T a g s   x m l n s : x s i = " h t t p : / / w w w . w 3 . o r g / 2 0 0 1 / X M L S c h e m a - i n s t a n c e "   x m l n s : x s d = " h t t p : / / w w w . w 3 . o r g / 2 0 0 1 / X M L S c h e m a " >  
     < P r e s e n t a t i o n O b j e c t T a g   T a g N a m e = " M M C 0 9 _ B R A N D F O N T S T Y L E " > M a s t e r T e x t < / P r e s e n t a t i o n O b j e c t T a g >  
 < / M M C O A _ O b j e c t T a g s > 
</file>

<file path=customXml/item16.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17.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18.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19.xml><?xml version="1.0" encoding="utf-8"?>
<MMCOA_ObjectTags xmlns:xsi="http://www.w3.org/2001/XMLSchema-instance" xmlns:xsd="http://www.w3.org/2001/XMLSchema">
  <PresentationObjectTag TagName="MMC09_POPULATETEXT">{Title}</PresentationObjectTag>
</MMCOA_ObjectTags>
</file>

<file path=customXml/item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0.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2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2.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2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7.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28.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2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xml><?xml version="1.0" encoding="utf-8"?>
<MMCOA_ObjectTags xmlns:xsi="http://www.w3.org/2001/XMLSchema-instance" xmlns:xsd="http://www.w3.org/2001/XMLSchema">
  <PresentationObjectTag TagName="MMCOA_SAMPLESLIDE_ID">f2783e20-22bc-403c-8545-cf9953b980a3</PresentationObjectTag>
</MMCOA_ObjectTags>
</file>

<file path=customXml/item3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1.xml>��< ? x m l   v e r s i o n = " 1 . 0 "   e n c o d i n g = " u t f - 1 6 " ? > < M M C O A _ O b j e c t T a g s   x m l n s : x s i = " h t t p : / / w w w . w 3 . o r g / 2 0 0 1 / X M L S c h e m a - i n s t a n c e "   x m l n s : x s d = " h t t p : / / w w w . w 3 . o r g / 2 0 0 1 / X M L S c h e m a " >  
     < P r e s e n t a t i o n O b j e c t T a g   T a g N a m e = " M M C O A _ F I L E R E F S T A T E " > H I D E < / P r e s e n t a t i o n O b j e c t T a g >  
 < / M M C O A _ O b j e c t T a g s > 
</file>

<file path=customXml/item32.xml>��< ? x m l   v e r s i o n = " 1 . 0 "   e n c o d i n g = " u t f - 1 6 " ? > < M M C O A _ O b j e c t T a g s   x m l n s : x s i = " h t t p : / / w w w . w 3 . o r g / 2 0 0 1 / X M L S c h e m a - i n s t a n c e "   x m l n s : x s d = " h t t p : / / w w w . w 3 . o r g / 2 0 0 1 / X M L S c h e m a " >  
     < P r e s e n t a t i o n O b j e c t T a g   T a g N a m e = " M M C 0 9 _ B R A N D F O N T S T Y L E " > M a s t e r T e x t < / P r e s e n t a t i o n O b j e c t T a g >  
 < / M M C O A _ O b j e c t T a g s > 
</file>

<file path=customXml/item3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4.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7 e e b d 1 1 d - 3 3 3 2 - 4 c 0 1 - a 3 5 5 - d c 5 b 1 2 c d c 7 d c < / P r e s e n t a t i o n O b j e c t T a g >  
 < / M M C O A _ O b j e c t T a g s > 
</file>

<file path=customXml/item35.xml>��< ? x m l   v e r s i o n = " 1 . 0 "   e n c o d i n g = " u t f - 1 6 " ? > < M M C O A _ O b j e c t T a g s   x m l n s : x s i = " h t t p : / / w w w . w 3 . o r g / 2 0 0 1 / X M L S c h e m a - i n s t a n c e "   x m l n s : x s d = " h t t p : / / w w w . w 3 . o r g / 2 0 0 1 / X M L S c h e m a " >  
     < P r e s e n t a t i o n O b j e c t T a g   T a g N a m e = " M M C 0 9 _ P O P U L A T E T E X T " > { P r e s e n t e r C o v e r T e x t B l o c k } < / P r e s e n t a t i o n O b j e c t T a g >  
 < / M M C O A _ O b j e c t T a g s > 
</file>

<file path=customXml/item36.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3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8.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3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0.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41.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4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3.xml><?xml version="1.0" encoding="utf-8"?>
<ct:contentTypeSchema xmlns:ct="http://schemas.microsoft.com/office/2006/metadata/contentType" xmlns:ma="http://schemas.microsoft.com/office/2006/metadata/properties/metaAttributes" ct:_="" ma:_="" ma:contentTypeName="Document" ma:contentTypeID="0x0101002D9F47CA2E87404FBE62329A585385A9" ma:contentTypeVersion="15" ma:contentTypeDescription="Create a new document." ma:contentTypeScope="" ma:versionID="e7d2fde86f436dad5d5fb387ac4f57b2">
  <xsd:schema xmlns:xsd="http://www.w3.org/2001/XMLSchema" xmlns:xs="http://www.w3.org/2001/XMLSchema" xmlns:p="http://schemas.microsoft.com/office/2006/metadata/properties" xmlns:ns2="534b054f-48a6-475f-a951-f361fa8cc439" xmlns:ns3="fe768cdf-ff4f-4065-b5fe-ef7f8879bf90" targetNamespace="http://schemas.microsoft.com/office/2006/metadata/properties" ma:root="true" ma:fieldsID="5a190cc2e6a66ff3c87a90d1ef511f0e" ns2:_="" ns3:_="">
    <xsd:import namespace="534b054f-48a6-475f-a951-f361fa8cc439"/>
    <xsd:import namespace="fe768cdf-ff4f-4065-b5fe-ef7f8879bf9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_Flow_SignoffStatu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b054f-48a6-475f-a951-f361fa8cc4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_Flow_SignoffStatus" ma:index="20" nillable="true" ma:displayName="Sign-off status" ma:internalName="Sign_x002d_off_x0020_status">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e768cdf-ff4f-4065-b5fe-ef7f8879bf9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4.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45.xml>��< ? x m l   v e r s i o n = " 1 . 0 "   e n c o d i n g = " u t f - 1 6 " ? > < M M C O A _ O b j e c t T a g s   x m l n s : x s i = " h t t p : / / w w w . w 3 . o r g / 2 0 0 1 / X M L S c h e m a - i n s t a n c e "   x m l n s : x s d = " h t t p : / / w w w . w 3 . o r g / 2 0 0 1 / X M L S c h e m a " >  
     < P r e s e n t a t i o n O b j e c t T a g   T a g N a m e = " M M C 0 9 _ S H O W H I D E C R I T E R I A " > C L I E N T _ L O G O < / P r e s e n t a t i o n O b j e c t T a g >  
 < / M M C O A _ O b j e c t T a g s > 
</file>

<file path=customXml/item46.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47.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48.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49.xml>��< ? x m l   v e r s i o n = " 1 . 0 "   e n c o d i n g = " u t f - 1 6 " ? > < M M C O A _ O b j e c t T a g s   x m l n s : x s i = " h t t p : / / w w w . w 3 . o r g / 2 0 0 1 / X M L S c h e m a - i n s t a n c e "   x m l n s : x s d = " h t t p : / / w w w . w 3 . o r g / 2 0 0 1 / X M L S c h e m a " >  
     < P r e s e n t a t i o n O b j e c t T a g   T a g N a m e = " M M C 0 9 _ L A Y O U T " > B l a n k < / P r e s e n t a t i o n O b j e c t T a g >  
 < / M M C O A _ O b j e c t T a g s > 
</file>

<file path=customXml/item5.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50.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1.xml><?xml version="1.0" encoding="utf-8"?>
<MMCOA_ObjectTags xmlns:xsi="http://www.w3.org/2001/XMLSchema-instance" xmlns:xsd="http://www.w3.org/2001/XMLSchema">
  <PresentationObjectTag TagName="MMC09_POPULATETEXT">[MMC2021PPTemplate.PlaceholderClient]</PresentationObjectTag>
  <PresentationObjectTag TagName="MMC09_SHOWHIDECRITERIA">CLIENT_LOGO</PresentationObjectTag>
</MMCOA_ObjectTags>
</file>

<file path=customXml/item52.xml>��< ? x m l   v e r s i o n = " 1 . 0 "   e n c o d i n g = " u t f - 1 6 " ? > < M M C O A _ O b j e c t T a g s   x m l n s : x s i = " h t t p : / / w w w . w 3 . o r g / 2 0 0 1 / X M L S c h e m a - i n s t a n c e "   x m l n s : x s d = " h t t p : / / w w w . w 3 . o r g / 2 0 0 1 / X M L S c h e m a " >  
     < P r e s e n t a t i o n O b j e c t T a g   T a g N a m e = " M M C 0 9 _ B R A N D F O N T S T Y L E " > C o v e r T e x t < / P r e s e n t a t i o n O b j e c t T a g >  
 < / M M C O A _ O b j e c t T a g s > 
</file>

<file path=customXml/item53.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54.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5.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56.xml>��< ? x m l   v e r s i o n = " 1 . 0 "   e n c o d i n g = " u t f - 1 6 " ? > < M M C O A _ O b j e c t T a g s   x m l n s : x s i = " h t t p : / / w w w . w 3 . o r g / 2 0 0 1 / X M L S c h e m a - i n s t a n c e "   x m l n s : x s d = " h t t p : / / w w w . w 3 . o r g / 2 0 0 1 / X M L S c h e m a " >  
     < P r e s e n t a t i o n O b j e c t T a g   T a g N a m e = " M M C 0 9 _ P O P U L A T E T E X T " > { S u b T i t l e } < / P r e s e n t a t i o n O b j e c t T a g >  
 < / M M C O A _ O b j e c t T a g s > 
</file>

<file path=customXml/item5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8.xml><?xml version="1.0" encoding="utf-8"?>
<?mso-contentType ?>
<FormTemplates xmlns="http://schemas.microsoft.com/sharepoint/v3/contenttype/forms">
  <Display>DocumentLibraryForm</Display>
  <Edit>DocumentLibraryForm</Edit>
  <New>DocumentLibraryForm</New>
</FormTemplates>
</file>

<file path=customXml/item59.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6.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60.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61.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6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3.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6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6.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67.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68.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69.xml><?xml version="1.0" encoding="utf-8"?>
<p:properties xmlns:p="http://schemas.microsoft.com/office/2006/metadata/properties" xmlns:xsi="http://www.w3.org/2001/XMLSchema-instance" xmlns:pc="http://schemas.microsoft.com/office/infopath/2007/PartnerControls">
  <documentManagement>
    <_Flow_SignoffStatus xmlns="534b054f-48a6-475f-a951-f361fa8cc439" xsi:nil="true"/>
  </documentManagement>
</p:properties>
</file>

<file path=customXml/item7.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70.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7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72.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73.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74.xml>��< ? x m l   v e r s i o n = " 1 . 0 "   e n c o d i n g = " u t f - 1 6 " ? > < M M C O A _ O b j e c t T a g s   x m l n s : x s i = " h t t p : / / w w w . w 3 . o r g / 2 0 0 1 / X M L S c h e m a - i n s t a n c e "   x m l n s : x s d = " h t t p : / / w w w . w 3 . o r g / 2 0 0 1 / X M L S c h e m a " >  
     < P r e s e n t a t i o n O b j e c t T a g   T a g N a m e = " M M C 0 9 _ P O P U L A T E T E X T " > { T i t l e } < / P r e s e n t a t i o n O b j e c t T a g >  
 < / M M C O A _ O b j e c t T a g s > 
</file>

<file path=customXml/item75.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76.xml>��< ? x m l   v e r s i o n = " 1 . 0 "   e n c o d i n g = " u t f - 1 6 " ? > < M M C O A _ O b j e c t T a g s   x m l n s : x s i = " h t t p : / / w w w . w 3 . o r g / 2 0 0 1 / X M L S c h e m a - i n s t a n c e "   x m l n s : x s d = " h t t p : / / w w w . w 3 . o r g / 2 0 0 1 / X M L S c h e m a " >  
     < P r e s e n t a t i o n O b j e c t T a g   T a g N a m e = " M M C 0 9 _ P O P U L A T E T E X T " > [ B r a n d _ M M C 2 0 2 1 . A g e n d a S l i d e T i t l e ] < / P r e s e n t a t i o n O b j e c t T a g >  
 < / M M C O A _ O b j e c t T a g s > 
</file>

<file path=customXml/item7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78.xml>��< ? x m l   v e r s i o n = " 1 . 0 "   e n c o d i n g = " u t f - 1 6 " ? > < M M C O A _ O b j e c t T a g s   x m l n s : x s i = " h t t p : / / w w w . w 3 . o r g / 2 0 0 1 / X M L S c h e m a - i n s t a n c e "   x m l n s : x s d = " h t t p : / / w w w . w 3 . o r g / 2 0 0 1 / X M L S c h e m a " >  
     < P r e s e n t a t i o n O b j e c t T a g   T a g N a m e = " M M C O A _ S A M P L E S L I D E _ I D " > 2 f e d d 6 8 2 - 4 2 7 4 - 4 a d a - b 9 3 f - e 3 8 3 3 5 d 6 6 e e 3 < / P r e s e n t a t i o n O b j e c t T a g >  
 < / M M C O A _ O b j e c t T a g s > 
</file>

<file path=customXml/item79.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8.xml><?xml version="1.0" encoding="utf-8"?>
<MMCOA_ObjectTags xmlns:xsi="http://www.w3.org/2001/XMLSchema-instance" xmlns:xsd="http://www.w3.org/2001/XMLSchema">
  <PresentationObjectTag TagName="MMCOA_SAMPLESLIDE_ID">b6011148-3046-4b10-9fac-4210e98d67f0</PresentationObjectTag>
</MMCOA_ObjectTags>
</file>

<file path=customXml/item8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8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82.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83.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84.xml><?xml version="1.0" encoding="utf-8"?>
<MMCOA_ObjectTags xmlns:xsd="http://www.w3.org/2001/XMLSchema" xmlns:xsi="http://www.w3.org/2001/XMLSchema-instance">
  <PresentationObjectTag TagName="MMC095_IMGPLACEHOLDERTYPE">ContentImageIcon</PresentationObjectTag>
  <PresentationObjectTag TagName="MMC095_IMGPLACEHOLDERNAME">Icon</PresentationObjectTag>
  <PresentationObjectTag TagName="MMC095_IMGPLACEHOLDERFIT">FITSQUAREBOUNDS;CENTERH;CENTERV</PresentationObjectTag>
</MMCOA_ObjectTags>
</file>

<file path=customXml/item9.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B a c k L o g o , 3 8 . 2 7 , 2 7 . 2 1 ; E n d o r s e m e n t L o g o , E x t e r n a l E n d o r s e m e n t , 9 2 2 . 1 1 , 4 6 1 . 7 6 , D E F A U L T , R B < / P r e s e n t a t i o n O b j e c t T a g >  
     < P r e s e n t a t i o n O b j e c t T a g   T a g N a m e = " M M C O A _ B A C K G R O U N D _ D I G E S T " > g r a d ; s i m p l e - d a r k - t u r q u o i s e < / P r e s e n t a t i o n O b j e c t T a g >  
     < P r e s e n t a t i o n O b j e c t T a g   T a g N a m e = " M M C O A _ B A C K G R O U N D _ L O G O _ O P T I O N " > W H I T E < / P r e s e n t a t i o n O b j e c t T a g >  
 < / M M C O A _ O b j e c t T a g s > 
</file>

<file path=customXml/itemProps1.xml><?xml version="1.0" encoding="utf-8"?>
<ds:datastoreItem xmlns:ds="http://schemas.openxmlformats.org/officeDocument/2006/customXml" ds:itemID="{B3B12E2A-4CEF-41D4-B44A-015C2695F51B}">
  <ds:schemaRefs>
    <ds:schemaRef ds:uri="http://www.w3.org/2001/XMLSchema"/>
  </ds:schemaRefs>
</ds:datastoreItem>
</file>

<file path=customXml/itemProps10.xml><?xml version="1.0" encoding="utf-8"?>
<ds:datastoreItem xmlns:ds="http://schemas.openxmlformats.org/officeDocument/2006/customXml" ds:itemID="{E39B11E5-077D-4BBF-AF63-E8B8A6D036DB}">
  <ds:schemaRefs>
    <ds:schemaRef ds:uri="http://www.w3.org/2001/XMLSchema"/>
  </ds:schemaRefs>
</ds:datastoreItem>
</file>

<file path=customXml/itemProps11.xml><?xml version="1.0" encoding="utf-8"?>
<ds:datastoreItem xmlns:ds="http://schemas.openxmlformats.org/officeDocument/2006/customXml" ds:itemID="{D14872BF-36DF-44ED-AFBA-A9DEF6435A9D}">
  <ds:schemaRefs>
    <ds:schemaRef ds:uri="http://www.w3.org/2001/XMLSchema"/>
  </ds:schemaRefs>
</ds:datastoreItem>
</file>

<file path=customXml/itemProps12.xml><?xml version="1.0" encoding="utf-8"?>
<ds:datastoreItem xmlns:ds="http://schemas.openxmlformats.org/officeDocument/2006/customXml" ds:itemID="{C22B2565-08F1-4C14-84BF-851D7261A8E5}">
  <ds:schemaRefs>
    <ds:schemaRef ds:uri="http://www.w3.org/2001/XMLSchema"/>
  </ds:schemaRefs>
</ds:datastoreItem>
</file>

<file path=customXml/itemProps13.xml><?xml version="1.0" encoding="utf-8"?>
<ds:datastoreItem xmlns:ds="http://schemas.openxmlformats.org/officeDocument/2006/customXml" ds:itemID="{5071CEB3-5C80-4DBF-AE51-491CFD3DFA23}">
  <ds:schemaRefs>
    <ds:schemaRef ds:uri="http://www.w3.org/2001/XMLSchema"/>
  </ds:schemaRefs>
</ds:datastoreItem>
</file>

<file path=customXml/itemProps14.xml><?xml version="1.0" encoding="utf-8"?>
<ds:datastoreItem xmlns:ds="http://schemas.openxmlformats.org/officeDocument/2006/customXml" ds:itemID="{D483B075-6B65-4190-A6CB-7E6A0AB79891}">
  <ds:schemaRefs>
    <ds:schemaRef ds:uri="http://www.w3.org/2001/XMLSchema"/>
  </ds:schemaRefs>
</ds:datastoreItem>
</file>

<file path=customXml/itemProps15.xml><?xml version="1.0" encoding="utf-8"?>
<ds:datastoreItem xmlns:ds="http://schemas.openxmlformats.org/officeDocument/2006/customXml" ds:itemID="{492FC0CD-A4A9-401E-847E-C8E616AD5CF1}">
  <ds:schemaRefs>
    <ds:schemaRef ds:uri="http://www.w3.org/2001/XMLSchema"/>
  </ds:schemaRefs>
</ds:datastoreItem>
</file>

<file path=customXml/itemProps16.xml><?xml version="1.0" encoding="utf-8"?>
<ds:datastoreItem xmlns:ds="http://schemas.openxmlformats.org/officeDocument/2006/customXml" ds:itemID="{C581B463-00BE-41B1-BE7F-54FDEFAA40D0}">
  <ds:schemaRefs>
    <ds:schemaRef ds:uri="http://www.w3.org/2001/XMLSchema"/>
  </ds:schemaRefs>
</ds:datastoreItem>
</file>

<file path=customXml/itemProps17.xml><?xml version="1.0" encoding="utf-8"?>
<ds:datastoreItem xmlns:ds="http://schemas.openxmlformats.org/officeDocument/2006/customXml" ds:itemID="{F1B18864-DD5F-475F-B43E-533AC977E410}">
  <ds:schemaRefs>
    <ds:schemaRef ds:uri="http://www.w3.org/2001/XMLSchema"/>
  </ds:schemaRefs>
</ds:datastoreItem>
</file>

<file path=customXml/itemProps18.xml><?xml version="1.0" encoding="utf-8"?>
<ds:datastoreItem xmlns:ds="http://schemas.openxmlformats.org/officeDocument/2006/customXml" ds:itemID="{535DD0E2-5F87-46D2-ADCB-BF3B14328B93}">
  <ds:schemaRefs>
    <ds:schemaRef ds:uri="http://www.w3.org/2001/XMLSchema"/>
  </ds:schemaRefs>
</ds:datastoreItem>
</file>

<file path=customXml/itemProps19.xml><?xml version="1.0" encoding="utf-8"?>
<ds:datastoreItem xmlns:ds="http://schemas.openxmlformats.org/officeDocument/2006/customXml" ds:itemID="{9B97C480-14FB-4B7D-8412-01BCFA662107}">
  <ds:schemaRefs>
    <ds:schemaRef ds:uri="http://www.w3.org/2001/XMLSchema"/>
  </ds:schemaRefs>
</ds:datastoreItem>
</file>

<file path=customXml/itemProps2.xml><?xml version="1.0" encoding="utf-8"?>
<ds:datastoreItem xmlns:ds="http://schemas.openxmlformats.org/officeDocument/2006/customXml" ds:itemID="{DBB30C88-CD65-462F-B924-FDEB7A0F09BD}">
  <ds:schemaRefs>
    <ds:schemaRef ds:uri="http://www.w3.org/2001/XMLSchema"/>
  </ds:schemaRefs>
</ds:datastoreItem>
</file>

<file path=customXml/itemProps20.xml><?xml version="1.0" encoding="utf-8"?>
<ds:datastoreItem xmlns:ds="http://schemas.openxmlformats.org/officeDocument/2006/customXml" ds:itemID="{DF958ADB-4B98-40CD-9FC8-C002C934CA60}">
  <ds:schemaRefs>
    <ds:schemaRef ds:uri="http://www.w3.org/2001/XMLSchema"/>
  </ds:schemaRefs>
</ds:datastoreItem>
</file>

<file path=customXml/itemProps21.xml><?xml version="1.0" encoding="utf-8"?>
<ds:datastoreItem xmlns:ds="http://schemas.openxmlformats.org/officeDocument/2006/customXml" ds:itemID="{5FDF1299-A818-4942-A99A-6ACC56029410}">
  <ds:schemaRefs>
    <ds:schemaRef ds:uri="http://www.w3.org/2001/XMLSchema"/>
  </ds:schemaRefs>
</ds:datastoreItem>
</file>

<file path=customXml/itemProps22.xml><?xml version="1.0" encoding="utf-8"?>
<ds:datastoreItem xmlns:ds="http://schemas.openxmlformats.org/officeDocument/2006/customXml" ds:itemID="{F6D38D65-3EE3-4BB5-8D9D-24598406BD87}">
  <ds:schemaRefs>
    <ds:schemaRef ds:uri="http://www.w3.org/2001/XMLSchema"/>
  </ds:schemaRefs>
</ds:datastoreItem>
</file>

<file path=customXml/itemProps23.xml><?xml version="1.0" encoding="utf-8"?>
<ds:datastoreItem xmlns:ds="http://schemas.openxmlformats.org/officeDocument/2006/customXml" ds:itemID="{15E14063-6D15-404C-AFB6-43ADF0C0DD41}">
  <ds:schemaRefs>
    <ds:schemaRef ds:uri="http://www.w3.org/2001/XMLSchema"/>
  </ds:schemaRefs>
</ds:datastoreItem>
</file>

<file path=customXml/itemProps24.xml><?xml version="1.0" encoding="utf-8"?>
<ds:datastoreItem xmlns:ds="http://schemas.openxmlformats.org/officeDocument/2006/customXml" ds:itemID="{E571E618-B32B-4FB0-BD5B-D83EAD2F7B68}">
  <ds:schemaRefs>
    <ds:schemaRef ds:uri="http://www.w3.org/2001/XMLSchema"/>
  </ds:schemaRefs>
</ds:datastoreItem>
</file>

<file path=customXml/itemProps25.xml><?xml version="1.0" encoding="utf-8"?>
<ds:datastoreItem xmlns:ds="http://schemas.openxmlformats.org/officeDocument/2006/customXml" ds:itemID="{D9348C07-1E6B-4014-98CC-8BB85256C2E9}">
  <ds:schemaRefs>
    <ds:schemaRef ds:uri="http://www.w3.org/2001/XMLSchema"/>
  </ds:schemaRefs>
</ds:datastoreItem>
</file>

<file path=customXml/itemProps26.xml><?xml version="1.0" encoding="utf-8"?>
<ds:datastoreItem xmlns:ds="http://schemas.openxmlformats.org/officeDocument/2006/customXml" ds:itemID="{9CAF717C-D714-467D-9571-6E4BAA9ABDB1}">
  <ds:schemaRefs>
    <ds:schemaRef ds:uri="http://www.w3.org/2001/XMLSchema"/>
  </ds:schemaRefs>
</ds:datastoreItem>
</file>

<file path=customXml/itemProps27.xml><?xml version="1.0" encoding="utf-8"?>
<ds:datastoreItem xmlns:ds="http://schemas.openxmlformats.org/officeDocument/2006/customXml" ds:itemID="{8FD5ED39-63AE-4269-B306-74B85A91F389}">
  <ds:schemaRefs>
    <ds:schemaRef ds:uri="http://www.w3.org/2001/XMLSchema"/>
  </ds:schemaRefs>
</ds:datastoreItem>
</file>

<file path=customXml/itemProps28.xml><?xml version="1.0" encoding="utf-8"?>
<ds:datastoreItem xmlns:ds="http://schemas.openxmlformats.org/officeDocument/2006/customXml" ds:itemID="{68704D0C-8AB9-42AB-B004-03E61D2FC4A7}">
  <ds:schemaRefs>
    <ds:schemaRef ds:uri="http://www.w3.org/2001/XMLSchema"/>
  </ds:schemaRefs>
</ds:datastoreItem>
</file>

<file path=customXml/itemProps29.xml><?xml version="1.0" encoding="utf-8"?>
<ds:datastoreItem xmlns:ds="http://schemas.openxmlformats.org/officeDocument/2006/customXml" ds:itemID="{5FC8AD33-3A86-4DCF-AE6B-3071D443C944}">
  <ds:schemaRefs>
    <ds:schemaRef ds:uri="http://www.w3.org/2001/XMLSchema"/>
  </ds:schemaRefs>
</ds:datastoreItem>
</file>

<file path=customXml/itemProps3.xml><?xml version="1.0" encoding="utf-8"?>
<ds:datastoreItem xmlns:ds="http://schemas.openxmlformats.org/officeDocument/2006/customXml" ds:itemID="{41CAFD10-B907-40BA-93A4-BA7275F3B20B}">
  <ds:schemaRefs>
    <ds:schemaRef ds:uri="http://www.w3.org/2001/XMLSchema"/>
  </ds:schemaRefs>
</ds:datastoreItem>
</file>

<file path=customXml/itemProps30.xml><?xml version="1.0" encoding="utf-8"?>
<ds:datastoreItem xmlns:ds="http://schemas.openxmlformats.org/officeDocument/2006/customXml" ds:itemID="{268400DD-65DB-470B-A06A-A85C4BBFF02F}">
  <ds:schemaRefs>
    <ds:schemaRef ds:uri="http://www.w3.org/2001/XMLSchema"/>
  </ds:schemaRefs>
</ds:datastoreItem>
</file>

<file path=customXml/itemProps31.xml><?xml version="1.0" encoding="utf-8"?>
<ds:datastoreItem xmlns:ds="http://schemas.openxmlformats.org/officeDocument/2006/customXml" ds:itemID="{7C42B602-7515-473E-8F1E-5503EC3B9FB1}">
  <ds:schemaRefs>
    <ds:schemaRef ds:uri="http://www.w3.org/2001/XMLSchema"/>
  </ds:schemaRefs>
</ds:datastoreItem>
</file>

<file path=customXml/itemProps32.xml><?xml version="1.0" encoding="utf-8"?>
<ds:datastoreItem xmlns:ds="http://schemas.openxmlformats.org/officeDocument/2006/customXml" ds:itemID="{EA56DF1C-E699-4B8D-81DA-12283D7DDD50}">
  <ds:schemaRefs>
    <ds:schemaRef ds:uri="http://www.w3.org/2001/XMLSchema"/>
  </ds:schemaRefs>
</ds:datastoreItem>
</file>

<file path=customXml/itemProps33.xml><?xml version="1.0" encoding="utf-8"?>
<ds:datastoreItem xmlns:ds="http://schemas.openxmlformats.org/officeDocument/2006/customXml" ds:itemID="{C39CAF09-DA15-4725-BDD7-277AA9A52B6D}">
  <ds:schemaRefs>
    <ds:schemaRef ds:uri="http://www.w3.org/2001/XMLSchema"/>
  </ds:schemaRefs>
</ds:datastoreItem>
</file>

<file path=customXml/itemProps34.xml><?xml version="1.0" encoding="utf-8"?>
<ds:datastoreItem xmlns:ds="http://schemas.openxmlformats.org/officeDocument/2006/customXml" ds:itemID="{E3903F1D-7EA6-4B43-9138-BE672C91A104}">
  <ds:schemaRefs>
    <ds:schemaRef ds:uri="http://www.w3.org/2001/XMLSchema"/>
  </ds:schemaRefs>
</ds:datastoreItem>
</file>

<file path=customXml/itemProps35.xml><?xml version="1.0" encoding="utf-8"?>
<ds:datastoreItem xmlns:ds="http://schemas.openxmlformats.org/officeDocument/2006/customXml" ds:itemID="{36521F22-0186-4262-8998-4B3239F3A520}">
  <ds:schemaRefs>
    <ds:schemaRef ds:uri="http://www.w3.org/2001/XMLSchema"/>
  </ds:schemaRefs>
</ds:datastoreItem>
</file>

<file path=customXml/itemProps36.xml><?xml version="1.0" encoding="utf-8"?>
<ds:datastoreItem xmlns:ds="http://schemas.openxmlformats.org/officeDocument/2006/customXml" ds:itemID="{9B333AB5-3357-4D07-93E0-A8BB3B59721F}">
  <ds:schemaRefs>
    <ds:schemaRef ds:uri="http://www.w3.org/2001/XMLSchema"/>
  </ds:schemaRefs>
</ds:datastoreItem>
</file>

<file path=customXml/itemProps37.xml><?xml version="1.0" encoding="utf-8"?>
<ds:datastoreItem xmlns:ds="http://schemas.openxmlformats.org/officeDocument/2006/customXml" ds:itemID="{CECC2B06-B96D-401F-910E-06ACE8ED91D9}">
  <ds:schemaRefs>
    <ds:schemaRef ds:uri="http://www.w3.org/2001/XMLSchema"/>
  </ds:schemaRefs>
</ds:datastoreItem>
</file>

<file path=customXml/itemProps38.xml><?xml version="1.0" encoding="utf-8"?>
<ds:datastoreItem xmlns:ds="http://schemas.openxmlformats.org/officeDocument/2006/customXml" ds:itemID="{B4D38E7E-3687-46A4-8AD6-0F842443AA0F}">
  <ds:schemaRefs>
    <ds:schemaRef ds:uri="http://www.w3.org/2001/XMLSchema"/>
  </ds:schemaRefs>
</ds:datastoreItem>
</file>

<file path=customXml/itemProps39.xml><?xml version="1.0" encoding="utf-8"?>
<ds:datastoreItem xmlns:ds="http://schemas.openxmlformats.org/officeDocument/2006/customXml" ds:itemID="{152C4616-E904-4841-9523-90E33BB5990C}">
  <ds:schemaRefs>
    <ds:schemaRef ds:uri="http://www.w3.org/2001/XMLSchema"/>
  </ds:schemaRefs>
</ds:datastoreItem>
</file>

<file path=customXml/itemProps4.xml><?xml version="1.0" encoding="utf-8"?>
<ds:datastoreItem xmlns:ds="http://schemas.openxmlformats.org/officeDocument/2006/customXml" ds:itemID="{B3404B29-B12B-4AD6-9600-2326122AA242}">
  <ds:schemaRefs>
    <ds:schemaRef ds:uri="http://www.w3.org/2001/XMLSchema"/>
  </ds:schemaRefs>
</ds:datastoreItem>
</file>

<file path=customXml/itemProps40.xml><?xml version="1.0" encoding="utf-8"?>
<ds:datastoreItem xmlns:ds="http://schemas.openxmlformats.org/officeDocument/2006/customXml" ds:itemID="{27E25570-00E3-4200-9A67-F096A03489FE}">
  <ds:schemaRefs>
    <ds:schemaRef ds:uri="http://www.w3.org/2001/XMLSchema"/>
  </ds:schemaRefs>
</ds:datastoreItem>
</file>

<file path=customXml/itemProps41.xml><?xml version="1.0" encoding="utf-8"?>
<ds:datastoreItem xmlns:ds="http://schemas.openxmlformats.org/officeDocument/2006/customXml" ds:itemID="{E66892AF-E08D-42D6-8630-4CD8B4FAE48F}">
  <ds:schemaRefs>
    <ds:schemaRef ds:uri="http://www.w3.org/2001/XMLSchema"/>
  </ds:schemaRefs>
</ds:datastoreItem>
</file>

<file path=customXml/itemProps42.xml><?xml version="1.0" encoding="utf-8"?>
<ds:datastoreItem xmlns:ds="http://schemas.openxmlformats.org/officeDocument/2006/customXml" ds:itemID="{E917FBD8-6C97-4CD7-97F4-1E1500CE9A9C}">
  <ds:schemaRefs>
    <ds:schemaRef ds:uri="http://www.w3.org/2001/XMLSchema"/>
  </ds:schemaRefs>
</ds:datastoreItem>
</file>

<file path=customXml/itemProps43.xml><?xml version="1.0" encoding="utf-8"?>
<ds:datastoreItem xmlns:ds="http://schemas.openxmlformats.org/officeDocument/2006/customXml" ds:itemID="{9AA27E13-75AE-456C-9C53-31C610C924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4b054f-48a6-475f-a951-f361fa8cc439"/>
    <ds:schemaRef ds:uri="fe768cdf-ff4f-4065-b5fe-ef7f8879bf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4.xml><?xml version="1.0" encoding="utf-8"?>
<ds:datastoreItem xmlns:ds="http://schemas.openxmlformats.org/officeDocument/2006/customXml" ds:itemID="{C41181A3-BF44-4324-AECB-875CE9EE15F3}">
  <ds:schemaRefs>
    <ds:schemaRef ds:uri="http://www.w3.org/2001/XMLSchema"/>
  </ds:schemaRefs>
</ds:datastoreItem>
</file>

<file path=customXml/itemProps45.xml><?xml version="1.0" encoding="utf-8"?>
<ds:datastoreItem xmlns:ds="http://schemas.openxmlformats.org/officeDocument/2006/customXml" ds:itemID="{58D42C7F-C51A-4196-A564-FB7B576BC2EA}">
  <ds:schemaRefs>
    <ds:schemaRef ds:uri="http://www.w3.org/2001/XMLSchema"/>
  </ds:schemaRefs>
</ds:datastoreItem>
</file>

<file path=customXml/itemProps46.xml><?xml version="1.0" encoding="utf-8"?>
<ds:datastoreItem xmlns:ds="http://schemas.openxmlformats.org/officeDocument/2006/customXml" ds:itemID="{C18D732F-9022-434F-ABD7-F9926EC28FAF}">
  <ds:schemaRefs>
    <ds:schemaRef ds:uri="http://www.w3.org/2001/XMLSchema"/>
  </ds:schemaRefs>
</ds:datastoreItem>
</file>

<file path=customXml/itemProps47.xml><?xml version="1.0" encoding="utf-8"?>
<ds:datastoreItem xmlns:ds="http://schemas.openxmlformats.org/officeDocument/2006/customXml" ds:itemID="{0D39DF63-D74D-4908-8C6C-545FE16F3FC8}">
  <ds:schemaRefs>
    <ds:schemaRef ds:uri="http://www.w3.org/2001/XMLSchema"/>
  </ds:schemaRefs>
</ds:datastoreItem>
</file>

<file path=customXml/itemProps48.xml><?xml version="1.0" encoding="utf-8"?>
<ds:datastoreItem xmlns:ds="http://schemas.openxmlformats.org/officeDocument/2006/customXml" ds:itemID="{B5EE003F-AACE-4CCD-AE5E-C319AB398FB9}">
  <ds:schemaRefs>
    <ds:schemaRef ds:uri="http://www.w3.org/2001/XMLSchema"/>
  </ds:schemaRefs>
</ds:datastoreItem>
</file>

<file path=customXml/itemProps49.xml><?xml version="1.0" encoding="utf-8"?>
<ds:datastoreItem xmlns:ds="http://schemas.openxmlformats.org/officeDocument/2006/customXml" ds:itemID="{C4463173-EC99-467C-9A70-BD2BF1240458}">
  <ds:schemaRefs>
    <ds:schemaRef ds:uri="http://www.w3.org/2001/XMLSchema"/>
  </ds:schemaRefs>
</ds:datastoreItem>
</file>

<file path=customXml/itemProps5.xml><?xml version="1.0" encoding="utf-8"?>
<ds:datastoreItem xmlns:ds="http://schemas.openxmlformats.org/officeDocument/2006/customXml" ds:itemID="{F14CBA09-FEAF-404B-987F-1AB49AD0F098}">
  <ds:schemaRefs>
    <ds:schemaRef ds:uri="http://www.w3.org/2001/XMLSchema"/>
  </ds:schemaRefs>
</ds:datastoreItem>
</file>

<file path=customXml/itemProps50.xml><?xml version="1.0" encoding="utf-8"?>
<ds:datastoreItem xmlns:ds="http://schemas.openxmlformats.org/officeDocument/2006/customXml" ds:itemID="{167A4D5D-D583-4199-B186-371FDC14FECE}">
  <ds:schemaRefs>
    <ds:schemaRef ds:uri="http://www.w3.org/2001/XMLSchema"/>
  </ds:schemaRefs>
</ds:datastoreItem>
</file>

<file path=customXml/itemProps51.xml><?xml version="1.0" encoding="utf-8"?>
<ds:datastoreItem xmlns:ds="http://schemas.openxmlformats.org/officeDocument/2006/customXml" ds:itemID="{A3657D02-62CD-4AA4-9505-D2BE44121BAD}">
  <ds:schemaRefs>
    <ds:schemaRef ds:uri="http://www.w3.org/2001/XMLSchema"/>
  </ds:schemaRefs>
</ds:datastoreItem>
</file>

<file path=customXml/itemProps52.xml><?xml version="1.0" encoding="utf-8"?>
<ds:datastoreItem xmlns:ds="http://schemas.openxmlformats.org/officeDocument/2006/customXml" ds:itemID="{F59C340D-4F57-43A3-B5CD-4712B5DB8E9D}">
  <ds:schemaRefs>
    <ds:schemaRef ds:uri="http://www.w3.org/2001/XMLSchema"/>
  </ds:schemaRefs>
</ds:datastoreItem>
</file>

<file path=customXml/itemProps53.xml><?xml version="1.0" encoding="utf-8"?>
<ds:datastoreItem xmlns:ds="http://schemas.openxmlformats.org/officeDocument/2006/customXml" ds:itemID="{CA9DB9B2-A49F-418A-8825-4FDE870137DE}">
  <ds:schemaRefs>
    <ds:schemaRef ds:uri="http://www.w3.org/2001/XMLSchema"/>
  </ds:schemaRefs>
</ds:datastoreItem>
</file>

<file path=customXml/itemProps54.xml><?xml version="1.0" encoding="utf-8"?>
<ds:datastoreItem xmlns:ds="http://schemas.openxmlformats.org/officeDocument/2006/customXml" ds:itemID="{7514C59C-37A2-4548-8176-DEE012C681C8}">
  <ds:schemaRefs>
    <ds:schemaRef ds:uri="http://www.w3.org/2001/XMLSchema"/>
  </ds:schemaRefs>
</ds:datastoreItem>
</file>

<file path=customXml/itemProps55.xml><?xml version="1.0" encoding="utf-8"?>
<ds:datastoreItem xmlns:ds="http://schemas.openxmlformats.org/officeDocument/2006/customXml" ds:itemID="{98505750-6815-4223-A092-FBB952B12FF0}">
  <ds:schemaRefs>
    <ds:schemaRef ds:uri="http://www.w3.org/2001/XMLSchema"/>
  </ds:schemaRefs>
</ds:datastoreItem>
</file>

<file path=customXml/itemProps56.xml><?xml version="1.0" encoding="utf-8"?>
<ds:datastoreItem xmlns:ds="http://schemas.openxmlformats.org/officeDocument/2006/customXml" ds:itemID="{86E9DB7A-C649-4675-B50A-1BE58C3421E5}">
  <ds:schemaRefs>
    <ds:schemaRef ds:uri="http://www.w3.org/2001/XMLSchema"/>
  </ds:schemaRefs>
</ds:datastoreItem>
</file>

<file path=customXml/itemProps57.xml><?xml version="1.0" encoding="utf-8"?>
<ds:datastoreItem xmlns:ds="http://schemas.openxmlformats.org/officeDocument/2006/customXml" ds:itemID="{029D9584-4B2C-4846-9954-9B6C8317D3C7}">
  <ds:schemaRefs>
    <ds:schemaRef ds:uri="http://www.w3.org/2001/XMLSchema"/>
  </ds:schemaRefs>
</ds:datastoreItem>
</file>

<file path=customXml/itemProps58.xml><?xml version="1.0" encoding="utf-8"?>
<ds:datastoreItem xmlns:ds="http://schemas.openxmlformats.org/officeDocument/2006/customXml" ds:itemID="{38002847-97C5-414A-8938-92FFE735ED47}">
  <ds:schemaRefs>
    <ds:schemaRef ds:uri="http://schemas.microsoft.com/sharepoint/v3/contenttype/forms"/>
  </ds:schemaRefs>
</ds:datastoreItem>
</file>

<file path=customXml/itemProps59.xml><?xml version="1.0" encoding="utf-8"?>
<ds:datastoreItem xmlns:ds="http://schemas.openxmlformats.org/officeDocument/2006/customXml" ds:itemID="{E22562F2-E8FF-46AD-8FDD-473AF5990F3B}">
  <ds:schemaRefs>
    <ds:schemaRef ds:uri="http://www.w3.org/2001/XMLSchema"/>
  </ds:schemaRefs>
</ds:datastoreItem>
</file>

<file path=customXml/itemProps6.xml><?xml version="1.0" encoding="utf-8"?>
<ds:datastoreItem xmlns:ds="http://schemas.openxmlformats.org/officeDocument/2006/customXml" ds:itemID="{7F82062E-9818-4653-A31B-81D65328C525}">
  <ds:schemaRefs>
    <ds:schemaRef ds:uri="http://www.w3.org/2001/XMLSchema"/>
  </ds:schemaRefs>
</ds:datastoreItem>
</file>

<file path=customXml/itemProps60.xml><?xml version="1.0" encoding="utf-8"?>
<ds:datastoreItem xmlns:ds="http://schemas.openxmlformats.org/officeDocument/2006/customXml" ds:itemID="{B06F0990-77F0-4EB7-81D9-057B8021F2E2}">
  <ds:schemaRefs>
    <ds:schemaRef ds:uri="http://www.w3.org/2001/XMLSchema"/>
  </ds:schemaRefs>
</ds:datastoreItem>
</file>

<file path=customXml/itemProps61.xml><?xml version="1.0" encoding="utf-8"?>
<ds:datastoreItem xmlns:ds="http://schemas.openxmlformats.org/officeDocument/2006/customXml" ds:itemID="{2417C12A-3FAF-413A-8BEB-A7D0DFFCBF02}">
  <ds:schemaRefs>
    <ds:schemaRef ds:uri="http://www.w3.org/2001/XMLSchema"/>
  </ds:schemaRefs>
</ds:datastoreItem>
</file>

<file path=customXml/itemProps62.xml><?xml version="1.0" encoding="utf-8"?>
<ds:datastoreItem xmlns:ds="http://schemas.openxmlformats.org/officeDocument/2006/customXml" ds:itemID="{9AB6D5B8-A713-49FD-B8B6-C61EDC3C2D4F}">
  <ds:schemaRefs>
    <ds:schemaRef ds:uri="http://www.w3.org/2001/XMLSchema"/>
  </ds:schemaRefs>
</ds:datastoreItem>
</file>

<file path=customXml/itemProps63.xml><?xml version="1.0" encoding="utf-8"?>
<ds:datastoreItem xmlns:ds="http://schemas.openxmlformats.org/officeDocument/2006/customXml" ds:itemID="{43FD868C-286B-42F8-9784-A8204B274F36}">
  <ds:schemaRefs>
    <ds:schemaRef ds:uri="http://www.w3.org/2001/XMLSchema"/>
  </ds:schemaRefs>
</ds:datastoreItem>
</file>

<file path=customXml/itemProps64.xml><?xml version="1.0" encoding="utf-8"?>
<ds:datastoreItem xmlns:ds="http://schemas.openxmlformats.org/officeDocument/2006/customXml" ds:itemID="{59FF60E1-E3A5-48EE-9FC1-39A09AF817D4}">
  <ds:schemaRefs>
    <ds:schemaRef ds:uri="http://www.w3.org/2001/XMLSchema"/>
  </ds:schemaRefs>
</ds:datastoreItem>
</file>

<file path=customXml/itemProps65.xml><?xml version="1.0" encoding="utf-8"?>
<ds:datastoreItem xmlns:ds="http://schemas.openxmlformats.org/officeDocument/2006/customXml" ds:itemID="{DBE8ABB6-34EE-4A52-AA42-59AADC657290}">
  <ds:schemaRefs>
    <ds:schemaRef ds:uri="http://www.w3.org/2001/XMLSchema"/>
  </ds:schemaRefs>
</ds:datastoreItem>
</file>

<file path=customXml/itemProps66.xml><?xml version="1.0" encoding="utf-8"?>
<ds:datastoreItem xmlns:ds="http://schemas.openxmlformats.org/officeDocument/2006/customXml" ds:itemID="{F4497770-156D-4938-BA98-5B2E06CE31CC}">
  <ds:schemaRefs>
    <ds:schemaRef ds:uri="http://www.w3.org/2001/XMLSchema"/>
  </ds:schemaRefs>
</ds:datastoreItem>
</file>

<file path=customXml/itemProps67.xml><?xml version="1.0" encoding="utf-8"?>
<ds:datastoreItem xmlns:ds="http://schemas.openxmlformats.org/officeDocument/2006/customXml" ds:itemID="{4E18DFB7-AF42-4887-A653-6AE4E129405F}">
  <ds:schemaRefs>
    <ds:schemaRef ds:uri="http://www.w3.org/2001/XMLSchema"/>
  </ds:schemaRefs>
</ds:datastoreItem>
</file>

<file path=customXml/itemProps68.xml><?xml version="1.0" encoding="utf-8"?>
<ds:datastoreItem xmlns:ds="http://schemas.openxmlformats.org/officeDocument/2006/customXml" ds:itemID="{5D1F0DBD-6D20-4FC4-97EF-D5500066FC90}">
  <ds:schemaRefs>
    <ds:schemaRef ds:uri="http://www.w3.org/2001/XMLSchema"/>
  </ds:schemaRefs>
</ds:datastoreItem>
</file>

<file path=customXml/itemProps69.xml><?xml version="1.0" encoding="utf-8"?>
<ds:datastoreItem xmlns:ds="http://schemas.openxmlformats.org/officeDocument/2006/customXml" ds:itemID="{A74272AD-EBAC-45CC-880E-0DABEA8386E8}">
  <ds:schemaRefs>
    <ds:schemaRef ds:uri="http://schemas.microsoft.com/office/2006/metadata/properties"/>
    <ds:schemaRef ds:uri="http://schemas.microsoft.com/office/infopath/2007/PartnerControls"/>
    <ds:schemaRef ds:uri="http://purl.org/dc/terms/"/>
    <ds:schemaRef ds:uri="http://purl.org/dc/dcmitype/"/>
    <ds:schemaRef ds:uri="http://schemas.microsoft.com/office/2006/documentManagement/types"/>
    <ds:schemaRef ds:uri="http://www.w3.org/XML/1998/namespace"/>
    <ds:schemaRef ds:uri="http://purl.org/dc/elements/1.1/"/>
    <ds:schemaRef ds:uri="fe768cdf-ff4f-4065-b5fe-ef7f8879bf90"/>
    <ds:schemaRef ds:uri="http://schemas.openxmlformats.org/package/2006/metadata/core-properties"/>
    <ds:schemaRef ds:uri="534b054f-48a6-475f-a951-f361fa8cc439"/>
  </ds:schemaRefs>
</ds:datastoreItem>
</file>

<file path=customXml/itemProps7.xml><?xml version="1.0" encoding="utf-8"?>
<ds:datastoreItem xmlns:ds="http://schemas.openxmlformats.org/officeDocument/2006/customXml" ds:itemID="{E4CF58FF-8B25-476F-8B2F-439CAFE774DB}">
  <ds:schemaRefs>
    <ds:schemaRef ds:uri="http://www.w3.org/2001/XMLSchema"/>
  </ds:schemaRefs>
</ds:datastoreItem>
</file>

<file path=customXml/itemProps70.xml><?xml version="1.0" encoding="utf-8"?>
<ds:datastoreItem xmlns:ds="http://schemas.openxmlformats.org/officeDocument/2006/customXml" ds:itemID="{BD5FAD33-8996-4B98-8C02-4A1550C6E017}">
  <ds:schemaRefs>
    <ds:schemaRef ds:uri="http://www.w3.org/2001/XMLSchema"/>
  </ds:schemaRefs>
</ds:datastoreItem>
</file>

<file path=customXml/itemProps71.xml><?xml version="1.0" encoding="utf-8"?>
<ds:datastoreItem xmlns:ds="http://schemas.openxmlformats.org/officeDocument/2006/customXml" ds:itemID="{9D125730-63B3-4611-99E5-A47E22D5544D}">
  <ds:schemaRefs>
    <ds:schemaRef ds:uri="http://www.w3.org/2001/XMLSchema"/>
  </ds:schemaRefs>
</ds:datastoreItem>
</file>

<file path=customXml/itemProps72.xml><?xml version="1.0" encoding="utf-8"?>
<ds:datastoreItem xmlns:ds="http://schemas.openxmlformats.org/officeDocument/2006/customXml" ds:itemID="{A3CD4C50-97C5-4A13-A5A2-9AD0815BCA0D}">
  <ds:schemaRefs>
    <ds:schemaRef ds:uri="http://www.w3.org/2001/XMLSchema"/>
  </ds:schemaRefs>
</ds:datastoreItem>
</file>

<file path=customXml/itemProps73.xml><?xml version="1.0" encoding="utf-8"?>
<ds:datastoreItem xmlns:ds="http://schemas.openxmlformats.org/officeDocument/2006/customXml" ds:itemID="{D6223A96-E4F2-4D4E-BA33-FE9BEA693CBF}">
  <ds:schemaRefs>
    <ds:schemaRef ds:uri="http://www.w3.org/2001/XMLSchema"/>
  </ds:schemaRefs>
</ds:datastoreItem>
</file>

<file path=customXml/itemProps74.xml><?xml version="1.0" encoding="utf-8"?>
<ds:datastoreItem xmlns:ds="http://schemas.openxmlformats.org/officeDocument/2006/customXml" ds:itemID="{1AA08E88-52D3-4EBA-AA02-8CA9BBF557F6}">
  <ds:schemaRefs>
    <ds:schemaRef ds:uri="http://www.w3.org/2001/XMLSchema"/>
  </ds:schemaRefs>
</ds:datastoreItem>
</file>

<file path=customXml/itemProps75.xml><?xml version="1.0" encoding="utf-8"?>
<ds:datastoreItem xmlns:ds="http://schemas.openxmlformats.org/officeDocument/2006/customXml" ds:itemID="{FFCFF866-B782-462C-B23B-92E4218871E8}">
  <ds:schemaRefs>
    <ds:schemaRef ds:uri="http://www.w3.org/2001/XMLSchema"/>
  </ds:schemaRefs>
</ds:datastoreItem>
</file>

<file path=customXml/itemProps76.xml><?xml version="1.0" encoding="utf-8"?>
<ds:datastoreItem xmlns:ds="http://schemas.openxmlformats.org/officeDocument/2006/customXml" ds:itemID="{19BCB8AB-C80F-48B0-97F9-FF07C27A1D7E}">
  <ds:schemaRefs>
    <ds:schemaRef ds:uri="http://www.w3.org/2001/XMLSchema"/>
  </ds:schemaRefs>
</ds:datastoreItem>
</file>

<file path=customXml/itemProps77.xml><?xml version="1.0" encoding="utf-8"?>
<ds:datastoreItem xmlns:ds="http://schemas.openxmlformats.org/officeDocument/2006/customXml" ds:itemID="{281140D0-CFF4-4662-9C45-8943C23FC066}">
  <ds:schemaRefs>
    <ds:schemaRef ds:uri="http://www.w3.org/2001/XMLSchema"/>
  </ds:schemaRefs>
</ds:datastoreItem>
</file>

<file path=customXml/itemProps78.xml><?xml version="1.0" encoding="utf-8"?>
<ds:datastoreItem xmlns:ds="http://schemas.openxmlformats.org/officeDocument/2006/customXml" ds:itemID="{500439E4-EC2D-49AC-850D-092A3C4B6D98}">
  <ds:schemaRefs>
    <ds:schemaRef ds:uri="http://www.w3.org/2001/XMLSchema"/>
  </ds:schemaRefs>
</ds:datastoreItem>
</file>

<file path=customXml/itemProps79.xml><?xml version="1.0" encoding="utf-8"?>
<ds:datastoreItem xmlns:ds="http://schemas.openxmlformats.org/officeDocument/2006/customXml" ds:itemID="{35BDC32E-13DF-4D9C-B8D4-DA872B448F48}">
  <ds:schemaRefs>
    <ds:schemaRef ds:uri="http://www.w3.org/2001/XMLSchema"/>
  </ds:schemaRefs>
</ds:datastoreItem>
</file>

<file path=customXml/itemProps8.xml><?xml version="1.0" encoding="utf-8"?>
<ds:datastoreItem xmlns:ds="http://schemas.openxmlformats.org/officeDocument/2006/customXml" ds:itemID="{41789547-D903-4EF4-A276-9EEB2362E3B3}">
  <ds:schemaRefs>
    <ds:schemaRef ds:uri="http://www.w3.org/2001/XMLSchema"/>
  </ds:schemaRefs>
</ds:datastoreItem>
</file>

<file path=customXml/itemProps80.xml><?xml version="1.0" encoding="utf-8"?>
<ds:datastoreItem xmlns:ds="http://schemas.openxmlformats.org/officeDocument/2006/customXml" ds:itemID="{141B2937-7875-4AC8-9EAF-310928ACDCAC}">
  <ds:schemaRefs>
    <ds:schemaRef ds:uri="http://www.w3.org/2001/XMLSchema"/>
  </ds:schemaRefs>
</ds:datastoreItem>
</file>

<file path=customXml/itemProps81.xml><?xml version="1.0" encoding="utf-8"?>
<ds:datastoreItem xmlns:ds="http://schemas.openxmlformats.org/officeDocument/2006/customXml" ds:itemID="{02EDAAD7-30B6-4ACD-BA32-F10318B4E3BB}">
  <ds:schemaRefs>
    <ds:schemaRef ds:uri="http://www.w3.org/2001/XMLSchema"/>
  </ds:schemaRefs>
</ds:datastoreItem>
</file>

<file path=customXml/itemProps82.xml><?xml version="1.0" encoding="utf-8"?>
<ds:datastoreItem xmlns:ds="http://schemas.openxmlformats.org/officeDocument/2006/customXml" ds:itemID="{4A8EF070-B7A1-4D20-AA54-61F173CA2706}">
  <ds:schemaRefs>
    <ds:schemaRef ds:uri="http://www.w3.org/2001/XMLSchema"/>
  </ds:schemaRefs>
</ds:datastoreItem>
</file>

<file path=customXml/itemProps83.xml><?xml version="1.0" encoding="utf-8"?>
<ds:datastoreItem xmlns:ds="http://schemas.openxmlformats.org/officeDocument/2006/customXml" ds:itemID="{A069E17C-908E-4D9A-BB30-A8F3C37DD0BB}">
  <ds:schemaRefs>
    <ds:schemaRef ds:uri="http://www.w3.org/2001/XMLSchema"/>
  </ds:schemaRefs>
</ds:datastoreItem>
</file>

<file path=customXml/itemProps84.xml><?xml version="1.0" encoding="utf-8"?>
<ds:datastoreItem xmlns:ds="http://schemas.openxmlformats.org/officeDocument/2006/customXml" ds:itemID="{99B172FE-482D-43D8-B7AB-5A26A42EEE60}">
  <ds:schemaRefs>
    <ds:schemaRef ds:uri="http://www.w3.org/2001/XMLSchema"/>
  </ds:schemaRefs>
</ds:datastoreItem>
</file>

<file path=customXml/itemProps9.xml><?xml version="1.0" encoding="utf-8"?>
<ds:datastoreItem xmlns:ds="http://schemas.openxmlformats.org/officeDocument/2006/customXml" ds:itemID="{C8BD8746-2FB1-4065-84A8-712D97BC1934}">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3874</TotalTime>
  <Words>2633</Words>
  <Application>Microsoft Office PowerPoint</Application>
  <PresentationFormat>Widescreen</PresentationFormat>
  <Paragraphs>286</Paragraphs>
  <Slides>20</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Arial Narrow</vt:lpstr>
      <vt:lpstr>Calibri</vt:lpstr>
      <vt:lpstr>inherit</vt:lpstr>
      <vt:lpstr>Times New Roman</vt:lpstr>
      <vt:lpstr>Marsh McLennan</vt:lpstr>
      <vt:lpstr>think-cell Slide</vt:lpstr>
      <vt:lpstr>CLIMA ACTUAL DEl MERCADO Y TENDENCIAs A FUTURO</vt:lpstr>
      <vt:lpstr>PowerPoint Presentation</vt:lpstr>
      <vt:lpstr>Indicadores del mercado de reaseguro</vt:lpstr>
      <vt:lpstr>Latinoamérica y Caribe, resumen de renovación</vt:lpstr>
      <vt:lpstr>Property : cambios típicos de precio ajustado</vt:lpstr>
      <vt:lpstr>Indicadores del mercado</vt:lpstr>
      <vt:lpstr>Pérdidas a nivel global*</vt:lpstr>
      <vt:lpstr>Pérdidas grandes por tipo de riesgo</vt:lpstr>
      <vt:lpstr>Pérdidas grandes por región geográfica</vt:lpstr>
      <vt:lpstr>Perspectivas económicas mundiales </vt:lpstr>
      <vt:lpstr>Inflación – Global y EE. UU.</vt:lpstr>
      <vt:lpstr>Variación interanual del patrimonio neto de las reaseguradoras</vt:lpstr>
      <vt:lpstr>Perspectivas meteorológicas y climáticas</vt:lpstr>
      <vt:lpstr>Expectativas meteorológicas y climáticas mundiales para 2024</vt:lpstr>
      <vt:lpstr>Anomalías y extremos en la temperatura de la superficie del mar en mayo de 2024</vt:lpstr>
      <vt:lpstr>Sentimiento sobre el cambio climático</vt:lpstr>
      <vt:lpstr>Mirando hacia el futuro   </vt:lpstr>
      <vt:lpstr>Grupo LARG</vt:lpstr>
      <vt:lpstr>Guy Carpenter - temas de otoño de 2024</vt:lpstr>
      <vt:lpstr>PowerPoint Presentation</vt:lpstr>
    </vt:vector>
  </TitlesOfParts>
  <Company>Guy Carpenter &amp; Company,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LY 1, 2024 REINSURANCE REVIEW</dc:title>
  <dc:creator>Mike Rooney</dc:creator>
  <cp:lastModifiedBy>Phillips, Anthony J</cp:lastModifiedBy>
  <cp:revision>9</cp:revision>
  <dcterms:created xsi:type="dcterms:W3CDTF">2024-07-01T14:01:51Z</dcterms:created>
  <dcterms:modified xsi:type="dcterms:W3CDTF">2024-08-21T21:2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5</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GUY</vt:lpwstr>
  </property>
  <property fmtid="{D5CDD505-2E9C-101B-9397-08002B2CF9AE}" pid="14" name="MMCOA_RegCo">
    <vt:lpwstr>19</vt:lpwstr>
  </property>
  <property fmtid="{D5CDD505-2E9C-101B-9397-08002B2CF9AE}" pid="15" name="MMCOA_Brand">
    <vt:lpwstr>MMC2021</vt:lpwstr>
  </property>
  <property fmtid="{D5CDD505-2E9C-101B-9397-08002B2CF9AE}" pid="16" name="MMCOA_FeatureSet">
    <vt:lpwstr>GUY_2021_v1</vt:lpwstr>
  </property>
  <property fmtid="{D5CDD505-2E9C-101B-9397-08002B2CF9AE}" pid="17" name="MMCOA_Language">
    <vt:lpwstr>en-US</vt:lpwstr>
  </property>
  <property fmtid="{D5CDD505-2E9C-101B-9397-08002B2CF9AE}" pid="18" name="MMCOA_LanguageDateFormat">
    <vt:lpwstr>MMMM dd, yyyy</vt:lpwstr>
  </property>
  <property fmtid="{D5CDD505-2E9C-101B-9397-08002B2CF9AE}" pid="19" name="MMCOA_LanguageLocaleId">
    <vt:lpwstr>1033</vt:lpwstr>
  </property>
  <property fmtid="{D5CDD505-2E9C-101B-9397-08002B2CF9AE}" pid="20" name="MMCOA_CoverDigest">
    <vt:lpwstr>MMC2021;fullimage;GUY_FullImageStyles_v1;;WHITE;LIGHT</vt:lpwstr>
  </property>
  <property fmtid="{D5CDD505-2E9C-101B-9397-08002B2CF9AE}" pid="21" name="MMCOA_FontSize">
    <vt:lpwstr>Medium</vt:lpwstr>
  </property>
  <property fmtid="{D5CDD505-2E9C-101B-9397-08002B2CF9AE}" pid="22" name="MMCOA_CoverImageID">
    <vt:lpwstr>7eebd11d-3332-4c01-a355-dc5b12cdc7dc</vt:lpwstr>
  </property>
  <property fmtid="{D5CDD505-2E9C-101B-9397-08002B2CF9AE}" pid="23" name="ContentTypeId">
    <vt:lpwstr>0x0101002D9F47CA2E87404FBE62329A585385A9</vt:lpwstr>
  </property>
  <property fmtid="{D5CDD505-2E9C-101B-9397-08002B2CF9AE}" pid="24" name="MediaServiceImageTags">
    <vt:lpwstr/>
  </property>
</Properties>
</file>